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2.xml" ContentType="application/vnd.openxmlformats-officedocument.theme+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3.xml" ContentType="application/vnd.openxmlformats-officedocument.theme+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theme/theme4.xml" ContentType="application/vnd.openxmlformats-officedocument.theme+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theme/theme5.xml" ContentType="application/vnd.openxmlformats-officedocument.theme+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theme/theme6.xml" ContentType="application/vnd.openxmlformats-officedocument.theme+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theme/theme7.xml" ContentType="application/vnd.openxmlformats-officedocument.theme+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theme/theme8.xml" ContentType="application/vnd.openxmlformats-officedocument.theme+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theme/theme9.xml" ContentType="application/vnd.openxmlformats-officedocument.theme+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theme/theme10.xml" ContentType="application/vnd.openxmlformats-officedocument.theme+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theme/theme11.xml" ContentType="application/vnd.openxmlformats-officedocument.theme+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590" r:id="rId4"/>
    <p:sldMasterId id="2147484664" r:id="rId5"/>
    <p:sldMasterId id="2147484703" r:id="rId6"/>
    <p:sldMasterId id="2147484851" r:id="rId7"/>
    <p:sldMasterId id="2147484875" r:id="rId8"/>
    <p:sldMasterId id="2147484911" r:id="rId9"/>
    <p:sldMasterId id="2147484945" r:id="rId10"/>
    <p:sldMasterId id="2147484984" r:id="rId11"/>
    <p:sldMasterId id="2147485075" r:id="rId12"/>
    <p:sldMasterId id="2147485105" r:id="rId13"/>
    <p:sldMasterId id="2147485248" r:id="rId14"/>
    <p:sldMasterId id="2147485315" r:id="rId15"/>
  </p:sldMasterIdLst>
  <p:notesMasterIdLst>
    <p:notesMasterId r:id="rId219"/>
  </p:notesMasterIdLst>
  <p:handoutMasterIdLst>
    <p:handoutMasterId r:id="rId220"/>
  </p:handoutMasterIdLst>
  <p:sldIdLst>
    <p:sldId id="2147469997" r:id="rId16"/>
    <p:sldId id="2134805319" r:id="rId17"/>
    <p:sldId id="361" r:id="rId18"/>
    <p:sldId id="565" r:id="rId19"/>
    <p:sldId id="2147469893" r:id="rId20"/>
    <p:sldId id="2076137603" r:id="rId21"/>
    <p:sldId id="2147469889" r:id="rId22"/>
    <p:sldId id="2147469890" r:id="rId23"/>
    <p:sldId id="2147469891" r:id="rId24"/>
    <p:sldId id="2134805339" r:id="rId25"/>
    <p:sldId id="2134805401" r:id="rId26"/>
    <p:sldId id="331" r:id="rId27"/>
    <p:sldId id="2134805361" r:id="rId28"/>
    <p:sldId id="2147469912" r:id="rId29"/>
    <p:sldId id="2147469922" r:id="rId30"/>
    <p:sldId id="2134805395" r:id="rId31"/>
    <p:sldId id="2147469916" r:id="rId32"/>
    <p:sldId id="2147469913" r:id="rId33"/>
    <p:sldId id="2147469914" r:id="rId34"/>
    <p:sldId id="2147469915" r:id="rId35"/>
    <p:sldId id="2147469981" r:id="rId36"/>
    <p:sldId id="2147469917" r:id="rId37"/>
    <p:sldId id="2147469918" r:id="rId38"/>
    <p:sldId id="2134805351" r:id="rId39"/>
    <p:sldId id="2134805352" r:id="rId40"/>
    <p:sldId id="2147469919" r:id="rId41"/>
    <p:sldId id="2134805356" r:id="rId42"/>
    <p:sldId id="2147469920" r:id="rId43"/>
    <p:sldId id="2147469921" r:id="rId44"/>
    <p:sldId id="2134805357" r:id="rId45"/>
    <p:sldId id="2361" r:id="rId46"/>
    <p:sldId id="2134805399" r:id="rId47"/>
    <p:sldId id="2134805391" r:id="rId48"/>
    <p:sldId id="2134805336" r:id="rId49"/>
    <p:sldId id="2134805397" r:id="rId50"/>
    <p:sldId id="2134805398" r:id="rId51"/>
    <p:sldId id="2147469902" r:id="rId52"/>
    <p:sldId id="2147469900" r:id="rId53"/>
    <p:sldId id="2147469903" r:id="rId54"/>
    <p:sldId id="2147469974" r:id="rId55"/>
    <p:sldId id="2147469925" r:id="rId56"/>
    <p:sldId id="2134805392" r:id="rId57"/>
    <p:sldId id="2147469924" r:id="rId58"/>
    <p:sldId id="452" r:id="rId59"/>
    <p:sldId id="2134805322" r:id="rId60"/>
    <p:sldId id="2357" r:id="rId61"/>
    <p:sldId id="2358" r:id="rId62"/>
    <p:sldId id="2147469928" r:id="rId63"/>
    <p:sldId id="2147469929" r:id="rId64"/>
    <p:sldId id="2134805371" r:id="rId65"/>
    <p:sldId id="2134805372" r:id="rId66"/>
    <p:sldId id="2134805373" r:id="rId67"/>
    <p:sldId id="2134805374" r:id="rId68"/>
    <p:sldId id="2134805375" r:id="rId69"/>
    <p:sldId id="2134805376" r:id="rId70"/>
    <p:sldId id="2134805377" r:id="rId71"/>
    <p:sldId id="2134805378" r:id="rId72"/>
    <p:sldId id="2147469933" r:id="rId73"/>
    <p:sldId id="2147469935" r:id="rId74"/>
    <p:sldId id="2147469938" r:id="rId75"/>
    <p:sldId id="376" r:id="rId76"/>
    <p:sldId id="2147469926" r:id="rId77"/>
    <p:sldId id="2134805321" r:id="rId78"/>
    <p:sldId id="2147469944" r:id="rId79"/>
    <p:sldId id="2147469939" r:id="rId80"/>
    <p:sldId id="2147469940" r:id="rId81"/>
    <p:sldId id="2147469941" r:id="rId82"/>
    <p:sldId id="2147469942" r:id="rId83"/>
    <p:sldId id="2147469943" r:id="rId84"/>
    <p:sldId id="2147469955" r:id="rId85"/>
    <p:sldId id="2147469896" r:id="rId86"/>
    <p:sldId id="2147469980" r:id="rId87"/>
    <p:sldId id="2147469961" r:id="rId88"/>
    <p:sldId id="2147469962" r:id="rId89"/>
    <p:sldId id="2147469963" r:id="rId90"/>
    <p:sldId id="2980" r:id="rId91"/>
    <p:sldId id="8747" r:id="rId92"/>
    <p:sldId id="8748" r:id="rId93"/>
    <p:sldId id="2147469972" r:id="rId94"/>
    <p:sldId id="2134805340" r:id="rId95"/>
    <p:sldId id="2147469898" r:id="rId96"/>
    <p:sldId id="2134805387" r:id="rId97"/>
    <p:sldId id="2134805380" r:id="rId98"/>
    <p:sldId id="2147469968" r:id="rId99"/>
    <p:sldId id="2147469975" r:id="rId100"/>
    <p:sldId id="2147469969" r:id="rId101"/>
    <p:sldId id="2147469978" r:id="rId102"/>
    <p:sldId id="2147469989" r:id="rId103"/>
    <p:sldId id="2147469977" r:id="rId104"/>
    <p:sldId id="2147469979" r:id="rId105"/>
    <p:sldId id="2147469983" r:id="rId106"/>
    <p:sldId id="2147469984" r:id="rId107"/>
    <p:sldId id="2147469985" r:id="rId108"/>
    <p:sldId id="2147469988" r:id="rId109"/>
    <p:sldId id="2147469986" r:id="rId110"/>
    <p:sldId id="2147469987" r:id="rId111"/>
    <p:sldId id="2147469990" r:id="rId112"/>
    <p:sldId id="2147469991" r:id="rId113"/>
    <p:sldId id="2147469982" r:id="rId114"/>
    <p:sldId id="2147469894" r:id="rId115"/>
    <p:sldId id="2147469904" r:id="rId116"/>
    <p:sldId id="2147469945" r:id="rId117"/>
    <p:sldId id="265" r:id="rId118"/>
    <p:sldId id="2147469957" r:id="rId119"/>
    <p:sldId id="267" r:id="rId120"/>
    <p:sldId id="2147469956" r:id="rId121"/>
    <p:sldId id="2147469996" r:id="rId122"/>
    <p:sldId id="269" r:id="rId123"/>
    <p:sldId id="2147469958" r:id="rId124"/>
    <p:sldId id="2147469959" r:id="rId125"/>
    <p:sldId id="2134805407" r:id="rId126"/>
    <p:sldId id="2134805404" r:id="rId127"/>
    <p:sldId id="2134805408" r:id="rId128"/>
    <p:sldId id="2134805470" r:id="rId129"/>
    <p:sldId id="268" r:id="rId130"/>
    <p:sldId id="2134805471" r:id="rId131"/>
    <p:sldId id="2134805414" r:id="rId132"/>
    <p:sldId id="2134805415" r:id="rId133"/>
    <p:sldId id="2134805419" r:id="rId134"/>
    <p:sldId id="2134805416" r:id="rId135"/>
    <p:sldId id="2134805417" r:id="rId136"/>
    <p:sldId id="2134805418" r:id="rId137"/>
    <p:sldId id="2134805420" r:id="rId138"/>
    <p:sldId id="2134805421" r:id="rId139"/>
    <p:sldId id="2134805491" r:id="rId140"/>
    <p:sldId id="278" r:id="rId141"/>
    <p:sldId id="2134805493" r:id="rId142"/>
    <p:sldId id="2134805494" r:id="rId143"/>
    <p:sldId id="2134805492" r:id="rId144"/>
    <p:sldId id="2147469998" r:id="rId145"/>
    <p:sldId id="2147469999" r:id="rId146"/>
    <p:sldId id="2134805496" r:id="rId147"/>
    <p:sldId id="2134805497" r:id="rId148"/>
    <p:sldId id="2134805498" r:id="rId149"/>
    <p:sldId id="2134805499" r:id="rId150"/>
    <p:sldId id="2134805495" r:id="rId151"/>
    <p:sldId id="2147470000" r:id="rId152"/>
    <p:sldId id="2147470001" r:id="rId153"/>
    <p:sldId id="2134805427" r:id="rId154"/>
    <p:sldId id="2134805428" r:id="rId155"/>
    <p:sldId id="2134805429" r:id="rId156"/>
    <p:sldId id="2147470002" r:id="rId157"/>
    <p:sldId id="2134805500" r:id="rId158"/>
    <p:sldId id="2134805501" r:id="rId159"/>
    <p:sldId id="2134805440" r:id="rId160"/>
    <p:sldId id="2134805439" r:id="rId161"/>
    <p:sldId id="2134805441" r:id="rId162"/>
    <p:sldId id="2134805442" r:id="rId163"/>
    <p:sldId id="2134805434" r:id="rId164"/>
    <p:sldId id="2134805445" r:id="rId165"/>
    <p:sldId id="2134805473" r:id="rId166"/>
    <p:sldId id="2134805474" r:id="rId167"/>
    <p:sldId id="2134805475" r:id="rId168"/>
    <p:sldId id="2134805476" r:id="rId169"/>
    <p:sldId id="2134805477" r:id="rId170"/>
    <p:sldId id="2134805436" r:id="rId171"/>
    <p:sldId id="2134805478" r:id="rId172"/>
    <p:sldId id="2134805479" r:id="rId173"/>
    <p:sldId id="2134805437" r:id="rId174"/>
    <p:sldId id="2134805438" r:id="rId175"/>
    <p:sldId id="2134805480" r:id="rId176"/>
    <p:sldId id="2134805481" r:id="rId177"/>
    <p:sldId id="2134805431" r:id="rId178"/>
    <p:sldId id="2134805482" r:id="rId179"/>
    <p:sldId id="2134805483" r:id="rId180"/>
    <p:sldId id="2134805484" r:id="rId181"/>
    <p:sldId id="2134805455" r:id="rId182"/>
    <p:sldId id="2134805485" r:id="rId183"/>
    <p:sldId id="2134805486" r:id="rId184"/>
    <p:sldId id="2134805487" r:id="rId185"/>
    <p:sldId id="2134805488" r:id="rId186"/>
    <p:sldId id="2134805457" r:id="rId187"/>
    <p:sldId id="2134805458" r:id="rId188"/>
    <p:sldId id="271" r:id="rId189"/>
    <p:sldId id="2134805454" r:id="rId190"/>
    <p:sldId id="2147469947" r:id="rId191"/>
    <p:sldId id="8706" r:id="rId192"/>
    <p:sldId id="8685" r:id="rId193"/>
    <p:sldId id="8689" r:id="rId194"/>
    <p:sldId id="8692" r:id="rId195"/>
    <p:sldId id="8693" r:id="rId196"/>
    <p:sldId id="8686" r:id="rId197"/>
    <p:sldId id="8694" r:id="rId198"/>
    <p:sldId id="8710" r:id="rId199"/>
    <p:sldId id="2134805393" r:id="rId200"/>
    <p:sldId id="8696" r:id="rId201"/>
    <p:sldId id="2147469948" r:id="rId202"/>
    <p:sldId id="2134805400" r:id="rId203"/>
    <p:sldId id="8697" r:id="rId204"/>
    <p:sldId id="10056" r:id="rId205"/>
    <p:sldId id="10074" r:id="rId206"/>
    <p:sldId id="2134805394" r:id="rId207"/>
    <p:sldId id="10057" r:id="rId208"/>
    <p:sldId id="10060" r:id="rId209"/>
    <p:sldId id="2147469949" r:id="rId210"/>
    <p:sldId id="2147469950" r:id="rId211"/>
    <p:sldId id="10014" r:id="rId212"/>
    <p:sldId id="10073" r:id="rId213"/>
    <p:sldId id="2147469951" r:id="rId214"/>
    <p:sldId id="8688" r:id="rId215"/>
    <p:sldId id="2134805396" r:id="rId216"/>
    <p:sldId id="2147469994" r:id="rId217"/>
    <p:sldId id="2147469895" r:id="rId218"/>
  </p:sldIdLst>
  <p:sldSz cx="12434888"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0561C966-AFCE-43EC-8E30-2C8D4EFCEADD}">
          <p14:sldIdLst>
            <p14:sldId id="2147469997"/>
            <p14:sldId id="2134805319"/>
            <p14:sldId id="361"/>
            <p14:sldId id="565"/>
          </p14:sldIdLst>
        </p14:section>
        <p14:section name="A retrospective" id="{17D23673-FF53-4FEE-8767-CEFB2015B419}">
          <p14:sldIdLst>
            <p14:sldId id="2147469893"/>
            <p14:sldId id="2076137603"/>
            <p14:sldId id="2147469889"/>
            <p14:sldId id="2147469890"/>
            <p14:sldId id="2147469891"/>
          </p14:sldIdLst>
        </p14:section>
        <p14:section name="Separating development" id="{10D934F9-88E4-4DF7-9315-DFFE38B6EFA3}">
          <p14:sldIdLst>
            <p14:sldId id="2134805339"/>
            <p14:sldId id="2134805401"/>
          </p14:sldIdLst>
        </p14:section>
        <p14:section name="Agenda" id="{EC196F7E-C66C-4E6D-A529-F29F08460426}">
          <p14:sldIdLst>
            <p14:sldId id="331"/>
          </p14:sldIdLst>
        </p14:section>
        <p14:section name="Data preparation" id="{904B9ABC-98F1-4890-9D79-4C16FA581388}">
          <p14:sldIdLst>
            <p14:sldId id="2134805361"/>
            <p14:sldId id="2147469912"/>
            <p14:sldId id="2147469922"/>
            <p14:sldId id="2134805395"/>
            <p14:sldId id="2147469916"/>
            <p14:sldId id="2147469913"/>
            <p14:sldId id="2147469914"/>
            <p14:sldId id="2147469915"/>
            <p14:sldId id="2147469981"/>
            <p14:sldId id="2147469917"/>
            <p14:sldId id="2147469918"/>
            <p14:sldId id="2134805351"/>
            <p14:sldId id="2134805352"/>
            <p14:sldId id="2147469919"/>
            <p14:sldId id="2134805356"/>
            <p14:sldId id="2147469920"/>
            <p14:sldId id="2147469921"/>
            <p14:sldId id="2134805357"/>
            <p14:sldId id="2361"/>
            <p14:sldId id="2134805399"/>
          </p14:sldIdLst>
        </p14:section>
        <p14:section name="Data modeling" id="{AD366B8C-F16F-420F-85F1-90974D88BCE4}">
          <p14:sldIdLst>
            <p14:sldId id="2134805391"/>
            <p14:sldId id="2134805336"/>
            <p14:sldId id="2134805397"/>
            <p14:sldId id="2134805398"/>
            <p14:sldId id="2147469902"/>
            <p14:sldId id="2147469900"/>
            <p14:sldId id="2147469903"/>
            <p14:sldId id="2147469974"/>
            <p14:sldId id="2147469925"/>
            <p14:sldId id="2134805392"/>
            <p14:sldId id="2147469924"/>
            <p14:sldId id="452"/>
            <p14:sldId id="2134805322"/>
            <p14:sldId id="2357"/>
            <p14:sldId id="2358"/>
            <p14:sldId id="2147469928"/>
            <p14:sldId id="2147469929"/>
            <p14:sldId id="2134805371"/>
            <p14:sldId id="2134805372"/>
            <p14:sldId id="2134805373"/>
            <p14:sldId id="2134805374"/>
            <p14:sldId id="2134805375"/>
            <p14:sldId id="2134805376"/>
            <p14:sldId id="2134805377"/>
            <p14:sldId id="2134805378"/>
            <p14:sldId id="2147469933"/>
            <p14:sldId id="2147469935"/>
            <p14:sldId id="2147469938"/>
            <p14:sldId id="376"/>
            <p14:sldId id="2147469926"/>
            <p14:sldId id="2134805321"/>
            <p14:sldId id="2147469944"/>
            <p14:sldId id="2147469939"/>
            <p14:sldId id="2147469940"/>
            <p14:sldId id="2147469941"/>
            <p14:sldId id="2147469942"/>
            <p14:sldId id="2147469943"/>
            <p14:sldId id="2147469955"/>
            <p14:sldId id="2147469896"/>
            <p14:sldId id="2147469980"/>
            <p14:sldId id="2147469961"/>
            <p14:sldId id="2147469962"/>
            <p14:sldId id="2147469963"/>
            <p14:sldId id="2980"/>
            <p14:sldId id="8747"/>
            <p14:sldId id="8748"/>
            <p14:sldId id="2147469972"/>
            <p14:sldId id="2134805340"/>
            <p14:sldId id="2147469898"/>
            <p14:sldId id="2134805387"/>
            <p14:sldId id="2134805380"/>
            <p14:sldId id="2147469968"/>
            <p14:sldId id="2147469975"/>
            <p14:sldId id="2147469969"/>
            <p14:sldId id="2147469978"/>
            <p14:sldId id="2147469989"/>
            <p14:sldId id="2147469977"/>
            <p14:sldId id="2147469979"/>
            <p14:sldId id="2147469983"/>
            <p14:sldId id="2147469984"/>
            <p14:sldId id="2147469985"/>
            <p14:sldId id="2147469988"/>
            <p14:sldId id="2147469986"/>
            <p14:sldId id="2147469987"/>
            <p14:sldId id="2147469990"/>
            <p14:sldId id="2147469991"/>
            <p14:sldId id="2147469982"/>
            <p14:sldId id="2147469894"/>
          </p14:sldIdLst>
        </p14:section>
        <p14:section name="Data visualization" id="{341DC7CA-8F44-4A1D-9531-13BBE3EB2D50}">
          <p14:sldIdLst>
            <p14:sldId id="2147469904"/>
            <p14:sldId id="2147469945"/>
            <p14:sldId id="265"/>
            <p14:sldId id="2147469957"/>
            <p14:sldId id="267"/>
            <p14:sldId id="2147469956"/>
            <p14:sldId id="2147469996"/>
            <p14:sldId id="269"/>
            <p14:sldId id="2147469958"/>
            <p14:sldId id="2147469959"/>
            <p14:sldId id="2134805407"/>
            <p14:sldId id="2134805404"/>
            <p14:sldId id="2134805408"/>
            <p14:sldId id="2134805470"/>
            <p14:sldId id="268"/>
            <p14:sldId id="2134805471"/>
            <p14:sldId id="2134805414"/>
            <p14:sldId id="2134805415"/>
            <p14:sldId id="2134805419"/>
            <p14:sldId id="2134805416"/>
            <p14:sldId id="2134805417"/>
            <p14:sldId id="2134805418"/>
            <p14:sldId id="2134805420"/>
            <p14:sldId id="2134805421"/>
            <p14:sldId id="2134805491"/>
            <p14:sldId id="278"/>
            <p14:sldId id="2134805493"/>
            <p14:sldId id="2134805494"/>
            <p14:sldId id="2134805492"/>
            <p14:sldId id="2147469998"/>
            <p14:sldId id="2147469999"/>
            <p14:sldId id="2134805496"/>
            <p14:sldId id="2134805497"/>
            <p14:sldId id="2134805498"/>
            <p14:sldId id="2134805499"/>
            <p14:sldId id="2134805495"/>
            <p14:sldId id="2147470000"/>
            <p14:sldId id="2147470001"/>
            <p14:sldId id="2134805427"/>
            <p14:sldId id="2134805428"/>
            <p14:sldId id="2134805429"/>
            <p14:sldId id="2147470002"/>
            <p14:sldId id="2134805500"/>
            <p14:sldId id="2134805501"/>
            <p14:sldId id="2134805440"/>
            <p14:sldId id="2134805439"/>
            <p14:sldId id="2134805441"/>
            <p14:sldId id="2134805442"/>
            <p14:sldId id="2134805434"/>
            <p14:sldId id="2134805445"/>
            <p14:sldId id="2134805473"/>
            <p14:sldId id="2134805474"/>
            <p14:sldId id="2134805475"/>
            <p14:sldId id="2134805476"/>
            <p14:sldId id="2134805477"/>
            <p14:sldId id="2134805436"/>
            <p14:sldId id="2134805478"/>
            <p14:sldId id="2134805479"/>
            <p14:sldId id="2134805437"/>
            <p14:sldId id="2134805438"/>
            <p14:sldId id="2134805480"/>
            <p14:sldId id="2134805481"/>
            <p14:sldId id="2134805431"/>
            <p14:sldId id="2134805482"/>
            <p14:sldId id="2134805483"/>
            <p14:sldId id="2134805484"/>
            <p14:sldId id="2134805455"/>
            <p14:sldId id="2134805485"/>
            <p14:sldId id="2134805486"/>
            <p14:sldId id="2134805487"/>
            <p14:sldId id="2134805488"/>
            <p14:sldId id="2134805457"/>
            <p14:sldId id="2134805458"/>
            <p14:sldId id="271"/>
            <p14:sldId id="2134805454"/>
          </p14:sldIdLst>
        </p14:section>
        <p14:section name="Data Culture" id="{5593C7CA-D726-446B-8652-6E99D8B978C1}">
          <p14:sldIdLst>
            <p14:sldId id="2147469947"/>
            <p14:sldId id="8706"/>
            <p14:sldId id="8685"/>
            <p14:sldId id="8689"/>
            <p14:sldId id="8692"/>
            <p14:sldId id="8693"/>
            <p14:sldId id="8686"/>
            <p14:sldId id="8694"/>
            <p14:sldId id="8710"/>
            <p14:sldId id="2134805393"/>
            <p14:sldId id="8696"/>
            <p14:sldId id="2147469948"/>
            <p14:sldId id="2134805400"/>
            <p14:sldId id="8697"/>
            <p14:sldId id="10056"/>
            <p14:sldId id="10074"/>
            <p14:sldId id="2134805394"/>
            <p14:sldId id="10057"/>
            <p14:sldId id="10060"/>
            <p14:sldId id="2147469949"/>
            <p14:sldId id="2147469950"/>
            <p14:sldId id="10014"/>
            <p14:sldId id="10073"/>
            <p14:sldId id="2147469951"/>
            <p14:sldId id="8688"/>
            <p14:sldId id="2134805396"/>
            <p14:sldId id="2147469994"/>
            <p14:sldId id="2147469895"/>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7" name="Caitlyn Ryan" initials="CR" lastIdx="9" clrIdx="7">
    <p:extLst>
      <p:ext uri="{19B8F6BF-5375-455C-9EA6-DF929625EA0E}">
        <p15:presenceInfo xmlns:p15="http://schemas.microsoft.com/office/powerpoint/2012/main" userId="S-1-5-21-383413107-1061881802-891584314-12522" providerId="AD"/>
      </p:ext>
    </p:extLst>
  </p:cmAuthor>
  <p:cmAuthor id="1" name="Mary Feil-Jacobs" initials="MFJ" lastIdx="43" clrIdx="1"/>
  <p:cmAuthor id="8" name="Colin Murphy" initials="CM" lastIdx="2" clrIdx="8">
    <p:extLst>
      <p:ext uri="{19B8F6BF-5375-455C-9EA6-DF929625EA0E}">
        <p15:presenceInfo xmlns:p15="http://schemas.microsoft.com/office/powerpoint/2012/main" userId="S-1-5-21-2127521184-1604012920-1887927527-9255010" providerId="AD"/>
      </p:ext>
    </p:extLst>
  </p:cmAuthor>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9" name="John Doyle" initials="JD" lastIdx="4" clrIdx="9">
    <p:extLst>
      <p:ext uri="{19B8F6BF-5375-455C-9EA6-DF929625EA0E}">
        <p15:presenceInfo xmlns:p15="http://schemas.microsoft.com/office/powerpoint/2012/main" userId="S-1-5-21-2127521184-1604012920-1887927527-239011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10" name="Brittany Hart" initials="BH [2]" lastIdx="16" clrIdx="10">
    <p:extLst>
      <p:ext uri="{19B8F6BF-5375-455C-9EA6-DF929625EA0E}">
        <p15:presenceInfo xmlns:p15="http://schemas.microsoft.com/office/powerpoint/2012/main" userId="S::BrittanyH@silverfoxprod.com::0b940bb1-f19f-4ede-b667-81bd2230cbc6" providerId="AD"/>
      </p:ext>
    </p:extLst>
  </p:cmAuthor>
  <p:cmAuthor id="4" name="Mitchell Derrey" initials="MD" lastIdx="1" clrIdx="4">
    <p:extLst>
      <p:ext uri="{19B8F6BF-5375-455C-9EA6-DF929625EA0E}">
        <p15:presenceInfo xmlns:p15="http://schemas.microsoft.com/office/powerpoint/2012/main" userId="S-1-5-21-383413107-1061881802-891584314-4851" providerId="AD"/>
      </p:ext>
    </p:extLst>
  </p:cmAuthor>
  <p:cmAuthor id="5" name="David Griffith" initials="DG" lastIdx="1" clrIdx="5">
    <p:extLst>
      <p:ext uri="{19B8F6BF-5375-455C-9EA6-DF929625EA0E}">
        <p15:presenceInfo xmlns:p15="http://schemas.microsoft.com/office/powerpoint/2012/main" userId="S-1-5-21-383413107-1061881802-891584314-4667" providerId="AD"/>
      </p:ext>
    </p:extLst>
  </p:cmAuthor>
  <p:cmAuthor id="6" name="Brittany Hart" initials="BH" lastIdx="8" clrIdx="6">
    <p:extLst>
      <p:ext uri="{19B8F6BF-5375-455C-9EA6-DF929625EA0E}">
        <p15:presenceInfo xmlns:p15="http://schemas.microsoft.com/office/powerpoint/2012/main" userId="S-1-5-21-383413107-1061881802-891584314-1002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C811"/>
    <a:srgbClr val="BB6100"/>
    <a:srgbClr val="0078D4"/>
    <a:srgbClr val="ADADAD"/>
    <a:srgbClr val="000000"/>
    <a:srgbClr val="3C3C41"/>
    <a:srgbClr val="525252"/>
    <a:srgbClr val="6A4B16"/>
    <a:srgbClr val="F0F0F0"/>
    <a:srgbClr val="C7C7C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2DDBC97-4235-4334-8BE0-71DA75412A2A}" v="5" dt="2022-03-09T15:29:25.655"/>
    <p1510:client id="{52804B61-1DE3-4ACE-A5C7-3F3BAAE953F4}" v="815" dt="2022-03-09T16:54:46.634"/>
    <p1510:client id="{83D3E343-C8BE-5239-D3F2-ED4BDBBCDCCA}" v="2" dt="2022-03-09T11:54:03.645"/>
    <p1510:client id="{B4B2FADB-1391-4175-AFC9-02E3A99082C3}" v="7" dt="2022-03-09T17:29:31.685"/>
    <p1510:client id="{C8C6F449-80BC-44AF-8DBA-BD6ACCD9B3DB}" v="314" vWet="316" dt="2022-03-09T14:16:13.477"/>
    <p1510:client id="{FCE05D11-8F48-479D-89BD-42400DB7CBDB}" v="89" vWet="91" dt="2022-03-09T13:27:47.30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9627" autoAdjust="0"/>
  </p:normalViewPr>
  <p:slideViewPr>
    <p:cSldViewPr snapToGrid="0">
      <p:cViewPr varScale="1">
        <p:scale>
          <a:sx n="83" d="100"/>
          <a:sy n="83" d="100"/>
        </p:scale>
        <p:origin x="1212" y="90"/>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2.xml"/><Relationship Id="rId21" Type="http://schemas.openxmlformats.org/officeDocument/2006/relationships/slide" Target="slides/slide6.xml"/><Relationship Id="rId42" Type="http://schemas.openxmlformats.org/officeDocument/2006/relationships/slide" Target="slides/slide27.xml"/><Relationship Id="rId63" Type="http://schemas.openxmlformats.org/officeDocument/2006/relationships/slide" Target="slides/slide48.xml"/><Relationship Id="rId84" Type="http://schemas.openxmlformats.org/officeDocument/2006/relationships/slide" Target="slides/slide69.xml"/><Relationship Id="rId138" Type="http://schemas.openxmlformats.org/officeDocument/2006/relationships/slide" Target="slides/slide123.xml"/><Relationship Id="rId159" Type="http://schemas.openxmlformats.org/officeDocument/2006/relationships/slide" Target="slides/slide144.xml"/><Relationship Id="rId170" Type="http://schemas.openxmlformats.org/officeDocument/2006/relationships/slide" Target="slides/slide155.xml"/><Relationship Id="rId191" Type="http://schemas.openxmlformats.org/officeDocument/2006/relationships/slide" Target="slides/slide176.xml"/><Relationship Id="rId205" Type="http://schemas.openxmlformats.org/officeDocument/2006/relationships/slide" Target="slides/slide190.xml"/><Relationship Id="rId226" Type="http://schemas.microsoft.com/office/2016/11/relationships/changesInfo" Target="changesInfos/changesInfo1.xml"/><Relationship Id="rId107" Type="http://schemas.openxmlformats.org/officeDocument/2006/relationships/slide" Target="slides/slide92.xml"/><Relationship Id="rId11" Type="http://schemas.openxmlformats.org/officeDocument/2006/relationships/slideMaster" Target="slideMasters/slideMaster8.xml"/><Relationship Id="rId32" Type="http://schemas.openxmlformats.org/officeDocument/2006/relationships/slide" Target="slides/slide17.xml"/><Relationship Id="rId53" Type="http://schemas.openxmlformats.org/officeDocument/2006/relationships/slide" Target="slides/slide38.xml"/><Relationship Id="rId74" Type="http://schemas.openxmlformats.org/officeDocument/2006/relationships/slide" Target="slides/slide59.xml"/><Relationship Id="rId128" Type="http://schemas.openxmlformats.org/officeDocument/2006/relationships/slide" Target="slides/slide113.xml"/><Relationship Id="rId149" Type="http://schemas.openxmlformats.org/officeDocument/2006/relationships/slide" Target="slides/slide134.xml"/><Relationship Id="rId5" Type="http://schemas.openxmlformats.org/officeDocument/2006/relationships/slideMaster" Target="slideMasters/slideMaster2.xml"/><Relationship Id="rId95" Type="http://schemas.openxmlformats.org/officeDocument/2006/relationships/slide" Target="slides/slide80.xml"/><Relationship Id="rId160" Type="http://schemas.openxmlformats.org/officeDocument/2006/relationships/slide" Target="slides/slide145.xml"/><Relationship Id="rId181" Type="http://schemas.openxmlformats.org/officeDocument/2006/relationships/slide" Target="slides/slide166.xml"/><Relationship Id="rId216" Type="http://schemas.openxmlformats.org/officeDocument/2006/relationships/slide" Target="slides/slide201.xml"/><Relationship Id="rId22" Type="http://schemas.openxmlformats.org/officeDocument/2006/relationships/slide" Target="slides/slide7.xml"/><Relationship Id="rId43" Type="http://schemas.openxmlformats.org/officeDocument/2006/relationships/slide" Target="slides/slide28.xml"/><Relationship Id="rId64" Type="http://schemas.openxmlformats.org/officeDocument/2006/relationships/slide" Target="slides/slide49.xml"/><Relationship Id="rId118" Type="http://schemas.openxmlformats.org/officeDocument/2006/relationships/slide" Target="slides/slide103.xml"/><Relationship Id="rId139" Type="http://schemas.openxmlformats.org/officeDocument/2006/relationships/slide" Target="slides/slide124.xml"/><Relationship Id="rId85" Type="http://schemas.openxmlformats.org/officeDocument/2006/relationships/slide" Target="slides/slide70.xml"/><Relationship Id="rId150" Type="http://schemas.openxmlformats.org/officeDocument/2006/relationships/slide" Target="slides/slide135.xml"/><Relationship Id="rId171" Type="http://schemas.openxmlformats.org/officeDocument/2006/relationships/slide" Target="slides/slide156.xml"/><Relationship Id="rId192" Type="http://schemas.openxmlformats.org/officeDocument/2006/relationships/slide" Target="slides/slide177.xml"/><Relationship Id="rId206" Type="http://schemas.openxmlformats.org/officeDocument/2006/relationships/slide" Target="slides/slide191.xml"/><Relationship Id="rId227" Type="http://schemas.microsoft.com/office/2015/10/relationships/revisionInfo" Target="revisionInfo.xml"/><Relationship Id="rId12" Type="http://schemas.openxmlformats.org/officeDocument/2006/relationships/slideMaster" Target="slideMasters/slideMaster9.xml"/><Relationship Id="rId33" Type="http://schemas.openxmlformats.org/officeDocument/2006/relationships/slide" Target="slides/slide18.xml"/><Relationship Id="rId108" Type="http://schemas.openxmlformats.org/officeDocument/2006/relationships/slide" Target="slides/slide93.xml"/><Relationship Id="rId129" Type="http://schemas.openxmlformats.org/officeDocument/2006/relationships/slide" Target="slides/slide114.xml"/><Relationship Id="rId54" Type="http://schemas.openxmlformats.org/officeDocument/2006/relationships/slide" Target="slides/slide39.xml"/><Relationship Id="rId75" Type="http://schemas.openxmlformats.org/officeDocument/2006/relationships/slide" Target="slides/slide60.xml"/><Relationship Id="rId96" Type="http://schemas.openxmlformats.org/officeDocument/2006/relationships/slide" Target="slides/slide81.xml"/><Relationship Id="rId140" Type="http://schemas.openxmlformats.org/officeDocument/2006/relationships/slide" Target="slides/slide125.xml"/><Relationship Id="rId161" Type="http://schemas.openxmlformats.org/officeDocument/2006/relationships/slide" Target="slides/slide146.xml"/><Relationship Id="rId182" Type="http://schemas.openxmlformats.org/officeDocument/2006/relationships/slide" Target="slides/slide167.xml"/><Relationship Id="rId217" Type="http://schemas.openxmlformats.org/officeDocument/2006/relationships/slide" Target="slides/slide202.xml"/><Relationship Id="rId6" Type="http://schemas.openxmlformats.org/officeDocument/2006/relationships/slideMaster" Target="slideMasters/slideMaster3.xml"/><Relationship Id="rId23" Type="http://schemas.openxmlformats.org/officeDocument/2006/relationships/slide" Target="slides/slide8.xml"/><Relationship Id="rId119" Type="http://schemas.openxmlformats.org/officeDocument/2006/relationships/slide" Target="slides/slide104.xml"/><Relationship Id="rId44" Type="http://schemas.openxmlformats.org/officeDocument/2006/relationships/slide" Target="slides/slide29.xml"/><Relationship Id="rId65" Type="http://schemas.openxmlformats.org/officeDocument/2006/relationships/slide" Target="slides/slide50.xml"/><Relationship Id="rId86" Type="http://schemas.openxmlformats.org/officeDocument/2006/relationships/slide" Target="slides/slide71.xml"/><Relationship Id="rId130" Type="http://schemas.openxmlformats.org/officeDocument/2006/relationships/slide" Target="slides/slide115.xml"/><Relationship Id="rId151" Type="http://schemas.openxmlformats.org/officeDocument/2006/relationships/slide" Target="slides/slide136.xml"/><Relationship Id="rId172" Type="http://schemas.openxmlformats.org/officeDocument/2006/relationships/slide" Target="slides/slide157.xml"/><Relationship Id="rId193" Type="http://schemas.openxmlformats.org/officeDocument/2006/relationships/slide" Target="slides/slide178.xml"/><Relationship Id="rId207" Type="http://schemas.openxmlformats.org/officeDocument/2006/relationships/slide" Target="slides/slide192.xml"/><Relationship Id="rId13" Type="http://schemas.openxmlformats.org/officeDocument/2006/relationships/slideMaster" Target="slideMasters/slideMaster10.xml"/><Relationship Id="rId109" Type="http://schemas.openxmlformats.org/officeDocument/2006/relationships/slide" Target="slides/slide94.xml"/><Relationship Id="rId34" Type="http://schemas.openxmlformats.org/officeDocument/2006/relationships/slide" Target="slides/slide19.xml"/><Relationship Id="rId55" Type="http://schemas.openxmlformats.org/officeDocument/2006/relationships/slide" Target="slides/slide40.xml"/><Relationship Id="rId76" Type="http://schemas.openxmlformats.org/officeDocument/2006/relationships/slide" Target="slides/slide61.xml"/><Relationship Id="rId97" Type="http://schemas.openxmlformats.org/officeDocument/2006/relationships/slide" Target="slides/slide82.xml"/><Relationship Id="rId120" Type="http://schemas.openxmlformats.org/officeDocument/2006/relationships/slide" Target="slides/slide105.xml"/><Relationship Id="rId141" Type="http://schemas.openxmlformats.org/officeDocument/2006/relationships/slide" Target="slides/slide126.xml"/><Relationship Id="rId7" Type="http://schemas.openxmlformats.org/officeDocument/2006/relationships/slideMaster" Target="slideMasters/slideMaster4.xml"/><Relationship Id="rId162" Type="http://schemas.openxmlformats.org/officeDocument/2006/relationships/slide" Target="slides/slide147.xml"/><Relationship Id="rId183" Type="http://schemas.openxmlformats.org/officeDocument/2006/relationships/slide" Target="slides/slide168.xml"/><Relationship Id="rId218" Type="http://schemas.openxmlformats.org/officeDocument/2006/relationships/slide" Target="slides/slide203.xml"/><Relationship Id="rId24" Type="http://schemas.openxmlformats.org/officeDocument/2006/relationships/slide" Target="slides/slide9.xml"/><Relationship Id="rId45" Type="http://schemas.openxmlformats.org/officeDocument/2006/relationships/slide" Target="slides/slide30.xml"/><Relationship Id="rId66" Type="http://schemas.openxmlformats.org/officeDocument/2006/relationships/slide" Target="slides/slide51.xml"/><Relationship Id="rId87" Type="http://schemas.openxmlformats.org/officeDocument/2006/relationships/slide" Target="slides/slide72.xml"/><Relationship Id="rId110" Type="http://schemas.openxmlformats.org/officeDocument/2006/relationships/slide" Target="slides/slide95.xml"/><Relationship Id="rId131" Type="http://schemas.openxmlformats.org/officeDocument/2006/relationships/slide" Target="slides/slide116.xml"/><Relationship Id="rId152" Type="http://schemas.openxmlformats.org/officeDocument/2006/relationships/slide" Target="slides/slide137.xml"/><Relationship Id="rId173" Type="http://schemas.openxmlformats.org/officeDocument/2006/relationships/slide" Target="slides/slide158.xml"/><Relationship Id="rId194" Type="http://schemas.openxmlformats.org/officeDocument/2006/relationships/slide" Target="slides/slide179.xml"/><Relationship Id="rId208" Type="http://schemas.openxmlformats.org/officeDocument/2006/relationships/slide" Target="slides/slide193.xml"/><Relationship Id="rId14" Type="http://schemas.openxmlformats.org/officeDocument/2006/relationships/slideMaster" Target="slideMasters/slideMaster11.xml"/><Relationship Id="rId35" Type="http://schemas.openxmlformats.org/officeDocument/2006/relationships/slide" Target="slides/slide20.xml"/><Relationship Id="rId56" Type="http://schemas.openxmlformats.org/officeDocument/2006/relationships/slide" Target="slides/slide41.xml"/><Relationship Id="rId77" Type="http://schemas.openxmlformats.org/officeDocument/2006/relationships/slide" Target="slides/slide62.xml"/><Relationship Id="rId100" Type="http://schemas.openxmlformats.org/officeDocument/2006/relationships/slide" Target="slides/slide85.xml"/><Relationship Id="rId8" Type="http://schemas.openxmlformats.org/officeDocument/2006/relationships/slideMaster" Target="slideMasters/slideMaster5.xml"/><Relationship Id="rId98" Type="http://schemas.openxmlformats.org/officeDocument/2006/relationships/slide" Target="slides/slide83.xml"/><Relationship Id="rId121" Type="http://schemas.openxmlformats.org/officeDocument/2006/relationships/slide" Target="slides/slide106.xml"/><Relationship Id="rId142" Type="http://schemas.openxmlformats.org/officeDocument/2006/relationships/slide" Target="slides/slide127.xml"/><Relationship Id="rId163" Type="http://schemas.openxmlformats.org/officeDocument/2006/relationships/slide" Target="slides/slide148.xml"/><Relationship Id="rId184" Type="http://schemas.openxmlformats.org/officeDocument/2006/relationships/slide" Target="slides/slide169.xml"/><Relationship Id="rId219" Type="http://schemas.openxmlformats.org/officeDocument/2006/relationships/notesMaster" Target="notesMasters/notesMaster1.xml"/><Relationship Id="rId3" Type="http://schemas.openxmlformats.org/officeDocument/2006/relationships/customXml" Target="../customXml/item3.xml"/><Relationship Id="rId214" Type="http://schemas.openxmlformats.org/officeDocument/2006/relationships/slide" Target="slides/slide199.xml"/><Relationship Id="rId25" Type="http://schemas.openxmlformats.org/officeDocument/2006/relationships/slide" Target="slides/slide10.xml"/><Relationship Id="rId46" Type="http://schemas.openxmlformats.org/officeDocument/2006/relationships/slide" Target="slides/slide31.xml"/><Relationship Id="rId67" Type="http://schemas.openxmlformats.org/officeDocument/2006/relationships/slide" Target="slides/slide52.xml"/><Relationship Id="rId116" Type="http://schemas.openxmlformats.org/officeDocument/2006/relationships/slide" Target="slides/slide101.xml"/><Relationship Id="rId137" Type="http://schemas.openxmlformats.org/officeDocument/2006/relationships/slide" Target="slides/slide122.xml"/><Relationship Id="rId158" Type="http://schemas.openxmlformats.org/officeDocument/2006/relationships/slide" Target="slides/slide143.xml"/><Relationship Id="rId20" Type="http://schemas.openxmlformats.org/officeDocument/2006/relationships/slide" Target="slides/slide5.xml"/><Relationship Id="rId41" Type="http://schemas.openxmlformats.org/officeDocument/2006/relationships/slide" Target="slides/slide26.xml"/><Relationship Id="rId62" Type="http://schemas.openxmlformats.org/officeDocument/2006/relationships/slide" Target="slides/slide47.xml"/><Relationship Id="rId83" Type="http://schemas.openxmlformats.org/officeDocument/2006/relationships/slide" Target="slides/slide68.xml"/><Relationship Id="rId88" Type="http://schemas.openxmlformats.org/officeDocument/2006/relationships/slide" Target="slides/slide73.xml"/><Relationship Id="rId111" Type="http://schemas.openxmlformats.org/officeDocument/2006/relationships/slide" Target="slides/slide96.xml"/><Relationship Id="rId132" Type="http://schemas.openxmlformats.org/officeDocument/2006/relationships/slide" Target="slides/slide117.xml"/><Relationship Id="rId153" Type="http://schemas.openxmlformats.org/officeDocument/2006/relationships/slide" Target="slides/slide138.xml"/><Relationship Id="rId174" Type="http://schemas.openxmlformats.org/officeDocument/2006/relationships/slide" Target="slides/slide159.xml"/><Relationship Id="rId179" Type="http://schemas.openxmlformats.org/officeDocument/2006/relationships/slide" Target="slides/slide164.xml"/><Relationship Id="rId195" Type="http://schemas.openxmlformats.org/officeDocument/2006/relationships/slide" Target="slides/slide180.xml"/><Relationship Id="rId209" Type="http://schemas.openxmlformats.org/officeDocument/2006/relationships/slide" Target="slides/slide194.xml"/><Relationship Id="rId190" Type="http://schemas.openxmlformats.org/officeDocument/2006/relationships/slide" Target="slides/slide175.xml"/><Relationship Id="rId204" Type="http://schemas.openxmlformats.org/officeDocument/2006/relationships/slide" Target="slides/slide189.xml"/><Relationship Id="rId220" Type="http://schemas.openxmlformats.org/officeDocument/2006/relationships/handoutMaster" Target="handoutMasters/handoutMaster1.xml"/><Relationship Id="rId225" Type="http://schemas.openxmlformats.org/officeDocument/2006/relationships/tableStyles" Target="tableStyles.xml"/><Relationship Id="rId15" Type="http://schemas.openxmlformats.org/officeDocument/2006/relationships/slideMaster" Target="slideMasters/slideMaster12.xml"/><Relationship Id="rId36" Type="http://schemas.openxmlformats.org/officeDocument/2006/relationships/slide" Target="slides/slide21.xml"/><Relationship Id="rId57" Type="http://schemas.openxmlformats.org/officeDocument/2006/relationships/slide" Target="slides/slide42.xml"/><Relationship Id="rId106" Type="http://schemas.openxmlformats.org/officeDocument/2006/relationships/slide" Target="slides/slide91.xml"/><Relationship Id="rId127" Type="http://schemas.openxmlformats.org/officeDocument/2006/relationships/slide" Target="slides/slide112.xml"/><Relationship Id="rId10" Type="http://schemas.openxmlformats.org/officeDocument/2006/relationships/slideMaster" Target="slideMasters/slideMaster7.xml"/><Relationship Id="rId31" Type="http://schemas.openxmlformats.org/officeDocument/2006/relationships/slide" Target="slides/slide16.xml"/><Relationship Id="rId52" Type="http://schemas.openxmlformats.org/officeDocument/2006/relationships/slide" Target="slides/slide37.xml"/><Relationship Id="rId73" Type="http://schemas.openxmlformats.org/officeDocument/2006/relationships/slide" Target="slides/slide58.xml"/><Relationship Id="rId78" Type="http://schemas.openxmlformats.org/officeDocument/2006/relationships/slide" Target="slides/slide63.xml"/><Relationship Id="rId94" Type="http://schemas.openxmlformats.org/officeDocument/2006/relationships/slide" Target="slides/slide79.xml"/><Relationship Id="rId99" Type="http://schemas.openxmlformats.org/officeDocument/2006/relationships/slide" Target="slides/slide84.xml"/><Relationship Id="rId101" Type="http://schemas.openxmlformats.org/officeDocument/2006/relationships/slide" Target="slides/slide86.xml"/><Relationship Id="rId122" Type="http://schemas.openxmlformats.org/officeDocument/2006/relationships/slide" Target="slides/slide107.xml"/><Relationship Id="rId143" Type="http://schemas.openxmlformats.org/officeDocument/2006/relationships/slide" Target="slides/slide128.xml"/><Relationship Id="rId148" Type="http://schemas.openxmlformats.org/officeDocument/2006/relationships/slide" Target="slides/slide133.xml"/><Relationship Id="rId164" Type="http://schemas.openxmlformats.org/officeDocument/2006/relationships/slide" Target="slides/slide149.xml"/><Relationship Id="rId169" Type="http://schemas.openxmlformats.org/officeDocument/2006/relationships/slide" Target="slides/slide154.xml"/><Relationship Id="rId185" Type="http://schemas.openxmlformats.org/officeDocument/2006/relationships/slide" Target="slides/slide170.xml"/><Relationship Id="rId4" Type="http://schemas.openxmlformats.org/officeDocument/2006/relationships/slideMaster" Target="slideMasters/slideMaster1.xml"/><Relationship Id="rId9" Type="http://schemas.openxmlformats.org/officeDocument/2006/relationships/slideMaster" Target="slideMasters/slideMaster6.xml"/><Relationship Id="rId180" Type="http://schemas.openxmlformats.org/officeDocument/2006/relationships/slide" Target="slides/slide165.xml"/><Relationship Id="rId210" Type="http://schemas.openxmlformats.org/officeDocument/2006/relationships/slide" Target="slides/slide195.xml"/><Relationship Id="rId215" Type="http://schemas.openxmlformats.org/officeDocument/2006/relationships/slide" Target="slides/slide200.xml"/><Relationship Id="rId26" Type="http://schemas.openxmlformats.org/officeDocument/2006/relationships/slide" Target="slides/slide11.xml"/><Relationship Id="rId47" Type="http://schemas.openxmlformats.org/officeDocument/2006/relationships/slide" Target="slides/slide32.xml"/><Relationship Id="rId68" Type="http://schemas.openxmlformats.org/officeDocument/2006/relationships/slide" Target="slides/slide53.xml"/><Relationship Id="rId89" Type="http://schemas.openxmlformats.org/officeDocument/2006/relationships/slide" Target="slides/slide74.xml"/><Relationship Id="rId112" Type="http://schemas.openxmlformats.org/officeDocument/2006/relationships/slide" Target="slides/slide97.xml"/><Relationship Id="rId133" Type="http://schemas.openxmlformats.org/officeDocument/2006/relationships/slide" Target="slides/slide118.xml"/><Relationship Id="rId154" Type="http://schemas.openxmlformats.org/officeDocument/2006/relationships/slide" Target="slides/slide139.xml"/><Relationship Id="rId175" Type="http://schemas.openxmlformats.org/officeDocument/2006/relationships/slide" Target="slides/slide160.xml"/><Relationship Id="rId196" Type="http://schemas.openxmlformats.org/officeDocument/2006/relationships/slide" Target="slides/slide181.xml"/><Relationship Id="rId200" Type="http://schemas.openxmlformats.org/officeDocument/2006/relationships/slide" Target="slides/slide185.xml"/><Relationship Id="rId16" Type="http://schemas.openxmlformats.org/officeDocument/2006/relationships/slide" Target="slides/slide1.xml"/><Relationship Id="rId221" Type="http://schemas.openxmlformats.org/officeDocument/2006/relationships/commentAuthors" Target="commentAuthors.xml"/><Relationship Id="rId37" Type="http://schemas.openxmlformats.org/officeDocument/2006/relationships/slide" Target="slides/slide22.xml"/><Relationship Id="rId58" Type="http://schemas.openxmlformats.org/officeDocument/2006/relationships/slide" Target="slides/slide43.xml"/><Relationship Id="rId79" Type="http://schemas.openxmlformats.org/officeDocument/2006/relationships/slide" Target="slides/slide64.xml"/><Relationship Id="rId102" Type="http://schemas.openxmlformats.org/officeDocument/2006/relationships/slide" Target="slides/slide87.xml"/><Relationship Id="rId123" Type="http://schemas.openxmlformats.org/officeDocument/2006/relationships/slide" Target="slides/slide108.xml"/><Relationship Id="rId144" Type="http://schemas.openxmlformats.org/officeDocument/2006/relationships/slide" Target="slides/slide129.xml"/><Relationship Id="rId90" Type="http://schemas.openxmlformats.org/officeDocument/2006/relationships/slide" Target="slides/slide75.xml"/><Relationship Id="rId165" Type="http://schemas.openxmlformats.org/officeDocument/2006/relationships/slide" Target="slides/slide150.xml"/><Relationship Id="rId186" Type="http://schemas.openxmlformats.org/officeDocument/2006/relationships/slide" Target="slides/slide171.xml"/><Relationship Id="rId211" Type="http://schemas.openxmlformats.org/officeDocument/2006/relationships/slide" Target="slides/slide196.xml"/><Relationship Id="rId27" Type="http://schemas.openxmlformats.org/officeDocument/2006/relationships/slide" Target="slides/slide12.xml"/><Relationship Id="rId48" Type="http://schemas.openxmlformats.org/officeDocument/2006/relationships/slide" Target="slides/slide33.xml"/><Relationship Id="rId69" Type="http://schemas.openxmlformats.org/officeDocument/2006/relationships/slide" Target="slides/slide54.xml"/><Relationship Id="rId113" Type="http://schemas.openxmlformats.org/officeDocument/2006/relationships/slide" Target="slides/slide98.xml"/><Relationship Id="rId134" Type="http://schemas.openxmlformats.org/officeDocument/2006/relationships/slide" Target="slides/slide119.xml"/><Relationship Id="rId80" Type="http://schemas.openxmlformats.org/officeDocument/2006/relationships/slide" Target="slides/slide65.xml"/><Relationship Id="rId155" Type="http://schemas.openxmlformats.org/officeDocument/2006/relationships/slide" Target="slides/slide140.xml"/><Relationship Id="rId176" Type="http://schemas.openxmlformats.org/officeDocument/2006/relationships/slide" Target="slides/slide161.xml"/><Relationship Id="rId197" Type="http://schemas.openxmlformats.org/officeDocument/2006/relationships/slide" Target="slides/slide182.xml"/><Relationship Id="rId201" Type="http://schemas.openxmlformats.org/officeDocument/2006/relationships/slide" Target="slides/slide186.xml"/><Relationship Id="rId222" Type="http://schemas.openxmlformats.org/officeDocument/2006/relationships/presProps" Target="presProps.xml"/><Relationship Id="rId17" Type="http://schemas.openxmlformats.org/officeDocument/2006/relationships/slide" Target="slides/slide2.xml"/><Relationship Id="rId38" Type="http://schemas.openxmlformats.org/officeDocument/2006/relationships/slide" Target="slides/slide23.xml"/><Relationship Id="rId59" Type="http://schemas.openxmlformats.org/officeDocument/2006/relationships/slide" Target="slides/slide44.xml"/><Relationship Id="rId103" Type="http://schemas.openxmlformats.org/officeDocument/2006/relationships/slide" Target="slides/slide88.xml"/><Relationship Id="rId124" Type="http://schemas.openxmlformats.org/officeDocument/2006/relationships/slide" Target="slides/slide109.xml"/><Relationship Id="rId70" Type="http://schemas.openxmlformats.org/officeDocument/2006/relationships/slide" Target="slides/slide55.xml"/><Relationship Id="rId91" Type="http://schemas.openxmlformats.org/officeDocument/2006/relationships/slide" Target="slides/slide76.xml"/><Relationship Id="rId145" Type="http://schemas.openxmlformats.org/officeDocument/2006/relationships/slide" Target="slides/slide130.xml"/><Relationship Id="rId166" Type="http://schemas.openxmlformats.org/officeDocument/2006/relationships/slide" Target="slides/slide151.xml"/><Relationship Id="rId187" Type="http://schemas.openxmlformats.org/officeDocument/2006/relationships/slide" Target="slides/slide172.xml"/><Relationship Id="rId1" Type="http://schemas.openxmlformats.org/officeDocument/2006/relationships/customXml" Target="../customXml/item1.xml"/><Relationship Id="rId212" Type="http://schemas.openxmlformats.org/officeDocument/2006/relationships/slide" Target="slides/slide197.xml"/><Relationship Id="rId28" Type="http://schemas.openxmlformats.org/officeDocument/2006/relationships/slide" Target="slides/slide13.xml"/><Relationship Id="rId49" Type="http://schemas.openxmlformats.org/officeDocument/2006/relationships/slide" Target="slides/slide34.xml"/><Relationship Id="rId114" Type="http://schemas.openxmlformats.org/officeDocument/2006/relationships/slide" Target="slides/slide99.xml"/><Relationship Id="rId60" Type="http://schemas.openxmlformats.org/officeDocument/2006/relationships/slide" Target="slides/slide45.xml"/><Relationship Id="rId81" Type="http://schemas.openxmlformats.org/officeDocument/2006/relationships/slide" Target="slides/slide66.xml"/><Relationship Id="rId135" Type="http://schemas.openxmlformats.org/officeDocument/2006/relationships/slide" Target="slides/slide120.xml"/><Relationship Id="rId156" Type="http://schemas.openxmlformats.org/officeDocument/2006/relationships/slide" Target="slides/slide141.xml"/><Relationship Id="rId177" Type="http://schemas.openxmlformats.org/officeDocument/2006/relationships/slide" Target="slides/slide162.xml"/><Relationship Id="rId198" Type="http://schemas.openxmlformats.org/officeDocument/2006/relationships/slide" Target="slides/slide183.xml"/><Relationship Id="rId202" Type="http://schemas.openxmlformats.org/officeDocument/2006/relationships/slide" Target="slides/slide187.xml"/><Relationship Id="rId223" Type="http://schemas.openxmlformats.org/officeDocument/2006/relationships/viewProps" Target="viewProps.xml"/><Relationship Id="rId18" Type="http://schemas.openxmlformats.org/officeDocument/2006/relationships/slide" Target="slides/slide3.xml"/><Relationship Id="rId39" Type="http://schemas.openxmlformats.org/officeDocument/2006/relationships/slide" Target="slides/slide24.xml"/><Relationship Id="rId50" Type="http://schemas.openxmlformats.org/officeDocument/2006/relationships/slide" Target="slides/slide35.xml"/><Relationship Id="rId104" Type="http://schemas.openxmlformats.org/officeDocument/2006/relationships/slide" Target="slides/slide89.xml"/><Relationship Id="rId125" Type="http://schemas.openxmlformats.org/officeDocument/2006/relationships/slide" Target="slides/slide110.xml"/><Relationship Id="rId146" Type="http://schemas.openxmlformats.org/officeDocument/2006/relationships/slide" Target="slides/slide131.xml"/><Relationship Id="rId167" Type="http://schemas.openxmlformats.org/officeDocument/2006/relationships/slide" Target="slides/slide152.xml"/><Relationship Id="rId188" Type="http://schemas.openxmlformats.org/officeDocument/2006/relationships/slide" Target="slides/slide173.xml"/><Relationship Id="rId71" Type="http://schemas.openxmlformats.org/officeDocument/2006/relationships/slide" Target="slides/slide56.xml"/><Relationship Id="rId92" Type="http://schemas.openxmlformats.org/officeDocument/2006/relationships/slide" Target="slides/slide77.xml"/><Relationship Id="rId213" Type="http://schemas.openxmlformats.org/officeDocument/2006/relationships/slide" Target="slides/slide198.xml"/><Relationship Id="rId2" Type="http://schemas.openxmlformats.org/officeDocument/2006/relationships/customXml" Target="../customXml/item2.xml"/><Relationship Id="rId29" Type="http://schemas.openxmlformats.org/officeDocument/2006/relationships/slide" Target="slides/slide14.xml"/><Relationship Id="rId40" Type="http://schemas.openxmlformats.org/officeDocument/2006/relationships/slide" Target="slides/slide25.xml"/><Relationship Id="rId115" Type="http://schemas.openxmlformats.org/officeDocument/2006/relationships/slide" Target="slides/slide100.xml"/><Relationship Id="rId136" Type="http://schemas.openxmlformats.org/officeDocument/2006/relationships/slide" Target="slides/slide121.xml"/><Relationship Id="rId157" Type="http://schemas.openxmlformats.org/officeDocument/2006/relationships/slide" Target="slides/slide142.xml"/><Relationship Id="rId178" Type="http://schemas.openxmlformats.org/officeDocument/2006/relationships/slide" Target="slides/slide163.xml"/><Relationship Id="rId61" Type="http://schemas.openxmlformats.org/officeDocument/2006/relationships/slide" Target="slides/slide46.xml"/><Relationship Id="rId82" Type="http://schemas.openxmlformats.org/officeDocument/2006/relationships/slide" Target="slides/slide67.xml"/><Relationship Id="rId199" Type="http://schemas.openxmlformats.org/officeDocument/2006/relationships/slide" Target="slides/slide184.xml"/><Relationship Id="rId203" Type="http://schemas.openxmlformats.org/officeDocument/2006/relationships/slide" Target="slides/slide188.xml"/><Relationship Id="rId19" Type="http://schemas.openxmlformats.org/officeDocument/2006/relationships/slide" Target="slides/slide4.xml"/><Relationship Id="rId224" Type="http://schemas.openxmlformats.org/officeDocument/2006/relationships/theme" Target="theme/theme1.xml"/><Relationship Id="rId30" Type="http://schemas.openxmlformats.org/officeDocument/2006/relationships/slide" Target="slides/slide15.xml"/><Relationship Id="rId105" Type="http://schemas.openxmlformats.org/officeDocument/2006/relationships/slide" Target="slides/slide90.xml"/><Relationship Id="rId126" Type="http://schemas.openxmlformats.org/officeDocument/2006/relationships/slide" Target="slides/slide111.xml"/><Relationship Id="rId147" Type="http://schemas.openxmlformats.org/officeDocument/2006/relationships/slide" Target="slides/slide132.xml"/><Relationship Id="rId168" Type="http://schemas.openxmlformats.org/officeDocument/2006/relationships/slide" Target="slides/slide153.xml"/><Relationship Id="rId51" Type="http://schemas.openxmlformats.org/officeDocument/2006/relationships/slide" Target="slides/slide36.xml"/><Relationship Id="rId72" Type="http://schemas.openxmlformats.org/officeDocument/2006/relationships/slide" Target="slides/slide57.xml"/><Relationship Id="rId93" Type="http://schemas.openxmlformats.org/officeDocument/2006/relationships/slide" Target="slides/slide78.xml"/><Relationship Id="rId189" Type="http://schemas.openxmlformats.org/officeDocument/2006/relationships/slide" Target="slides/slide17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ex Powers" userId="ae4a1fc7-4395-46d3-b2f1-3b3c37036ad1" providerId="ADAL" clId="{B4B2FADB-1391-4175-AFC9-02E3A99082C3}"/>
    <pc:docChg chg="undo custSel modSld">
      <pc:chgData name="Alex Powers" userId="ae4a1fc7-4395-46d3-b2f1-3b3c37036ad1" providerId="ADAL" clId="{B4B2FADB-1391-4175-AFC9-02E3A99082C3}" dt="2022-03-09T17:34:10.708" v="51" actId="20577"/>
      <pc:docMkLst>
        <pc:docMk/>
      </pc:docMkLst>
      <pc:sldChg chg="modNotesTx">
        <pc:chgData name="Alex Powers" userId="ae4a1fc7-4395-46d3-b2f1-3b3c37036ad1" providerId="ADAL" clId="{B4B2FADB-1391-4175-AFC9-02E3A99082C3}" dt="2022-03-09T17:32:50.975" v="30" actId="20577"/>
        <pc:sldMkLst>
          <pc:docMk/>
          <pc:sldMk cId="1017546157" sldId="268"/>
        </pc:sldMkLst>
      </pc:sldChg>
      <pc:sldChg chg="modNotesTx">
        <pc:chgData name="Alex Powers" userId="ae4a1fc7-4395-46d3-b2f1-3b3c37036ad1" providerId="ADAL" clId="{B4B2FADB-1391-4175-AFC9-02E3A99082C3}" dt="2022-03-09T17:32:39.282" v="29" actId="20577"/>
        <pc:sldMkLst>
          <pc:docMk/>
          <pc:sldMk cId="3267254440" sldId="269"/>
        </pc:sldMkLst>
      </pc:sldChg>
      <pc:sldChg chg="modNotesTx">
        <pc:chgData name="Alex Powers" userId="ae4a1fc7-4395-46d3-b2f1-3b3c37036ad1" providerId="ADAL" clId="{B4B2FADB-1391-4175-AFC9-02E3A99082C3}" dt="2022-03-09T17:31:22.832" v="27" actId="20577"/>
        <pc:sldMkLst>
          <pc:docMk/>
          <pc:sldMk cId="590324826" sldId="331"/>
        </pc:sldMkLst>
      </pc:sldChg>
      <pc:sldChg chg="modNotesTx">
        <pc:chgData name="Alex Powers" userId="ae4a1fc7-4395-46d3-b2f1-3b3c37036ad1" providerId="ADAL" clId="{B4B2FADB-1391-4175-AFC9-02E3A99082C3}" dt="2022-03-09T17:26:36.683" v="1" actId="20577"/>
        <pc:sldMkLst>
          <pc:docMk/>
          <pc:sldMk cId="1138756251" sldId="2076137603"/>
        </pc:sldMkLst>
      </pc:sldChg>
      <pc:sldChg chg="modNotesTx">
        <pc:chgData name="Alex Powers" userId="ae4a1fc7-4395-46d3-b2f1-3b3c37036ad1" providerId="ADAL" clId="{B4B2FADB-1391-4175-AFC9-02E3A99082C3}" dt="2022-03-09T17:26:25.785" v="0" actId="20577"/>
        <pc:sldMkLst>
          <pc:docMk/>
          <pc:sldMk cId="3946906249" sldId="2134805319"/>
        </pc:sldMkLst>
      </pc:sldChg>
      <pc:sldChg chg="modSp mod">
        <pc:chgData name="Alex Powers" userId="ae4a1fc7-4395-46d3-b2f1-3b3c37036ad1" providerId="ADAL" clId="{B4B2FADB-1391-4175-AFC9-02E3A99082C3}" dt="2022-03-09T17:27:47.185" v="6" actId="242"/>
        <pc:sldMkLst>
          <pc:docMk/>
          <pc:sldMk cId="2941241533" sldId="2134805336"/>
        </pc:sldMkLst>
        <pc:spChg chg="mod">
          <ac:chgData name="Alex Powers" userId="ae4a1fc7-4395-46d3-b2f1-3b3c37036ad1" providerId="ADAL" clId="{B4B2FADB-1391-4175-AFC9-02E3A99082C3}" dt="2022-03-09T17:27:18.180" v="4" actId="1076"/>
          <ac:spMkLst>
            <pc:docMk/>
            <pc:sldMk cId="2941241533" sldId="2134805336"/>
            <ac:spMk id="24" creationId="{0771EF23-15FC-4401-9994-ADA93A1E01F4}"/>
          </ac:spMkLst>
        </pc:spChg>
        <pc:graphicFrameChg chg="modGraphic">
          <ac:chgData name="Alex Powers" userId="ae4a1fc7-4395-46d3-b2f1-3b3c37036ad1" providerId="ADAL" clId="{B4B2FADB-1391-4175-AFC9-02E3A99082C3}" dt="2022-03-09T17:27:47.185" v="6" actId="242"/>
          <ac:graphicFrameMkLst>
            <pc:docMk/>
            <pc:sldMk cId="2941241533" sldId="2134805336"/>
            <ac:graphicFrameMk id="10" creationId="{10522868-2A6E-47B7-BAF2-549A3431A5C5}"/>
          </ac:graphicFrameMkLst>
        </pc:graphicFrameChg>
      </pc:sldChg>
      <pc:sldChg chg="modNotesTx">
        <pc:chgData name="Alex Powers" userId="ae4a1fc7-4395-46d3-b2f1-3b3c37036ad1" providerId="ADAL" clId="{B4B2FADB-1391-4175-AFC9-02E3A99082C3}" dt="2022-03-09T17:31:02.167" v="26" actId="20577"/>
        <pc:sldMkLst>
          <pc:docMk/>
          <pc:sldMk cId="1020451604" sldId="2134805392"/>
        </pc:sldMkLst>
      </pc:sldChg>
      <pc:sldChg chg="addSp delSp modSp mod">
        <pc:chgData name="Alex Powers" userId="ae4a1fc7-4395-46d3-b2f1-3b3c37036ad1" providerId="ADAL" clId="{B4B2FADB-1391-4175-AFC9-02E3A99082C3}" dt="2022-03-09T17:29:05.627" v="21" actId="478"/>
        <pc:sldMkLst>
          <pc:docMk/>
          <pc:sldMk cId="2809298019" sldId="2134805397"/>
        </pc:sldMkLst>
        <pc:graphicFrameChg chg="mod modGraphic">
          <ac:chgData name="Alex Powers" userId="ae4a1fc7-4395-46d3-b2f1-3b3c37036ad1" providerId="ADAL" clId="{B4B2FADB-1391-4175-AFC9-02E3A99082C3}" dt="2022-03-09T17:29:02.073" v="20" actId="14100"/>
          <ac:graphicFrameMkLst>
            <pc:docMk/>
            <pc:sldMk cId="2809298019" sldId="2134805397"/>
            <ac:graphicFrameMk id="5" creationId="{5DE13ECA-AD23-4A63-BFA8-9511E1994C63}"/>
          </ac:graphicFrameMkLst>
        </pc:graphicFrameChg>
        <pc:graphicFrameChg chg="del">
          <ac:chgData name="Alex Powers" userId="ae4a1fc7-4395-46d3-b2f1-3b3c37036ad1" providerId="ADAL" clId="{B4B2FADB-1391-4175-AFC9-02E3A99082C3}" dt="2022-03-09T17:29:05.627" v="21" actId="478"/>
          <ac:graphicFrameMkLst>
            <pc:docMk/>
            <pc:sldMk cId="2809298019" sldId="2134805397"/>
            <ac:graphicFrameMk id="6" creationId="{2F54243B-7992-4DE3-ACEF-5EFB3AEC2F62}"/>
          </ac:graphicFrameMkLst>
        </pc:graphicFrameChg>
        <pc:graphicFrameChg chg="add del mod">
          <ac:chgData name="Alex Powers" userId="ae4a1fc7-4395-46d3-b2f1-3b3c37036ad1" providerId="ADAL" clId="{B4B2FADB-1391-4175-AFC9-02E3A99082C3}" dt="2022-03-09T17:28:54.822" v="19" actId="478"/>
          <ac:graphicFrameMkLst>
            <pc:docMk/>
            <pc:sldMk cId="2809298019" sldId="2134805397"/>
            <ac:graphicFrameMk id="7" creationId="{3C7E8F80-E1F4-4944-958C-9983C2775965}"/>
          </ac:graphicFrameMkLst>
        </pc:graphicFrameChg>
      </pc:sldChg>
      <pc:sldChg chg="modNotesTx">
        <pc:chgData name="Alex Powers" userId="ae4a1fc7-4395-46d3-b2f1-3b3c37036ad1" providerId="ADAL" clId="{B4B2FADB-1391-4175-AFC9-02E3A99082C3}" dt="2022-03-09T17:32:58.954" v="33" actId="20577"/>
        <pc:sldMkLst>
          <pc:docMk/>
          <pc:sldMk cId="1954379322" sldId="2134805414"/>
        </pc:sldMkLst>
      </pc:sldChg>
      <pc:sldChg chg="modNotesTx">
        <pc:chgData name="Alex Powers" userId="ae4a1fc7-4395-46d3-b2f1-3b3c37036ad1" providerId="ADAL" clId="{B4B2FADB-1391-4175-AFC9-02E3A99082C3}" dt="2022-03-09T17:32:53.667" v="31" actId="20577"/>
        <pc:sldMkLst>
          <pc:docMk/>
          <pc:sldMk cId="1134581134" sldId="2134805471"/>
        </pc:sldMkLst>
      </pc:sldChg>
      <pc:sldChg chg="modNotesTx">
        <pc:chgData name="Alex Powers" userId="ae4a1fc7-4395-46d3-b2f1-3b3c37036ad1" providerId="ADAL" clId="{B4B2FADB-1391-4175-AFC9-02E3A99082C3}" dt="2022-03-09T17:33:06.433" v="34" actId="20577"/>
        <pc:sldMkLst>
          <pc:docMk/>
          <pc:sldMk cId="2972634393" sldId="2134805491"/>
        </pc:sldMkLst>
      </pc:sldChg>
      <pc:sldChg chg="modNotesTx">
        <pc:chgData name="Alex Powers" userId="ae4a1fc7-4395-46d3-b2f1-3b3c37036ad1" providerId="ADAL" clId="{B4B2FADB-1391-4175-AFC9-02E3A99082C3}" dt="2022-03-09T17:33:19.903" v="35" actId="20577"/>
        <pc:sldMkLst>
          <pc:docMk/>
          <pc:sldMk cId="1004513465" sldId="2134805492"/>
        </pc:sldMkLst>
      </pc:sldChg>
      <pc:sldChg chg="modNotesTx">
        <pc:chgData name="Alex Powers" userId="ae4a1fc7-4395-46d3-b2f1-3b3c37036ad1" providerId="ADAL" clId="{B4B2FADB-1391-4175-AFC9-02E3A99082C3}" dt="2022-03-09T17:26:43.894" v="2" actId="20577"/>
        <pc:sldMkLst>
          <pc:docMk/>
          <pc:sldMk cId="1994094466" sldId="2147469891"/>
        </pc:sldMkLst>
      </pc:sldChg>
      <pc:sldChg chg="modAnim">
        <pc:chgData name="Alex Powers" userId="ae4a1fc7-4395-46d3-b2f1-3b3c37036ad1" providerId="ADAL" clId="{B4B2FADB-1391-4175-AFC9-02E3A99082C3}" dt="2022-03-09T17:29:31.685" v="23"/>
        <pc:sldMkLst>
          <pc:docMk/>
          <pc:sldMk cId="712941580" sldId="2147469902"/>
        </pc:sldMkLst>
      </pc:sldChg>
      <pc:sldChg chg="modNotesTx">
        <pc:chgData name="Alex Powers" userId="ae4a1fc7-4395-46d3-b2f1-3b3c37036ad1" providerId="ADAL" clId="{B4B2FADB-1391-4175-AFC9-02E3A99082C3}" dt="2022-03-09T17:30:47.253" v="25" actId="20577"/>
        <pc:sldMkLst>
          <pc:docMk/>
          <pc:sldMk cId="2159753941" sldId="2147469944"/>
        </pc:sldMkLst>
      </pc:sldChg>
      <pc:sldChg chg="modNotesTx">
        <pc:chgData name="Alex Powers" userId="ae4a1fc7-4395-46d3-b2f1-3b3c37036ad1" providerId="ADAL" clId="{B4B2FADB-1391-4175-AFC9-02E3A99082C3}" dt="2022-03-09T17:30:40.509" v="24" actId="20577"/>
        <pc:sldMkLst>
          <pc:docMk/>
          <pc:sldMk cId="2747736574" sldId="2147469955"/>
        </pc:sldMkLst>
      </pc:sldChg>
      <pc:sldChg chg="modNotesTx">
        <pc:chgData name="Alex Powers" userId="ae4a1fc7-4395-46d3-b2f1-3b3c37036ad1" providerId="ADAL" clId="{B4B2FADB-1391-4175-AFC9-02E3A99082C3}" dt="2022-03-09T17:32:28.677" v="28" actId="20577"/>
        <pc:sldMkLst>
          <pc:docMk/>
          <pc:sldMk cId="2792166485" sldId="2147469996"/>
        </pc:sldMkLst>
      </pc:sldChg>
      <pc:sldChg chg="modSp mod">
        <pc:chgData name="Alex Powers" userId="ae4a1fc7-4395-46d3-b2f1-3b3c37036ad1" providerId="ADAL" clId="{B4B2FADB-1391-4175-AFC9-02E3A99082C3}" dt="2022-03-09T17:34:10.708" v="51" actId="20577"/>
        <pc:sldMkLst>
          <pc:docMk/>
          <pc:sldMk cId="2580878638" sldId="2147469997"/>
        </pc:sldMkLst>
        <pc:spChg chg="mod">
          <ac:chgData name="Alex Powers" userId="ae4a1fc7-4395-46d3-b2f1-3b3c37036ad1" providerId="ADAL" clId="{B4B2FADB-1391-4175-AFC9-02E3A99082C3}" dt="2022-03-09T17:34:10.708" v="51" actId="20577"/>
          <ac:spMkLst>
            <pc:docMk/>
            <pc:sldMk cId="2580878638" sldId="2147469997"/>
            <ac:spMk id="4" creationId="{C8F1E3C8-B98E-45A3-87C1-4650493983B3}"/>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993813148033205E-2"/>
          <c:w val="0.96909862890373111"/>
          <c:h val="0.98006192933159919"/>
        </c:manualLayout>
      </c:layout>
      <c:lineChart>
        <c:grouping val="standard"/>
        <c:varyColors val="0"/>
        <c:ser>
          <c:idx val="0"/>
          <c:order val="0"/>
          <c:tx>
            <c:strRef>
              <c:f>Sheet1!$B$1</c:f>
              <c:strCache>
                <c:ptCount val="1"/>
                <c:pt idx="0">
                  <c:v>Series 1</c:v>
                </c:pt>
              </c:strCache>
            </c:strRef>
          </c:tx>
          <c:spPr>
            <a:ln w="28575" cap="rnd">
              <a:solidFill>
                <a:srgbClr val="F2C811"/>
              </a:solidFill>
              <a:round/>
            </a:ln>
            <a:effectLst/>
          </c:spPr>
          <c:marker>
            <c:symbol val="none"/>
          </c:marker>
          <c:cat>
            <c:numRef>
              <c:f>Sheet1!$A$2:$A$2244</c:f>
              <c:numCache>
                <c:formatCode>m/d/yyyy</c:formatCode>
                <c:ptCount val="2243"/>
                <c:pt idx="0">
                  <c:v>42217</c:v>
                </c:pt>
                <c:pt idx="1">
                  <c:v>42218</c:v>
                </c:pt>
                <c:pt idx="2">
                  <c:v>42219</c:v>
                </c:pt>
                <c:pt idx="3">
                  <c:v>42220</c:v>
                </c:pt>
                <c:pt idx="4">
                  <c:v>42221</c:v>
                </c:pt>
                <c:pt idx="5">
                  <c:v>42222</c:v>
                </c:pt>
                <c:pt idx="6">
                  <c:v>42223</c:v>
                </c:pt>
                <c:pt idx="7">
                  <c:v>42224</c:v>
                </c:pt>
                <c:pt idx="8">
                  <c:v>42225</c:v>
                </c:pt>
                <c:pt idx="9">
                  <c:v>42226</c:v>
                </c:pt>
                <c:pt idx="10">
                  <c:v>42227</c:v>
                </c:pt>
                <c:pt idx="11">
                  <c:v>42228</c:v>
                </c:pt>
                <c:pt idx="12">
                  <c:v>42229</c:v>
                </c:pt>
                <c:pt idx="13">
                  <c:v>42230</c:v>
                </c:pt>
                <c:pt idx="14">
                  <c:v>42231</c:v>
                </c:pt>
                <c:pt idx="15">
                  <c:v>42232</c:v>
                </c:pt>
                <c:pt idx="16">
                  <c:v>42233</c:v>
                </c:pt>
                <c:pt idx="17">
                  <c:v>42234</c:v>
                </c:pt>
                <c:pt idx="18">
                  <c:v>42235</c:v>
                </c:pt>
                <c:pt idx="19">
                  <c:v>42236</c:v>
                </c:pt>
                <c:pt idx="20">
                  <c:v>42237</c:v>
                </c:pt>
                <c:pt idx="21">
                  <c:v>42238</c:v>
                </c:pt>
                <c:pt idx="22">
                  <c:v>42239</c:v>
                </c:pt>
                <c:pt idx="23">
                  <c:v>42240</c:v>
                </c:pt>
                <c:pt idx="24">
                  <c:v>42241</c:v>
                </c:pt>
                <c:pt idx="25">
                  <c:v>42242</c:v>
                </c:pt>
                <c:pt idx="26">
                  <c:v>42243</c:v>
                </c:pt>
                <c:pt idx="27">
                  <c:v>42244</c:v>
                </c:pt>
                <c:pt idx="28">
                  <c:v>42245</c:v>
                </c:pt>
                <c:pt idx="29">
                  <c:v>42246</c:v>
                </c:pt>
                <c:pt idx="30">
                  <c:v>42247</c:v>
                </c:pt>
                <c:pt idx="31">
                  <c:v>42248</c:v>
                </c:pt>
                <c:pt idx="32">
                  <c:v>42249</c:v>
                </c:pt>
                <c:pt idx="33">
                  <c:v>42250</c:v>
                </c:pt>
                <c:pt idx="34">
                  <c:v>42251</c:v>
                </c:pt>
                <c:pt idx="35">
                  <c:v>42252</c:v>
                </c:pt>
                <c:pt idx="36">
                  <c:v>42253</c:v>
                </c:pt>
                <c:pt idx="37">
                  <c:v>42254</c:v>
                </c:pt>
                <c:pt idx="38">
                  <c:v>42255</c:v>
                </c:pt>
                <c:pt idx="39">
                  <c:v>42256</c:v>
                </c:pt>
                <c:pt idx="40">
                  <c:v>42257</c:v>
                </c:pt>
                <c:pt idx="41">
                  <c:v>42258</c:v>
                </c:pt>
                <c:pt idx="42">
                  <c:v>42259</c:v>
                </c:pt>
                <c:pt idx="43">
                  <c:v>42260</c:v>
                </c:pt>
                <c:pt idx="44">
                  <c:v>42261</c:v>
                </c:pt>
                <c:pt idx="45">
                  <c:v>42262</c:v>
                </c:pt>
                <c:pt idx="46">
                  <c:v>42263</c:v>
                </c:pt>
                <c:pt idx="47">
                  <c:v>42264</c:v>
                </c:pt>
                <c:pt idx="48">
                  <c:v>42265</c:v>
                </c:pt>
                <c:pt idx="49">
                  <c:v>42266</c:v>
                </c:pt>
                <c:pt idx="50">
                  <c:v>42267</c:v>
                </c:pt>
                <c:pt idx="51">
                  <c:v>42268</c:v>
                </c:pt>
                <c:pt idx="52">
                  <c:v>42269</c:v>
                </c:pt>
                <c:pt idx="53">
                  <c:v>42270</c:v>
                </c:pt>
                <c:pt idx="54">
                  <c:v>42271</c:v>
                </c:pt>
                <c:pt idx="55">
                  <c:v>42272</c:v>
                </c:pt>
                <c:pt idx="56">
                  <c:v>42273</c:v>
                </c:pt>
                <c:pt idx="57">
                  <c:v>42274</c:v>
                </c:pt>
                <c:pt idx="58">
                  <c:v>42275</c:v>
                </c:pt>
                <c:pt idx="59">
                  <c:v>42276</c:v>
                </c:pt>
                <c:pt idx="60">
                  <c:v>42277</c:v>
                </c:pt>
                <c:pt idx="61">
                  <c:v>42278</c:v>
                </c:pt>
                <c:pt idx="62">
                  <c:v>42279</c:v>
                </c:pt>
                <c:pt idx="63">
                  <c:v>42280</c:v>
                </c:pt>
                <c:pt idx="64">
                  <c:v>42281</c:v>
                </c:pt>
                <c:pt idx="65">
                  <c:v>42282</c:v>
                </c:pt>
                <c:pt idx="66">
                  <c:v>42283</c:v>
                </c:pt>
                <c:pt idx="67">
                  <c:v>42284</c:v>
                </c:pt>
                <c:pt idx="68">
                  <c:v>42285</c:v>
                </c:pt>
                <c:pt idx="69">
                  <c:v>42286</c:v>
                </c:pt>
                <c:pt idx="70">
                  <c:v>42287</c:v>
                </c:pt>
                <c:pt idx="71">
                  <c:v>42288</c:v>
                </c:pt>
                <c:pt idx="72">
                  <c:v>42289</c:v>
                </c:pt>
                <c:pt idx="73">
                  <c:v>42290</c:v>
                </c:pt>
                <c:pt idx="74">
                  <c:v>42291</c:v>
                </c:pt>
                <c:pt idx="75">
                  <c:v>42292</c:v>
                </c:pt>
                <c:pt idx="76">
                  <c:v>42293</c:v>
                </c:pt>
                <c:pt idx="77">
                  <c:v>42294</c:v>
                </c:pt>
                <c:pt idx="78">
                  <c:v>42295</c:v>
                </c:pt>
                <c:pt idx="79">
                  <c:v>42296</c:v>
                </c:pt>
                <c:pt idx="80">
                  <c:v>42297</c:v>
                </c:pt>
                <c:pt idx="81">
                  <c:v>42298</c:v>
                </c:pt>
                <c:pt idx="82">
                  <c:v>42299</c:v>
                </c:pt>
                <c:pt idx="83">
                  <c:v>42300</c:v>
                </c:pt>
                <c:pt idx="84">
                  <c:v>42301</c:v>
                </c:pt>
                <c:pt idx="85">
                  <c:v>42302</c:v>
                </c:pt>
                <c:pt idx="86">
                  <c:v>42303</c:v>
                </c:pt>
                <c:pt idx="87">
                  <c:v>42304</c:v>
                </c:pt>
                <c:pt idx="88">
                  <c:v>42305</c:v>
                </c:pt>
                <c:pt idx="89">
                  <c:v>42306</c:v>
                </c:pt>
                <c:pt idx="90">
                  <c:v>42307</c:v>
                </c:pt>
                <c:pt idx="91">
                  <c:v>42308</c:v>
                </c:pt>
                <c:pt idx="92">
                  <c:v>42309</c:v>
                </c:pt>
                <c:pt idx="93">
                  <c:v>42310</c:v>
                </c:pt>
                <c:pt idx="94">
                  <c:v>42311</c:v>
                </c:pt>
                <c:pt idx="95">
                  <c:v>42312</c:v>
                </c:pt>
                <c:pt idx="96">
                  <c:v>42313</c:v>
                </c:pt>
                <c:pt idx="97">
                  <c:v>42314</c:v>
                </c:pt>
                <c:pt idx="98">
                  <c:v>42315</c:v>
                </c:pt>
                <c:pt idx="99">
                  <c:v>42316</c:v>
                </c:pt>
                <c:pt idx="100">
                  <c:v>42317</c:v>
                </c:pt>
                <c:pt idx="101">
                  <c:v>42318</c:v>
                </c:pt>
                <c:pt idx="102">
                  <c:v>42319</c:v>
                </c:pt>
                <c:pt idx="103">
                  <c:v>42320</c:v>
                </c:pt>
                <c:pt idx="104">
                  <c:v>42321</c:v>
                </c:pt>
                <c:pt idx="105">
                  <c:v>42322</c:v>
                </c:pt>
                <c:pt idx="106">
                  <c:v>42323</c:v>
                </c:pt>
                <c:pt idx="107">
                  <c:v>42324</c:v>
                </c:pt>
                <c:pt idx="108">
                  <c:v>42325</c:v>
                </c:pt>
                <c:pt idx="109">
                  <c:v>42326</c:v>
                </c:pt>
                <c:pt idx="110">
                  <c:v>42327</c:v>
                </c:pt>
                <c:pt idx="111">
                  <c:v>42328</c:v>
                </c:pt>
                <c:pt idx="112">
                  <c:v>42329</c:v>
                </c:pt>
                <c:pt idx="113">
                  <c:v>42330</c:v>
                </c:pt>
                <c:pt idx="114">
                  <c:v>42331</c:v>
                </c:pt>
                <c:pt idx="115">
                  <c:v>42332</c:v>
                </c:pt>
                <c:pt idx="116">
                  <c:v>42333</c:v>
                </c:pt>
                <c:pt idx="117">
                  <c:v>42334</c:v>
                </c:pt>
                <c:pt idx="118">
                  <c:v>42335</c:v>
                </c:pt>
                <c:pt idx="119">
                  <c:v>42336</c:v>
                </c:pt>
                <c:pt idx="120">
                  <c:v>42337</c:v>
                </c:pt>
                <c:pt idx="121">
                  <c:v>42338</c:v>
                </c:pt>
                <c:pt idx="122">
                  <c:v>42339</c:v>
                </c:pt>
                <c:pt idx="123">
                  <c:v>42340</c:v>
                </c:pt>
                <c:pt idx="124">
                  <c:v>42341</c:v>
                </c:pt>
                <c:pt idx="125">
                  <c:v>42342</c:v>
                </c:pt>
                <c:pt idx="126">
                  <c:v>42343</c:v>
                </c:pt>
                <c:pt idx="127">
                  <c:v>42344</c:v>
                </c:pt>
                <c:pt idx="128">
                  <c:v>42345</c:v>
                </c:pt>
                <c:pt idx="129">
                  <c:v>42346</c:v>
                </c:pt>
                <c:pt idx="130">
                  <c:v>42347</c:v>
                </c:pt>
                <c:pt idx="131">
                  <c:v>42348</c:v>
                </c:pt>
                <c:pt idx="132">
                  <c:v>42349</c:v>
                </c:pt>
                <c:pt idx="133">
                  <c:v>42350</c:v>
                </c:pt>
                <c:pt idx="134">
                  <c:v>42351</c:v>
                </c:pt>
                <c:pt idx="135">
                  <c:v>42352</c:v>
                </c:pt>
                <c:pt idx="136">
                  <c:v>42353</c:v>
                </c:pt>
                <c:pt idx="137">
                  <c:v>42354</c:v>
                </c:pt>
                <c:pt idx="138">
                  <c:v>42355</c:v>
                </c:pt>
                <c:pt idx="139">
                  <c:v>42356</c:v>
                </c:pt>
                <c:pt idx="140">
                  <c:v>42357</c:v>
                </c:pt>
                <c:pt idx="141">
                  <c:v>42358</c:v>
                </c:pt>
                <c:pt idx="142">
                  <c:v>42359</c:v>
                </c:pt>
                <c:pt idx="143">
                  <c:v>42360</c:v>
                </c:pt>
                <c:pt idx="144">
                  <c:v>42361</c:v>
                </c:pt>
                <c:pt idx="145">
                  <c:v>42362</c:v>
                </c:pt>
                <c:pt idx="146">
                  <c:v>42363</c:v>
                </c:pt>
                <c:pt idx="147">
                  <c:v>42364</c:v>
                </c:pt>
                <c:pt idx="148">
                  <c:v>42365</c:v>
                </c:pt>
                <c:pt idx="149">
                  <c:v>42366</c:v>
                </c:pt>
                <c:pt idx="150">
                  <c:v>42367</c:v>
                </c:pt>
                <c:pt idx="151">
                  <c:v>42368</c:v>
                </c:pt>
                <c:pt idx="152">
                  <c:v>42369</c:v>
                </c:pt>
                <c:pt idx="153">
                  <c:v>42370</c:v>
                </c:pt>
                <c:pt idx="154">
                  <c:v>42371</c:v>
                </c:pt>
                <c:pt idx="155">
                  <c:v>42372</c:v>
                </c:pt>
                <c:pt idx="156">
                  <c:v>42373</c:v>
                </c:pt>
                <c:pt idx="157">
                  <c:v>42374</c:v>
                </c:pt>
                <c:pt idx="158">
                  <c:v>42375</c:v>
                </c:pt>
                <c:pt idx="159">
                  <c:v>42376</c:v>
                </c:pt>
                <c:pt idx="160">
                  <c:v>42377</c:v>
                </c:pt>
                <c:pt idx="161">
                  <c:v>42378</c:v>
                </c:pt>
                <c:pt idx="162">
                  <c:v>42379</c:v>
                </c:pt>
                <c:pt idx="163">
                  <c:v>42380</c:v>
                </c:pt>
                <c:pt idx="164">
                  <c:v>42381</c:v>
                </c:pt>
                <c:pt idx="165">
                  <c:v>42382</c:v>
                </c:pt>
                <c:pt idx="166">
                  <c:v>42383</c:v>
                </c:pt>
                <c:pt idx="167">
                  <c:v>42384</c:v>
                </c:pt>
                <c:pt idx="168">
                  <c:v>42385</c:v>
                </c:pt>
                <c:pt idx="169">
                  <c:v>42386</c:v>
                </c:pt>
                <c:pt idx="170">
                  <c:v>42387</c:v>
                </c:pt>
                <c:pt idx="171">
                  <c:v>42388</c:v>
                </c:pt>
                <c:pt idx="172">
                  <c:v>42389</c:v>
                </c:pt>
                <c:pt idx="173">
                  <c:v>42390</c:v>
                </c:pt>
                <c:pt idx="174">
                  <c:v>42391</c:v>
                </c:pt>
                <c:pt idx="175">
                  <c:v>42392</c:v>
                </c:pt>
                <c:pt idx="176">
                  <c:v>42393</c:v>
                </c:pt>
                <c:pt idx="177">
                  <c:v>42394</c:v>
                </c:pt>
                <c:pt idx="178">
                  <c:v>42395</c:v>
                </c:pt>
                <c:pt idx="179">
                  <c:v>42396</c:v>
                </c:pt>
                <c:pt idx="180">
                  <c:v>42397</c:v>
                </c:pt>
                <c:pt idx="181">
                  <c:v>42398</c:v>
                </c:pt>
                <c:pt idx="182">
                  <c:v>42399</c:v>
                </c:pt>
                <c:pt idx="183">
                  <c:v>42400</c:v>
                </c:pt>
                <c:pt idx="184">
                  <c:v>42401</c:v>
                </c:pt>
                <c:pt idx="185">
                  <c:v>42402</c:v>
                </c:pt>
                <c:pt idx="186">
                  <c:v>42403</c:v>
                </c:pt>
                <c:pt idx="187">
                  <c:v>42404</c:v>
                </c:pt>
                <c:pt idx="188">
                  <c:v>42405</c:v>
                </c:pt>
                <c:pt idx="189">
                  <c:v>42406</c:v>
                </c:pt>
                <c:pt idx="190">
                  <c:v>42407</c:v>
                </c:pt>
                <c:pt idx="191">
                  <c:v>42408</c:v>
                </c:pt>
                <c:pt idx="192">
                  <c:v>42409</c:v>
                </c:pt>
                <c:pt idx="193">
                  <c:v>42410</c:v>
                </c:pt>
                <c:pt idx="194">
                  <c:v>42411</c:v>
                </c:pt>
                <c:pt idx="195">
                  <c:v>42412</c:v>
                </c:pt>
                <c:pt idx="196">
                  <c:v>42413</c:v>
                </c:pt>
                <c:pt idx="197">
                  <c:v>42414</c:v>
                </c:pt>
                <c:pt idx="198">
                  <c:v>42415</c:v>
                </c:pt>
                <c:pt idx="199">
                  <c:v>42416</c:v>
                </c:pt>
                <c:pt idx="200">
                  <c:v>42417</c:v>
                </c:pt>
                <c:pt idx="201">
                  <c:v>42418</c:v>
                </c:pt>
                <c:pt idx="202">
                  <c:v>42419</c:v>
                </c:pt>
                <c:pt idx="203">
                  <c:v>42420</c:v>
                </c:pt>
                <c:pt idx="204">
                  <c:v>42421</c:v>
                </c:pt>
                <c:pt idx="205">
                  <c:v>42422</c:v>
                </c:pt>
                <c:pt idx="206">
                  <c:v>42423</c:v>
                </c:pt>
                <c:pt idx="207">
                  <c:v>42424</c:v>
                </c:pt>
                <c:pt idx="208">
                  <c:v>42425</c:v>
                </c:pt>
                <c:pt idx="209">
                  <c:v>42426</c:v>
                </c:pt>
                <c:pt idx="210">
                  <c:v>42427</c:v>
                </c:pt>
                <c:pt idx="211">
                  <c:v>42428</c:v>
                </c:pt>
                <c:pt idx="212">
                  <c:v>42429</c:v>
                </c:pt>
                <c:pt idx="213">
                  <c:v>42430</c:v>
                </c:pt>
                <c:pt idx="214">
                  <c:v>42431</c:v>
                </c:pt>
                <c:pt idx="215">
                  <c:v>42432</c:v>
                </c:pt>
                <c:pt idx="216">
                  <c:v>42433</c:v>
                </c:pt>
                <c:pt idx="217">
                  <c:v>42434</c:v>
                </c:pt>
                <c:pt idx="218">
                  <c:v>42435</c:v>
                </c:pt>
                <c:pt idx="219">
                  <c:v>42436</c:v>
                </c:pt>
                <c:pt idx="220">
                  <c:v>42437</c:v>
                </c:pt>
                <c:pt idx="221">
                  <c:v>42438</c:v>
                </c:pt>
                <c:pt idx="222">
                  <c:v>42439</c:v>
                </c:pt>
                <c:pt idx="223">
                  <c:v>42440</c:v>
                </c:pt>
                <c:pt idx="224">
                  <c:v>42441</c:v>
                </c:pt>
                <c:pt idx="225">
                  <c:v>42442</c:v>
                </c:pt>
                <c:pt idx="226">
                  <c:v>42443</c:v>
                </c:pt>
                <c:pt idx="227">
                  <c:v>42444</c:v>
                </c:pt>
                <c:pt idx="228">
                  <c:v>42445</c:v>
                </c:pt>
                <c:pt idx="229">
                  <c:v>42446</c:v>
                </c:pt>
                <c:pt idx="230">
                  <c:v>42447</c:v>
                </c:pt>
                <c:pt idx="231">
                  <c:v>42448</c:v>
                </c:pt>
                <c:pt idx="232">
                  <c:v>42449</c:v>
                </c:pt>
                <c:pt idx="233">
                  <c:v>42450</c:v>
                </c:pt>
                <c:pt idx="234">
                  <c:v>42451</c:v>
                </c:pt>
                <c:pt idx="235">
                  <c:v>42452</c:v>
                </c:pt>
                <c:pt idx="236">
                  <c:v>42453</c:v>
                </c:pt>
                <c:pt idx="237">
                  <c:v>42454</c:v>
                </c:pt>
                <c:pt idx="238">
                  <c:v>42455</c:v>
                </c:pt>
                <c:pt idx="239">
                  <c:v>42456</c:v>
                </c:pt>
                <c:pt idx="240">
                  <c:v>42457</c:v>
                </c:pt>
                <c:pt idx="241">
                  <c:v>42458</c:v>
                </c:pt>
                <c:pt idx="242">
                  <c:v>42459</c:v>
                </c:pt>
                <c:pt idx="243">
                  <c:v>42460</c:v>
                </c:pt>
                <c:pt idx="244">
                  <c:v>42461</c:v>
                </c:pt>
                <c:pt idx="245">
                  <c:v>42462</c:v>
                </c:pt>
                <c:pt idx="246">
                  <c:v>42463</c:v>
                </c:pt>
                <c:pt idx="247">
                  <c:v>42464</c:v>
                </c:pt>
                <c:pt idx="248">
                  <c:v>42465</c:v>
                </c:pt>
                <c:pt idx="249">
                  <c:v>42466</c:v>
                </c:pt>
                <c:pt idx="250">
                  <c:v>42467</c:v>
                </c:pt>
                <c:pt idx="251">
                  <c:v>42468</c:v>
                </c:pt>
                <c:pt idx="252">
                  <c:v>42469</c:v>
                </c:pt>
                <c:pt idx="253">
                  <c:v>42470</c:v>
                </c:pt>
                <c:pt idx="254">
                  <c:v>42471</c:v>
                </c:pt>
                <c:pt idx="255">
                  <c:v>42472</c:v>
                </c:pt>
                <c:pt idx="256">
                  <c:v>42473</c:v>
                </c:pt>
                <c:pt idx="257">
                  <c:v>42474</c:v>
                </c:pt>
                <c:pt idx="258">
                  <c:v>42475</c:v>
                </c:pt>
                <c:pt idx="259">
                  <c:v>42476</c:v>
                </c:pt>
                <c:pt idx="260">
                  <c:v>42477</c:v>
                </c:pt>
                <c:pt idx="261">
                  <c:v>42478</c:v>
                </c:pt>
                <c:pt idx="262">
                  <c:v>42479</c:v>
                </c:pt>
                <c:pt idx="263">
                  <c:v>42480</c:v>
                </c:pt>
                <c:pt idx="264">
                  <c:v>42481</c:v>
                </c:pt>
                <c:pt idx="265">
                  <c:v>42482</c:v>
                </c:pt>
                <c:pt idx="266">
                  <c:v>42483</c:v>
                </c:pt>
                <c:pt idx="267">
                  <c:v>42484</c:v>
                </c:pt>
                <c:pt idx="268">
                  <c:v>42485</c:v>
                </c:pt>
                <c:pt idx="269">
                  <c:v>42486</c:v>
                </c:pt>
                <c:pt idx="270">
                  <c:v>42487</c:v>
                </c:pt>
                <c:pt idx="271">
                  <c:v>42488</c:v>
                </c:pt>
                <c:pt idx="272">
                  <c:v>42489</c:v>
                </c:pt>
                <c:pt idx="273">
                  <c:v>42490</c:v>
                </c:pt>
                <c:pt idx="274">
                  <c:v>42491</c:v>
                </c:pt>
                <c:pt idx="275">
                  <c:v>42492</c:v>
                </c:pt>
                <c:pt idx="276">
                  <c:v>42493</c:v>
                </c:pt>
                <c:pt idx="277">
                  <c:v>42494</c:v>
                </c:pt>
                <c:pt idx="278">
                  <c:v>42495</c:v>
                </c:pt>
                <c:pt idx="279">
                  <c:v>42496</c:v>
                </c:pt>
                <c:pt idx="280">
                  <c:v>42497</c:v>
                </c:pt>
                <c:pt idx="281">
                  <c:v>42498</c:v>
                </c:pt>
                <c:pt idx="282">
                  <c:v>42499</c:v>
                </c:pt>
                <c:pt idx="283">
                  <c:v>42500</c:v>
                </c:pt>
                <c:pt idx="284">
                  <c:v>42501</c:v>
                </c:pt>
                <c:pt idx="285">
                  <c:v>42502</c:v>
                </c:pt>
                <c:pt idx="286">
                  <c:v>42503</c:v>
                </c:pt>
                <c:pt idx="287">
                  <c:v>42504</c:v>
                </c:pt>
                <c:pt idx="288">
                  <c:v>42505</c:v>
                </c:pt>
                <c:pt idx="289">
                  <c:v>42506</c:v>
                </c:pt>
                <c:pt idx="290">
                  <c:v>42507</c:v>
                </c:pt>
                <c:pt idx="291">
                  <c:v>42508</c:v>
                </c:pt>
                <c:pt idx="292">
                  <c:v>42509</c:v>
                </c:pt>
                <c:pt idx="293">
                  <c:v>42510</c:v>
                </c:pt>
                <c:pt idx="294">
                  <c:v>42511</c:v>
                </c:pt>
                <c:pt idx="295">
                  <c:v>42512</c:v>
                </c:pt>
                <c:pt idx="296">
                  <c:v>42513</c:v>
                </c:pt>
                <c:pt idx="297">
                  <c:v>42514</c:v>
                </c:pt>
                <c:pt idx="298">
                  <c:v>42515</c:v>
                </c:pt>
                <c:pt idx="299">
                  <c:v>42516</c:v>
                </c:pt>
                <c:pt idx="300">
                  <c:v>42517</c:v>
                </c:pt>
                <c:pt idx="301">
                  <c:v>42518</c:v>
                </c:pt>
                <c:pt idx="302">
                  <c:v>42519</c:v>
                </c:pt>
                <c:pt idx="303">
                  <c:v>42520</c:v>
                </c:pt>
                <c:pt idx="304">
                  <c:v>42521</c:v>
                </c:pt>
                <c:pt idx="305">
                  <c:v>42522</c:v>
                </c:pt>
                <c:pt idx="306">
                  <c:v>42523</c:v>
                </c:pt>
                <c:pt idx="307">
                  <c:v>42524</c:v>
                </c:pt>
                <c:pt idx="308">
                  <c:v>42525</c:v>
                </c:pt>
                <c:pt idx="309">
                  <c:v>42526</c:v>
                </c:pt>
                <c:pt idx="310">
                  <c:v>42527</c:v>
                </c:pt>
                <c:pt idx="311">
                  <c:v>42528</c:v>
                </c:pt>
                <c:pt idx="312">
                  <c:v>42529</c:v>
                </c:pt>
                <c:pt idx="313">
                  <c:v>42530</c:v>
                </c:pt>
                <c:pt idx="314">
                  <c:v>42531</c:v>
                </c:pt>
                <c:pt idx="315">
                  <c:v>42532</c:v>
                </c:pt>
                <c:pt idx="316">
                  <c:v>42533</c:v>
                </c:pt>
                <c:pt idx="317">
                  <c:v>42534</c:v>
                </c:pt>
                <c:pt idx="318">
                  <c:v>42535</c:v>
                </c:pt>
                <c:pt idx="319">
                  <c:v>42536</c:v>
                </c:pt>
                <c:pt idx="320">
                  <c:v>42537</c:v>
                </c:pt>
                <c:pt idx="321">
                  <c:v>42538</c:v>
                </c:pt>
                <c:pt idx="322">
                  <c:v>42539</c:v>
                </c:pt>
                <c:pt idx="323">
                  <c:v>42540</c:v>
                </c:pt>
                <c:pt idx="324">
                  <c:v>42541</c:v>
                </c:pt>
                <c:pt idx="325">
                  <c:v>42542</c:v>
                </c:pt>
                <c:pt idx="326">
                  <c:v>42543</c:v>
                </c:pt>
                <c:pt idx="327">
                  <c:v>42544</c:v>
                </c:pt>
                <c:pt idx="328">
                  <c:v>42545</c:v>
                </c:pt>
                <c:pt idx="329">
                  <c:v>42546</c:v>
                </c:pt>
                <c:pt idx="330">
                  <c:v>42547</c:v>
                </c:pt>
                <c:pt idx="331">
                  <c:v>42548</c:v>
                </c:pt>
                <c:pt idx="332">
                  <c:v>42549</c:v>
                </c:pt>
                <c:pt idx="333">
                  <c:v>42550</c:v>
                </c:pt>
                <c:pt idx="334">
                  <c:v>42551</c:v>
                </c:pt>
                <c:pt idx="335">
                  <c:v>42552</c:v>
                </c:pt>
                <c:pt idx="336">
                  <c:v>42553</c:v>
                </c:pt>
                <c:pt idx="337">
                  <c:v>42554</c:v>
                </c:pt>
                <c:pt idx="338">
                  <c:v>42555</c:v>
                </c:pt>
                <c:pt idx="339">
                  <c:v>42556</c:v>
                </c:pt>
                <c:pt idx="340">
                  <c:v>42557</c:v>
                </c:pt>
                <c:pt idx="341">
                  <c:v>42558</c:v>
                </c:pt>
                <c:pt idx="342">
                  <c:v>42559</c:v>
                </c:pt>
                <c:pt idx="343">
                  <c:v>42560</c:v>
                </c:pt>
                <c:pt idx="344">
                  <c:v>42561</c:v>
                </c:pt>
                <c:pt idx="345">
                  <c:v>42562</c:v>
                </c:pt>
                <c:pt idx="346">
                  <c:v>42563</c:v>
                </c:pt>
                <c:pt idx="347">
                  <c:v>42564</c:v>
                </c:pt>
                <c:pt idx="348">
                  <c:v>42565</c:v>
                </c:pt>
                <c:pt idx="349">
                  <c:v>42566</c:v>
                </c:pt>
                <c:pt idx="350">
                  <c:v>42568</c:v>
                </c:pt>
                <c:pt idx="351">
                  <c:v>42569</c:v>
                </c:pt>
                <c:pt idx="352">
                  <c:v>42570</c:v>
                </c:pt>
                <c:pt idx="353">
                  <c:v>42571</c:v>
                </c:pt>
                <c:pt idx="354">
                  <c:v>42572</c:v>
                </c:pt>
                <c:pt idx="355">
                  <c:v>42573</c:v>
                </c:pt>
                <c:pt idx="356">
                  <c:v>42574</c:v>
                </c:pt>
                <c:pt idx="357">
                  <c:v>42575</c:v>
                </c:pt>
                <c:pt idx="358">
                  <c:v>42576</c:v>
                </c:pt>
                <c:pt idx="359">
                  <c:v>42577</c:v>
                </c:pt>
                <c:pt idx="360">
                  <c:v>42578</c:v>
                </c:pt>
                <c:pt idx="361">
                  <c:v>42579</c:v>
                </c:pt>
                <c:pt idx="362">
                  <c:v>42580</c:v>
                </c:pt>
                <c:pt idx="363">
                  <c:v>42581</c:v>
                </c:pt>
                <c:pt idx="364">
                  <c:v>42582</c:v>
                </c:pt>
                <c:pt idx="365">
                  <c:v>42583</c:v>
                </c:pt>
                <c:pt idx="366">
                  <c:v>42584</c:v>
                </c:pt>
                <c:pt idx="367">
                  <c:v>42585</c:v>
                </c:pt>
                <c:pt idx="368">
                  <c:v>42586</c:v>
                </c:pt>
                <c:pt idx="369">
                  <c:v>42587</c:v>
                </c:pt>
                <c:pt idx="370">
                  <c:v>42588</c:v>
                </c:pt>
                <c:pt idx="371">
                  <c:v>42589</c:v>
                </c:pt>
                <c:pt idx="372">
                  <c:v>42590</c:v>
                </c:pt>
                <c:pt idx="373">
                  <c:v>42591</c:v>
                </c:pt>
                <c:pt idx="374">
                  <c:v>42592</c:v>
                </c:pt>
                <c:pt idx="375">
                  <c:v>42593</c:v>
                </c:pt>
                <c:pt idx="376">
                  <c:v>42594</c:v>
                </c:pt>
                <c:pt idx="377">
                  <c:v>42595</c:v>
                </c:pt>
                <c:pt idx="378">
                  <c:v>42596</c:v>
                </c:pt>
                <c:pt idx="379">
                  <c:v>42597</c:v>
                </c:pt>
                <c:pt idx="380">
                  <c:v>42598</c:v>
                </c:pt>
                <c:pt idx="381">
                  <c:v>42599</c:v>
                </c:pt>
                <c:pt idx="382">
                  <c:v>42600</c:v>
                </c:pt>
                <c:pt idx="383">
                  <c:v>42601</c:v>
                </c:pt>
                <c:pt idx="384">
                  <c:v>42602</c:v>
                </c:pt>
                <c:pt idx="385">
                  <c:v>42603</c:v>
                </c:pt>
                <c:pt idx="386">
                  <c:v>42604</c:v>
                </c:pt>
                <c:pt idx="387">
                  <c:v>42605</c:v>
                </c:pt>
                <c:pt idx="388">
                  <c:v>42606</c:v>
                </c:pt>
                <c:pt idx="389">
                  <c:v>42607</c:v>
                </c:pt>
                <c:pt idx="390">
                  <c:v>42608</c:v>
                </c:pt>
                <c:pt idx="391">
                  <c:v>42609</c:v>
                </c:pt>
                <c:pt idx="392">
                  <c:v>42610</c:v>
                </c:pt>
                <c:pt idx="393">
                  <c:v>42611</c:v>
                </c:pt>
                <c:pt idx="394">
                  <c:v>42612</c:v>
                </c:pt>
                <c:pt idx="395">
                  <c:v>42613</c:v>
                </c:pt>
                <c:pt idx="396">
                  <c:v>42614</c:v>
                </c:pt>
                <c:pt idx="397">
                  <c:v>42615</c:v>
                </c:pt>
                <c:pt idx="398">
                  <c:v>42616</c:v>
                </c:pt>
                <c:pt idx="399">
                  <c:v>42617</c:v>
                </c:pt>
                <c:pt idx="400">
                  <c:v>42618</c:v>
                </c:pt>
                <c:pt idx="401">
                  <c:v>42619</c:v>
                </c:pt>
                <c:pt idx="402">
                  <c:v>42620</c:v>
                </c:pt>
                <c:pt idx="403">
                  <c:v>42621</c:v>
                </c:pt>
                <c:pt idx="404">
                  <c:v>42622</c:v>
                </c:pt>
                <c:pt idx="405">
                  <c:v>42623</c:v>
                </c:pt>
                <c:pt idx="406">
                  <c:v>42624</c:v>
                </c:pt>
                <c:pt idx="407">
                  <c:v>42625</c:v>
                </c:pt>
                <c:pt idx="408">
                  <c:v>42626</c:v>
                </c:pt>
                <c:pt idx="409">
                  <c:v>42627</c:v>
                </c:pt>
                <c:pt idx="410">
                  <c:v>42628</c:v>
                </c:pt>
                <c:pt idx="411">
                  <c:v>42629</c:v>
                </c:pt>
                <c:pt idx="412">
                  <c:v>42630</c:v>
                </c:pt>
                <c:pt idx="413">
                  <c:v>42631</c:v>
                </c:pt>
                <c:pt idx="414">
                  <c:v>42632</c:v>
                </c:pt>
                <c:pt idx="415">
                  <c:v>42633</c:v>
                </c:pt>
                <c:pt idx="416">
                  <c:v>42634</c:v>
                </c:pt>
                <c:pt idx="417">
                  <c:v>42635</c:v>
                </c:pt>
                <c:pt idx="418">
                  <c:v>42636</c:v>
                </c:pt>
                <c:pt idx="419">
                  <c:v>42637</c:v>
                </c:pt>
                <c:pt idx="420">
                  <c:v>42638</c:v>
                </c:pt>
                <c:pt idx="421">
                  <c:v>42639</c:v>
                </c:pt>
                <c:pt idx="422">
                  <c:v>42640</c:v>
                </c:pt>
                <c:pt idx="423">
                  <c:v>42641</c:v>
                </c:pt>
                <c:pt idx="424">
                  <c:v>42642</c:v>
                </c:pt>
                <c:pt idx="425">
                  <c:v>42643</c:v>
                </c:pt>
                <c:pt idx="426">
                  <c:v>42644</c:v>
                </c:pt>
                <c:pt idx="427">
                  <c:v>42645</c:v>
                </c:pt>
                <c:pt idx="428">
                  <c:v>42646</c:v>
                </c:pt>
                <c:pt idx="429">
                  <c:v>42647</c:v>
                </c:pt>
                <c:pt idx="430">
                  <c:v>42648</c:v>
                </c:pt>
                <c:pt idx="431">
                  <c:v>42649</c:v>
                </c:pt>
                <c:pt idx="432">
                  <c:v>42650</c:v>
                </c:pt>
                <c:pt idx="433">
                  <c:v>42651</c:v>
                </c:pt>
                <c:pt idx="434">
                  <c:v>42652</c:v>
                </c:pt>
                <c:pt idx="435">
                  <c:v>42653</c:v>
                </c:pt>
                <c:pt idx="436">
                  <c:v>42654</c:v>
                </c:pt>
                <c:pt idx="437">
                  <c:v>42655</c:v>
                </c:pt>
                <c:pt idx="438">
                  <c:v>42656</c:v>
                </c:pt>
                <c:pt idx="439">
                  <c:v>42657</c:v>
                </c:pt>
                <c:pt idx="440">
                  <c:v>42658</c:v>
                </c:pt>
                <c:pt idx="441">
                  <c:v>42659</c:v>
                </c:pt>
                <c:pt idx="442">
                  <c:v>42660</c:v>
                </c:pt>
                <c:pt idx="443">
                  <c:v>42661</c:v>
                </c:pt>
                <c:pt idx="444">
                  <c:v>42662</c:v>
                </c:pt>
                <c:pt idx="445">
                  <c:v>42663</c:v>
                </c:pt>
                <c:pt idx="446">
                  <c:v>42664</c:v>
                </c:pt>
                <c:pt idx="447">
                  <c:v>42665</c:v>
                </c:pt>
                <c:pt idx="448">
                  <c:v>42666</c:v>
                </c:pt>
                <c:pt idx="449">
                  <c:v>42667</c:v>
                </c:pt>
                <c:pt idx="450">
                  <c:v>42668</c:v>
                </c:pt>
                <c:pt idx="451">
                  <c:v>42669</c:v>
                </c:pt>
                <c:pt idx="452">
                  <c:v>42670</c:v>
                </c:pt>
                <c:pt idx="453">
                  <c:v>42671</c:v>
                </c:pt>
                <c:pt idx="454">
                  <c:v>42672</c:v>
                </c:pt>
                <c:pt idx="455">
                  <c:v>42673</c:v>
                </c:pt>
                <c:pt idx="456">
                  <c:v>42674</c:v>
                </c:pt>
                <c:pt idx="457">
                  <c:v>42675</c:v>
                </c:pt>
                <c:pt idx="458">
                  <c:v>42676</c:v>
                </c:pt>
                <c:pt idx="459">
                  <c:v>42677</c:v>
                </c:pt>
                <c:pt idx="460">
                  <c:v>42678</c:v>
                </c:pt>
                <c:pt idx="461">
                  <c:v>42679</c:v>
                </c:pt>
                <c:pt idx="462">
                  <c:v>42680</c:v>
                </c:pt>
                <c:pt idx="463">
                  <c:v>42681</c:v>
                </c:pt>
                <c:pt idx="464">
                  <c:v>42682</c:v>
                </c:pt>
                <c:pt idx="465">
                  <c:v>42683</c:v>
                </c:pt>
                <c:pt idx="466">
                  <c:v>42684</c:v>
                </c:pt>
                <c:pt idx="467">
                  <c:v>42685</c:v>
                </c:pt>
                <c:pt idx="468">
                  <c:v>42686</c:v>
                </c:pt>
                <c:pt idx="469">
                  <c:v>42687</c:v>
                </c:pt>
                <c:pt idx="470">
                  <c:v>42688</c:v>
                </c:pt>
                <c:pt idx="471">
                  <c:v>42689</c:v>
                </c:pt>
                <c:pt idx="472">
                  <c:v>42690</c:v>
                </c:pt>
                <c:pt idx="473">
                  <c:v>42691</c:v>
                </c:pt>
                <c:pt idx="474">
                  <c:v>42692</c:v>
                </c:pt>
                <c:pt idx="475">
                  <c:v>42693</c:v>
                </c:pt>
                <c:pt idx="476">
                  <c:v>42694</c:v>
                </c:pt>
                <c:pt idx="477">
                  <c:v>42695</c:v>
                </c:pt>
                <c:pt idx="478">
                  <c:v>42696</c:v>
                </c:pt>
                <c:pt idx="479">
                  <c:v>42697</c:v>
                </c:pt>
                <c:pt idx="480">
                  <c:v>42698</c:v>
                </c:pt>
                <c:pt idx="481">
                  <c:v>42699</c:v>
                </c:pt>
                <c:pt idx="482">
                  <c:v>42700</c:v>
                </c:pt>
                <c:pt idx="483">
                  <c:v>42701</c:v>
                </c:pt>
                <c:pt idx="484">
                  <c:v>42702</c:v>
                </c:pt>
                <c:pt idx="485">
                  <c:v>42703</c:v>
                </c:pt>
                <c:pt idx="486">
                  <c:v>42704</c:v>
                </c:pt>
                <c:pt idx="487">
                  <c:v>42705</c:v>
                </c:pt>
                <c:pt idx="488">
                  <c:v>42706</c:v>
                </c:pt>
                <c:pt idx="489">
                  <c:v>42707</c:v>
                </c:pt>
                <c:pt idx="490">
                  <c:v>42708</c:v>
                </c:pt>
                <c:pt idx="491">
                  <c:v>42709</c:v>
                </c:pt>
                <c:pt idx="492">
                  <c:v>42710</c:v>
                </c:pt>
                <c:pt idx="493">
                  <c:v>42711</c:v>
                </c:pt>
                <c:pt idx="494">
                  <c:v>42712</c:v>
                </c:pt>
                <c:pt idx="495">
                  <c:v>42713</c:v>
                </c:pt>
                <c:pt idx="496">
                  <c:v>42714</c:v>
                </c:pt>
                <c:pt idx="497">
                  <c:v>42715</c:v>
                </c:pt>
                <c:pt idx="498">
                  <c:v>42716</c:v>
                </c:pt>
                <c:pt idx="499">
                  <c:v>42717</c:v>
                </c:pt>
                <c:pt idx="500">
                  <c:v>42718</c:v>
                </c:pt>
                <c:pt idx="501">
                  <c:v>42719</c:v>
                </c:pt>
                <c:pt idx="502">
                  <c:v>42720</c:v>
                </c:pt>
                <c:pt idx="503">
                  <c:v>42721</c:v>
                </c:pt>
                <c:pt idx="504">
                  <c:v>42722</c:v>
                </c:pt>
                <c:pt idx="505">
                  <c:v>42723</c:v>
                </c:pt>
                <c:pt idx="506">
                  <c:v>42724</c:v>
                </c:pt>
                <c:pt idx="507">
                  <c:v>42725</c:v>
                </c:pt>
                <c:pt idx="508">
                  <c:v>42726</c:v>
                </c:pt>
                <c:pt idx="509">
                  <c:v>42727</c:v>
                </c:pt>
                <c:pt idx="510">
                  <c:v>42728</c:v>
                </c:pt>
                <c:pt idx="511">
                  <c:v>42729</c:v>
                </c:pt>
                <c:pt idx="512">
                  <c:v>42730</c:v>
                </c:pt>
                <c:pt idx="513">
                  <c:v>42731</c:v>
                </c:pt>
                <c:pt idx="514">
                  <c:v>42732</c:v>
                </c:pt>
                <c:pt idx="515">
                  <c:v>42733</c:v>
                </c:pt>
                <c:pt idx="516">
                  <c:v>42734</c:v>
                </c:pt>
                <c:pt idx="517">
                  <c:v>42735</c:v>
                </c:pt>
                <c:pt idx="518">
                  <c:v>42736</c:v>
                </c:pt>
                <c:pt idx="519">
                  <c:v>42737</c:v>
                </c:pt>
                <c:pt idx="520">
                  <c:v>42738</c:v>
                </c:pt>
                <c:pt idx="521">
                  <c:v>42739</c:v>
                </c:pt>
                <c:pt idx="522">
                  <c:v>42740</c:v>
                </c:pt>
                <c:pt idx="523">
                  <c:v>42741</c:v>
                </c:pt>
                <c:pt idx="524">
                  <c:v>42742</c:v>
                </c:pt>
                <c:pt idx="525">
                  <c:v>42743</c:v>
                </c:pt>
                <c:pt idx="526">
                  <c:v>42744</c:v>
                </c:pt>
                <c:pt idx="527">
                  <c:v>42745</c:v>
                </c:pt>
                <c:pt idx="528">
                  <c:v>42746</c:v>
                </c:pt>
                <c:pt idx="529">
                  <c:v>42747</c:v>
                </c:pt>
                <c:pt idx="530">
                  <c:v>42748</c:v>
                </c:pt>
                <c:pt idx="531">
                  <c:v>42749</c:v>
                </c:pt>
                <c:pt idx="532">
                  <c:v>42750</c:v>
                </c:pt>
                <c:pt idx="533">
                  <c:v>42751</c:v>
                </c:pt>
                <c:pt idx="534">
                  <c:v>42752</c:v>
                </c:pt>
                <c:pt idx="535">
                  <c:v>42753</c:v>
                </c:pt>
                <c:pt idx="536">
                  <c:v>42754</c:v>
                </c:pt>
                <c:pt idx="537">
                  <c:v>42755</c:v>
                </c:pt>
                <c:pt idx="538">
                  <c:v>42756</c:v>
                </c:pt>
                <c:pt idx="539">
                  <c:v>42757</c:v>
                </c:pt>
                <c:pt idx="540">
                  <c:v>42758</c:v>
                </c:pt>
                <c:pt idx="541">
                  <c:v>42759</c:v>
                </c:pt>
                <c:pt idx="542">
                  <c:v>42760</c:v>
                </c:pt>
                <c:pt idx="543">
                  <c:v>42761</c:v>
                </c:pt>
                <c:pt idx="544">
                  <c:v>42762</c:v>
                </c:pt>
                <c:pt idx="545">
                  <c:v>42763</c:v>
                </c:pt>
                <c:pt idx="546">
                  <c:v>42764</c:v>
                </c:pt>
                <c:pt idx="547">
                  <c:v>42765</c:v>
                </c:pt>
                <c:pt idx="548">
                  <c:v>42766</c:v>
                </c:pt>
                <c:pt idx="549">
                  <c:v>42767</c:v>
                </c:pt>
                <c:pt idx="550">
                  <c:v>42768</c:v>
                </c:pt>
                <c:pt idx="551">
                  <c:v>42769</c:v>
                </c:pt>
                <c:pt idx="552">
                  <c:v>42770</c:v>
                </c:pt>
                <c:pt idx="553">
                  <c:v>42771</c:v>
                </c:pt>
                <c:pt idx="554">
                  <c:v>42772</c:v>
                </c:pt>
                <c:pt idx="555">
                  <c:v>42773</c:v>
                </c:pt>
                <c:pt idx="556">
                  <c:v>42774</c:v>
                </c:pt>
                <c:pt idx="557">
                  <c:v>42775</c:v>
                </c:pt>
                <c:pt idx="558">
                  <c:v>42776</c:v>
                </c:pt>
                <c:pt idx="559">
                  <c:v>42777</c:v>
                </c:pt>
                <c:pt idx="560">
                  <c:v>42778</c:v>
                </c:pt>
                <c:pt idx="561">
                  <c:v>42779</c:v>
                </c:pt>
                <c:pt idx="562">
                  <c:v>42780</c:v>
                </c:pt>
                <c:pt idx="563">
                  <c:v>42781</c:v>
                </c:pt>
                <c:pt idx="564">
                  <c:v>42782</c:v>
                </c:pt>
                <c:pt idx="565">
                  <c:v>42783</c:v>
                </c:pt>
                <c:pt idx="566">
                  <c:v>42784</c:v>
                </c:pt>
                <c:pt idx="567">
                  <c:v>42785</c:v>
                </c:pt>
                <c:pt idx="568">
                  <c:v>42786</c:v>
                </c:pt>
                <c:pt idx="569">
                  <c:v>42787</c:v>
                </c:pt>
                <c:pt idx="570">
                  <c:v>42788</c:v>
                </c:pt>
                <c:pt idx="571">
                  <c:v>42789</c:v>
                </c:pt>
                <c:pt idx="572">
                  <c:v>42790</c:v>
                </c:pt>
                <c:pt idx="573">
                  <c:v>42791</c:v>
                </c:pt>
                <c:pt idx="574">
                  <c:v>42792</c:v>
                </c:pt>
                <c:pt idx="575">
                  <c:v>42793</c:v>
                </c:pt>
                <c:pt idx="576">
                  <c:v>42794</c:v>
                </c:pt>
                <c:pt idx="577">
                  <c:v>42795</c:v>
                </c:pt>
                <c:pt idx="578">
                  <c:v>42796</c:v>
                </c:pt>
                <c:pt idx="579">
                  <c:v>42797</c:v>
                </c:pt>
                <c:pt idx="580">
                  <c:v>42798</c:v>
                </c:pt>
                <c:pt idx="581">
                  <c:v>42799</c:v>
                </c:pt>
                <c:pt idx="582">
                  <c:v>42800</c:v>
                </c:pt>
                <c:pt idx="583">
                  <c:v>42801</c:v>
                </c:pt>
                <c:pt idx="584">
                  <c:v>42802</c:v>
                </c:pt>
                <c:pt idx="585">
                  <c:v>42803</c:v>
                </c:pt>
                <c:pt idx="586">
                  <c:v>42804</c:v>
                </c:pt>
                <c:pt idx="587">
                  <c:v>42805</c:v>
                </c:pt>
                <c:pt idx="588">
                  <c:v>42806</c:v>
                </c:pt>
                <c:pt idx="589">
                  <c:v>42807</c:v>
                </c:pt>
                <c:pt idx="590">
                  <c:v>42808</c:v>
                </c:pt>
                <c:pt idx="591">
                  <c:v>42809</c:v>
                </c:pt>
                <c:pt idx="592">
                  <c:v>42810</c:v>
                </c:pt>
                <c:pt idx="593">
                  <c:v>42811</c:v>
                </c:pt>
                <c:pt idx="594">
                  <c:v>42812</c:v>
                </c:pt>
                <c:pt idx="595">
                  <c:v>42813</c:v>
                </c:pt>
                <c:pt idx="596">
                  <c:v>42814</c:v>
                </c:pt>
                <c:pt idx="597">
                  <c:v>42815</c:v>
                </c:pt>
                <c:pt idx="598">
                  <c:v>42816</c:v>
                </c:pt>
                <c:pt idx="599">
                  <c:v>42817</c:v>
                </c:pt>
                <c:pt idx="600">
                  <c:v>42818</c:v>
                </c:pt>
                <c:pt idx="601">
                  <c:v>42819</c:v>
                </c:pt>
                <c:pt idx="602">
                  <c:v>42820</c:v>
                </c:pt>
                <c:pt idx="603">
                  <c:v>42821</c:v>
                </c:pt>
                <c:pt idx="604">
                  <c:v>42822</c:v>
                </c:pt>
                <c:pt idx="605">
                  <c:v>42823</c:v>
                </c:pt>
                <c:pt idx="606">
                  <c:v>42824</c:v>
                </c:pt>
                <c:pt idx="607">
                  <c:v>42825</c:v>
                </c:pt>
                <c:pt idx="608">
                  <c:v>42826</c:v>
                </c:pt>
                <c:pt idx="609">
                  <c:v>42827</c:v>
                </c:pt>
                <c:pt idx="610">
                  <c:v>42828</c:v>
                </c:pt>
                <c:pt idx="611">
                  <c:v>42829</c:v>
                </c:pt>
                <c:pt idx="612">
                  <c:v>42830</c:v>
                </c:pt>
                <c:pt idx="613">
                  <c:v>42831</c:v>
                </c:pt>
                <c:pt idx="614">
                  <c:v>42832</c:v>
                </c:pt>
                <c:pt idx="615">
                  <c:v>42833</c:v>
                </c:pt>
                <c:pt idx="616">
                  <c:v>42834</c:v>
                </c:pt>
                <c:pt idx="617">
                  <c:v>42835</c:v>
                </c:pt>
                <c:pt idx="618">
                  <c:v>42836</c:v>
                </c:pt>
                <c:pt idx="619">
                  <c:v>42837</c:v>
                </c:pt>
                <c:pt idx="620">
                  <c:v>42838</c:v>
                </c:pt>
                <c:pt idx="621">
                  <c:v>42839</c:v>
                </c:pt>
                <c:pt idx="622">
                  <c:v>42840</c:v>
                </c:pt>
                <c:pt idx="623">
                  <c:v>42841</c:v>
                </c:pt>
                <c:pt idx="624">
                  <c:v>42842</c:v>
                </c:pt>
                <c:pt idx="625">
                  <c:v>42843</c:v>
                </c:pt>
                <c:pt idx="626">
                  <c:v>42844</c:v>
                </c:pt>
                <c:pt idx="627">
                  <c:v>42845</c:v>
                </c:pt>
                <c:pt idx="628">
                  <c:v>42846</c:v>
                </c:pt>
                <c:pt idx="629">
                  <c:v>42847</c:v>
                </c:pt>
                <c:pt idx="630">
                  <c:v>42848</c:v>
                </c:pt>
                <c:pt idx="631">
                  <c:v>42849</c:v>
                </c:pt>
                <c:pt idx="632">
                  <c:v>42850</c:v>
                </c:pt>
                <c:pt idx="633">
                  <c:v>42851</c:v>
                </c:pt>
                <c:pt idx="634">
                  <c:v>42852</c:v>
                </c:pt>
                <c:pt idx="635">
                  <c:v>42853</c:v>
                </c:pt>
                <c:pt idx="636">
                  <c:v>42854</c:v>
                </c:pt>
                <c:pt idx="637">
                  <c:v>42855</c:v>
                </c:pt>
                <c:pt idx="638">
                  <c:v>42856</c:v>
                </c:pt>
                <c:pt idx="639">
                  <c:v>42857</c:v>
                </c:pt>
                <c:pt idx="640">
                  <c:v>42858</c:v>
                </c:pt>
                <c:pt idx="641">
                  <c:v>42859</c:v>
                </c:pt>
                <c:pt idx="642">
                  <c:v>42860</c:v>
                </c:pt>
                <c:pt idx="643">
                  <c:v>42861</c:v>
                </c:pt>
                <c:pt idx="644">
                  <c:v>42862</c:v>
                </c:pt>
                <c:pt idx="645">
                  <c:v>42863</c:v>
                </c:pt>
                <c:pt idx="646">
                  <c:v>42864</c:v>
                </c:pt>
                <c:pt idx="647">
                  <c:v>42865</c:v>
                </c:pt>
                <c:pt idx="648">
                  <c:v>42866</c:v>
                </c:pt>
                <c:pt idx="649">
                  <c:v>42867</c:v>
                </c:pt>
                <c:pt idx="650">
                  <c:v>42868</c:v>
                </c:pt>
                <c:pt idx="651">
                  <c:v>42869</c:v>
                </c:pt>
                <c:pt idx="652">
                  <c:v>42870</c:v>
                </c:pt>
                <c:pt idx="653">
                  <c:v>42871</c:v>
                </c:pt>
                <c:pt idx="654">
                  <c:v>42872</c:v>
                </c:pt>
                <c:pt idx="655">
                  <c:v>42873</c:v>
                </c:pt>
                <c:pt idx="656">
                  <c:v>42874</c:v>
                </c:pt>
                <c:pt idx="657">
                  <c:v>42875</c:v>
                </c:pt>
                <c:pt idx="658">
                  <c:v>42876</c:v>
                </c:pt>
                <c:pt idx="659">
                  <c:v>42877</c:v>
                </c:pt>
                <c:pt idx="660">
                  <c:v>42878</c:v>
                </c:pt>
                <c:pt idx="661">
                  <c:v>42879</c:v>
                </c:pt>
                <c:pt idx="662">
                  <c:v>42880</c:v>
                </c:pt>
                <c:pt idx="663">
                  <c:v>42881</c:v>
                </c:pt>
                <c:pt idx="664">
                  <c:v>42882</c:v>
                </c:pt>
                <c:pt idx="665">
                  <c:v>42883</c:v>
                </c:pt>
                <c:pt idx="666">
                  <c:v>42884</c:v>
                </c:pt>
                <c:pt idx="667">
                  <c:v>42885</c:v>
                </c:pt>
                <c:pt idx="668">
                  <c:v>42886</c:v>
                </c:pt>
                <c:pt idx="669">
                  <c:v>42887</c:v>
                </c:pt>
                <c:pt idx="670">
                  <c:v>42888</c:v>
                </c:pt>
                <c:pt idx="671">
                  <c:v>42889</c:v>
                </c:pt>
                <c:pt idx="672">
                  <c:v>42890</c:v>
                </c:pt>
                <c:pt idx="673">
                  <c:v>42891</c:v>
                </c:pt>
                <c:pt idx="674">
                  <c:v>42892</c:v>
                </c:pt>
                <c:pt idx="675">
                  <c:v>42893</c:v>
                </c:pt>
                <c:pt idx="676">
                  <c:v>42894</c:v>
                </c:pt>
                <c:pt idx="677">
                  <c:v>42895</c:v>
                </c:pt>
                <c:pt idx="678">
                  <c:v>42896</c:v>
                </c:pt>
                <c:pt idx="679">
                  <c:v>42897</c:v>
                </c:pt>
                <c:pt idx="680">
                  <c:v>42898</c:v>
                </c:pt>
                <c:pt idx="681">
                  <c:v>42899</c:v>
                </c:pt>
                <c:pt idx="682">
                  <c:v>42900</c:v>
                </c:pt>
                <c:pt idx="683">
                  <c:v>42901</c:v>
                </c:pt>
                <c:pt idx="684">
                  <c:v>42902</c:v>
                </c:pt>
                <c:pt idx="685">
                  <c:v>42903</c:v>
                </c:pt>
                <c:pt idx="686">
                  <c:v>42904</c:v>
                </c:pt>
                <c:pt idx="687">
                  <c:v>42905</c:v>
                </c:pt>
                <c:pt idx="688">
                  <c:v>42906</c:v>
                </c:pt>
                <c:pt idx="689">
                  <c:v>42907</c:v>
                </c:pt>
                <c:pt idx="690">
                  <c:v>42908</c:v>
                </c:pt>
                <c:pt idx="691">
                  <c:v>42909</c:v>
                </c:pt>
                <c:pt idx="692">
                  <c:v>42910</c:v>
                </c:pt>
                <c:pt idx="693">
                  <c:v>42911</c:v>
                </c:pt>
                <c:pt idx="694">
                  <c:v>42912</c:v>
                </c:pt>
                <c:pt idx="695">
                  <c:v>42913</c:v>
                </c:pt>
                <c:pt idx="696">
                  <c:v>42914</c:v>
                </c:pt>
                <c:pt idx="697">
                  <c:v>42915</c:v>
                </c:pt>
                <c:pt idx="698">
                  <c:v>42916</c:v>
                </c:pt>
                <c:pt idx="699">
                  <c:v>42917</c:v>
                </c:pt>
                <c:pt idx="700">
                  <c:v>42918</c:v>
                </c:pt>
                <c:pt idx="701">
                  <c:v>42919</c:v>
                </c:pt>
                <c:pt idx="702">
                  <c:v>42920</c:v>
                </c:pt>
                <c:pt idx="703">
                  <c:v>42921</c:v>
                </c:pt>
                <c:pt idx="704">
                  <c:v>42922</c:v>
                </c:pt>
                <c:pt idx="705">
                  <c:v>42923</c:v>
                </c:pt>
                <c:pt idx="706">
                  <c:v>42924</c:v>
                </c:pt>
                <c:pt idx="707">
                  <c:v>42925</c:v>
                </c:pt>
                <c:pt idx="708">
                  <c:v>42926</c:v>
                </c:pt>
                <c:pt idx="709">
                  <c:v>42927</c:v>
                </c:pt>
                <c:pt idx="710">
                  <c:v>42928</c:v>
                </c:pt>
                <c:pt idx="711">
                  <c:v>42929</c:v>
                </c:pt>
                <c:pt idx="712">
                  <c:v>42930</c:v>
                </c:pt>
                <c:pt idx="713">
                  <c:v>42931</c:v>
                </c:pt>
                <c:pt idx="714">
                  <c:v>42932</c:v>
                </c:pt>
                <c:pt idx="715">
                  <c:v>42933</c:v>
                </c:pt>
                <c:pt idx="716">
                  <c:v>42934</c:v>
                </c:pt>
                <c:pt idx="717">
                  <c:v>42935</c:v>
                </c:pt>
                <c:pt idx="718">
                  <c:v>42936</c:v>
                </c:pt>
                <c:pt idx="719">
                  <c:v>42937</c:v>
                </c:pt>
                <c:pt idx="720">
                  <c:v>42938</c:v>
                </c:pt>
                <c:pt idx="721">
                  <c:v>42939</c:v>
                </c:pt>
                <c:pt idx="722">
                  <c:v>42940</c:v>
                </c:pt>
                <c:pt idx="723">
                  <c:v>42941</c:v>
                </c:pt>
                <c:pt idx="724">
                  <c:v>42942</c:v>
                </c:pt>
                <c:pt idx="725">
                  <c:v>42943</c:v>
                </c:pt>
                <c:pt idx="726">
                  <c:v>42944</c:v>
                </c:pt>
                <c:pt idx="727">
                  <c:v>42945</c:v>
                </c:pt>
                <c:pt idx="728">
                  <c:v>42946</c:v>
                </c:pt>
                <c:pt idx="729">
                  <c:v>42947</c:v>
                </c:pt>
                <c:pt idx="730">
                  <c:v>42948</c:v>
                </c:pt>
                <c:pt idx="731">
                  <c:v>42949</c:v>
                </c:pt>
                <c:pt idx="732">
                  <c:v>42950</c:v>
                </c:pt>
                <c:pt idx="733">
                  <c:v>42951</c:v>
                </c:pt>
                <c:pt idx="734">
                  <c:v>42952</c:v>
                </c:pt>
                <c:pt idx="735">
                  <c:v>42953</c:v>
                </c:pt>
                <c:pt idx="736">
                  <c:v>42954</c:v>
                </c:pt>
                <c:pt idx="737">
                  <c:v>42955</c:v>
                </c:pt>
                <c:pt idx="738">
                  <c:v>42956</c:v>
                </c:pt>
                <c:pt idx="739">
                  <c:v>42957</c:v>
                </c:pt>
                <c:pt idx="740">
                  <c:v>42958</c:v>
                </c:pt>
                <c:pt idx="741">
                  <c:v>42959</c:v>
                </c:pt>
                <c:pt idx="742">
                  <c:v>42960</c:v>
                </c:pt>
                <c:pt idx="743">
                  <c:v>42961</c:v>
                </c:pt>
                <c:pt idx="744">
                  <c:v>42962</c:v>
                </c:pt>
                <c:pt idx="745">
                  <c:v>42963</c:v>
                </c:pt>
                <c:pt idx="746">
                  <c:v>42964</c:v>
                </c:pt>
                <c:pt idx="747">
                  <c:v>42965</c:v>
                </c:pt>
                <c:pt idx="748">
                  <c:v>42966</c:v>
                </c:pt>
                <c:pt idx="749">
                  <c:v>42967</c:v>
                </c:pt>
                <c:pt idx="750">
                  <c:v>42968</c:v>
                </c:pt>
                <c:pt idx="751">
                  <c:v>42969</c:v>
                </c:pt>
                <c:pt idx="752">
                  <c:v>42970</c:v>
                </c:pt>
                <c:pt idx="753">
                  <c:v>42971</c:v>
                </c:pt>
                <c:pt idx="754">
                  <c:v>42972</c:v>
                </c:pt>
                <c:pt idx="755">
                  <c:v>42973</c:v>
                </c:pt>
                <c:pt idx="756">
                  <c:v>42974</c:v>
                </c:pt>
                <c:pt idx="757">
                  <c:v>42975</c:v>
                </c:pt>
                <c:pt idx="758">
                  <c:v>42976</c:v>
                </c:pt>
                <c:pt idx="759">
                  <c:v>42977</c:v>
                </c:pt>
                <c:pt idx="760">
                  <c:v>42978</c:v>
                </c:pt>
                <c:pt idx="761">
                  <c:v>42979</c:v>
                </c:pt>
                <c:pt idx="762">
                  <c:v>42980</c:v>
                </c:pt>
                <c:pt idx="763">
                  <c:v>42981</c:v>
                </c:pt>
                <c:pt idx="764">
                  <c:v>42982</c:v>
                </c:pt>
                <c:pt idx="765">
                  <c:v>42983</c:v>
                </c:pt>
                <c:pt idx="766">
                  <c:v>42984</c:v>
                </c:pt>
                <c:pt idx="767">
                  <c:v>42985</c:v>
                </c:pt>
                <c:pt idx="768">
                  <c:v>42986</c:v>
                </c:pt>
                <c:pt idx="769">
                  <c:v>42987</c:v>
                </c:pt>
                <c:pt idx="770">
                  <c:v>42988</c:v>
                </c:pt>
                <c:pt idx="771">
                  <c:v>42989</c:v>
                </c:pt>
                <c:pt idx="772">
                  <c:v>42990</c:v>
                </c:pt>
                <c:pt idx="773">
                  <c:v>42991</c:v>
                </c:pt>
                <c:pt idx="774">
                  <c:v>42992</c:v>
                </c:pt>
                <c:pt idx="775">
                  <c:v>42993</c:v>
                </c:pt>
                <c:pt idx="776">
                  <c:v>42994</c:v>
                </c:pt>
                <c:pt idx="777">
                  <c:v>42995</c:v>
                </c:pt>
                <c:pt idx="778">
                  <c:v>42996</c:v>
                </c:pt>
                <c:pt idx="779">
                  <c:v>42997</c:v>
                </c:pt>
                <c:pt idx="780">
                  <c:v>42998</c:v>
                </c:pt>
                <c:pt idx="781">
                  <c:v>42999</c:v>
                </c:pt>
                <c:pt idx="782">
                  <c:v>43000</c:v>
                </c:pt>
                <c:pt idx="783">
                  <c:v>43001</c:v>
                </c:pt>
                <c:pt idx="784">
                  <c:v>43002</c:v>
                </c:pt>
                <c:pt idx="785">
                  <c:v>43003</c:v>
                </c:pt>
                <c:pt idx="786">
                  <c:v>43004</c:v>
                </c:pt>
                <c:pt idx="787">
                  <c:v>43005</c:v>
                </c:pt>
                <c:pt idx="788">
                  <c:v>43006</c:v>
                </c:pt>
                <c:pt idx="789">
                  <c:v>43007</c:v>
                </c:pt>
                <c:pt idx="790">
                  <c:v>43008</c:v>
                </c:pt>
                <c:pt idx="791">
                  <c:v>43009</c:v>
                </c:pt>
                <c:pt idx="792">
                  <c:v>43010</c:v>
                </c:pt>
                <c:pt idx="793">
                  <c:v>43011</c:v>
                </c:pt>
                <c:pt idx="794">
                  <c:v>43012</c:v>
                </c:pt>
                <c:pt idx="795">
                  <c:v>43013</c:v>
                </c:pt>
                <c:pt idx="796">
                  <c:v>43014</c:v>
                </c:pt>
                <c:pt idx="797">
                  <c:v>43015</c:v>
                </c:pt>
                <c:pt idx="798">
                  <c:v>43016</c:v>
                </c:pt>
                <c:pt idx="799">
                  <c:v>43017</c:v>
                </c:pt>
                <c:pt idx="800">
                  <c:v>43018</c:v>
                </c:pt>
                <c:pt idx="801">
                  <c:v>43019</c:v>
                </c:pt>
                <c:pt idx="802">
                  <c:v>43020</c:v>
                </c:pt>
                <c:pt idx="803">
                  <c:v>43021</c:v>
                </c:pt>
                <c:pt idx="804">
                  <c:v>43022</c:v>
                </c:pt>
                <c:pt idx="805">
                  <c:v>43023</c:v>
                </c:pt>
                <c:pt idx="806">
                  <c:v>43024</c:v>
                </c:pt>
                <c:pt idx="807">
                  <c:v>43025</c:v>
                </c:pt>
                <c:pt idx="808">
                  <c:v>43026</c:v>
                </c:pt>
                <c:pt idx="809">
                  <c:v>43027</c:v>
                </c:pt>
                <c:pt idx="810">
                  <c:v>43028</c:v>
                </c:pt>
                <c:pt idx="811">
                  <c:v>43029</c:v>
                </c:pt>
                <c:pt idx="812">
                  <c:v>43030</c:v>
                </c:pt>
                <c:pt idx="813">
                  <c:v>43031</c:v>
                </c:pt>
                <c:pt idx="814">
                  <c:v>43032</c:v>
                </c:pt>
                <c:pt idx="815">
                  <c:v>43033</c:v>
                </c:pt>
                <c:pt idx="816">
                  <c:v>43034</c:v>
                </c:pt>
                <c:pt idx="817">
                  <c:v>43035</c:v>
                </c:pt>
                <c:pt idx="818">
                  <c:v>43036</c:v>
                </c:pt>
                <c:pt idx="819">
                  <c:v>43037</c:v>
                </c:pt>
                <c:pt idx="820">
                  <c:v>43038</c:v>
                </c:pt>
                <c:pt idx="821">
                  <c:v>43039</c:v>
                </c:pt>
                <c:pt idx="822">
                  <c:v>43040</c:v>
                </c:pt>
                <c:pt idx="823">
                  <c:v>43041</c:v>
                </c:pt>
                <c:pt idx="824">
                  <c:v>43042</c:v>
                </c:pt>
                <c:pt idx="825">
                  <c:v>43043</c:v>
                </c:pt>
                <c:pt idx="826">
                  <c:v>43044</c:v>
                </c:pt>
                <c:pt idx="827">
                  <c:v>43045</c:v>
                </c:pt>
                <c:pt idx="828">
                  <c:v>43046</c:v>
                </c:pt>
                <c:pt idx="829">
                  <c:v>43047</c:v>
                </c:pt>
                <c:pt idx="830">
                  <c:v>43048</c:v>
                </c:pt>
                <c:pt idx="831">
                  <c:v>43049</c:v>
                </c:pt>
                <c:pt idx="832">
                  <c:v>43050</c:v>
                </c:pt>
                <c:pt idx="833">
                  <c:v>43051</c:v>
                </c:pt>
                <c:pt idx="834">
                  <c:v>43052</c:v>
                </c:pt>
                <c:pt idx="835">
                  <c:v>43053</c:v>
                </c:pt>
                <c:pt idx="836">
                  <c:v>43054</c:v>
                </c:pt>
                <c:pt idx="837">
                  <c:v>43055</c:v>
                </c:pt>
                <c:pt idx="838">
                  <c:v>43056</c:v>
                </c:pt>
                <c:pt idx="839">
                  <c:v>43057</c:v>
                </c:pt>
                <c:pt idx="840">
                  <c:v>43058</c:v>
                </c:pt>
                <c:pt idx="841">
                  <c:v>43059</c:v>
                </c:pt>
                <c:pt idx="842">
                  <c:v>43060</c:v>
                </c:pt>
                <c:pt idx="843">
                  <c:v>43061</c:v>
                </c:pt>
                <c:pt idx="844">
                  <c:v>43062</c:v>
                </c:pt>
                <c:pt idx="845">
                  <c:v>43063</c:v>
                </c:pt>
                <c:pt idx="846">
                  <c:v>43064</c:v>
                </c:pt>
                <c:pt idx="847">
                  <c:v>43065</c:v>
                </c:pt>
                <c:pt idx="848">
                  <c:v>43066</c:v>
                </c:pt>
                <c:pt idx="849">
                  <c:v>43067</c:v>
                </c:pt>
                <c:pt idx="850">
                  <c:v>43068</c:v>
                </c:pt>
                <c:pt idx="851">
                  <c:v>43069</c:v>
                </c:pt>
                <c:pt idx="852">
                  <c:v>43070</c:v>
                </c:pt>
                <c:pt idx="853">
                  <c:v>43071</c:v>
                </c:pt>
                <c:pt idx="854">
                  <c:v>43072</c:v>
                </c:pt>
                <c:pt idx="855">
                  <c:v>43073</c:v>
                </c:pt>
                <c:pt idx="856">
                  <c:v>43074</c:v>
                </c:pt>
                <c:pt idx="857">
                  <c:v>43075</c:v>
                </c:pt>
                <c:pt idx="858">
                  <c:v>43076</c:v>
                </c:pt>
                <c:pt idx="859">
                  <c:v>43077</c:v>
                </c:pt>
                <c:pt idx="860">
                  <c:v>43078</c:v>
                </c:pt>
                <c:pt idx="861">
                  <c:v>43079</c:v>
                </c:pt>
                <c:pt idx="862">
                  <c:v>43080</c:v>
                </c:pt>
                <c:pt idx="863">
                  <c:v>43081</c:v>
                </c:pt>
                <c:pt idx="864">
                  <c:v>43082</c:v>
                </c:pt>
                <c:pt idx="865">
                  <c:v>43083</c:v>
                </c:pt>
                <c:pt idx="866">
                  <c:v>43084</c:v>
                </c:pt>
                <c:pt idx="867">
                  <c:v>43085</c:v>
                </c:pt>
                <c:pt idx="868">
                  <c:v>43086</c:v>
                </c:pt>
                <c:pt idx="869">
                  <c:v>43087</c:v>
                </c:pt>
                <c:pt idx="870">
                  <c:v>43088</c:v>
                </c:pt>
                <c:pt idx="871">
                  <c:v>43089</c:v>
                </c:pt>
                <c:pt idx="872">
                  <c:v>43090</c:v>
                </c:pt>
                <c:pt idx="873">
                  <c:v>43091</c:v>
                </c:pt>
                <c:pt idx="874">
                  <c:v>43092</c:v>
                </c:pt>
                <c:pt idx="875">
                  <c:v>43093</c:v>
                </c:pt>
                <c:pt idx="876">
                  <c:v>43094</c:v>
                </c:pt>
                <c:pt idx="877">
                  <c:v>43095</c:v>
                </c:pt>
                <c:pt idx="878">
                  <c:v>43096</c:v>
                </c:pt>
                <c:pt idx="879">
                  <c:v>43097</c:v>
                </c:pt>
                <c:pt idx="880">
                  <c:v>43098</c:v>
                </c:pt>
                <c:pt idx="881">
                  <c:v>43099</c:v>
                </c:pt>
                <c:pt idx="882">
                  <c:v>43100</c:v>
                </c:pt>
                <c:pt idx="883">
                  <c:v>43101</c:v>
                </c:pt>
                <c:pt idx="884">
                  <c:v>43102</c:v>
                </c:pt>
                <c:pt idx="885">
                  <c:v>43103</c:v>
                </c:pt>
                <c:pt idx="886">
                  <c:v>43104</c:v>
                </c:pt>
                <c:pt idx="887">
                  <c:v>43105</c:v>
                </c:pt>
                <c:pt idx="888">
                  <c:v>43106</c:v>
                </c:pt>
                <c:pt idx="889">
                  <c:v>43107</c:v>
                </c:pt>
                <c:pt idx="890">
                  <c:v>43108</c:v>
                </c:pt>
                <c:pt idx="891">
                  <c:v>43109</c:v>
                </c:pt>
                <c:pt idx="892">
                  <c:v>43110</c:v>
                </c:pt>
                <c:pt idx="893">
                  <c:v>43111</c:v>
                </c:pt>
                <c:pt idx="894">
                  <c:v>43112</c:v>
                </c:pt>
                <c:pt idx="895">
                  <c:v>43113</c:v>
                </c:pt>
                <c:pt idx="896">
                  <c:v>43114</c:v>
                </c:pt>
                <c:pt idx="897">
                  <c:v>43115</c:v>
                </c:pt>
                <c:pt idx="898">
                  <c:v>43116</c:v>
                </c:pt>
                <c:pt idx="899">
                  <c:v>43117</c:v>
                </c:pt>
                <c:pt idx="900">
                  <c:v>43118</c:v>
                </c:pt>
                <c:pt idx="901">
                  <c:v>43119</c:v>
                </c:pt>
                <c:pt idx="902">
                  <c:v>43120</c:v>
                </c:pt>
                <c:pt idx="903">
                  <c:v>43121</c:v>
                </c:pt>
                <c:pt idx="904">
                  <c:v>43122</c:v>
                </c:pt>
                <c:pt idx="905">
                  <c:v>43123</c:v>
                </c:pt>
                <c:pt idx="906">
                  <c:v>43124</c:v>
                </c:pt>
                <c:pt idx="907">
                  <c:v>43125</c:v>
                </c:pt>
                <c:pt idx="908">
                  <c:v>43126</c:v>
                </c:pt>
                <c:pt idx="909">
                  <c:v>43127</c:v>
                </c:pt>
                <c:pt idx="910">
                  <c:v>43128</c:v>
                </c:pt>
                <c:pt idx="911">
                  <c:v>43129</c:v>
                </c:pt>
                <c:pt idx="912">
                  <c:v>43130</c:v>
                </c:pt>
                <c:pt idx="913">
                  <c:v>43131</c:v>
                </c:pt>
                <c:pt idx="914">
                  <c:v>43132</c:v>
                </c:pt>
                <c:pt idx="915">
                  <c:v>43133</c:v>
                </c:pt>
                <c:pt idx="916">
                  <c:v>43134</c:v>
                </c:pt>
                <c:pt idx="917">
                  <c:v>43135</c:v>
                </c:pt>
                <c:pt idx="918">
                  <c:v>43136</c:v>
                </c:pt>
                <c:pt idx="919">
                  <c:v>43137</c:v>
                </c:pt>
                <c:pt idx="920">
                  <c:v>43138</c:v>
                </c:pt>
                <c:pt idx="921">
                  <c:v>43139</c:v>
                </c:pt>
                <c:pt idx="922">
                  <c:v>43140</c:v>
                </c:pt>
                <c:pt idx="923">
                  <c:v>43141</c:v>
                </c:pt>
                <c:pt idx="924">
                  <c:v>43142</c:v>
                </c:pt>
                <c:pt idx="925">
                  <c:v>43143</c:v>
                </c:pt>
                <c:pt idx="926">
                  <c:v>43144</c:v>
                </c:pt>
                <c:pt idx="927">
                  <c:v>43145</c:v>
                </c:pt>
                <c:pt idx="928">
                  <c:v>43146</c:v>
                </c:pt>
                <c:pt idx="929">
                  <c:v>43147</c:v>
                </c:pt>
                <c:pt idx="930">
                  <c:v>43148</c:v>
                </c:pt>
                <c:pt idx="931">
                  <c:v>43149</c:v>
                </c:pt>
                <c:pt idx="932">
                  <c:v>43150</c:v>
                </c:pt>
                <c:pt idx="933">
                  <c:v>43151</c:v>
                </c:pt>
                <c:pt idx="934">
                  <c:v>43152</c:v>
                </c:pt>
                <c:pt idx="935">
                  <c:v>43153</c:v>
                </c:pt>
                <c:pt idx="936">
                  <c:v>43154</c:v>
                </c:pt>
                <c:pt idx="937">
                  <c:v>43155</c:v>
                </c:pt>
                <c:pt idx="938">
                  <c:v>43156</c:v>
                </c:pt>
                <c:pt idx="939">
                  <c:v>43157</c:v>
                </c:pt>
                <c:pt idx="940">
                  <c:v>43158</c:v>
                </c:pt>
                <c:pt idx="941">
                  <c:v>43159</c:v>
                </c:pt>
                <c:pt idx="942">
                  <c:v>43160</c:v>
                </c:pt>
                <c:pt idx="943">
                  <c:v>43161</c:v>
                </c:pt>
                <c:pt idx="944">
                  <c:v>43162</c:v>
                </c:pt>
                <c:pt idx="945">
                  <c:v>43163</c:v>
                </c:pt>
                <c:pt idx="946">
                  <c:v>43164</c:v>
                </c:pt>
                <c:pt idx="947">
                  <c:v>43165</c:v>
                </c:pt>
                <c:pt idx="948">
                  <c:v>43166</c:v>
                </c:pt>
                <c:pt idx="949">
                  <c:v>43167</c:v>
                </c:pt>
                <c:pt idx="950">
                  <c:v>43168</c:v>
                </c:pt>
                <c:pt idx="951">
                  <c:v>43169</c:v>
                </c:pt>
                <c:pt idx="952">
                  <c:v>43170</c:v>
                </c:pt>
                <c:pt idx="953">
                  <c:v>43171</c:v>
                </c:pt>
                <c:pt idx="954">
                  <c:v>43172</c:v>
                </c:pt>
                <c:pt idx="955">
                  <c:v>43173</c:v>
                </c:pt>
                <c:pt idx="956">
                  <c:v>43174</c:v>
                </c:pt>
                <c:pt idx="957">
                  <c:v>43175</c:v>
                </c:pt>
                <c:pt idx="958">
                  <c:v>43176</c:v>
                </c:pt>
                <c:pt idx="959">
                  <c:v>43177</c:v>
                </c:pt>
                <c:pt idx="960">
                  <c:v>43178</c:v>
                </c:pt>
                <c:pt idx="961">
                  <c:v>43179</c:v>
                </c:pt>
                <c:pt idx="962">
                  <c:v>43180</c:v>
                </c:pt>
                <c:pt idx="963">
                  <c:v>43181</c:v>
                </c:pt>
                <c:pt idx="964">
                  <c:v>43182</c:v>
                </c:pt>
                <c:pt idx="965">
                  <c:v>43183</c:v>
                </c:pt>
                <c:pt idx="966">
                  <c:v>43184</c:v>
                </c:pt>
                <c:pt idx="967">
                  <c:v>43185</c:v>
                </c:pt>
                <c:pt idx="968">
                  <c:v>43186</c:v>
                </c:pt>
                <c:pt idx="969">
                  <c:v>43187</c:v>
                </c:pt>
                <c:pt idx="970">
                  <c:v>43188</c:v>
                </c:pt>
                <c:pt idx="971">
                  <c:v>43189</c:v>
                </c:pt>
                <c:pt idx="972">
                  <c:v>43190</c:v>
                </c:pt>
                <c:pt idx="973">
                  <c:v>43191</c:v>
                </c:pt>
                <c:pt idx="974">
                  <c:v>43192</c:v>
                </c:pt>
                <c:pt idx="975">
                  <c:v>43193</c:v>
                </c:pt>
                <c:pt idx="976">
                  <c:v>43194</c:v>
                </c:pt>
                <c:pt idx="977">
                  <c:v>43195</c:v>
                </c:pt>
                <c:pt idx="978">
                  <c:v>43196</c:v>
                </c:pt>
                <c:pt idx="979">
                  <c:v>43197</c:v>
                </c:pt>
                <c:pt idx="980">
                  <c:v>43198</c:v>
                </c:pt>
                <c:pt idx="981">
                  <c:v>43199</c:v>
                </c:pt>
                <c:pt idx="982">
                  <c:v>43200</c:v>
                </c:pt>
                <c:pt idx="983">
                  <c:v>43201</c:v>
                </c:pt>
                <c:pt idx="984">
                  <c:v>43202</c:v>
                </c:pt>
                <c:pt idx="985">
                  <c:v>43203</c:v>
                </c:pt>
                <c:pt idx="986">
                  <c:v>43204</c:v>
                </c:pt>
                <c:pt idx="987">
                  <c:v>43205</c:v>
                </c:pt>
                <c:pt idx="988">
                  <c:v>43206</c:v>
                </c:pt>
                <c:pt idx="989">
                  <c:v>43207</c:v>
                </c:pt>
                <c:pt idx="990">
                  <c:v>43208</c:v>
                </c:pt>
                <c:pt idx="991">
                  <c:v>43209</c:v>
                </c:pt>
                <c:pt idx="992">
                  <c:v>43210</c:v>
                </c:pt>
                <c:pt idx="993">
                  <c:v>43211</c:v>
                </c:pt>
                <c:pt idx="994">
                  <c:v>43212</c:v>
                </c:pt>
                <c:pt idx="995">
                  <c:v>43213</c:v>
                </c:pt>
                <c:pt idx="996">
                  <c:v>43214</c:v>
                </c:pt>
                <c:pt idx="997">
                  <c:v>43215</c:v>
                </c:pt>
                <c:pt idx="998">
                  <c:v>43216</c:v>
                </c:pt>
                <c:pt idx="999">
                  <c:v>43217</c:v>
                </c:pt>
                <c:pt idx="1000">
                  <c:v>43218</c:v>
                </c:pt>
                <c:pt idx="1001">
                  <c:v>43219</c:v>
                </c:pt>
                <c:pt idx="1002">
                  <c:v>43220</c:v>
                </c:pt>
                <c:pt idx="1003">
                  <c:v>43221</c:v>
                </c:pt>
                <c:pt idx="1004">
                  <c:v>43222</c:v>
                </c:pt>
                <c:pt idx="1005">
                  <c:v>43223</c:v>
                </c:pt>
                <c:pt idx="1006">
                  <c:v>43224</c:v>
                </c:pt>
                <c:pt idx="1007">
                  <c:v>43225</c:v>
                </c:pt>
                <c:pt idx="1008">
                  <c:v>43226</c:v>
                </c:pt>
                <c:pt idx="1009">
                  <c:v>43227</c:v>
                </c:pt>
                <c:pt idx="1010">
                  <c:v>43228</c:v>
                </c:pt>
                <c:pt idx="1011">
                  <c:v>43229</c:v>
                </c:pt>
                <c:pt idx="1012">
                  <c:v>43230</c:v>
                </c:pt>
                <c:pt idx="1013">
                  <c:v>43231</c:v>
                </c:pt>
                <c:pt idx="1014">
                  <c:v>43232</c:v>
                </c:pt>
                <c:pt idx="1015">
                  <c:v>43233</c:v>
                </c:pt>
                <c:pt idx="1016">
                  <c:v>43234</c:v>
                </c:pt>
                <c:pt idx="1017">
                  <c:v>43235</c:v>
                </c:pt>
                <c:pt idx="1018">
                  <c:v>43236</c:v>
                </c:pt>
                <c:pt idx="1019">
                  <c:v>43237</c:v>
                </c:pt>
                <c:pt idx="1020">
                  <c:v>43238</c:v>
                </c:pt>
                <c:pt idx="1021">
                  <c:v>43239</c:v>
                </c:pt>
                <c:pt idx="1022">
                  <c:v>43240</c:v>
                </c:pt>
                <c:pt idx="1023">
                  <c:v>43241</c:v>
                </c:pt>
                <c:pt idx="1024">
                  <c:v>43242</c:v>
                </c:pt>
                <c:pt idx="1025">
                  <c:v>43243</c:v>
                </c:pt>
                <c:pt idx="1026">
                  <c:v>43244</c:v>
                </c:pt>
                <c:pt idx="1027">
                  <c:v>43245</c:v>
                </c:pt>
                <c:pt idx="1028">
                  <c:v>43246</c:v>
                </c:pt>
                <c:pt idx="1029">
                  <c:v>43247</c:v>
                </c:pt>
                <c:pt idx="1030">
                  <c:v>43248</c:v>
                </c:pt>
                <c:pt idx="1031">
                  <c:v>43249</c:v>
                </c:pt>
                <c:pt idx="1032">
                  <c:v>43250</c:v>
                </c:pt>
                <c:pt idx="1033">
                  <c:v>43251</c:v>
                </c:pt>
                <c:pt idx="1034">
                  <c:v>43252</c:v>
                </c:pt>
                <c:pt idx="1035">
                  <c:v>43253</c:v>
                </c:pt>
                <c:pt idx="1036">
                  <c:v>43254</c:v>
                </c:pt>
                <c:pt idx="1037">
                  <c:v>43255</c:v>
                </c:pt>
                <c:pt idx="1038">
                  <c:v>43256</c:v>
                </c:pt>
                <c:pt idx="1039">
                  <c:v>43257</c:v>
                </c:pt>
                <c:pt idx="1040">
                  <c:v>43258</c:v>
                </c:pt>
                <c:pt idx="1041">
                  <c:v>43259</c:v>
                </c:pt>
                <c:pt idx="1042">
                  <c:v>43260</c:v>
                </c:pt>
                <c:pt idx="1043">
                  <c:v>43261</c:v>
                </c:pt>
                <c:pt idx="1044">
                  <c:v>43262</c:v>
                </c:pt>
                <c:pt idx="1045">
                  <c:v>43263</c:v>
                </c:pt>
                <c:pt idx="1046">
                  <c:v>43264</c:v>
                </c:pt>
                <c:pt idx="1047">
                  <c:v>43265</c:v>
                </c:pt>
                <c:pt idx="1048">
                  <c:v>43266</c:v>
                </c:pt>
                <c:pt idx="1049">
                  <c:v>43267</c:v>
                </c:pt>
                <c:pt idx="1050">
                  <c:v>43268</c:v>
                </c:pt>
                <c:pt idx="1051">
                  <c:v>43269</c:v>
                </c:pt>
                <c:pt idx="1052">
                  <c:v>43270</c:v>
                </c:pt>
                <c:pt idx="1053">
                  <c:v>43271</c:v>
                </c:pt>
                <c:pt idx="1054">
                  <c:v>43272</c:v>
                </c:pt>
                <c:pt idx="1055">
                  <c:v>43273</c:v>
                </c:pt>
                <c:pt idx="1056">
                  <c:v>43274</c:v>
                </c:pt>
                <c:pt idx="1057">
                  <c:v>43275</c:v>
                </c:pt>
                <c:pt idx="1058">
                  <c:v>43276</c:v>
                </c:pt>
                <c:pt idx="1059">
                  <c:v>43277</c:v>
                </c:pt>
                <c:pt idx="1060">
                  <c:v>43278</c:v>
                </c:pt>
                <c:pt idx="1061">
                  <c:v>43279</c:v>
                </c:pt>
                <c:pt idx="1062">
                  <c:v>43280</c:v>
                </c:pt>
                <c:pt idx="1063">
                  <c:v>43281</c:v>
                </c:pt>
                <c:pt idx="1064">
                  <c:v>43282</c:v>
                </c:pt>
                <c:pt idx="1065">
                  <c:v>43283</c:v>
                </c:pt>
                <c:pt idx="1066">
                  <c:v>43284</c:v>
                </c:pt>
                <c:pt idx="1067">
                  <c:v>43285</c:v>
                </c:pt>
                <c:pt idx="1068">
                  <c:v>43286</c:v>
                </c:pt>
                <c:pt idx="1069">
                  <c:v>43287</c:v>
                </c:pt>
                <c:pt idx="1070">
                  <c:v>43288</c:v>
                </c:pt>
                <c:pt idx="1071">
                  <c:v>43289</c:v>
                </c:pt>
                <c:pt idx="1072">
                  <c:v>43290</c:v>
                </c:pt>
                <c:pt idx="1073">
                  <c:v>43291</c:v>
                </c:pt>
                <c:pt idx="1074">
                  <c:v>43292</c:v>
                </c:pt>
                <c:pt idx="1075">
                  <c:v>43293</c:v>
                </c:pt>
                <c:pt idx="1076">
                  <c:v>43294</c:v>
                </c:pt>
                <c:pt idx="1077">
                  <c:v>43295</c:v>
                </c:pt>
                <c:pt idx="1078">
                  <c:v>43296</c:v>
                </c:pt>
                <c:pt idx="1079">
                  <c:v>43297</c:v>
                </c:pt>
                <c:pt idx="1080">
                  <c:v>43298</c:v>
                </c:pt>
                <c:pt idx="1081">
                  <c:v>43299</c:v>
                </c:pt>
                <c:pt idx="1082">
                  <c:v>43300</c:v>
                </c:pt>
                <c:pt idx="1083">
                  <c:v>43301</c:v>
                </c:pt>
                <c:pt idx="1084">
                  <c:v>43302</c:v>
                </c:pt>
                <c:pt idx="1085">
                  <c:v>43305</c:v>
                </c:pt>
                <c:pt idx="1086">
                  <c:v>43306</c:v>
                </c:pt>
                <c:pt idx="1087">
                  <c:v>43307</c:v>
                </c:pt>
                <c:pt idx="1088">
                  <c:v>43308</c:v>
                </c:pt>
                <c:pt idx="1089">
                  <c:v>43309</c:v>
                </c:pt>
                <c:pt idx="1090">
                  <c:v>43310</c:v>
                </c:pt>
                <c:pt idx="1091">
                  <c:v>43311</c:v>
                </c:pt>
                <c:pt idx="1092">
                  <c:v>43312</c:v>
                </c:pt>
                <c:pt idx="1093">
                  <c:v>43313</c:v>
                </c:pt>
                <c:pt idx="1094">
                  <c:v>43314</c:v>
                </c:pt>
                <c:pt idx="1095">
                  <c:v>43315</c:v>
                </c:pt>
                <c:pt idx="1096">
                  <c:v>43316</c:v>
                </c:pt>
                <c:pt idx="1097">
                  <c:v>43317</c:v>
                </c:pt>
                <c:pt idx="1098">
                  <c:v>43318</c:v>
                </c:pt>
                <c:pt idx="1099">
                  <c:v>43319</c:v>
                </c:pt>
                <c:pt idx="1100">
                  <c:v>43320</c:v>
                </c:pt>
                <c:pt idx="1101">
                  <c:v>43321</c:v>
                </c:pt>
                <c:pt idx="1102">
                  <c:v>43322</c:v>
                </c:pt>
                <c:pt idx="1103">
                  <c:v>43323</c:v>
                </c:pt>
                <c:pt idx="1104">
                  <c:v>43324</c:v>
                </c:pt>
                <c:pt idx="1105">
                  <c:v>43325</c:v>
                </c:pt>
                <c:pt idx="1106">
                  <c:v>43326</c:v>
                </c:pt>
                <c:pt idx="1107">
                  <c:v>43327</c:v>
                </c:pt>
                <c:pt idx="1108">
                  <c:v>43328</c:v>
                </c:pt>
                <c:pt idx="1109">
                  <c:v>43329</c:v>
                </c:pt>
                <c:pt idx="1110">
                  <c:v>43330</c:v>
                </c:pt>
                <c:pt idx="1111">
                  <c:v>43331</c:v>
                </c:pt>
                <c:pt idx="1112">
                  <c:v>43332</c:v>
                </c:pt>
                <c:pt idx="1113">
                  <c:v>43333</c:v>
                </c:pt>
                <c:pt idx="1114">
                  <c:v>43334</c:v>
                </c:pt>
                <c:pt idx="1115">
                  <c:v>43335</c:v>
                </c:pt>
                <c:pt idx="1116">
                  <c:v>43336</c:v>
                </c:pt>
                <c:pt idx="1117">
                  <c:v>43337</c:v>
                </c:pt>
                <c:pt idx="1118">
                  <c:v>43338</c:v>
                </c:pt>
                <c:pt idx="1119">
                  <c:v>43339</c:v>
                </c:pt>
                <c:pt idx="1120">
                  <c:v>43340</c:v>
                </c:pt>
                <c:pt idx="1121">
                  <c:v>43341</c:v>
                </c:pt>
                <c:pt idx="1122">
                  <c:v>43342</c:v>
                </c:pt>
                <c:pt idx="1123">
                  <c:v>43343</c:v>
                </c:pt>
                <c:pt idx="1124">
                  <c:v>43344</c:v>
                </c:pt>
                <c:pt idx="1125">
                  <c:v>43345</c:v>
                </c:pt>
                <c:pt idx="1126">
                  <c:v>43346</c:v>
                </c:pt>
                <c:pt idx="1127">
                  <c:v>43347</c:v>
                </c:pt>
                <c:pt idx="1128">
                  <c:v>43348</c:v>
                </c:pt>
                <c:pt idx="1129">
                  <c:v>43349</c:v>
                </c:pt>
                <c:pt idx="1130">
                  <c:v>43350</c:v>
                </c:pt>
                <c:pt idx="1131">
                  <c:v>43351</c:v>
                </c:pt>
                <c:pt idx="1132">
                  <c:v>43352</c:v>
                </c:pt>
                <c:pt idx="1133">
                  <c:v>43353</c:v>
                </c:pt>
                <c:pt idx="1134">
                  <c:v>43354</c:v>
                </c:pt>
                <c:pt idx="1135">
                  <c:v>43355</c:v>
                </c:pt>
                <c:pt idx="1136">
                  <c:v>43356</c:v>
                </c:pt>
                <c:pt idx="1137">
                  <c:v>43357</c:v>
                </c:pt>
                <c:pt idx="1138">
                  <c:v>43358</c:v>
                </c:pt>
                <c:pt idx="1139">
                  <c:v>43359</c:v>
                </c:pt>
                <c:pt idx="1140">
                  <c:v>43360</c:v>
                </c:pt>
                <c:pt idx="1141">
                  <c:v>43361</c:v>
                </c:pt>
                <c:pt idx="1142">
                  <c:v>43362</c:v>
                </c:pt>
                <c:pt idx="1143">
                  <c:v>43363</c:v>
                </c:pt>
                <c:pt idx="1144">
                  <c:v>43364</c:v>
                </c:pt>
                <c:pt idx="1145">
                  <c:v>43365</c:v>
                </c:pt>
                <c:pt idx="1146">
                  <c:v>43366</c:v>
                </c:pt>
                <c:pt idx="1147">
                  <c:v>43367</c:v>
                </c:pt>
                <c:pt idx="1148">
                  <c:v>43368</c:v>
                </c:pt>
                <c:pt idx="1149">
                  <c:v>43369</c:v>
                </c:pt>
                <c:pt idx="1150">
                  <c:v>43370</c:v>
                </c:pt>
                <c:pt idx="1151">
                  <c:v>43371</c:v>
                </c:pt>
                <c:pt idx="1152">
                  <c:v>43372</c:v>
                </c:pt>
                <c:pt idx="1153">
                  <c:v>43373</c:v>
                </c:pt>
                <c:pt idx="1154">
                  <c:v>43374</c:v>
                </c:pt>
                <c:pt idx="1155">
                  <c:v>43375</c:v>
                </c:pt>
                <c:pt idx="1156">
                  <c:v>43376</c:v>
                </c:pt>
                <c:pt idx="1157">
                  <c:v>43377</c:v>
                </c:pt>
                <c:pt idx="1158">
                  <c:v>43378</c:v>
                </c:pt>
                <c:pt idx="1159">
                  <c:v>43379</c:v>
                </c:pt>
                <c:pt idx="1160">
                  <c:v>43380</c:v>
                </c:pt>
                <c:pt idx="1161">
                  <c:v>43381</c:v>
                </c:pt>
                <c:pt idx="1162">
                  <c:v>43382</c:v>
                </c:pt>
                <c:pt idx="1163">
                  <c:v>43383</c:v>
                </c:pt>
                <c:pt idx="1164">
                  <c:v>43384</c:v>
                </c:pt>
                <c:pt idx="1165">
                  <c:v>43385</c:v>
                </c:pt>
                <c:pt idx="1166">
                  <c:v>43386</c:v>
                </c:pt>
                <c:pt idx="1167">
                  <c:v>43387</c:v>
                </c:pt>
                <c:pt idx="1168">
                  <c:v>43388</c:v>
                </c:pt>
                <c:pt idx="1169">
                  <c:v>43389</c:v>
                </c:pt>
                <c:pt idx="1170">
                  <c:v>43390</c:v>
                </c:pt>
                <c:pt idx="1171">
                  <c:v>43391</c:v>
                </c:pt>
                <c:pt idx="1172">
                  <c:v>43392</c:v>
                </c:pt>
                <c:pt idx="1173">
                  <c:v>43393</c:v>
                </c:pt>
                <c:pt idx="1174">
                  <c:v>43394</c:v>
                </c:pt>
                <c:pt idx="1175">
                  <c:v>43395</c:v>
                </c:pt>
                <c:pt idx="1176">
                  <c:v>43396</c:v>
                </c:pt>
                <c:pt idx="1177">
                  <c:v>43397</c:v>
                </c:pt>
                <c:pt idx="1178">
                  <c:v>43398</c:v>
                </c:pt>
                <c:pt idx="1179">
                  <c:v>43399</c:v>
                </c:pt>
                <c:pt idx="1180">
                  <c:v>43400</c:v>
                </c:pt>
                <c:pt idx="1181">
                  <c:v>43401</c:v>
                </c:pt>
                <c:pt idx="1182">
                  <c:v>43402</c:v>
                </c:pt>
                <c:pt idx="1183">
                  <c:v>43403</c:v>
                </c:pt>
                <c:pt idx="1184">
                  <c:v>43404</c:v>
                </c:pt>
                <c:pt idx="1185">
                  <c:v>43405</c:v>
                </c:pt>
                <c:pt idx="1186">
                  <c:v>43406</c:v>
                </c:pt>
                <c:pt idx="1187">
                  <c:v>43407</c:v>
                </c:pt>
                <c:pt idx="1188">
                  <c:v>43408</c:v>
                </c:pt>
                <c:pt idx="1189">
                  <c:v>43409</c:v>
                </c:pt>
                <c:pt idx="1190">
                  <c:v>43410</c:v>
                </c:pt>
                <c:pt idx="1191">
                  <c:v>43411</c:v>
                </c:pt>
                <c:pt idx="1192">
                  <c:v>43412</c:v>
                </c:pt>
                <c:pt idx="1193">
                  <c:v>43413</c:v>
                </c:pt>
                <c:pt idx="1194">
                  <c:v>43414</c:v>
                </c:pt>
                <c:pt idx="1195">
                  <c:v>43415</c:v>
                </c:pt>
                <c:pt idx="1196">
                  <c:v>43416</c:v>
                </c:pt>
                <c:pt idx="1197">
                  <c:v>43417</c:v>
                </c:pt>
                <c:pt idx="1198">
                  <c:v>43418</c:v>
                </c:pt>
                <c:pt idx="1199">
                  <c:v>43419</c:v>
                </c:pt>
                <c:pt idx="1200">
                  <c:v>43420</c:v>
                </c:pt>
                <c:pt idx="1201">
                  <c:v>43421</c:v>
                </c:pt>
                <c:pt idx="1202">
                  <c:v>43422</c:v>
                </c:pt>
                <c:pt idx="1203">
                  <c:v>43423</c:v>
                </c:pt>
                <c:pt idx="1204">
                  <c:v>43424</c:v>
                </c:pt>
                <c:pt idx="1205">
                  <c:v>43425</c:v>
                </c:pt>
                <c:pt idx="1206">
                  <c:v>43426</c:v>
                </c:pt>
                <c:pt idx="1207">
                  <c:v>43427</c:v>
                </c:pt>
                <c:pt idx="1208">
                  <c:v>43428</c:v>
                </c:pt>
                <c:pt idx="1209">
                  <c:v>43429</c:v>
                </c:pt>
                <c:pt idx="1210">
                  <c:v>43430</c:v>
                </c:pt>
                <c:pt idx="1211">
                  <c:v>43431</c:v>
                </c:pt>
                <c:pt idx="1212">
                  <c:v>43432</c:v>
                </c:pt>
                <c:pt idx="1213">
                  <c:v>43433</c:v>
                </c:pt>
                <c:pt idx="1214">
                  <c:v>43434</c:v>
                </c:pt>
                <c:pt idx="1215">
                  <c:v>43435</c:v>
                </c:pt>
                <c:pt idx="1216">
                  <c:v>43436</c:v>
                </c:pt>
                <c:pt idx="1217">
                  <c:v>43437</c:v>
                </c:pt>
                <c:pt idx="1218">
                  <c:v>43438</c:v>
                </c:pt>
                <c:pt idx="1219">
                  <c:v>43439</c:v>
                </c:pt>
                <c:pt idx="1220">
                  <c:v>43440</c:v>
                </c:pt>
                <c:pt idx="1221">
                  <c:v>43441</c:v>
                </c:pt>
                <c:pt idx="1222">
                  <c:v>43442</c:v>
                </c:pt>
                <c:pt idx="1223">
                  <c:v>43443</c:v>
                </c:pt>
                <c:pt idx="1224">
                  <c:v>43444</c:v>
                </c:pt>
                <c:pt idx="1225">
                  <c:v>43445</c:v>
                </c:pt>
                <c:pt idx="1226">
                  <c:v>43446</c:v>
                </c:pt>
                <c:pt idx="1227">
                  <c:v>43447</c:v>
                </c:pt>
                <c:pt idx="1228">
                  <c:v>43448</c:v>
                </c:pt>
                <c:pt idx="1229">
                  <c:v>43449</c:v>
                </c:pt>
                <c:pt idx="1230">
                  <c:v>43450</c:v>
                </c:pt>
                <c:pt idx="1231">
                  <c:v>43451</c:v>
                </c:pt>
                <c:pt idx="1232">
                  <c:v>43452</c:v>
                </c:pt>
                <c:pt idx="1233">
                  <c:v>43453</c:v>
                </c:pt>
                <c:pt idx="1234">
                  <c:v>43454</c:v>
                </c:pt>
                <c:pt idx="1235">
                  <c:v>43455</c:v>
                </c:pt>
                <c:pt idx="1236">
                  <c:v>43456</c:v>
                </c:pt>
                <c:pt idx="1237">
                  <c:v>43457</c:v>
                </c:pt>
                <c:pt idx="1238">
                  <c:v>43458</c:v>
                </c:pt>
                <c:pt idx="1239">
                  <c:v>43459</c:v>
                </c:pt>
                <c:pt idx="1240">
                  <c:v>43460</c:v>
                </c:pt>
                <c:pt idx="1241">
                  <c:v>43461</c:v>
                </c:pt>
                <c:pt idx="1242">
                  <c:v>43462</c:v>
                </c:pt>
                <c:pt idx="1243">
                  <c:v>43463</c:v>
                </c:pt>
                <c:pt idx="1244">
                  <c:v>43464</c:v>
                </c:pt>
                <c:pt idx="1245">
                  <c:v>43465</c:v>
                </c:pt>
                <c:pt idx="1246">
                  <c:v>43466</c:v>
                </c:pt>
                <c:pt idx="1247">
                  <c:v>43467</c:v>
                </c:pt>
                <c:pt idx="1248">
                  <c:v>43468</c:v>
                </c:pt>
                <c:pt idx="1249">
                  <c:v>43469</c:v>
                </c:pt>
                <c:pt idx="1250">
                  <c:v>43470</c:v>
                </c:pt>
                <c:pt idx="1251">
                  <c:v>43471</c:v>
                </c:pt>
                <c:pt idx="1252">
                  <c:v>43472</c:v>
                </c:pt>
                <c:pt idx="1253">
                  <c:v>43473</c:v>
                </c:pt>
                <c:pt idx="1254">
                  <c:v>43474</c:v>
                </c:pt>
                <c:pt idx="1255">
                  <c:v>43475</c:v>
                </c:pt>
                <c:pt idx="1256">
                  <c:v>43476</c:v>
                </c:pt>
                <c:pt idx="1257">
                  <c:v>43477</c:v>
                </c:pt>
                <c:pt idx="1258">
                  <c:v>43478</c:v>
                </c:pt>
                <c:pt idx="1259">
                  <c:v>43479</c:v>
                </c:pt>
                <c:pt idx="1260">
                  <c:v>43480</c:v>
                </c:pt>
                <c:pt idx="1261">
                  <c:v>43481</c:v>
                </c:pt>
                <c:pt idx="1262">
                  <c:v>43482</c:v>
                </c:pt>
                <c:pt idx="1263">
                  <c:v>43483</c:v>
                </c:pt>
                <c:pt idx="1264">
                  <c:v>43484</c:v>
                </c:pt>
                <c:pt idx="1265">
                  <c:v>43485</c:v>
                </c:pt>
                <c:pt idx="1266">
                  <c:v>43486</c:v>
                </c:pt>
                <c:pt idx="1267">
                  <c:v>43487</c:v>
                </c:pt>
                <c:pt idx="1268">
                  <c:v>43488</c:v>
                </c:pt>
                <c:pt idx="1269">
                  <c:v>43489</c:v>
                </c:pt>
                <c:pt idx="1270">
                  <c:v>43490</c:v>
                </c:pt>
                <c:pt idx="1271">
                  <c:v>43491</c:v>
                </c:pt>
                <c:pt idx="1272">
                  <c:v>43492</c:v>
                </c:pt>
                <c:pt idx="1273">
                  <c:v>43493</c:v>
                </c:pt>
                <c:pt idx="1274">
                  <c:v>43494</c:v>
                </c:pt>
                <c:pt idx="1275">
                  <c:v>43495</c:v>
                </c:pt>
                <c:pt idx="1276">
                  <c:v>43496</c:v>
                </c:pt>
                <c:pt idx="1277">
                  <c:v>43497</c:v>
                </c:pt>
                <c:pt idx="1278">
                  <c:v>43498</c:v>
                </c:pt>
                <c:pt idx="1279">
                  <c:v>43499</c:v>
                </c:pt>
                <c:pt idx="1280">
                  <c:v>43500</c:v>
                </c:pt>
                <c:pt idx="1281">
                  <c:v>43501</c:v>
                </c:pt>
                <c:pt idx="1282">
                  <c:v>43502</c:v>
                </c:pt>
                <c:pt idx="1283">
                  <c:v>43503</c:v>
                </c:pt>
                <c:pt idx="1284">
                  <c:v>43504</c:v>
                </c:pt>
                <c:pt idx="1285">
                  <c:v>43505</c:v>
                </c:pt>
                <c:pt idx="1286">
                  <c:v>43506</c:v>
                </c:pt>
                <c:pt idx="1287">
                  <c:v>43507</c:v>
                </c:pt>
                <c:pt idx="1288">
                  <c:v>43508</c:v>
                </c:pt>
                <c:pt idx="1289">
                  <c:v>43509</c:v>
                </c:pt>
                <c:pt idx="1290">
                  <c:v>43510</c:v>
                </c:pt>
                <c:pt idx="1291">
                  <c:v>43511</c:v>
                </c:pt>
                <c:pt idx="1292">
                  <c:v>43512</c:v>
                </c:pt>
                <c:pt idx="1293">
                  <c:v>43513</c:v>
                </c:pt>
                <c:pt idx="1294">
                  <c:v>43514</c:v>
                </c:pt>
                <c:pt idx="1295">
                  <c:v>43515</c:v>
                </c:pt>
                <c:pt idx="1296">
                  <c:v>43516</c:v>
                </c:pt>
                <c:pt idx="1297">
                  <c:v>43517</c:v>
                </c:pt>
                <c:pt idx="1298">
                  <c:v>43518</c:v>
                </c:pt>
                <c:pt idx="1299">
                  <c:v>43519</c:v>
                </c:pt>
                <c:pt idx="1300">
                  <c:v>43520</c:v>
                </c:pt>
                <c:pt idx="1301">
                  <c:v>43521</c:v>
                </c:pt>
                <c:pt idx="1302">
                  <c:v>43522</c:v>
                </c:pt>
                <c:pt idx="1303">
                  <c:v>43523</c:v>
                </c:pt>
                <c:pt idx="1304">
                  <c:v>43524</c:v>
                </c:pt>
                <c:pt idx="1305">
                  <c:v>43525</c:v>
                </c:pt>
                <c:pt idx="1306">
                  <c:v>43526</c:v>
                </c:pt>
                <c:pt idx="1307">
                  <c:v>43527</c:v>
                </c:pt>
                <c:pt idx="1308">
                  <c:v>43528</c:v>
                </c:pt>
                <c:pt idx="1309">
                  <c:v>43529</c:v>
                </c:pt>
                <c:pt idx="1310">
                  <c:v>43530</c:v>
                </c:pt>
                <c:pt idx="1311">
                  <c:v>43531</c:v>
                </c:pt>
                <c:pt idx="1312">
                  <c:v>43532</c:v>
                </c:pt>
                <c:pt idx="1313">
                  <c:v>43533</c:v>
                </c:pt>
                <c:pt idx="1314">
                  <c:v>43534</c:v>
                </c:pt>
                <c:pt idx="1315">
                  <c:v>43535</c:v>
                </c:pt>
                <c:pt idx="1316">
                  <c:v>43536</c:v>
                </c:pt>
                <c:pt idx="1317">
                  <c:v>43537</c:v>
                </c:pt>
                <c:pt idx="1318">
                  <c:v>43538</c:v>
                </c:pt>
                <c:pt idx="1319">
                  <c:v>43539</c:v>
                </c:pt>
                <c:pt idx="1320">
                  <c:v>43540</c:v>
                </c:pt>
                <c:pt idx="1321">
                  <c:v>43541</c:v>
                </c:pt>
                <c:pt idx="1322">
                  <c:v>43542</c:v>
                </c:pt>
                <c:pt idx="1323">
                  <c:v>43543</c:v>
                </c:pt>
                <c:pt idx="1324">
                  <c:v>43544</c:v>
                </c:pt>
                <c:pt idx="1325">
                  <c:v>43545</c:v>
                </c:pt>
                <c:pt idx="1326">
                  <c:v>43546</c:v>
                </c:pt>
                <c:pt idx="1327">
                  <c:v>43547</c:v>
                </c:pt>
                <c:pt idx="1328">
                  <c:v>43548</c:v>
                </c:pt>
                <c:pt idx="1329">
                  <c:v>43549</c:v>
                </c:pt>
                <c:pt idx="1330">
                  <c:v>43550</c:v>
                </c:pt>
                <c:pt idx="1331">
                  <c:v>43551</c:v>
                </c:pt>
                <c:pt idx="1332">
                  <c:v>43552</c:v>
                </c:pt>
                <c:pt idx="1333">
                  <c:v>43553</c:v>
                </c:pt>
                <c:pt idx="1334">
                  <c:v>43554</c:v>
                </c:pt>
                <c:pt idx="1335">
                  <c:v>43555</c:v>
                </c:pt>
                <c:pt idx="1336">
                  <c:v>43556</c:v>
                </c:pt>
                <c:pt idx="1337">
                  <c:v>43557</c:v>
                </c:pt>
                <c:pt idx="1338">
                  <c:v>43558</c:v>
                </c:pt>
                <c:pt idx="1339">
                  <c:v>43559</c:v>
                </c:pt>
                <c:pt idx="1340">
                  <c:v>43560</c:v>
                </c:pt>
                <c:pt idx="1341">
                  <c:v>43561</c:v>
                </c:pt>
                <c:pt idx="1342">
                  <c:v>43562</c:v>
                </c:pt>
                <c:pt idx="1343">
                  <c:v>43563</c:v>
                </c:pt>
                <c:pt idx="1344">
                  <c:v>43564</c:v>
                </c:pt>
                <c:pt idx="1345">
                  <c:v>43565</c:v>
                </c:pt>
                <c:pt idx="1346">
                  <c:v>43566</c:v>
                </c:pt>
                <c:pt idx="1347">
                  <c:v>43567</c:v>
                </c:pt>
                <c:pt idx="1348">
                  <c:v>43568</c:v>
                </c:pt>
                <c:pt idx="1349">
                  <c:v>43569</c:v>
                </c:pt>
                <c:pt idx="1350">
                  <c:v>43570</c:v>
                </c:pt>
                <c:pt idx="1351">
                  <c:v>43571</c:v>
                </c:pt>
                <c:pt idx="1352">
                  <c:v>43572</c:v>
                </c:pt>
                <c:pt idx="1353">
                  <c:v>43573</c:v>
                </c:pt>
                <c:pt idx="1354">
                  <c:v>43574</c:v>
                </c:pt>
                <c:pt idx="1355">
                  <c:v>43575</c:v>
                </c:pt>
                <c:pt idx="1356">
                  <c:v>43576</c:v>
                </c:pt>
                <c:pt idx="1357">
                  <c:v>43577</c:v>
                </c:pt>
                <c:pt idx="1358">
                  <c:v>43578</c:v>
                </c:pt>
                <c:pt idx="1359">
                  <c:v>43579</c:v>
                </c:pt>
                <c:pt idx="1360">
                  <c:v>43580</c:v>
                </c:pt>
                <c:pt idx="1361">
                  <c:v>43581</c:v>
                </c:pt>
                <c:pt idx="1362">
                  <c:v>43582</c:v>
                </c:pt>
                <c:pt idx="1363">
                  <c:v>43583</c:v>
                </c:pt>
                <c:pt idx="1364">
                  <c:v>43584</c:v>
                </c:pt>
                <c:pt idx="1365">
                  <c:v>43585</c:v>
                </c:pt>
                <c:pt idx="1366">
                  <c:v>43586</c:v>
                </c:pt>
                <c:pt idx="1367">
                  <c:v>43587</c:v>
                </c:pt>
                <c:pt idx="1368">
                  <c:v>43588</c:v>
                </c:pt>
                <c:pt idx="1369">
                  <c:v>43589</c:v>
                </c:pt>
                <c:pt idx="1370">
                  <c:v>43590</c:v>
                </c:pt>
                <c:pt idx="1371">
                  <c:v>43591</c:v>
                </c:pt>
                <c:pt idx="1372">
                  <c:v>43592</c:v>
                </c:pt>
                <c:pt idx="1373">
                  <c:v>43593</c:v>
                </c:pt>
                <c:pt idx="1374">
                  <c:v>43594</c:v>
                </c:pt>
                <c:pt idx="1375">
                  <c:v>43595</c:v>
                </c:pt>
                <c:pt idx="1376">
                  <c:v>43596</c:v>
                </c:pt>
                <c:pt idx="1377">
                  <c:v>43597</c:v>
                </c:pt>
                <c:pt idx="1378">
                  <c:v>43598</c:v>
                </c:pt>
                <c:pt idx="1379">
                  <c:v>43599</c:v>
                </c:pt>
                <c:pt idx="1380">
                  <c:v>43600</c:v>
                </c:pt>
                <c:pt idx="1381">
                  <c:v>43601</c:v>
                </c:pt>
                <c:pt idx="1382">
                  <c:v>43602</c:v>
                </c:pt>
                <c:pt idx="1383">
                  <c:v>43603</c:v>
                </c:pt>
                <c:pt idx="1384">
                  <c:v>43604</c:v>
                </c:pt>
                <c:pt idx="1385">
                  <c:v>43605</c:v>
                </c:pt>
                <c:pt idx="1386">
                  <c:v>43606</c:v>
                </c:pt>
                <c:pt idx="1387">
                  <c:v>43607</c:v>
                </c:pt>
                <c:pt idx="1388">
                  <c:v>43608</c:v>
                </c:pt>
                <c:pt idx="1389">
                  <c:v>43609</c:v>
                </c:pt>
                <c:pt idx="1390">
                  <c:v>43610</c:v>
                </c:pt>
                <c:pt idx="1391">
                  <c:v>43611</c:v>
                </c:pt>
                <c:pt idx="1392">
                  <c:v>43612</c:v>
                </c:pt>
                <c:pt idx="1393">
                  <c:v>43613</c:v>
                </c:pt>
                <c:pt idx="1394">
                  <c:v>43614</c:v>
                </c:pt>
                <c:pt idx="1395">
                  <c:v>43615</c:v>
                </c:pt>
                <c:pt idx="1396">
                  <c:v>43616</c:v>
                </c:pt>
                <c:pt idx="1397">
                  <c:v>43617</c:v>
                </c:pt>
                <c:pt idx="1398">
                  <c:v>43618</c:v>
                </c:pt>
                <c:pt idx="1399">
                  <c:v>43619</c:v>
                </c:pt>
                <c:pt idx="1400">
                  <c:v>43620</c:v>
                </c:pt>
                <c:pt idx="1401">
                  <c:v>43621</c:v>
                </c:pt>
                <c:pt idx="1402">
                  <c:v>43622</c:v>
                </c:pt>
                <c:pt idx="1403">
                  <c:v>43623</c:v>
                </c:pt>
                <c:pt idx="1404">
                  <c:v>43624</c:v>
                </c:pt>
                <c:pt idx="1405">
                  <c:v>43625</c:v>
                </c:pt>
                <c:pt idx="1406">
                  <c:v>43626</c:v>
                </c:pt>
                <c:pt idx="1407">
                  <c:v>43627</c:v>
                </c:pt>
                <c:pt idx="1408">
                  <c:v>43628</c:v>
                </c:pt>
                <c:pt idx="1409">
                  <c:v>43629</c:v>
                </c:pt>
                <c:pt idx="1410">
                  <c:v>43630</c:v>
                </c:pt>
                <c:pt idx="1411">
                  <c:v>43631</c:v>
                </c:pt>
                <c:pt idx="1412">
                  <c:v>43632</c:v>
                </c:pt>
                <c:pt idx="1413">
                  <c:v>43633</c:v>
                </c:pt>
                <c:pt idx="1414">
                  <c:v>43634</c:v>
                </c:pt>
                <c:pt idx="1415">
                  <c:v>43635</c:v>
                </c:pt>
                <c:pt idx="1416">
                  <c:v>43636</c:v>
                </c:pt>
                <c:pt idx="1417">
                  <c:v>43637</c:v>
                </c:pt>
                <c:pt idx="1418">
                  <c:v>43638</c:v>
                </c:pt>
                <c:pt idx="1419">
                  <c:v>43639</c:v>
                </c:pt>
                <c:pt idx="1420">
                  <c:v>43640</c:v>
                </c:pt>
                <c:pt idx="1421">
                  <c:v>43641</c:v>
                </c:pt>
                <c:pt idx="1422">
                  <c:v>43642</c:v>
                </c:pt>
                <c:pt idx="1423">
                  <c:v>43643</c:v>
                </c:pt>
                <c:pt idx="1424">
                  <c:v>43644</c:v>
                </c:pt>
                <c:pt idx="1425">
                  <c:v>43645</c:v>
                </c:pt>
                <c:pt idx="1426">
                  <c:v>43646</c:v>
                </c:pt>
                <c:pt idx="1427">
                  <c:v>43647</c:v>
                </c:pt>
                <c:pt idx="1428">
                  <c:v>43648</c:v>
                </c:pt>
                <c:pt idx="1429">
                  <c:v>43649</c:v>
                </c:pt>
                <c:pt idx="1430">
                  <c:v>43650</c:v>
                </c:pt>
                <c:pt idx="1431">
                  <c:v>43651</c:v>
                </c:pt>
                <c:pt idx="1432">
                  <c:v>43652</c:v>
                </c:pt>
                <c:pt idx="1433">
                  <c:v>43653</c:v>
                </c:pt>
                <c:pt idx="1434">
                  <c:v>43654</c:v>
                </c:pt>
                <c:pt idx="1435">
                  <c:v>43655</c:v>
                </c:pt>
                <c:pt idx="1436">
                  <c:v>43656</c:v>
                </c:pt>
                <c:pt idx="1437">
                  <c:v>43657</c:v>
                </c:pt>
                <c:pt idx="1438">
                  <c:v>43658</c:v>
                </c:pt>
                <c:pt idx="1439">
                  <c:v>43659</c:v>
                </c:pt>
                <c:pt idx="1440">
                  <c:v>43660</c:v>
                </c:pt>
                <c:pt idx="1441">
                  <c:v>43661</c:v>
                </c:pt>
                <c:pt idx="1442">
                  <c:v>43662</c:v>
                </c:pt>
                <c:pt idx="1443">
                  <c:v>43663</c:v>
                </c:pt>
                <c:pt idx="1444">
                  <c:v>43664</c:v>
                </c:pt>
                <c:pt idx="1445">
                  <c:v>43665</c:v>
                </c:pt>
                <c:pt idx="1446">
                  <c:v>43666</c:v>
                </c:pt>
                <c:pt idx="1447">
                  <c:v>43667</c:v>
                </c:pt>
                <c:pt idx="1448">
                  <c:v>43668</c:v>
                </c:pt>
                <c:pt idx="1449">
                  <c:v>43669</c:v>
                </c:pt>
                <c:pt idx="1450">
                  <c:v>43670</c:v>
                </c:pt>
                <c:pt idx="1451">
                  <c:v>43671</c:v>
                </c:pt>
                <c:pt idx="1452">
                  <c:v>43672</c:v>
                </c:pt>
                <c:pt idx="1453">
                  <c:v>43673</c:v>
                </c:pt>
                <c:pt idx="1454">
                  <c:v>43674</c:v>
                </c:pt>
                <c:pt idx="1455">
                  <c:v>43675</c:v>
                </c:pt>
                <c:pt idx="1456">
                  <c:v>43676</c:v>
                </c:pt>
                <c:pt idx="1457">
                  <c:v>43677</c:v>
                </c:pt>
                <c:pt idx="1458">
                  <c:v>43678</c:v>
                </c:pt>
                <c:pt idx="1459">
                  <c:v>43679</c:v>
                </c:pt>
                <c:pt idx="1460">
                  <c:v>43680</c:v>
                </c:pt>
                <c:pt idx="1461">
                  <c:v>43681</c:v>
                </c:pt>
                <c:pt idx="1462">
                  <c:v>43682</c:v>
                </c:pt>
                <c:pt idx="1463">
                  <c:v>43683</c:v>
                </c:pt>
                <c:pt idx="1464">
                  <c:v>43684</c:v>
                </c:pt>
                <c:pt idx="1465">
                  <c:v>43685</c:v>
                </c:pt>
                <c:pt idx="1466">
                  <c:v>43686</c:v>
                </c:pt>
                <c:pt idx="1467">
                  <c:v>43687</c:v>
                </c:pt>
                <c:pt idx="1468">
                  <c:v>43688</c:v>
                </c:pt>
                <c:pt idx="1469">
                  <c:v>43689</c:v>
                </c:pt>
                <c:pt idx="1470">
                  <c:v>43690</c:v>
                </c:pt>
                <c:pt idx="1471">
                  <c:v>43691</c:v>
                </c:pt>
                <c:pt idx="1472">
                  <c:v>43692</c:v>
                </c:pt>
                <c:pt idx="1473">
                  <c:v>43693</c:v>
                </c:pt>
                <c:pt idx="1474">
                  <c:v>43694</c:v>
                </c:pt>
                <c:pt idx="1475">
                  <c:v>43695</c:v>
                </c:pt>
                <c:pt idx="1476">
                  <c:v>43696</c:v>
                </c:pt>
                <c:pt idx="1477">
                  <c:v>43697</c:v>
                </c:pt>
                <c:pt idx="1478">
                  <c:v>43698</c:v>
                </c:pt>
                <c:pt idx="1479">
                  <c:v>43699</c:v>
                </c:pt>
                <c:pt idx="1480">
                  <c:v>43700</c:v>
                </c:pt>
                <c:pt idx="1481">
                  <c:v>43701</c:v>
                </c:pt>
                <c:pt idx="1482">
                  <c:v>43702</c:v>
                </c:pt>
                <c:pt idx="1483">
                  <c:v>43703</c:v>
                </c:pt>
                <c:pt idx="1484">
                  <c:v>43704</c:v>
                </c:pt>
                <c:pt idx="1485">
                  <c:v>43705</c:v>
                </c:pt>
                <c:pt idx="1486">
                  <c:v>43706</c:v>
                </c:pt>
                <c:pt idx="1487">
                  <c:v>43707</c:v>
                </c:pt>
                <c:pt idx="1488">
                  <c:v>43708</c:v>
                </c:pt>
                <c:pt idx="1489">
                  <c:v>43709</c:v>
                </c:pt>
                <c:pt idx="1490">
                  <c:v>43710</c:v>
                </c:pt>
                <c:pt idx="1491">
                  <c:v>43711</c:v>
                </c:pt>
                <c:pt idx="1492">
                  <c:v>43712</c:v>
                </c:pt>
                <c:pt idx="1493">
                  <c:v>43713</c:v>
                </c:pt>
                <c:pt idx="1494">
                  <c:v>43714</c:v>
                </c:pt>
                <c:pt idx="1495">
                  <c:v>43715</c:v>
                </c:pt>
                <c:pt idx="1496">
                  <c:v>43716</c:v>
                </c:pt>
                <c:pt idx="1497">
                  <c:v>43717</c:v>
                </c:pt>
                <c:pt idx="1498">
                  <c:v>43718</c:v>
                </c:pt>
                <c:pt idx="1499">
                  <c:v>43719</c:v>
                </c:pt>
                <c:pt idx="1500">
                  <c:v>43720</c:v>
                </c:pt>
                <c:pt idx="1501">
                  <c:v>43721</c:v>
                </c:pt>
                <c:pt idx="1502">
                  <c:v>43722</c:v>
                </c:pt>
                <c:pt idx="1503">
                  <c:v>43723</c:v>
                </c:pt>
                <c:pt idx="1504">
                  <c:v>43724</c:v>
                </c:pt>
                <c:pt idx="1505">
                  <c:v>43725</c:v>
                </c:pt>
                <c:pt idx="1506">
                  <c:v>43726</c:v>
                </c:pt>
                <c:pt idx="1507">
                  <c:v>43727</c:v>
                </c:pt>
                <c:pt idx="1508">
                  <c:v>43728</c:v>
                </c:pt>
                <c:pt idx="1509">
                  <c:v>43729</c:v>
                </c:pt>
                <c:pt idx="1510">
                  <c:v>43730</c:v>
                </c:pt>
                <c:pt idx="1511">
                  <c:v>43731</c:v>
                </c:pt>
                <c:pt idx="1512">
                  <c:v>43732</c:v>
                </c:pt>
                <c:pt idx="1513">
                  <c:v>43733</c:v>
                </c:pt>
                <c:pt idx="1514">
                  <c:v>43734</c:v>
                </c:pt>
                <c:pt idx="1515">
                  <c:v>43735</c:v>
                </c:pt>
                <c:pt idx="1516">
                  <c:v>43736</c:v>
                </c:pt>
                <c:pt idx="1517">
                  <c:v>43737</c:v>
                </c:pt>
                <c:pt idx="1518">
                  <c:v>43738</c:v>
                </c:pt>
                <c:pt idx="1519">
                  <c:v>43739</c:v>
                </c:pt>
                <c:pt idx="1520">
                  <c:v>43740</c:v>
                </c:pt>
                <c:pt idx="1521">
                  <c:v>43741</c:v>
                </c:pt>
                <c:pt idx="1522">
                  <c:v>43742</c:v>
                </c:pt>
                <c:pt idx="1523">
                  <c:v>43743</c:v>
                </c:pt>
                <c:pt idx="1524">
                  <c:v>43744</c:v>
                </c:pt>
                <c:pt idx="1525">
                  <c:v>43745</c:v>
                </c:pt>
                <c:pt idx="1526">
                  <c:v>43746</c:v>
                </c:pt>
                <c:pt idx="1527">
                  <c:v>43747</c:v>
                </c:pt>
                <c:pt idx="1528">
                  <c:v>43748</c:v>
                </c:pt>
                <c:pt idx="1529">
                  <c:v>43749</c:v>
                </c:pt>
                <c:pt idx="1530">
                  <c:v>43750</c:v>
                </c:pt>
                <c:pt idx="1531">
                  <c:v>43751</c:v>
                </c:pt>
                <c:pt idx="1532">
                  <c:v>43752</c:v>
                </c:pt>
                <c:pt idx="1533">
                  <c:v>43753</c:v>
                </c:pt>
                <c:pt idx="1534">
                  <c:v>43754</c:v>
                </c:pt>
                <c:pt idx="1535">
                  <c:v>43755</c:v>
                </c:pt>
                <c:pt idx="1536">
                  <c:v>43756</c:v>
                </c:pt>
                <c:pt idx="1537">
                  <c:v>43757</c:v>
                </c:pt>
                <c:pt idx="1538">
                  <c:v>43758</c:v>
                </c:pt>
                <c:pt idx="1539">
                  <c:v>43759</c:v>
                </c:pt>
                <c:pt idx="1540">
                  <c:v>43760</c:v>
                </c:pt>
                <c:pt idx="1541">
                  <c:v>43761</c:v>
                </c:pt>
                <c:pt idx="1542">
                  <c:v>43762</c:v>
                </c:pt>
                <c:pt idx="1543">
                  <c:v>43763</c:v>
                </c:pt>
                <c:pt idx="1544">
                  <c:v>43764</c:v>
                </c:pt>
                <c:pt idx="1545">
                  <c:v>43765</c:v>
                </c:pt>
                <c:pt idx="1546">
                  <c:v>43766</c:v>
                </c:pt>
                <c:pt idx="1547">
                  <c:v>43767</c:v>
                </c:pt>
                <c:pt idx="1548">
                  <c:v>43768</c:v>
                </c:pt>
                <c:pt idx="1549">
                  <c:v>43769</c:v>
                </c:pt>
                <c:pt idx="1550">
                  <c:v>43770</c:v>
                </c:pt>
                <c:pt idx="1551">
                  <c:v>43771</c:v>
                </c:pt>
                <c:pt idx="1552">
                  <c:v>43772</c:v>
                </c:pt>
                <c:pt idx="1553">
                  <c:v>43773</c:v>
                </c:pt>
                <c:pt idx="1554">
                  <c:v>43774</c:v>
                </c:pt>
                <c:pt idx="1555">
                  <c:v>43775</c:v>
                </c:pt>
                <c:pt idx="1556">
                  <c:v>43776</c:v>
                </c:pt>
                <c:pt idx="1557">
                  <c:v>43777</c:v>
                </c:pt>
                <c:pt idx="1558">
                  <c:v>43778</c:v>
                </c:pt>
                <c:pt idx="1559">
                  <c:v>43779</c:v>
                </c:pt>
                <c:pt idx="1560">
                  <c:v>43780</c:v>
                </c:pt>
                <c:pt idx="1561">
                  <c:v>43781</c:v>
                </c:pt>
                <c:pt idx="1562">
                  <c:v>43782</c:v>
                </c:pt>
                <c:pt idx="1563">
                  <c:v>43783</c:v>
                </c:pt>
                <c:pt idx="1564">
                  <c:v>43784</c:v>
                </c:pt>
                <c:pt idx="1565">
                  <c:v>43785</c:v>
                </c:pt>
                <c:pt idx="1566">
                  <c:v>43786</c:v>
                </c:pt>
                <c:pt idx="1567">
                  <c:v>43787</c:v>
                </c:pt>
                <c:pt idx="1568">
                  <c:v>43788</c:v>
                </c:pt>
                <c:pt idx="1569">
                  <c:v>43789</c:v>
                </c:pt>
                <c:pt idx="1570">
                  <c:v>43790</c:v>
                </c:pt>
                <c:pt idx="1571">
                  <c:v>43791</c:v>
                </c:pt>
                <c:pt idx="1572">
                  <c:v>43792</c:v>
                </c:pt>
                <c:pt idx="1573">
                  <c:v>43793</c:v>
                </c:pt>
                <c:pt idx="1574">
                  <c:v>43794</c:v>
                </c:pt>
                <c:pt idx="1575">
                  <c:v>43795</c:v>
                </c:pt>
                <c:pt idx="1576">
                  <c:v>43796</c:v>
                </c:pt>
                <c:pt idx="1577">
                  <c:v>43797</c:v>
                </c:pt>
                <c:pt idx="1578">
                  <c:v>43798</c:v>
                </c:pt>
                <c:pt idx="1579">
                  <c:v>43799</c:v>
                </c:pt>
                <c:pt idx="1580">
                  <c:v>43800</c:v>
                </c:pt>
                <c:pt idx="1581">
                  <c:v>43801</c:v>
                </c:pt>
                <c:pt idx="1582">
                  <c:v>43802</c:v>
                </c:pt>
                <c:pt idx="1583">
                  <c:v>43803</c:v>
                </c:pt>
                <c:pt idx="1584">
                  <c:v>43804</c:v>
                </c:pt>
                <c:pt idx="1585">
                  <c:v>43805</c:v>
                </c:pt>
                <c:pt idx="1586">
                  <c:v>43806</c:v>
                </c:pt>
                <c:pt idx="1587">
                  <c:v>43807</c:v>
                </c:pt>
                <c:pt idx="1588">
                  <c:v>43808</c:v>
                </c:pt>
                <c:pt idx="1589">
                  <c:v>43809</c:v>
                </c:pt>
                <c:pt idx="1590">
                  <c:v>43810</c:v>
                </c:pt>
                <c:pt idx="1591">
                  <c:v>43811</c:v>
                </c:pt>
                <c:pt idx="1592">
                  <c:v>43812</c:v>
                </c:pt>
                <c:pt idx="1593">
                  <c:v>43813</c:v>
                </c:pt>
                <c:pt idx="1594">
                  <c:v>43814</c:v>
                </c:pt>
                <c:pt idx="1595">
                  <c:v>43815</c:v>
                </c:pt>
                <c:pt idx="1596">
                  <c:v>43816</c:v>
                </c:pt>
                <c:pt idx="1597">
                  <c:v>43817</c:v>
                </c:pt>
                <c:pt idx="1598">
                  <c:v>43818</c:v>
                </c:pt>
                <c:pt idx="1599">
                  <c:v>43819</c:v>
                </c:pt>
                <c:pt idx="1600">
                  <c:v>43820</c:v>
                </c:pt>
                <c:pt idx="1601">
                  <c:v>43821</c:v>
                </c:pt>
                <c:pt idx="1602">
                  <c:v>43822</c:v>
                </c:pt>
                <c:pt idx="1603">
                  <c:v>43823</c:v>
                </c:pt>
                <c:pt idx="1604">
                  <c:v>43824</c:v>
                </c:pt>
                <c:pt idx="1605">
                  <c:v>43825</c:v>
                </c:pt>
                <c:pt idx="1606">
                  <c:v>43826</c:v>
                </c:pt>
                <c:pt idx="1607">
                  <c:v>43827</c:v>
                </c:pt>
                <c:pt idx="1608">
                  <c:v>43828</c:v>
                </c:pt>
                <c:pt idx="1609">
                  <c:v>43829</c:v>
                </c:pt>
                <c:pt idx="1610">
                  <c:v>43830</c:v>
                </c:pt>
                <c:pt idx="1611">
                  <c:v>43831</c:v>
                </c:pt>
                <c:pt idx="1612">
                  <c:v>43832</c:v>
                </c:pt>
                <c:pt idx="1613">
                  <c:v>43833</c:v>
                </c:pt>
                <c:pt idx="1614">
                  <c:v>43834</c:v>
                </c:pt>
                <c:pt idx="1615">
                  <c:v>43835</c:v>
                </c:pt>
                <c:pt idx="1616">
                  <c:v>43836</c:v>
                </c:pt>
                <c:pt idx="1617">
                  <c:v>43837</c:v>
                </c:pt>
                <c:pt idx="1618">
                  <c:v>43838</c:v>
                </c:pt>
                <c:pt idx="1619">
                  <c:v>43839</c:v>
                </c:pt>
                <c:pt idx="1620">
                  <c:v>43840</c:v>
                </c:pt>
                <c:pt idx="1621">
                  <c:v>43841</c:v>
                </c:pt>
                <c:pt idx="1622">
                  <c:v>43842</c:v>
                </c:pt>
                <c:pt idx="1623">
                  <c:v>43843</c:v>
                </c:pt>
                <c:pt idx="1624">
                  <c:v>43844</c:v>
                </c:pt>
                <c:pt idx="1625">
                  <c:v>43845</c:v>
                </c:pt>
                <c:pt idx="1626">
                  <c:v>43846</c:v>
                </c:pt>
                <c:pt idx="1627">
                  <c:v>43847</c:v>
                </c:pt>
                <c:pt idx="1628">
                  <c:v>43848</c:v>
                </c:pt>
                <c:pt idx="1629">
                  <c:v>43849</c:v>
                </c:pt>
                <c:pt idx="1630">
                  <c:v>43850</c:v>
                </c:pt>
                <c:pt idx="1631">
                  <c:v>43851</c:v>
                </c:pt>
                <c:pt idx="1632">
                  <c:v>43852</c:v>
                </c:pt>
                <c:pt idx="1633">
                  <c:v>43853</c:v>
                </c:pt>
                <c:pt idx="1634">
                  <c:v>43854</c:v>
                </c:pt>
                <c:pt idx="1635">
                  <c:v>43855</c:v>
                </c:pt>
                <c:pt idx="1636">
                  <c:v>43856</c:v>
                </c:pt>
                <c:pt idx="1637">
                  <c:v>43857</c:v>
                </c:pt>
                <c:pt idx="1638">
                  <c:v>43858</c:v>
                </c:pt>
                <c:pt idx="1639">
                  <c:v>43859</c:v>
                </c:pt>
                <c:pt idx="1640">
                  <c:v>43860</c:v>
                </c:pt>
                <c:pt idx="1641">
                  <c:v>43861</c:v>
                </c:pt>
                <c:pt idx="1642">
                  <c:v>43862</c:v>
                </c:pt>
                <c:pt idx="1643">
                  <c:v>43863</c:v>
                </c:pt>
                <c:pt idx="1644">
                  <c:v>43864</c:v>
                </c:pt>
                <c:pt idx="1645">
                  <c:v>43865</c:v>
                </c:pt>
                <c:pt idx="1646">
                  <c:v>43866</c:v>
                </c:pt>
                <c:pt idx="1647">
                  <c:v>43867</c:v>
                </c:pt>
                <c:pt idx="1648">
                  <c:v>43868</c:v>
                </c:pt>
                <c:pt idx="1649">
                  <c:v>43869</c:v>
                </c:pt>
                <c:pt idx="1650">
                  <c:v>43870</c:v>
                </c:pt>
                <c:pt idx="1651">
                  <c:v>43871</c:v>
                </c:pt>
                <c:pt idx="1652">
                  <c:v>43872</c:v>
                </c:pt>
                <c:pt idx="1653">
                  <c:v>43873</c:v>
                </c:pt>
                <c:pt idx="1654">
                  <c:v>43874</c:v>
                </c:pt>
                <c:pt idx="1655">
                  <c:v>43875</c:v>
                </c:pt>
                <c:pt idx="1656">
                  <c:v>43876</c:v>
                </c:pt>
                <c:pt idx="1657">
                  <c:v>43877</c:v>
                </c:pt>
                <c:pt idx="1658">
                  <c:v>43878</c:v>
                </c:pt>
                <c:pt idx="1659">
                  <c:v>43879</c:v>
                </c:pt>
                <c:pt idx="1660">
                  <c:v>43880</c:v>
                </c:pt>
                <c:pt idx="1661">
                  <c:v>43881</c:v>
                </c:pt>
                <c:pt idx="1662">
                  <c:v>43882</c:v>
                </c:pt>
                <c:pt idx="1663">
                  <c:v>43883</c:v>
                </c:pt>
                <c:pt idx="1664">
                  <c:v>43884</c:v>
                </c:pt>
                <c:pt idx="1665">
                  <c:v>43885</c:v>
                </c:pt>
                <c:pt idx="1666">
                  <c:v>43886</c:v>
                </c:pt>
                <c:pt idx="1667">
                  <c:v>43887</c:v>
                </c:pt>
                <c:pt idx="1668">
                  <c:v>43888</c:v>
                </c:pt>
                <c:pt idx="1669">
                  <c:v>43889</c:v>
                </c:pt>
                <c:pt idx="1670">
                  <c:v>43890</c:v>
                </c:pt>
                <c:pt idx="1671">
                  <c:v>43891</c:v>
                </c:pt>
                <c:pt idx="1672">
                  <c:v>43892</c:v>
                </c:pt>
                <c:pt idx="1673">
                  <c:v>43893</c:v>
                </c:pt>
                <c:pt idx="1674">
                  <c:v>43894</c:v>
                </c:pt>
                <c:pt idx="1675">
                  <c:v>43895</c:v>
                </c:pt>
                <c:pt idx="1676">
                  <c:v>43896</c:v>
                </c:pt>
                <c:pt idx="1677">
                  <c:v>43897</c:v>
                </c:pt>
                <c:pt idx="1678">
                  <c:v>43898</c:v>
                </c:pt>
                <c:pt idx="1679">
                  <c:v>43899</c:v>
                </c:pt>
                <c:pt idx="1680">
                  <c:v>43900</c:v>
                </c:pt>
                <c:pt idx="1681">
                  <c:v>43901</c:v>
                </c:pt>
                <c:pt idx="1682">
                  <c:v>43902</c:v>
                </c:pt>
                <c:pt idx="1683">
                  <c:v>43903</c:v>
                </c:pt>
                <c:pt idx="1684">
                  <c:v>43904</c:v>
                </c:pt>
                <c:pt idx="1685">
                  <c:v>43905</c:v>
                </c:pt>
                <c:pt idx="1686">
                  <c:v>43906</c:v>
                </c:pt>
                <c:pt idx="1687">
                  <c:v>43907</c:v>
                </c:pt>
                <c:pt idx="1688">
                  <c:v>43908</c:v>
                </c:pt>
                <c:pt idx="1689">
                  <c:v>43909</c:v>
                </c:pt>
                <c:pt idx="1690">
                  <c:v>43910</c:v>
                </c:pt>
                <c:pt idx="1691">
                  <c:v>43911</c:v>
                </c:pt>
                <c:pt idx="1692">
                  <c:v>43912</c:v>
                </c:pt>
                <c:pt idx="1693">
                  <c:v>43913</c:v>
                </c:pt>
                <c:pt idx="1694">
                  <c:v>43914</c:v>
                </c:pt>
                <c:pt idx="1695">
                  <c:v>43915</c:v>
                </c:pt>
                <c:pt idx="1696">
                  <c:v>43916</c:v>
                </c:pt>
                <c:pt idx="1697">
                  <c:v>43917</c:v>
                </c:pt>
                <c:pt idx="1698">
                  <c:v>43918</c:v>
                </c:pt>
                <c:pt idx="1699">
                  <c:v>43919</c:v>
                </c:pt>
                <c:pt idx="1700">
                  <c:v>43920</c:v>
                </c:pt>
                <c:pt idx="1701">
                  <c:v>43921</c:v>
                </c:pt>
                <c:pt idx="1702">
                  <c:v>43922</c:v>
                </c:pt>
                <c:pt idx="1703">
                  <c:v>43923</c:v>
                </c:pt>
                <c:pt idx="1704">
                  <c:v>43924</c:v>
                </c:pt>
                <c:pt idx="1705">
                  <c:v>43925</c:v>
                </c:pt>
                <c:pt idx="1706">
                  <c:v>43926</c:v>
                </c:pt>
                <c:pt idx="1707">
                  <c:v>43927</c:v>
                </c:pt>
                <c:pt idx="1708">
                  <c:v>43928</c:v>
                </c:pt>
                <c:pt idx="1709">
                  <c:v>43929</c:v>
                </c:pt>
                <c:pt idx="1710">
                  <c:v>43930</c:v>
                </c:pt>
                <c:pt idx="1711">
                  <c:v>43931</c:v>
                </c:pt>
                <c:pt idx="1712">
                  <c:v>43932</c:v>
                </c:pt>
                <c:pt idx="1713">
                  <c:v>43933</c:v>
                </c:pt>
                <c:pt idx="1714">
                  <c:v>43934</c:v>
                </c:pt>
                <c:pt idx="1715">
                  <c:v>43935</c:v>
                </c:pt>
                <c:pt idx="1716">
                  <c:v>43936</c:v>
                </c:pt>
                <c:pt idx="1717">
                  <c:v>43937</c:v>
                </c:pt>
                <c:pt idx="1718">
                  <c:v>43938</c:v>
                </c:pt>
                <c:pt idx="1719">
                  <c:v>43939</c:v>
                </c:pt>
                <c:pt idx="1720">
                  <c:v>43940</c:v>
                </c:pt>
                <c:pt idx="1721">
                  <c:v>43941</c:v>
                </c:pt>
                <c:pt idx="1722">
                  <c:v>43942</c:v>
                </c:pt>
                <c:pt idx="1723">
                  <c:v>43943</c:v>
                </c:pt>
                <c:pt idx="1724">
                  <c:v>43944</c:v>
                </c:pt>
                <c:pt idx="1725">
                  <c:v>43945</c:v>
                </c:pt>
                <c:pt idx="1726">
                  <c:v>43946</c:v>
                </c:pt>
                <c:pt idx="1727">
                  <c:v>43947</c:v>
                </c:pt>
                <c:pt idx="1728">
                  <c:v>43948</c:v>
                </c:pt>
                <c:pt idx="1729">
                  <c:v>43949</c:v>
                </c:pt>
                <c:pt idx="1730">
                  <c:v>43950</c:v>
                </c:pt>
                <c:pt idx="1731">
                  <c:v>43951</c:v>
                </c:pt>
                <c:pt idx="1732">
                  <c:v>43952</c:v>
                </c:pt>
                <c:pt idx="1733">
                  <c:v>43953</c:v>
                </c:pt>
                <c:pt idx="1734">
                  <c:v>43954</c:v>
                </c:pt>
                <c:pt idx="1735">
                  <c:v>43955</c:v>
                </c:pt>
                <c:pt idx="1736">
                  <c:v>43956</c:v>
                </c:pt>
                <c:pt idx="1737">
                  <c:v>43957</c:v>
                </c:pt>
                <c:pt idx="1738">
                  <c:v>43958</c:v>
                </c:pt>
                <c:pt idx="1739">
                  <c:v>43959</c:v>
                </c:pt>
                <c:pt idx="1740">
                  <c:v>43960</c:v>
                </c:pt>
                <c:pt idx="1741">
                  <c:v>43961</c:v>
                </c:pt>
                <c:pt idx="1742">
                  <c:v>43962</c:v>
                </c:pt>
                <c:pt idx="1743">
                  <c:v>43963</c:v>
                </c:pt>
                <c:pt idx="1744">
                  <c:v>43964</c:v>
                </c:pt>
                <c:pt idx="1745">
                  <c:v>43965</c:v>
                </c:pt>
                <c:pt idx="1746">
                  <c:v>43966</c:v>
                </c:pt>
                <c:pt idx="1747">
                  <c:v>43967</c:v>
                </c:pt>
                <c:pt idx="1748">
                  <c:v>43968</c:v>
                </c:pt>
                <c:pt idx="1749">
                  <c:v>43969</c:v>
                </c:pt>
                <c:pt idx="1750">
                  <c:v>43970</c:v>
                </c:pt>
                <c:pt idx="1751">
                  <c:v>43971</c:v>
                </c:pt>
                <c:pt idx="1752">
                  <c:v>43972</c:v>
                </c:pt>
                <c:pt idx="1753">
                  <c:v>43973</c:v>
                </c:pt>
                <c:pt idx="1754">
                  <c:v>43974</c:v>
                </c:pt>
                <c:pt idx="1755">
                  <c:v>43975</c:v>
                </c:pt>
                <c:pt idx="1756">
                  <c:v>43976</c:v>
                </c:pt>
                <c:pt idx="1757">
                  <c:v>43977</c:v>
                </c:pt>
                <c:pt idx="1758">
                  <c:v>43978</c:v>
                </c:pt>
                <c:pt idx="1759">
                  <c:v>43979</c:v>
                </c:pt>
                <c:pt idx="1760">
                  <c:v>43980</c:v>
                </c:pt>
                <c:pt idx="1761">
                  <c:v>43981</c:v>
                </c:pt>
                <c:pt idx="1762">
                  <c:v>43982</c:v>
                </c:pt>
                <c:pt idx="1763">
                  <c:v>43983</c:v>
                </c:pt>
                <c:pt idx="1764">
                  <c:v>43984</c:v>
                </c:pt>
                <c:pt idx="1765">
                  <c:v>43985</c:v>
                </c:pt>
                <c:pt idx="1766">
                  <c:v>43986</c:v>
                </c:pt>
                <c:pt idx="1767">
                  <c:v>43987</c:v>
                </c:pt>
                <c:pt idx="1768">
                  <c:v>43988</c:v>
                </c:pt>
                <c:pt idx="1769">
                  <c:v>43989</c:v>
                </c:pt>
                <c:pt idx="1770">
                  <c:v>43990</c:v>
                </c:pt>
                <c:pt idx="1771">
                  <c:v>43991</c:v>
                </c:pt>
                <c:pt idx="1772">
                  <c:v>43992</c:v>
                </c:pt>
                <c:pt idx="1773">
                  <c:v>43993</c:v>
                </c:pt>
                <c:pt idx="1774">
                  <c:v>43994</c:v>
                </c:pt>
                <c:pt idx="1775">
                  <c:v>43995</c:v>
                </c:pt>
                <c:pt idx="1776">
                  <c:v>43996</c:v>
                </c:pt>
                <c:pt idx="1777">
                  <c:v>43997</c:v>
                </c:pt>
                <c:pt idx="1778">
                  <c:v>43998</c:v>
                </c:pt>
                <c:pt idx="1779">
                  <c:v>43999</c:v>
                </c:pt>
                <c:pt idx="1780">
                  <c:v>44000</c:v>
                </c:pt>
                <c:pt idx="1781">
                  <c:v>44001</c:v>
                </c:pt>
                <c:pt idx="1782">
                  <c:v>44002</c:v>
                </c:pt>
                <c:pt idx="1783">
                  <c:v>44003</c:v>
                </c:pt>
                <c:pt idx="1784">
                  <c:v>44004</c:v>
                </c:pt>
                <c:pt idx="1785">
                  <c:v>44005</c:v>
                </c:pt>
                <c:pt idx="1786">
                  <c:v>44006</c:v>
                </c:pt>
                <c:pt idx="1787">
                  <c:v>44007</c:v>
                </c:pt>
                <c:pt idx="1788">
                  <c:v>44008</c:v>
                </c:pt>
                <c:pt idx="1789">
                  <c:v>44009</c:v>
                </c:pt>
                <c:pt idx="1790">
                  <c:v>44010</c:v>
                </c:pt>
                <c:pt idx="1791">
                  <c:v>44011</c:v>
                </c:pt>
                <c:pt idx="1792">
                  <c:v>44012</c:v>
                </c:pt>
                <c:pt idx="1793">
                  <c:v>44013</c:v>
                </c:pt>
                <c:pt idx="1794">
                  <c:v>44014</c:v>
                </c:pt>
                <c:pt idx="1795">
                  <c:v>44015</c:v>
                </c:pt>
                <c:pt idx="1796">
                  <c:v>44016</c:v>
                </c:pt>
                <c:pt idx="1797">
                  <c:v>44017</c:v>
                </c:pt>
                <c:pt idx="1798">
                  <c:v>44018</c:v>
                </c:pt>
                <c:pt idx="1799">
                  <c:v>44019</c:v>
                </c:pt>
                <c:pt idx="1800">
                  <c:v>44020</c:v>
                </c:pt>
                <c:pt idx="1801">
                  <c:v>44021</c:v>
                </c:pt>
                <c:pt idx="1802">
                  <c:v>44022</c:v>
                </c:pt>
                <c:pt idx="1803">
                  <c:v>44023</c:v>
                </c:pt>
                <c:pt idx="1804">
                  <c:v>44024</c:v>
                </c:pt>
                <c:pt idx="1805">
                  <c:v>44025</c:v>
                </c:pt>
                <c:pt idx="1806">
                  <c:v>44026</c:v>
                </c:pt>
                <c:pt idx="1807">
                  <c:v>44027</c:v>
                </c:pt>
                <c:pt idx="1808">
                  <c:v>44028</c:v>
                </c:pt>
                <c:pt idx="1809">
                  <c:v>44029</c:v>
                </c:pt>
                <c:pt idx="1810">
                  <c:v>44030</c:v>
                </c:pt>
                <c:pt idx="1811">
                  <c:v>44031</c:v>
                </c:pt>
                <c:pt idx="1812">
                  <c:v>44032</c:v>
                </c:pt>
                <c:pt idx="1813">
                  <c:v>44033</c:v>
                </c:pt>
                <c:pt idx="1814">
                  <c:v>44034</c:v>
                </c:pt>
                <c:pt idx="1815">
                  <c:v>44035</c:v>
                </c:pt>
                <c:pt idx="1816">
                  <c:v>44036</c:v>
                </c:pt>
                <c:pt idx="1817">
                  <c:v>44037</c:v>
                </c:pt>
                <c:pt idx="1818">
                  <c:v>44038</c:v>
                </c:pt>
                <c:pt idx="1819">
                  <c:v>44039</c:v>
                </c:pt>
                <c:pt idx="1820">
                  <c:v>44040</c:v>
                </c:pt>
                <c:pt idx="1821">
                  <c:v>44041</c:v>
                </c:pt>
                <c:pt idx="1822">
                  <c:v>44042</c:v>
                </c:pt>
                <c:pt idx="1823">
                  <c:v>44043</c:v>
                </c:pt>
                <c:pt idx="1824">
                  <c:v>44044</c:v>
                </c:pt>
                <c:pt idx="1825">
                  <c:v>44045</c:v>
                </c:pt>
                <c:pt idx="1826">
                  <c:v>44046</c:v>
                </c:pt>
                <c:pt idx="1827">
                  <c:v>44047</c:v>
                </c:pt>
                <c:pt idx="1828">
                  <c:v>44048</c:v>
                </c:pt>
                <c:pt idx="1829">
                  <c:v>44049</c:v>
                </c:pt>
                <c:pt idx="1830">
                  <c:v>44050</c:v>
                </c:pt>
                <c:pt idx="1831">
                  <c:v>44051</c:v>
                </c:pt>
                <c:pt idx="1832">
                  <c:v>44052</c:v>
                </c:pt>
                <c:pt idx="1833">
                  <c:v>44053</c:v>
                </c:pt>
                <c:pt idx="1834">
                  <c:v>44054</c:v>
                </c:pt>
                <c:pt idx="1835">
                  <c:v>44055</c:v>
                </c:pt>
                <c:pt idx="1836">
                  <c:v>44056</c:v>
                </c:pt>
                <c:pt idx="1837">
                  <c:v>44057</c:v>
                </c:pt>
                <c:pt idx="1838">
                  <c:v>44058</c:v>
                </c:pt>
                <c:pt idx="1839">
                  <c:v>44059</c:v>
                </c:pt>
                <c:pt idx="1840">
                  <c:v>44060</c:v>
                </c:pt>
                <c:pt idx="1841">
                  <c:v>44061</c:v>
                </c:pt>
                <c:pt idx="1842">
                  <c:v>44062</c:v>
                </c:pt>
                <c:pt idx="1843">
                  <c:v>44063</c:v>
                </c:pt>
                <c:pt idx="1844">
                  <c:v>44064</c:v>
                </c:pt>
                <c:pt idx="1845">
                  <c:v>44065</c:v>
                </c:pt>
                <c:pt idx="1846">
                  <c:v>44066</c:v>
                </c:pt>
                <c:pt idx="1847">
                  <c:v>44067</c:v>
                </c:pt>
                <c:pt idx="1848">
                  <c:v>44068</c:v>
                </c:pt>
                <c:pt idx="1849">
                  <c:v>44069</c:v>
                </c:pt>
                <c:pt idx="1850">
                  <c:v>44070</c:v>
                </c:pt>
                <c:pt idx="1851">
                  <c:v>44071</c:v>
                </c:pt>
                <c:pt idx="1852">
                  <c:v>44072</c:v>
                </c:pt>
                <c:pt idx="1853">
                  <c:v>44073</c:v>
                </c:pt>
                <c:pt idx="1854">
                  <c:v>44074</c:v>
                </c:pt>
                <c:pt idx="1855">
                  <c:v>44075</c:v>
                </c:pt>
                <c:pt idx="1856">
                  <c:v>44076</c:v>
                </c:pt>
                <c:pt idx="1857">
                  <c:v>44077</c:v>
                </c:pt>
                <c:pt idx="1858">
                  <c:v>44078</c:v>
                </c:pt>
                <c:pt idx="1859">
                  <c:v>44079</c:v>
                </c:pt>
                <c:pt idx="1860">
                  <c:v>44080</c:v>
                </c:pt>
                <c:pt idx="1861">
                  <c:v>44081</c:v>
                </c:pt>
                <c:pt idx="1862">
                  <c:v>44082</c:v>
                </c:pt>
                <c:pt idx="1863">
                  <c:v>44083</c:v>
                </c:pt>
                <c:pt idx="1864">
                  <c:v>44084</c:v>
                </c:pt>
                <c:pt idx="1865">
                  <c:v>44085</c:v>
                </c:pt>
                <c:pt idx="1866">
                  <c:v>44086</c:v>
                </c:pt>
                <c:pt idx="1867">
                  <c:v>44087</c:v>
                </c:pt>
                <c:pt idx="1868">
                  <c:v>44088</c:v>
                </c:pt>
                <c:pt idx="1869">
                  <c:v>44089</c:v>
                </c:pt>
                <c:pt idx="1870">
                  <c:v>44090</c:v>
                </c:pt>
                <c:pt idx="1871">
                  <c:v>44091</c:v>
                </c:pt>
                <c:pt idx="1872">
                  <c:v>44092</c:v>
                </c:pt>
                <c:pt idx="1873">
                  <c:v>44093</c:v>
                </c:pt>
                <c:pt idx="1874">
                  <c:v>44094</c:v>
                </c:pt>
                <c:pt idx="1875">
                  <c:v>44095</c:v>
                </c:pt>
                <c:pt idx="1876">
                  <c:v>44096</c:v>
                </c:pt>
                <c:pt idx="1877">
                  <c:v>44097</c:v>
                </c:pt>
                <c:pt idx="1878">
                  <c:v>44098</c:v>
                </c:pt>
                <c:pt idx="1879">
                  <c:v>44099</c:v>
                </c:pt>
                <c:pt idx="1880">
                  <c:v>44100</c:v>
                </c:pt>
                <c:pt idx="1881">
                  <c:v>44101</c:v>
                </c:pt>
                <c:pt idx="1882">
                  <c:v>44102</c:v>
                </c:pt>
                <c:pt idx="1883">
                  <c:v>44103</c:v>
                </c:pt>
                <c:pt idx="1884">
                  <c:v>44104</c:v>
                </c:pt>
                <c:pt idx="1885">
                  <c:v>44105</c:v>
                </c:pt>
                <c:pt idx="1886">
                  <c:v>44106</c:v>
                </c:pt>
                <c:pt idx="1887">
                  <c:v>44107</c:v>
                </c:pt>
                <c:pt idx="1888">
                  <c:v>44108</c:v>
                </c:pt>
                <c:pt idx="1889">
                  <c:v>44109</c:v>
                </c:pt>
                <c:pt idx="1890">
                  <c:v>44110</c:v>
                </c:pt>
                <c:pt idx="1891">
                  <c:v>44111</c:v>
                </c:pt>
                <c:pt idx="1892">
                  <c:v>44112</c:v>
                </c:pt>
                <c:pt idx="1893">
                  <c:v>44113</c:v>
                </c:pt>
                <c:pt idx="1894">
                  <c:v>44114</c:v>
                </c:pt>
                <c:pt idx="1895">
                  <c:v>44115</c:v>
                </c:pt>
                <c:pt idx="1896">
                  <c:v>44116</c:v>
                </c:pt>
                <c:pt idx="1897">
                  <c:v>44117</c:v>
                </c:pt>
                <c:pt idx="1898">
                  <c:v>44118</c:v>
                </c:pt>
                <c:pt idx="1899">
                  <c:v>44119</c:v>
                </c:pt>
                <c:pt idx="1900">
                  <c:v>44120</c:v>
                </c:pt>
                <c:pt idx="1901">
                  <c:v>44121</c:v>
                </c:pt>
                <c:pt idx="1902">
                  <c:v>44122</c:v>
                </c:pt>
                <c:pt idx="1903">
                  <c:v>44123</c:v>
                </c:pt>
                <c:pt idx="1904">
                  <c:v>44124</c:v>
                </c:pt>
                <c:pt idx="1905">
                  <c:v>44125</c:v>
                </c:pt>
                <c:pt idx="1906">
                  <c:v>44126</c:v>
                </c:pt>
                <c:pt idx="1907">
                  <c:v>44127</c:v>
                </c:pt>
                <c:pt idx="1908">
                  <c:v>44128</c:v>
                </c:pt>
                <c:pt idx="1909">
                  <c:v>44129</c:v>
                </c:pt>
                <c:pt idx="1910">
                  <c:v>44130</c:v>
                </c:pt>
                <c:pt idx="1911">
                  <c:v>44131</c:v>
                </c:pt>
                <c:pt idx="1912">
                  <c:v>44132</c:v>
                </c:pt>
                <c:pt idx="1913">
                  <c:v>44133</c:v>
                </c:pt>
                <c:pt idx="1914">
                  <c:v>44134</c:v>
                </c:pt>
                <c:pt idx="1915">
                  <c:v>44135</c:v>
                </c:pt>
                <c:pt idx="1916">
                  <c:v>44136</c:v>
                </c:pt>
                <c:pt idx="1917">
                  <c:v>44137</c:v>
                </c:pt>
                <c:pt idx="1918">
                  <c:v>44138</c:v>
                </c:pt>
                <c:pt idx="1919">
                  <c:v>44139</c:v>
                </c:pt>
                <c:pt idx="1920">
                  <c:v>44140</c:v>
                </c:pt>
                <c:pt idx="1921">
                  <c:v>44141</c:v>
                </c:pt>
                <c:pt idx="1922">
                  <c:v>44142</c:v>
                </c:pt>
                <c:pt idx="1923">
                  <c:v>44143</c:v>
                </c:pt>
                <c:pt idx="1924">
                  <c:v>44144</c:v>
                </c:pt>
                <c:pt idx="1925">
                  <c:v>44145</c:v>
                </c:pt>
                <c:pt idx="1926">
                  <c:v>44146</c:v>
                </c:pt>
                <c:pt idx="1927">
                  <c:v>44147</c:v>
                </c:pt>
                <c:pt idx="1928">
                  <c:v>44148</c:v>
                </c:pt>
                <c:pt idx="1929">
                  <c:v>44149</c:v>
                </c:pt>
                <c:pt idx="1930">
                  <c:v>44150</c:v>
                </c:pt>
                <c:pt idx="1931">
                  <c:v>44151</c:v>
                </c:pt>
                <c:pt idx="1932">
                  <c:v>44152</c:v>
                </c:pt>
                <c:pt idx="1933">
                  <c:v>44153</c:v>
                </c:pt>
                <c:pt idx="1934">
                  <c:v>44154</c:v>
                </c:pt>
                <c:pt idx="1935">
                  <c:v>44155</c:v>
                </c:pt>
                <c:pt idx="1936">
                  <c:v>44156</c:v>
                </c:pt>
                <c:pt idx="1937">
                  <c:v>44157</c:v>
                </c:pt>
                <c:pt idx="1938">
                  <c:v>44158</c:v>
                </c:pt>
                <c:pt idx="1939">
                  <c:v>44159</c:v>
                </c:pt>
                <c:pt idx="1940">
                  <c:v>44160</c:v>
                </c:pt>
                <c:pt idx="1941">
                  <c:v>44161</c:v>
                </c:pt>
                <c:pt idx="1942">
                  <c:v>44162</c:v>
                </c:pt>
                <c:pt idx="1943">
                  <c:v>44163</c:v>
                </c:pt>
                <c:pt idx="1944">
                  <c:v>44164</c:v>
                </c:pt>
                <c:pt idx="1945">
                  <c:v>44165</c:v>
                </c:pt>
                <c:pt idx="1946">
                  <c:v>44166</c:v>
                </c:pt>
                <c:pt idx="1947">
                  <c:v>44167</c:v>
                </c:pt>
                <c:pt idx="1948">
                  <c:v>44168</c:v>
                </c:pt>
                <c:pt idx="1949">
                  <c:v>44169</c:v>
                </c:pt>
                <c:pt idx="1950">
                  <c:v>44170</c:v>
                </c:pt>
                <c:pt idx="1951">
                  <c:v>44171</c:v>
                </c:pt>
                <c:pt idx="1952">
                  <c:v>44172</c:v>
                </c:pt>
                <c:pt idx="1953">
                  <c:v>44173</c:v>
                </c:pt>
                <c:pt idx="1954">
                  <c:v>44174</c:v>
                </c:pt>
                <c:pt idx="1955">
                  <c:v>44175</c:v>
                </c:pt>
                <c:pt idx="1956">
                  <c:v>44176</c:v>
                </c:pt>
                <c:pt idx="1957">
                  <c:v>44177</c:v>
                </c:pt>
                <c:pt idx="1958">
                  <c:v>44178</c:v>
                </c:pt>
                <c:pt idx="1959">
                  <c:v>44179</c:v>
                </c:pt>
                <c:pt idx="1960">
                  <c:v>44180</c:v>
                </c:pt>
                <c:pt idx="1961">
                  <c:v>44181</c:v>
                </c:pt>
                <c:pt idx="1962">
                  <c:v>44182</c:v>
                </c:pt>
                <c:pt idx="1963">
                  <c:v>44183</c:v>
                </c:pt>
                <c:pt idx="1964">
                  <c:v>44184</c:v>
                </c:pt>
                <c:pt idx="1965">
                  <c:v>44185</c:v>
                </c:pt>
                <c:pt idx="1966">
                  <c:v>44186</c:v>
                </c:pt>
                <c:pt idx="1967">
                  <c:v>44187</c:v>
                </c:pt>
                <c:pt idx="1968">
                  <c:v>44188</c:v>
                </c:pt>
                <c:pt idx="1969">
                  <c:v>44189</c:v>
                </c:pt>
                <c:pt idx="1970">
                  <c:v>44190</c:v>
                </c:pt>
                <c:pt idx="1971">
                  <c:v>44191</c:v>
                </c:pt>
                <c:pt idx="1972">
                  <c:v>44192</c:v>
                </c:pt>
                <c:pt idx="1973">
                  <c:v>44193</c:v>
                </c:pt>
                <c:pt idx="1974">
                  <c:v>44194</c:v>
                </c:pt>
                <c:pt idx="1975">
                  <c:v>44195</c:v>
                </c:pt>
                <c:pt idx="1976">
                  <c:v>44196</c:v>
                </c:pt>
                <c:pt idx="1977">
                  <c:v>44197</c:v>
                </c:pt>
                <c:pt idx="1978">
                  <c:v>44198</c:v>
                </c:pt>
                <c:pt idx="1979">
                  <c:v>44199</c:v>
                </c:pt>
                <c:pt idx="1980">
                  <c:v>44200</c:v>
                </c:pt>
                <c:pt idx="1981">
                  <c:v>44201</c:v>
                </c:pt>
                <c:pt idx="1982">
                  <c:v>44202</c:v>
                </c:pt>
                <c:pt idx="1983">
                  <c:v>44203</c:v>
                </c:pt>
                <c:pt idx="1984">
                  <c:v>44204</c:v>
                </c:pt>
                <c:pt idx="1985">
                  <c:v>44205</c:v>
                </c:pt>
                <c:pt idx="1986">
                  <c:v>44206</c:v>
                </c:pt>
                <c:pt idx="1987">
                  <c:v>44207</c:v>
                </c:pt>
                <c:pt idx="1988">
                  <c:v>44208</c:v>
                </c:pt>
                <c:pt idx="1989">
                  <c:v>44209</c:v>
                </c:pt>
                <c:pt idx="1990">
                  <c:v>44210</c:v>
                </c:pt>
                <c:pt idx="1991">
                  <c:v>44211</c:v>
                </c:pt>
                <c:pt idx="1992">
                  <c:v>44212</c:v>
                </c:pt>
                <c:pt idx="1993">
                  <c:v>44213</c:v>
                </c:pt>
                <c:pt idx="1994">
                  <c:v>44214</c:v>
                </c:pt>
                <c:pt idx="1995">
                  <c:v>44215</c:v>
                </c:pt>
                <c:pt idx="1996">
                  <c:v>44216</c:v>
                </c:pt>
                <c:pt idx="1997">
                  <c:v>44217</c:v>
                </c:pt>
                <c:pt idx="1998">
                  <c:v>44218</c:v>
                </c:pt>
                <c:pt idx="1999">
                  <c:v>44219</c:v>
                </c:pt>
                <c:pt idx="2000">
                  <c:v>44220</c:v>
                </c:pt>
                <c:pt idx="2001">
                  <c:v>44221</c:v>
                </c:pt>
                <c:pt idx="2002">
                  <c:v>44222</c:v>
                </c:pt>
                <c:pt idx="2003">
                  <c:v>44223</c:v>
                </c:pt>
                <c:pt idx="2004">
                  <c:v>44224</c:v>
                </c:pt>
                <c:pt idx="2005">
                  <c:v>44225</c:v>
                </c:pt>
                <c:pt idx="2006">
                  <c:v>44226</c:v>
                </c:pt>
                <c:pt idx="2007">
                  <c:v>44227</c:v>
                </c:pt>
                <c:pt idx="2008">
                  <c:v>44228</c:v>
                </c:pt>
                <c:pt idx="2009">
                  <c:v>44229</c:v>
                </c:pt>
                <c:pt idx="2010">
                  <c:v>44230</c:v>
                </c:pt>
                <c:pt idx="2011">
                  <c:v>44231</c:v>
                </c:pt>
                <c:pt idx="2012">
                  <c:v>44232</c:v>
                </c:pt>
                <c:pt idx="2013">
                  <c:v>44233</c:v>
                </c:pt>
                <c:pt idx="2014">
                  <c:v>44234</c:v>
                </c:pt>
                <c:pt idx="2015">
                  <c:v>44235</c:v>
                </c:pt>
                <c:pt idx="2016">
                  <c:v>44236</c:v>
                </c:pt>
                <c:pt idx="2017">
                  <c:v>44237</c:v>
                </c:pt>
                <c:pt idx="2018">
                  <c:v>44238</c:v>
                </c:pt>
                <c:pt idx="2019">
                  <c:v>44239</c:v>
                </c:pt>
                <c:pt idx="2020">
                  <c:v>44240</c:v>
                </c:pt>
                <c:pt idx="2021">
                  <c:v>44241</c:v>
                </c:pt>
                <c:pt idx="2022">
                  <c:v>44242</c:v>
                </c:pt>
                <c:pt idx="2023">
                  <c:v>44243</c:v>
                </c:pt>
                <c:pt idx="2024">
                  <c:v>44244</c:v>
                </c:pt>
                <c:pt idx="2025">
                  <c:v>44245</c:v>
                </c:pt>
                <c:pt idx="2026">
                  <c:v>44246</c:v>
                </c:pt>
                <c:pt idx="2027">
                  <c:v>44247</c:v>
                </c:pt>
                <c:pt idx="2028">
                  <c:v>44248</c:v>
                </c:pt>
                <c:pt idx="2029">
                  <c:v>44249</c:v>
                </c:pt>
                <c:pt idx="2030">
                  <c:v>44250</c:v>
                </c:pt>
                <c:pt idx="2031">
                  <c:v>44251</c:v>
                </c:pt>
                <c:pt idx="2032">
                  <c:v>44252</c:v>
                </c:pt>
                <c:pt idx="2033">
                  <c:v>44253</c:v>
                </c:pt>
                <c:pt idx="2034">
                  <c:v>44254</c:v>
                </c:pt>
                <c:pt idx="2035">
                  <c:v>44255</c:v>
                </c:pt>
                <c:pt idx="2036">
                  <c:v>44256</c:v>
                </c:pt>
                <c:pt idx="2037">
                  <c:v>44257</c:v>
                </c:pt>
                <c:pt idx="2038">
                  <c:v>44258</c:v>
                </c:pt>
                <c:pt idx="2039">
                  <c:v>44259</c:v>
                </c:pt>
                <c:pt idx="2040">
                  <c:v>44260</c:v>
                </c:pt>
                <c:pt idx="2041">
                  <c:v>44261</c:v>
                </c:pt>
                <c:pt idx="2042">
                  <c:v>44262</c:v>
                </c:pt>
                <c:pt idx="2043">
                  <c:v>44263</c:v>
                </c:pt>
                <c:pt idx="2044">
                  <c:v>44264</c:v>
                </c:pt>
                <c:pt idx="2045">
                  <c:v>44265</c:v>
                </c:pt>
                <c:pt idx="2046">
                  <c:v>44266</c:v>
                </c:pt>
                <c:pt idx="2047">
                  <c:v>44267</c:v>
                </c:pt>
                <c:pt idx="2048">
                  <c:v>44268</c:v>
                </c:pt>
                <c:pt idx="2049">
                  <c:v>44269</c:v>
                </c:pt>
                <c:pt idx="2050">
                  <c:v>44270</c:v>
                </c:pt>
                <c:pt idx="2051">
                  <c:v>44271</c:v>
                </c:pt>
                <c:pt idx="2052">
                  <c:v>44272</c:v>
                </c:pt>
                <c:pt idx="2053">
                  <c:v>44273</c:v>
                </c:pt>
                <c:pt idx="2054">
                  <c:v>44274</c:v>
                </c:pt>
                <c:pt idx="2055">
                  <c:v>44275</c:v>
                </c:pt>
                <c:pt idx="2056">
                  <c:v>44276</c:v>
                </c:pt>
                <c:pt idx="2057">
                  <c:v>44277</c:v>
                </c:pt>
                <c:pt idx="2058">
                  <c:v>44278</c:v>
                </c:pt>
                <c:pt idx="2059">
                  <c:v>44279</c:v>
                </c:pt>
                <c:pt idx="2060">
                  <c:v>44280</c:v>
                </c:pt>
                <c:pt idx="2061">
                  <c:v>44281</c:v>
                </c:pt>
                <c:pt idx="2062">
                  <c:v>44282</c:v>
                </c:pt>
                <c:pt idx="2063">
                  <c:v>44283</c:v>
                </c:pt>
                <c:pt idx="2064">
                  <c:v>44284</c:v>
                </c:pt>
                <c:pt idx="2065">
                  <c:v>44285</c:v>
                </c:pt>
                <c:pt idx="2066">
                  <c:v>44286</c:v>
                </c:pt>
                <c:pt idx="2067">
                  <c:v>44287</c:v>
                </c:pt>
                <c:pt idx="2068">
                  <c:v>44288</c:v>
                </c:pt>
                <c:pt idx="2069">
                  <c:v>44289</c:v>
                </c:pt>
                <c:pt idx="2070">
                  <c:v>44290</c:v>
                </c:pt>
                <c:pt idx="2071">
                  <c:v>44291</c:v>
                </c:pt>
                <c:pt idx="2072">
                  <c:v>44292</c:v>
                </c:pt>
                <c:pt idx="2073">
                  <c:v>44293</c:v>
                </c:pt>
                <c:pt idx="2074">
                  <c:v>44294</c:v>
                </c:pt>
                <c:pt idx="2075">
                  <c:v>44295</c:v>
                </c:pt>
                <c:pt idx="2076">
                  <c:v>44296</c:v>
                </c:pt>
                <c:pt idx="2077">
                  <c:v>44297</c:v>
                </c:pt>
                <c:pt idx="2078">
                  <c:v>44298</c:v>
                </c:pt>
                <c:pt idx="2079">
                  <c:v>44299</c:v>
                </c:pt>
                <c:pt idx="2080">
                  <c:v>44300</c:v>
                </c:pt>
                <c:pt idx="2081">
                  <c:v>44301</c:v>
                </c:pt>
                <c:pt idx="2082">
                  <c:v>44302</c:v>
                </c:pt>
                <c:pt idx="2083">
                  <c:v>44303</c:v>
                </c:pt>
                <c:pt idx="2084">
                  <c:v>44304</c:v>
                </c:pt>
                <c:pt idx="2085">
                  <c:v>44305</c:v>
                </c:pt>
                <c:pt idx="2086">
                  <c:v>44306</c:v>
                </c:pt>
                <c:pt idx="2087">
                  <c:v>44307</c:v>
                </c:pt>
                <c:pt idx="2088">
                  <c:v>44308</c:v>
                </c:pt>
                <c:pt idx="2089">
                  <c:v>44309</c:v>
                </c:pt>
                <c:pt idx="2090">
                  <c:v>44310</c:v>
                </c:pt>
                <c:pt idx="2091">
                  <c:v>44311</c:v>
                </c:pt>
                <c:pt idx="2092">
                  <c:v>44312</c:v>
                </c:pt>
                <c:pt idx="2093">
                  <c:v>44313</c:v>
                </c:pt>
                <c:pt idx="2094">
                  <c:v>44314</c:v>
                </c:pt>
                <c:pt idx="2095">
                  <c:v>44315</c:v>
                </c:pt>
                <c:pt idx="2096">
                  <c:v>44316</c:v>
                </c:pt>
                <c:pt idx="2097">
                  <c:v>44317</c:v>
                </c:pt>
                <c:pt idx="2098">
                  <c:v>44318</c:v>
                </c:pt>
                <c:pt idx="2099">
                  <c:v>44319</c:v>
                </c:pt>
                <c:pt idx="2100">
                  <c:v>44320</c:v>
                </c:pt>
                <c:pt idx="2101">
                  <c:v>44321</c:v>
                </c:pt>
                <c:pt idx="2102">
                  <c:v>44322</c:v>
                </c:pt>
                <c:pt idx="2103">
                  <c:v>44323</c:v>
                </c:pt>
                <c:pt idx="2104">
                  <c:v>44324</c:v>
                </c:pt>
                <c:pt idx="2105">
                  <c:v>44325</c:v>
                </c:pt>
                <c:pt idx="2106">
                  <c:v>44326</c:v>
                </c:pt>
                <c:pt idx="2107">
                  <c:v>44327</c:v>
                </c:pt>
                <c:pt idx="2108">
                  <c:v>44328</c:v>
                </c:pt>
                <c:pt idx="2109">
                  <c:v>44329</c:v>
                </c:pt>
                <c:pt idx="2110">
                  <c:v>44330</c:v>
                </c:pt>
                <c:pt idx="2111">
                  <c:v>44331</c:v>
                </c:pt>
                <c:pt idx="2112">
                  <c:v>44332</c:v>
                </c:pt>
                <c:pt idx="2113">
                  <c:v>44333</c:v>
                </c:pt>
                <c:pt idx="2114">
                  <c:v>44334</c:v>
                </c:pt>
                <c:pt idx="2115">
                  <c:v>44335</c:v>
                </c:pt>
                <c:pt idx="2116">
                  <c:v>44336</c:v>
                </c:pt>
                <c:pt idx="2117">
                  <c:v>44337</c:v>
                </c:pt>
                <c:pt idx="2118">
                  <c:v>44338</c:v>
                </c:pt>
                <c:pt idx="2119">
                  <c:v>44339</c:v>
                </c:pt>
                <c:pt idx="2120">
                  <c:v>44340</c:v>
                </c:pt>
                <c:pt idx="2121">
                  <c:v>44341</c:v>
                </c:pt>
                <c:pt idx="2122">
                  <c:v>44342</c:v>
                </c:pt>
                <c:pt idx="2123">
                  <c:v>44343</c:v>
                </c:pt>
                <c:pt idx="2124">
                  <c:v>44344</c:v>
                </c:pt>
                <c:pt idx="2125">
                  <c:v>44345</c:v>
                </c:pt>
                <c:pt idx="2126">
                  <c:v>44346</c:v>
                </c:pt>
                <c:pt idx="2127">
                  <c:v>44347</c:v>
                </c:pt>
                <c:pt idx="2128">
                  <c:v>44348</c:v>
                </c:pt>
                <c:pt idx="2129">
                  <c:v>44349</c:v>
                </c:pt>
                <c:pt idx="2130">
                  <c:v>44350</c:v>
                </c:pt>
                <c:pt idx="2131">
                  <c:v>44351</c:v>
                </c:pt>
                <c:pt idx="2132">
                  <c:v>44352</c:v>
                </c:pt>
                <c:pt idx="2133">
                  <c:v>44353</c:v>
                </c:pt>
                <c:pt idx="2134">
                  <c:v>44354</c:v>
                </c:pt>
                <c:pt idx="2135">
                  <c:v>44355</c:v>
                </c:pt>
                <c:pt idx="2136">
                  <c:v>44356</c:v>
                </c:pt>
                <c:pt idx="2137">
                  <c:v>44357</c:v>
                </c:pt>
                <c:pt idx="2138">
                  <c:v>44358</c:v>
                </c:pt>
                <c:pt idx="2139">
                  <c:v>44359</c:v>
                </c:pt>
                <c:pt idx="2140">
                  <c:v>44360</c:v>
                </c:pt>
                <c:pt idx="2141">
                  <c:v>44361</c:v>
                </c:pt>
                <c:pt idx="2142">
                  <c:v>44362</c:v>
                </c:pt>
                <c:pt idx="2143">
                  <c:v>44363</c:v>
                </c:pt>
                <c:pt idx="2144">
                  <c:v>44364</c:v>
                </c:pt>
                <c:pt idx="2145">
                  <c:v>44365</c:v>
                </c:pt>
                <c:pt idx="2146">
                  <c:v>44366</c:v>
                </c:pt>
                <c:pt idx="2147">
                  <c:v>44367</c:v>
                </c:pt>
                <c:pt idx="2148">
                  <c:v>44368</c:v>
                </c:pt>
                <c:pt idx="2149">
                  <c:v>44369</c:v>
                </c:pt>
                <c:pt idx="2150">
                  <c:v>44370</c:v>
                </c:pt>
                <c:pt idx="2151">
                  <c:v>44371</c:v>
                </c:pt>
                <c:pt idx="2152">
                  <c:v>44372</c:v>
                </c:pt>
                <c:pt idx="2153">
                  <c:v>44373</c:v>
                </c:pt>
                <c:pt idx="2154">
                  <c:v>44374</c:v>
                </c:pt>
                <c:pt idx="2155">
                  <c:v>44375</c:v>
                </c:pt>
                <c:pt idx="2156">
                  <c:v>44376</c:v>
                </c:pt>
                <c:pt idx="2157">
                  <c:v>44377</c:v>
                </c:pt>
                <c:pt idx="2158">
                  <c:v>44378</c:v>
                </c:pt>
                <c:pt idx="2159">
                  <c:v>44379</c:v>
                </c:pt>
                <c:pt idx="2160">
                  <c:v>44380</c:v>
                </c:pt>
                <c:pt idx="2161">
                  <c:v>44381</c:v>
                </c:pt>
                <c:pt idx="2162">
                  <c:v>44382</c:v>
                </c:pt>
                <c:pt idx="2163">
                  <c:v>44383</c:v>
                </c:pt>
                <c:pt idx="2164">
                  <c:v>44384</c:v>
                </c:pt>
                <c:pt idx="2165">
                  <c:v>44385</c:v>
                </c:pt>
                <c:pt idx="2166">
                  <c:v>44386</c:v>
                </c:pt>
                <c:pt idx="2167">
                  <c:v>44387</c:v>
                </c:pt>
                <c:pt idx="2168">
                  <c:v>44388</c:v>
                </c:pt>
                <c:pt idx="2169">
                  <c:v>44389</c:v>
                </c:pt>
                <c:pt idx="2170">
                  <c:v>44390</c:v>
                </c:pt>
                <c:pt idx="2171">
                  <c:v>44391</c:v>
                </c:pt>
                <c:pt idx="2172">
                  <c:v>44392</c:v>
                </c:pt>
                <c:pt idx="2173">
                  <c:v>44393</c:v>
                </c:pt>
                <c:pt idx="2174">
                  <c:v>44394</c:v>
                </c:pt>
                <c:pt idx="2175">
                  <c:v>44395</c:v>
                </c:pt>
                <c:pt idx="2176">
                  <c:v>44396</c:v>
                </c:pt>
                <c:pt idx="2177">
                  <c:v>44397</c:v>
                </c:pt>
                <c:pt idx="2178">
                  <c:v>44398</c:v>
                </c:pt>
                <c:pt idx="2179">
                  <c:v>44399</c:v>
                </c:pt>
                <c:pt idx="2180">
                  <c:v>44400</c:v>
                </c:pt>
                <c:pt idx="2181">
                  <c:v>44401</c:v>
                </c:pt>
                <c:pt idx="2182">
                  <c:v>44402</c:v>
                </c:pt>
                <c:pt idx="2183">
                  <c:v>44403</c:v>
                </c:pt>
                <c:pt idx="2184">
                  <c:v>44404</c:v>
                </c:pt>
                <c:pt idx="2185">
                  <c:v>44405</c:v>
                </c:pt>
                <c:pt idx="2186">
                  <c:v>44406</c:v>
                </c:pt>
                <c:pt idx="2187">
                  <c:v>44407</c:v>
                </c:pt>
                <c:pt idx="2188">
                  <c:v>44408</c:v>
                </c:pt>
                <c:pt idx="2189">
                  <c:v>44409</c:v>
                </c:pt>
                <c:pt idx="2190">
                  <c:v>44410</c:v>
                </c:pt>
                <c:pt idx="2191">
                  <c:v>44411</c:v>
                </c:pt>
                <c:pt idx="2192">
                  <c:v>44412</c:v>
                </c:pt>
                <c:pt idx="2193">
                  <c:v>44413</c:v>
                </c:pt>
                <c:pt idx="2194">
                  <c:v>44414</c:v>
                </c:pt>
                <c:pt idx="2195">
                  <c:v>44415</c:v>
                </c:pt>
                <c:pt idx="2196">
                  <c:v>44416</c:v>
                </c:pt>
                <c:pt idx="2197">
                  <c:v>44417</c:v>
                </c:pt>
                <c:pt idx="2198">
                  <c:v>44418</c:v>
                </c:pt>
                <c:pt idx="2199">
                  <c:v>44419</c:v>
                </c:pt>
                <c:pt idx="2200">
                  <c:v>44420</c:v>
                </c:pt>
                <c:pt idx="2201">
                  <c:v>44421</c:v>
                </c:pt>
                <c:pt idx="2202">
                  <c:v>44422</c:v>
                </c:pt>
                <c:pt idx="2203">
                  <c:v>44423</c:v>
                </c:pt>
                <c:pt idx="2204">
                  <c:v>44424</c:v>
                </c:pt>
                <c:pt idx="2205">
                  <c:v>44425</c:v>
                </c:pt>
                <c:pt idx="2206">
                  <c:v>44426</c:v>
                </c:pt>
                <c:pt idx="2207">
                  <c:v>44427</c:v>
                </c:pt>
                <c:pt idx="2208">
                  <c:v>44428</c:v>
                </c:pt>
                <c:pt idx="2209">
                  <c:v>44429</c:v>
                </c:pt>
                <c:pt idx="2210">
                  <c:v>44430</c:v>
                </c:pt>
                <c:pt idx="2211">
                  <c:v>44431</c:v>
                </c:pt>
                <c:pt idx="2212">
                  <c:v>44432</c:v>
                </c:pt>
                <c:pt idx="2213">
                  <c:v>44433</c:v>
                </c:pt>
                <c:pt idx="2214">
                  <c:v>44434</c:v>
                </c:pt>
                <c:pt idx="2215">
                  <c:v>44435</c:v>
                </c:pt>
                <c:pt idx="2216">
                  <c:v>44436</c:v>
                </c:pt>
                <c:pt idx="2217">
                  <c:v>44437</c:v>
                </c:pt>
                <c:pt idx="2218">
                  <c:v>44438</c:v>
                </c:pt>
                <c:pt idx="2219">
                  <c:v>44439</c:v>
                </c:pt>
                <c:pt idx="2220">
                  <c:v>44440</c:v>
                </c:pt>
                <c:pt idx="2221">
                  <c:v>44441</c:v>
                </c:pt>
                <c:pt idx="2222">
                  <c:v>44442</c:v>
                </c:pt>
                <c:pt idx="2223">
                  <c:v>44443</c:v>
                </c:pt>
                <c:pt idx="2224">
                  <c:v>44444</c:v>
                </c:pt>
                <c:pt idx="2225">
                  <c:v>44445</c:v>
                </c:pt>
                <c:pt idx="2226">
                  <c:v>44446</c:v>
                </c:pt>
                <c:pt idx="2227">
                  <c:v>44447</c:v>
                </c:pt>
                <c:pt idx="2228">
                  <c:v>44448</c:v>
                </c:pt>
                <c:pt idx="2229">
                  <c:v>44449</c:v>
                </c:pt>
                <c:pt idx="2230">
                  <c:v>44450</c:v>
                </c:pt>
                <c:pt idx="2231">
                  <c:v>44451</c:v>
                </c:pt>
                <c:pt idx="2232">
                  <c:v>44452</c:v>
                </c:pt>
                <c:pt idx="2233">
                  <c:v>44453</c:v>
                </c:pt>
                <c:pt idx="2234">
                  <c:v>44454</c:v>
                </c:pt>
                <c:pt idx="2235">
                  <c:v>44455</c:v>
                </c:pt>
                <c:pt idx="2236">
                  <c:v>44456</c:v>
                </c:pt>
                <c:pt idx="2237">
                  <c:v>44457</c:v>
                </c:pt>
                <c:pt idx="2238">
                  <c:v>44458</c:v>
                </c:pt>
                <c:pt idx="2239">
                  <c:v>44459</c:v>
                </c:pt>
                <c:pt idx="2240">
                  <c:v>44460</c:v>
                </c:pt>
                <c:pt idx="2241">
                  <c:v>44461</c:v>
                </c:pt>
                <c:pt idx="2242">
                  <c:v>44462</c:v>
                </c:pt>
              </c:numCache>
            </c:numRef>
          </c:cat>
          <c:val>
            <c:numRef>
              <c:f>Sheet1!$B$2:$B$2244</c:f>
              <c:numCache>
                <c:formatCode>#,##0</c:formatCode>
                <c:ptCount val="2243"/>
                <c:pt idx="0">
                  <c:v>3635</c:v>
                </c:pt>
                <c:pt idx="1">
                  <c:v>5031</c:v>
                </c:pt>
                <c:pt idx="2">
                  <c:v>10829</c:v>
                </c:pt>
                <c:pt idx="3">
                  <c:v>15266</c:v>
                </c:pt>
                <c:pt idx="4">
                  <c:v>19011</c:v>
                </c:pt>
                <c:pt idx="5">
                  <c:v>22504</c:v>
                </c:pt>
                <c:pt idx="6">
                  <c:v>25174</c:v>
                </c:pt>
                <c:pt idx="7">
                  <c:v>25720</c:v>
                </c:pt>
                <c:pt idx="8">
                  <c:v>26208</c:v>
                </c:pt>
                <c:pt idx="9">
                  <c:v>28996</c:v>
                </c:pt>
                <c:pt idx="10">
                  <c:v>31692</c:v>
                </c:pt>
                <c:pt idx="11">
                  <c:v>34458</c:v>
                </c:pt>
                <c:pt idx="12">
                  <c:v>37383</c:v>
                </c:pt>
                <c:pt idx="13">
                  <c:v>39758</c:v>
                </c:pt>
                <c:pt idx="14">
                  <c:v>40217</c:v>
                </c:pt>
                <c:pt idx="15">
                  <c:v>40719</c:v>
                </c:pt>
                <c:pt idx="16">
                  <c:v>43261</c:v>
                </c:pt>
                <c:pt idx="17">
                  <c:v>46080</c:v>
                </c:pt>
                <c:pt idx="18">
                  <c:v>48979</c:v>
                </c:pt>
                <c:pt idx="19">
                  <c:v>51659</c:v>
                </c:pt>
                <c:pt idx="20">
                  <c:v>53827</c:v>
                </c:pt>
                <c:pt idx="21">
                  <c:v>54312</c:v>
                </c:pt>
                <c:pt idx="22">
                  <c:v>54814</c:v>
                </c:pt>
                <c:pt idx="23">
                  <c:v>57632</c:v>
                </c:pt>
                <c:pt idx="24">
                  <c:v>60466</c:v>
                </c:pt>
                <c:pt idx="25">
                  <c:v>63079</c:v>
                </c:pt>
                <c:pt idx="26">
                  <c:v>65623</c:v>
                </c:pt>
                <c:pt idx="27">
                  <c:v>67644</c:v>
                </c:pt>
                <c:pt idx="28">
                  <c:v>67514</c:v>
                </c:pt>
                <c:pt idx="29">
                  <c:v>67524</c:v>
                </c:pt>
                <c:pt idx="30">
                  <c:v>67558</c:v>
                </c:pt>
                <c:pt idx="31">
                  <c:v>67847</c:v>
                </c:pt>
                <c:pt idx="32">
                  <c:v>68418</c:v>
                </c:pt>
                <c:pt idx="33">
                  <c:v>68928</c:v>
                </c:pt>
                <c:pt idx="34">
                  <c:v>69336</c:v>
                </c:pt>
                <c:pt idx="35">
                  <c:v>69454</c:v>
                </c:pt>
                <c:pt idx="36">
                  <c:v>69566</c:v>
                </c:pt>
                <c:pt idx="37">
                  <c:v>69354</c:v>
                </c:pt>
                <c:pt idx="38">
                  <c:v>70047</c:v>
                </c:pt>
                <c:pt idx="39">
                  <c:v>70596</c:v>
                </c:pt>
                <c:pt idx="40">
                  <c:v>71001</c:v>
                </c:pt>
                <c:pt idx="41">
                  <c:v>71624</c:v>
                </c:pt>
                <c:pt idx="42">
                  <c:v>71734</c:v>
                </c:pt>
                <c:pt idx="43">
                  <c:v>71780</c:v>
                </c:pt>
                <c:pt idx="44">
                  <c:v>72223</c:v>
                </c:pt>
                <c:pt idx="45">
                  <c:v>72753</c:v>
                </c:pt>
                <c:pt idx="46">
                  <c:v>73093</c:v>
                </c:pt>
                <c:pt idx="47">
                  <c:v>73531</c:v>
                </c:pt>
                <c:pt idx="48">
                  <c:v>74156</c:v>
                </c:pt>
                <c:pt idx="49">
                  <c:v>74197</c:v>
                </c:pt>
                <c:pt idx="50">
                  <c:v>74228</c:v>
                </c:pt>
                <c:pt idx="51">
                  <c:v>74522</c:v>
                </c:pt>
                <c:pt idx="52">
                  <c:v>75007</c:v>
                </c:pt>
                <c:pt idx="53">
                  <c:v>75416</c:v>
                </c:pt>
                <c:pt idx="54">
                  <c:v>75682</c:v>
                </c:pt>
                <c:pt idx="55">
                  <c:v>75976</c:v>
                </c:pt>
                <c:pt idx="56">
                  <c:v>76048</c:v>
                </c:pt>
                <c:pt idx="57">
                  <c:v>76124</c:v>
                </c:pt>
                <c:pt idx="58">
                  <c:v>76668</c:v>
                </c:pt>
                <c:pt idx="59">
                  <c:v>77386</c:v>
                </c:pt>
                <c:pt idx="60">
                  <c:v>77917</c:v>
                </c:pt>
                <c:pt idx="61">
                  <c:v>78700</c:v>
                </c:pt>
                <c:pt idx="62">
                  <c:v>78949</c:v>
                </c:pt>
                <c:pt idx="63">
                  <c:v>78977</c:v>
                </c:pt>
                <c:pt idx="64">
                  <c:v>79056</c:v>
                </c:pt>
                <c:pt idx="65">
                  <c:v>80235</c:v>
                </c:pt>
                <c:pt idx="66">
                  <c:v>80789</c:v>
                </c:pt>
                <c:pt idx="67">
                  <c:v>81327</c:v>
                </c:pt>
                <c:pt idx="68">
                  <c:v>81927</c:v>
                </c:pt>
                <c:pt idx="69">
                  <c:v>82154</c:v>
                </c:pt>
                <c:pt idx="70">
                  <c:v>82111</c:v>
                </c:pt>
                <c:pt idx="71">
                  <c:v>82161</c:v>
                </c:pt>
                <c:pt idx="72">
                  <c:v>82507</c:v>
                </c:pt>
                <c:pt idx="73">
                  <c:v>83066</c:v>
                </c:pt>
                <c:pt idx="74">
                  <c:v>83630</c:v>
                </c:pt>
                <c:pt idx="75">
                  <c:v>84031</c:v>
                </c:pt>
                <c:pt idx="76">
                  <c:v>84090</c:v>
                </c:pt>
                <c:pt idx="77">
                  <c:v>84121</c:v>
                </c:pt>
                <c:pt idx="78">
                  <c:v>84128</c:v>
                </c:pt>
                <c:pt idx="79">
                  <c:v>84382</c:v>
                </c:pt>
                <c:pt idx="80">
                  <c:v>84749</c:v>
                </c:pt>
                <c:pt idx="81">
                  <c:v>84898</c:v>
                </c:pt>
                <c:pt idx="82">
                  <c:v>85354</c:v>
                </c:pt>
                <c:pt idx="83">
                  <c:v>86194</c:v>
                </c:pt>
                <c:pt idx="84">
                  <c:v>86293</c:v>
                </c:pt>
                <c:pt idx="85">
                  <c:v>86458</c:v>
                </c:pt>
                <c:pt idx="86">
                  <c:v>87238</c:v>
                </c:pt>
                <c:pt idx="87">
                  <c:v>88214</c:v>
                </c:pt>
                <c:pt idx="88">
                  <c:v>89134</c:v>
                </c:pt>
                <c:pt idx="89">
                  <c:v>89413</c:v>
                </c:pt>
                <c:pt idx="90">
                  <c:v>89805</c:v>
                </c:pt>
                <c:pt idx="91">
                  <c:v>89843</c:v>
                </c:pt>
                <c:pt idx="92">
                  <c:v>89855</c:v>
                </c:pt>
                <c:pt idx="93">
                  <c:v>90483</c:v>
                </c:pt>
                <c:pt idx="94">
                  <c:v>91281</c:v>
                </c:pt>
                <c:pt idx="95">
                  <c:v>92002</c:v>
                </c:pt>
                <c:pt idx="96">
                  <c:v>92556</c:v>
                </c:pt>
                <c:pt idx="97">
                  <c:v>93002</c:v>
                </c:pt>
                <c:pt idx="98">
                  <c:v>93038</c:v>
                </c:pt>
                <c:pt idx="99">
                  <c:v>93133</c:v>
                </c:pt>
                <c:pt idx="100">
                  <c:v>94247</c:v>
                </c:pt>
                <c:pt idx="101">
                  <c:v>95086</c:v>
                </c:pt>
                <c:pt idx="102">
                  <c:v>95731</c:v>
                </c:pt>
                <c:pt idx="103">
                  <c:v>96932</c:v>
                </c:pt>
                <c:pt idx="104">
                  <c:v>97503</c:v>
                </c:pt>
                <c:pt idx="105">
                  <c:v>97552</c:v>
                </c:pt>
                <c:pt idx="106">
                  <c:v>97622</c:v>
                </c:pt>
                <c:pt idx="107">
                  <c:v>98081</c:v>
                </c:pt>
                <c:pt idx="108">
                  <c:v>98822</c:v>
                </c:pt>
                <c:pt idx="109">
                  <c:v>99582</c:v>
                </c:pt>
                <c:pt idx="110">
                  <c:v>100339</c:v>
                </c:pt>
                <c:pt idx="111">
                  <c:v>100587</c:v>
                </c:pt>
                <c:pt idx="112">
                  <c:v>100511</c:v>
                </c:pt>
                <c:pt idx="113">
                  <c:v>100545</c:v>
                </c:pt>
                <c:pt idx="114">
                  <c:v>100766</c:v>
                </c:pt>
                <c:pt idx="115">
                  <c:v>101010</c:v>
                </c:pt>
                <c:pt idx="116">
                  <c:v>101092</c:v>
                </c:pt>
                <c:pt idx="117">
                  <c:v>101722</c:v>
                </c:pt>
                <c:pt idx="118">
                  <c:v>101061</c:v>
                </c:pt>
                <c:pt idx="119">
                  <c:v>101162</c:v>
                </c:pt>
                <c:pt idx="120">
                  <c:v>102339</c:v>
                </c:pt>
                <c:pt idx="121">
                  <c:v>103323</c:v>
                </c:pt>
                <c:pt idx="122">
                  <c:v>104045</c:v>
                </c:pt>
                <c:pt idx="123">
                  <c:v>104612</c:v>
                </c:pt>
                <c:pt idx="124">
                  <c:v>104733</c:v>
                </c:pt>
                <c:pt idx="125">
                  <c:v>104877</c:v>
                </c:pt>
                <c:pt idx="126">
                  <c:v>104863</c:v>
                </c:pt>
                <c:pt idx="127">
                  <c:v>104970</c:v>
                </c:pt>
                <c:pt idx="128">
                  <c:v>105322</c:v>
                </c:pt>
                <c:pt idx="129">
                  <c:v>105670</c:v>
                </c:pt>
                <c:pt idx="130">
                  <c:v>106314</c:v>
                </c:pt>
                <c:pt idx="131">
                  <c:v>106377</c:v>
                </c:pt>
                <c:pt idx="132">
                  <c:v>106174</c:v>
                </c:pt>
                <c:pt idx="133">
                  <c:v>106093</c:v>
                </c:pt>
                <c:pt idx="134">
                  <c:v>106107</c:v>
                </c:pt>
                <c:pt idx="135">
                  <c:v>106649</c:v>
                </c:pt>
                <c:pt idx="136">
                  <c:v>107007</c:v>
                </c:pt>
                <c:pt idx="137">
                  <c:v>107340</c:v>
                </c:pt>
                <c:pt idx="138">
                  <c:v>107418</c:v>
                </c:pt>
                <c:pt idx="139">
                  <c:v>106898</c:v>
                </c:pt>
                <c:pt idx="140">
                  <c:v>106694</c:v>
                </c:pt>
                <c:pt idx="141">
                  <c:v>106602</c:v>
                </c:pt>
                <c:pt idx="142">
                  <c:v>106286</c:v>
                </c:pt>
                <c:pt idx="143">
                  <c:v>105875</c:v>
                </c:pt>
                <c:pt idx="144">
                  <c:v>104900</c:v>
                </c:pt>
                <c:pt idx="145">
                  <c:v>103605</c:v>
                </c:pt>
                <c:pt idx="146">
                  <c:v>101930</c:v>
                </c:pt>
                <c:pt idx="147">
                  <c:v>101637</c:v>
                </c:pt>
                <c:pt idx="148">
                  <c:v>101460</c:v>
                </c:pt>
                <c:pt idx="149">
                  <c:v>99563</c:v>
                </c:pt>
                <c:pt idx="150">
                  <c:v>97220</c:v>
                </c:pt>
                <c:pt idx="151">
                  <c:v>94801</c:v>
                </c:pt>
                <c:pt idx="152">
                  <c:v>91889</c:v>
                </c:pt>
                <c:pt idx="153">
                  <c:v>88943</c:v>
                </c:pt>
                <c:pt idx="154">
                  <c:v>88636</c:v>
                </c:pt>
                <c:pt idx="155">
                  <c:v>88276</c:v>
                </c:pt>
                <c:pt idx="156">
                  <c:v>87919</c:v>
                </c:pt>
                <c:pt idx="157">
                  <c:v>88072</c:v>
                </c:pt>
                <c:pt idx="158">
                  <c:v>87585</c:v>
                </c:pt>
                <c:pt idx="159">
                  <c:v>87730</c:v>
                </c:pt>
                <c:pt idx="160">
                  <c:v>87429</c:v>
                </c:pt>
                <c:pt idx="161">
                  <c:v>87362</c:v>
                </c:pt>
                <c:pt idx="162">
                  <c:v>87223</c:v>
                </c:pt>
                <c:pt idx="163">
                  <c:v>87490</c:v>
                </c:pt>
                <c:pt idx="164">
                  <c:v>87582</c:v>
                </c:pt>
                <c:pt idx="165">
                  <c:v>87783</c:v>
                </c:pt>
                <c:pt idx="166">
                  <c:v>88038</c:v>
                </c:pt>
                <c:pt idx="167">
                  <c:v>88623</c:v>
                </c:pt>
                <c:pt idx="168">
                  <c:v>88706</c:v>
                </c:pt>
                <c:pt idx="169">
                  <c:v>88808</c:v>
                </c:pt>
                <c:pt idx="170">
                  <c:v>89514</c:v>
                </c:pt>
                <c:pt idx="171">
                  <c:v>90766</c:v>
                </c:pt>
                <c:pt idx="172">
                  <c:v>93001</c:v>
                </c:pt>
                <c:pt idx="173">
                  <c:v>95816</c:v>
                </c:pt>
                <c:pt idx="174">
                  <c:v>98941</c:v>
                </c:pt>
                <c:pt idx="175">
                  <c:v>99323</c:v>
                </c:pt>
                <c:pt idx="176">
                  <c:v>99580</c:v>
                </c:pt>
                <c:pt idx="177">
                  <c:v>101821</c:v>
                </c:pt>
                <c:pt idx="178">
                  <c:v>104252</c:v>
                </c:pt>
                <c:pt idx="179">
                  <c:v>107541</c:v>
                </c:pt>
                <c:pt idx="180">
                  <c:v>110909</c:v>
                </c:pt>
                <c:pt idx="181">
                  <c:v>114234</c:v>
                </c:pt>
                <c:pt idx="182">
                  <c:v>114594</c:v>
                </c:pt>
                <c:pt idx="183">
                  <c:v>114862</c:v>
                </c:pt>
                <c:pt idx="184">
                  <c:v>116419</c:v>
                </c:pt>
                <c:pt idx="185">
                  <c:v>117663</c:v>
                </c:pt>
                <c:pt idx="186">
                  <c:v>119229</c:v>
                </c:pt>
                <c:pt idx="187">
                  <c:v>120600</c:v>
                </c:pt>
                <c:pt idx="188">
                  <c:v>121686</c:v>
                </c:pt>
                <c:pt idx="189">
                  <c:v>121993</c:v>
                </c:pt>
                <c:pt idx="190">
                  <c:v>122236</c:v>
                </c:pt>
                <c:pt idx="191">
                  <c:v>123339</c:v>
                </c:pt>
                <c:pt idx="192">
                  <c:v>124688</c:v>
                </c:pt>
                <c:pt idx="193">
                  <c:v>126047</c:v>
                </c:pt>
                <c:pt idx="194">
                  <c:v>127392</c:v>
                </c:pt>
                <c:pt idx="195">
                  <c:v>128273</c:v>
                </c:pt>
                <c:pt idx="196">
                  <c:v>128369</c:v>
                </c:pt>
                <c:pt idx="197">
                  <c:v>128540</c:v>
                </c:pt>
                <c:pt idx="198">
                  <c:v>129351</c:v>
                </c:pt>
                <c:pt idx="199">
                  <c:v>130571</c:v>
                </c:pt>
                <c:pt idx="200">
                  <c:v>131668</c:v>
                </c:pt>
                <c:pt idx="201">
                  <c:v>133042</c:v>
                </c:pt>
                <c:pt idx="202">
                  <c:v>134048</c:v>
                </c:pt>
                <c:pt idx="203">
                  <c:v>134206</c:v>
                </c:pt>
                <c:pt idx="204">
                  <c:v>134379</c:v>
                </c:pt>
                <c:pt idx="205">
                  <c:v>135499</c:v>
                </c:pt>
                <c:pt idx="206">
                  <c:v>137037</c:v>
                </c:pt>
                <c:pt idx="207">
                  <c:v>137994</c:v>
                </c:pt>
                <c:pt idx="208">
                  <c:v>138956</c:v>
                </c:pt>
                <c:pt idx="209">
                  <c:v>139528</c:v>
                </c:pt>
                <c:pt idx="210">
                  <c:v>139750</c:v>
                </c:pt>
                <c:pt idx="211">
                  <c:v>139817</c:v>
                </c:pt>
                <c:pt idx="212">
                  <c:v>140663</c:v>
                </c:pt>
                <c:pt idx="213">
                  <c:v>142006</c:v>
                </c:pt>
                <c:pt idx="214">
                  <c:v>143100</c:v>
                </c:pt>
                <c:pt idx="215">
                  <c:v>143808</c:v>
                </c:pt>
                <c:pt idx="216">
                  <c:v>144373</c:v>
                </c:pt>
                <c:pt idx="217">
                  <c:v>144290</c:v>
                </c:pt>
                <c:pt idx="218">
                  <c:v>144292</c:v>
                </c:pt>
                <c:pt idx="219">
                  <c:v>145525</c:v>
                </c:pt>
                <c:pt idx="220">
                  <c:v>146722</c:v>
                </c:pt>
                <c:pt idx="221">
                  <c:v>147754</c:v>
                </c:pt>
                <c:pt idx="222">
                  <c:v>148616</c:v>
                </c:pt>
                <c:pt idx="223">
                  <c:v>149162</c:v>
                </c:pt>
                <c:pt idx="224">
                  <c:v>149225</c:v>
                </c:pt>
                <c:pt idx="225">
                  <c:v>149234</c:v>
                </c:pt>
                <c:pt idx="226">
                  <c:v>150598</c:v>
                </c:pt>
                <c:pt idx="227">
                  <c:v>151921</c:v>
                </c:pt>
                <c:pt idx="228">
                  <c:v>153089</c:v>
                </c:pt>
                <c:pt idx="229">
                  <c:v>153778</c:v>
                </c:pt>
                <c:pt idx="230">
                  <c:v>154293</c:v>
                </c:pt>
                <c:pt idx="231">
                  <c:v>154138</c:v>
                </c:pt>
                <c:pt idx="232">
                  <c:v>154222</c:v>
                </c:pt>
                <c:pt idx="233">
                  <c:v>155149</c:v>
                </c:pt>
                <c:pt idx="234">
                  <c:v>156418</c:v>
                </c:pt>
                <c:pt idx="235">
                  <c:v>157396</c:v>
                </c:pt>
                <c:pt idx="236">
                  <c:v>157785</c:v>
                </c:pt>
                <c:pt idx="237">
                  <c:v>156476</c:v>
                </c:pt>
                <c:pt idx="238">
                  <c:v>156243</c:v>
                </c:pt>
                <c:pt idx="239">
                  <c:v>156130</c:v>
                </c:pt>
                <c:pt idx="240">
                  <c:v>156076</c:v>
                </c:pt>
                <c:pt idx="241">
                  <c:v>156965</c:v>
                </c:pt>
                <c:pt idx="242">
                  <c:v>157881</c:v>
                </c:pt>
                <c:pt idx="243">
                  <c:v>158973</c:v>
                </c:pt>
                <c:pt idx="244">
                  <c:v>159928</c:v>
                </c:pt>
                <c:pt idx="245">
                  <c:v>159910</c:v>
                </c:pt>
                <c:pt idx="246">
                  <c:v>160051</c:v>
                </c:pt>
                <c:pt idx="247">
                  <c:v>161569</c:v>
                </c:pt>
                <c:pt idx="248">
                  <c:v>163016</c:v>
                </c:pt>
                <c:pt idx="249">
                  <c:v>163938</c:v>
                </c:pt>
                <c:pt idx="250">
                  <c:v>164863</c:v>
                </c:pt>
                <c:pt idx="251">
                  <c:v>165413</c:v>
                </c:pt>
                <c:pt idx="252">
                  <c:v>165406</c:v>
                </c:pt>
                <c:pt idx="253">
                  <c:v>165546</c:v>
                </c:pt>
                <c:pt idx="254">
                  <c:v>166912</c:v>
                </c:pt>
                <c:pt idx="255">
                  <c:v>168203</c:v>
                </c:pt>
                <c:pt idx="256">
                  <c:v>169340</c:v>
                </c:pt>
                <c:pt idx="257">
                  <c:v>170728</c:v>
                </c:pt>
                <c:pt idx="258">
                  <c:v>171335</c:v>
                </c:pt>
                <c:pt idx="259">
                  <c:v>171413</c:v>
                </c:pt>
                <c:pt idx="260">
                  <c:v>171486</c:v>
                </c:pt>
                <c:pt idx="261">
                  <c:v>173094</c:v>
                </c:pt>
                <c:pt idx="262">
                  <c:v>174120</c:v>
                </c:pt>
                <c:pt idx="263">
                  <c:v>175254</c:v>
                </c:pt>
                <c:pt idx="264">
                  <c:v>176446</c:v>
                </c:pt>
                <c:pt idx="265">
                  <c:v>178651</c:v>
                </c:pt>
                <c:pt idx="266">
                  <c:v>178742</c:v>
                </c:pt>
                <c:pt idx="267">
                  <c:v>178937</c:v>
                </c:pt>
                <c:pt idx="268">
                  <c:v>180961</c:v>
                </c:pt>
                <c:pt idx="269">
                  <c:v>182313</c:v>
                </c:pt>
                <c:pt idx="270">
                  <c:v>183381</c:v>
                </c:pt>
                <c:pt idx="271">
                  <c:v>184079</c:v>
                </c:pt>
                <c:pt idx="272">
                  <c:v>183982</c:v>
                </c:pt>
                <c:pt idx="273">
                  <c:v>183864</c:v>
                </c:pt>
                <c:pt idx="274">
                  <c:v>183797</c:v>
                </c:pt>
                <c:pt idx="275">
                  <c:v>183663</c:v>
                </c:pt>
                <c:pt idx="276">
                  <c:v>184430</c:v>
                </c:pt>
                <c:pt idx="277">
                  <c:v>185305</c:v>
                </c:pt>
                <c:pt idx="278">
                  <c:v>185293</c:v>
                </c:pt>
                <c:pt idx="279">
                  <c:v>185218</c:v>
                </c:pt>
                <c:pt idx="280">
                  <c:v>185012</c:v>
                </c:pt>
                <c:pt idx="281">
                  <c:v>184950</c:v>
                </c:pt>
                <c:pt idx="282">
                  <c:v>185570</c:v>
                </c:pt>
                <c:pt idx="283">
                  <c:v>186621</c:v>
                </c:pt>
                <c:pt idx="284">
                  <c:v>187878</c:v>
                </c:pt>
                <c:pt idx="285">
                  <c:v>188976</c:v>
                </c:pt>
                <c:pt idx="286">
                  <c:v>189393</c:v>
                </c:pt>
                <c:pt idx="287">
                  <c:v>189347</c:v>
                </c:pt>
                <c:pt idx="288">
                  <c:v>189326</c:v>
                </c:pt>
                <c:pt idx="289">
                  <c:v>189615</c:v>
                </c:pt>
                <c:pt idx="290">
                  <c:v>190565</c:v>
                </c:pt>
                <c:pt idx="291">
                  <c:v>191545</c:v>
                </c:pt>
                <c:pt idx="292">
                  <c:v>192349</c:v>
                </c:pt>
                <c:pt idx="293">
                  <c:v>192734</c:v>
                </c:pt>
                <c:pt idx="294">
                  <c:v>192675</c:v>
                </c:pt>
                <c:pt idx="295">
                  <c:v>192714</c:v>
                </c:pt>
                <c:pt idx="296">
                  <c:v>193923</c:v>
                </c:pt>
                <c:pt idx="297">
                  <c:v>194950</c:v>
                </c:pt>
                <c:pt idx="298">
                  <c:v>195818</c:v>
                </c:pt>
                <c:pt idx="299">
                  <c:v>196283</c:v>
                </c:pt>
                <c:pt idx="300">
                  <c:v>196367</c:v>
                </c:pt>
                <c:pt idx="301">
                  <c:v>196180</c:v>
                </c:pt>
                <c:pt idx="302">
                  <c:v>196085</c:v>
                </c:pt>
                <c:pt idx="303">
                  <c:v>195719</c:v>
                </c:pt>
                <c:pt idx="304">
                  <c:v>196753</c:v>
                </c:pt>
                <c:pt idx="305">
                  <c:v>198198</c:v>
                </c:pt>
                <c:pt idx="306">
                  <c:v>199991</c:v>
                </c:pt>
                <c:pt idx="307">
                  <c:v>201017</c:v>
                </c:pt>
                <c:pt idx="308">
                  <c:v>200998</c:v>
                </c:pt>
                <c:pt idx="309">
                  <c:v>201041</c:v>
                </c:pt>
                <c:pt idx="310">
                  <c:v>202267</c:v>
                </c:pt>
                <c:pt idx="311">
                  <c:v>203614</c:v>
                </c:pt>
                <c:pt idx="312">
                  <c:v>204341</c:v>
                </c:pt>
                <c:pt idx="313">
                  <c:v>205107</c:v>
                </c:pt>
                <c:pt idx="314">
                  <c:v>205250</c:v>
                </c:pt>
                <c:pt idx="315">
                  <c:v>205224</c:v>
                </c:pt>
                <c:pt idx="316">
                  <c:v>205167</c:v>
                </c:pt>
                <c:pt idx="317">
                  <c:v>206304</c:v>
                </c:pt>
                <c:pt idx="318">
                  <c:v>207406</c:v>
                </c:pt>
                <c:pt idx="319">
                  <c:v>208841</c:v>
                </c:pt>
                <c:pt idx="320">
                  <c:v>209694</c:v>
                </c:pt>
                <c:pt idx="321">
                  <c:v>209971</c:v>
                </c:pt>
                <c:pt idx="322">
                  <c:v>209795</c:v>
                </c:pt>
                <c:pt idx="323">
                  <c:v>209762</c:v>
                </c:pt>
                <c:pt idx="324">
                  <c:v>210782</c:v>
                </c:pt>
                <c:pt idx="325">
                  <c:v>211993</c:v>
                </c:pt>
                <c:pt idx="326">
                  <c:v>212971</c:v>
                </c:pt>
                <c:pt idx="327">
                  <c:v>214161</c:v>
                </c:pt>
                <c:pt idx="328">
                  <c:v>214612</c:v>
                </c:pt>
                <c:pt idx="329">
                  <c:v>214560</c:v>
                </c:pt>
                <c:pt idx="330">
                  <c:v>214652</c:v>
                </c:pt>
                <c:pt idx="331">
                  <c:v>217546</c:v>
                </c:pt>
                <c:pt idx="332">
                  <c:v>219170</c:v>
                </c:pt>
                <c:pt idx="333">
                  <c:v>220323</c:v>
                </c:pt>
                <c:pt idx="334">
                  <c:v>220949</c:v>
                </c:pt>
                <c:pt idx="335">
                  <c:v>220663</c:v>
                </c:pt>
                <c:pt idx="336">
                  <c:v>220460</c:v>
                </c:pt>
                <c:pt idx="337">
                  <c:v>220377</c:v>
                </c:pt>
                <c:pt idx="338">
                  <c:v>219332</c:v>
                </c:pt>
                <c:pt idx="339">
                  <c:v>219439</c:v>
                </c:pt>
                <c:pt idx="340">
                  <c:v>219807</c:v>
                </c:pt>
                <c:pt idx="341">
                  <c:v>220265</c:v>
                </c:pt>
                <c:pt idx="342">
                  <c:v>220556</c:v>
                </c:pt>
                <c:pt idx="343">
                  <c:v>220539</c:v>
                </c:pt>
                <c:pt idx="344">
                  <c:v>220791</c:v>
                </c:pt>
                <c:pt idx="345">
                  <c:v>222477</c:v>
                </c:pt>
                <c:pt idx="346">
                  <c:v>223365</c:v>
                </c:pt>
                <c:pt idx="347">
                  <c:v>223716</c:v>
                </c:pt>
                <c:pt idx="348">
                  <c:v>224044</c:v>
                </c:pt>
                <c:pt idx="349">
                  <c:v>224181</c:v>
                </c:pt>
                <c:pt idx="350">
                  <c:v>205729</c:v>
                </c:pt>
                <c:pt idx="351">
                  <c:v>208079</c:v>
                </c:pt>
                <c:pt idx="352">
                  <c:v>210349</c:v>
                </c:pt>
                <c:pt idx="353">
                  <c:v>212240</c:v>
                </c:pt>
                <c:pt idx="354">
                  <c:v>214300</c:v>
                </c:pt>
                <c:pt idx="355">
                  <c:v>215990</c:v>
                </c:pt>
                <c:pt idx="356">
                  <c:v>216207</c:v>
                </c:pt>
                <c:pt idx="357">
                  <c:v>216461</c:v>
                </c:pt>
                <c:pt idx="358">
                  <c:v>218325</c:v>
                </c:pt>
                <c:pt idx="359">
                  <c:v>220104</c:v>
                </c:pt>
                <c:pt idx="360">
                  <c:v>221947</c:v>
                </c:pt>
                <c:pt idx="361">
                  <c:v>223390</c:v>
                </c:pt>
                <c:pt idx="362">
                  <c:v>223803</c:v>
                </c:pt>
                <c:pt idx="363">
                  <c:v>223958</c:v>
                </c:pt>
                <c:pt idx="364">
                  <c:v>224133</c:v>
                </c:pt>
                <c:pt idx="365">
                  <c:v>226843</c:v>
                </c:pt>
                <c:pt idx="366">
                  <c:v>228682</c:v>
                </c:pt>
                <c:pt idx="367">
                  <c:v>230833</c:v>
                </c:pt>
                <c:pt idx="368">
                  <c:v>232571</c:v>
                </c:pt>
                <c:pt idx="369">
                  <c:v>232824</c:v>
                </c:pt>
                <c:pt idx="370">
                  <c:v>232733</c:v>
                </c:pt>
                <c:pt idx="371">
                  <c:v>232688</c:v>
                </c:pt>
                <c:pt idx="372">
                  <c:v>233778</c:v>
                </c:pt>
                <c:pt idx="373">
                  <c:v>268776</c:v>
                </c:pt>
                <c:pt idx="374">
                  <c:v>270352</c:v>
                </c:pt>
                <c:pt idx="375">
                  <c:v>271305</c:v>
                </c:pt>
                <c:pt idx="376">
                  <c:v>271724</c:v>
                </c:pt>
                <c:pt idx="377">
                  <c:v>271714</c:v>
                </c:pt>
                <c:pt idx="378">
                  <c:v>271831</c:v>
                </c:pt>
                <c:pt idx="379">
                  <c:v>272360</c:v>
                </c:pt>
                <c:pt idx="380">
                  <c:v>273780</c:v>
                </c:pt>
                <c:pt idx="381">
                  <c:v>275147</c:v>
                </c:pt>
                <c:pt idx="382">
                  <c:v>275900</c:v>
                </c:pt>
                <c:pt idx="383">
                  <c:v>276588</c:v>
                </c:pt>
                <c:pt idx="384">
                  <c:v>276648</c:v>
                </c:pt>
                <c:pt idx="385">
                  <c:v>276707</c:v>
                </c:pt>
                <c:pt idx="386">
                  <c:v>278551</c:v>
                </c:pt>
                <c:pt idx="387">
                  <c:v>280421</c:v>
                </c:pt>
                <c:pt idx="388">
                  <c:v>281982</c:v>
                </c:pt>
                <c:pt idx="389">
                  <c:v>283169</c:v>
                </c:pt>
                <c:pt idx="390">
                  <c:v>284099</c:v>
                </c:pt>
                <c:pt idx="391">
                  <c:v>284128</c:v>
                </c:pt>
                <c:pt idx="392">
                  <c:v>284287</c:v>
                </c:pt>
                <c:pt idx="393">
                  <c:v>285697</c:v>
                </c:pt>
                <c:pt idx="394">
                  <c:v>287247</c:v>
                </c:pt>
                <c:pt idx="395">
                  <c:v>288287</c:v>
                </c:pt>
                <c:pt idx="396">
                  <c:v>289062</c:v>
                </c:pt>
                <c:pt idx="397">
                  <c:v>289811</c:v>
                </c:pt>
                <c:pt idx="398">
                  <c:v>289940</c:v>
                </c:pt>
                <c:pt idx="399">
                  <c:v>290053</c:v>
                </c:pt>
                <c:pt idx="400">
                  <c:v>288814</c:v>
                </c:pt>
                <c:pt idx="401">
                  <c:v>255736</c:v>
                </c:pt>
                <c:pt idx="402">
                  <c:v>257015</c:v>
                </c:pt>
                <c:pt idx="403">
                  <c:v>258929</c:v>
                </c:pt>
                <c:pt idx="404">
                  <c:v>260465</c:v>
                </c:pt>
                <c:pt idx="405">
                  <c:v>260680</c:v>
                </c:pt>
                <c:pt idx="406">
                  <c:v>260904</c:v>
                </c:pt>
                <c:pt idx="407">
                  <c:v>263473</c:v>
                </c:pt>
                <c:pt idx="408">
                  <c:v>265334</c:v>
                </c:pt>
                <c:pt idx="409">
                  <c:v>266728</c:v>
                </c:pt>
                <c:pt idx="410">
                  <c:v>268102</c:v>
                </c:pt>
                <c:pt idx="411">
                  <c:v>269003</c:v>
                </c:pt>
                <c:pt idx="412">
                  <c:v>269183</c:v>
                </c:pt>
                <c:pt idx="413">
                  <c:v>269500</c:v>
                </c:pt>
                <c:pt idx="414">
                  <c:v>271338</c:v>
                </c:pt>
                <c:pt idx="415">
                  <c:v>272897</c:v>
                </c:pt>
                <c:pt idx="416">
                  <c:v>274832</c:v>
                </c:pt>
                <c:pt idx="417">
                  <c:v>276506</c:v>
                </c:pt>
                <c:pt idx="418">
                  <c:v>277711</c:v>
                </c:pt>
                <c:pt idx="419">
                  <c:v>277977</c:v>
                </c:pt>
                <c:pt idx="420">
                  <c:v>278239</c:v>
                </c:pt>
                <c:pt idx="421">
                  <c:v>280289</c:v>
                </c:pt>
                <c:pt idx="422">
                  <c:v>282091</c:v>
                </c:pt>
                <c:pt idx="423">
                  <c:v>283887</c:v>
                </c:pt>
                <c:pt idx="424">
                  <c:v>285273</c:v>
                </c:pt>
                <c:pt idx="425">
                  <c:v>286701</c:v>
                </c:pt>
                <c:pt idx="426">
                  <c:v>286902</c:v>
                </c:pt>
                <c:pt idx="427">
                  <c:v>287014</c:v>
                </c:pt>
                <c:pt idx="428">
                  <c:v>290353</c:v>
                </c:pt>
                <c:pt idx="429">
                  <c:v>292163</c:v>
                </c:pt>
                <c:pt idx="430">
                  <c:v>293985</c:v>
                </c:pt>
                <c:pt idx="431">
                  <c:v>295113</c:v>
                </c:pt>
                <c:pt idx="432">
                  <c:v>295999</c:v>
                </c:pt>
                <c:pt idx="433">
                  <c:v>296309</c:v>
                </c:pt>
                <c:pt idx="434">
                  <c:v>296688</c:v>
                </c:pt>
                <c:pt idx="435">
                  <c:v>298035</c:v>
                </c:pt>
                <c:pt idx="436">
                  <c:v>299933</c:v>
                </c:pt>
                <c:pt idx="437">
                  <c:v>301523</c:v>
                </c:pt>
                <c:pt idx="438">
                  <c:v>304038</c:v>
                </c:pt>
                <c:pt idx="439">
                  <c:v>305409</c:v>
                </c:pt>
                <c:pt idx="440">
                  <c:v>305564</c:v>
                </c:pt>
                <c:pt idx="441">
                  <c:v>305665</c:v>
                </c:pt>
                <c:pt idx="442">
                  <c:v>307551</c:v>
                </c:pt>
                <c:pt idx="443">
                  <c:v>309702</c:v>
                </c:pt>
                <c:pt idx="444">
                  <c:v>311226</c:v>
                </c:pt>
                <c:pt idx="445">
                  <c:v>312904</c:v>
                </c:pt>
                <c:pt idx="446">
                  <c:v>314251</c:v>
                </c:pt>
                <c:pt idx="447">
                  <c:v>314336</c:v>
                </c:pt>
                <c:pt idx="448">
                  <c:v>314298</c:v>
                </c:pt>
                <c:pt idx="449">
                  <c:v>315803</c:v>
                </c:pt>
                <c:pt idx="450">
                  <c:v>317403</c:v>
                </c:pt>
                <c:pt idx="451">
                  <c:v>319128</c:v>
                </c:pt>
                <c:pt idx="452">
                  <c:v>320598</c:v>
                </c:pt>
                <c:pt idx="453">
                  <c:v>321044</c:v>
                </c:pt>
                <c:pt idx="454">
                  <c:v>321034</c:v>
                </c:pt>
                <c:pt idx="455">
                  <c:v>321224</c:v>
                </c:pt>
                <c:pt idx="456">
                  <c:v>321977</c:v>
                </c:pt>
                <c:pt idx="457">
                  <c:v>322564</c:v>
                </c:pt>
                <c:pt idx="458">
                  <c:v>324156</c:v>
                </c:pt>
                <c:pt idx="459">
                  <c:v>326359</c:v>
                </c:pt>
                <c:pt idx="460">
                  <c:v>327966</c:v>
                </c:pt>
                <c:pt idx="461">
                  <c:v>328167</c:v>
                </c:pt>
                <c:pt idx="462">
                  <c:v>328502</c:v>
                </c:pt>
                <c:pt idx="463">
                  <c:v>331827</c:v>
                </c:pt>
                <c:pt idx="464">
                  <c:v>334286</c:v>
                </c:pt>
                <c:pt idx="465">
                  <c:v>336012</c:v>
                </c:pt>
                <c:pt idx="466">
                  <c:v>337688</c:v>
                </c:pt>
                <c:pt idx="467">
                  <c:v>338284</c:v>
                </c:pt>
                <c:pt idx="468">
                  <c:v>338518</c:v>
                </c:pt>
                <c:pt idx="469">
                  <c:v>338768</c:v>
                </c:pt>
                <c:pt idx="470">
                  <c:v>340542</c:v>
                </c:pt>
                <c:pt idx="471">
                  <c:v>342099</c:v>
                </c:pt>
                <c:pt idx="472">
                  <c:v>344130</c:v>
                </c:pt>
                <c:pt idx="473">
                  <c:v>345492</c:v>
                </c:pt>
                <c:pt idx="474">
                  <c:v>346727</c:v>
                </c:pt>
                <c:pt idx="475">
                  <c:v>346989</c:v>
                </c:pt>
                <c:pt idx="476">
                  <c:v>347337</c:v>
                </c:pt>
                <c:pt idx="477">
                  <c:v>349474</c:v>
                </c:pt>
                <c:pt idx="478">
                  <c:v>350804</c:v>
                </c:pt>
                <c:pt idx="479">
                  <c:v>350689</c:v>
                </c:pt>
                <c:pt idx="480">
                  <c:v>349617</c:v>
                </c:pt>
                <c:pt idx="481">
                  <c:v>348550</c:v>
                </c:pt>
                <c:pt idx="482">
                  <c:v>348503</c:v>
                </c:pt>
                <c:pt idx="483">
                  <c:v>348658</c:v>
                </c:pt>
                <c:pt idx="484">
                  <c:v>350629</c:v>
                </c:pt>
                <c:pt idx="485">
                  <c:v>353122</c:v>
                </c:pt>
                <c:pt idx="486">
                  <c:v>354812</c:v>
                </c:pt>
                <c:pt idx="487">
                  <c:v>355895</c:v>
                </c:pt>
                <c:pt idx="488">
                  <c:v>356434</c:v>
                </c:pt>
                <c:pt idx="489">
                  <c:v>356438</c:v>
                </c:pt>
                <c:pt idx="490">
                  <c:v>356266</c:v>
                </c:pt>
                <c:pt idx="491">
                  <c:v>356506</c:v>
                </c:pt>
                <c:pt idx="492">
                  <c:v>357280</c:v>
                </c:pt>
                <c:pt idx="493">
                  <c:v>358531</c:v>
                </c:pt>
                <c:pt idx="494">
                  <c:v>358726</c:v>
                </c:pt>
                <c:pt idx="495">
                  <c:v>359158</c:v>
                </c:pt>
                <c:pt idx="496">
                  <c:v>358924</c:v>
                </c:pt>
                <c:pt idx="497">
                  <c:v>358813</c:v>
                </c:pt>
                <c:pt idx="498">
                  <c:v>359627</c:v>
                </c:pt>
                <c:pt idx="499">
                  <c:v>360941</c:v>
                </c:pt>
                <c:pt idx="500">
                  <c:v>361564</c:v>
                </c:pt>
                <c:pt idx="501">
                  <c:v>362222</c:v>
                </c:pt>
                <c:pt idx="502">
                  <c:v>361879</c:v>
                </c:pt>
                <c:pt idx="503">
                  <c:v>361702</c:v>
                </c:pt>
                <c:pt idx="504">
                  <c:v>361799</c:v>
                </c:pt>
                <c:pt idx="505">
                  <c:v>361940</c:v>
                </c:pt>
                <c:pt idx="506">
                  <c:v>361800</c:v>
                </c:pt>
                <c:pt idx="507">
                  <c:v>362098</c:v>
                </c:pt>
                <c:pt idx="508">
                  <c:v>362480</c:v>
                </c:pt>
                <c:pt idx="509">
                  <c:v>360603</c:v>
                </c:pt>
                <c:pt idx="510">
                  <c:v>360033</c:v>
                </c:pt>
                <c:pt idx="511">
                  <c:v>359309</c:v>
                </c:pt>
                <c:pt idx="512">
                  <c:v>353279</c:v>
                </c:pt>
                <c:pt idx="513">
                  <c:v>347440</c:v>
                </c:pt>
                <c:pt idx="514">
                  <c:v>341949</c:v>
                </c:pt>
                <c:pt idx="515">
                  <c:v>335781</c:v>
                </c:pt>
                <c:pt idx="516">
                  <c:v>329483</c:v>
                </c:pt>
                <c:pt idx="517">
                  <c:v>328582</c:v>
                </c:pt>
                <c:pt idx="518">
                  <c:v>327763</c:v>
                </c:pt>
                <c:pt idx="519">
                  <c:v>321895</c:v>
                </c:pt>
                <c:pt idx="520">
                  <c:v>320624</c:v>
                </c:pt>
                <c:pt idx="521">
                  <c:v>319474</c:v>
                </c:pt>
                <c:pt idx="522">
                  <c:v>319618</c:v>
                </c:pt>
                <c:pt idx="523">
                  <c:v>318945</c:v>
                </c:pt>
                <c:pt idx="524">
                  <c:v>318832</c:v>
                </c:pt>
                <c:pt idx="525">
                  <c:v>318803</c:v>
                </c:pt>
                <c:pt idx="526">
                  <c:v>320552</c:v>
                </c:pt>
                <c:pt idx="527">
                  <c:v>321681</c:v>
                </c:pt>
                <c:pt idx="528">
                  <c:v>322689</c:v>
                </c:pt>
                <c:pt idx="529">
                  <c:v>324128</c:v>
                </c:pt>
                <c:pt idx="530">
                  <c:v>325201</c:v>
                </c:pt>
                <c:pt idx="531">
                  <c:v>325183</c:v>
                </c:pt>
                <c:pt idx="532">
                  <c:v>325061</c:v>
                </c:pt>
                <c:pt idx="533">
                  <c:v>326264</c:v>
                </c:pt>
                <c:pt idx="534">
                  <c:v>330344</c:v>
                </c:pt>
                <c:pt idx="535">
                  <c:v>334445</c:v>
                </c:pt>
                <c:pt idx="536">
                  <c:v>339400</c:v>
                </c:pt>
                <c:pt idx="537">
                  <c:v>345898</c:v>
                </c:pt>
                <c:pt idx="538">
                  <c:v>346634</c:v>
                </c:pt>
                <c:pt idx="539">
                  <c:v>347781</c:v>
                </c:pt>
                <c:pt idx="540">
                  <c:v>357596</c:v>
                </c:pt>
                <c:pt idx="541">
                  <c:v>366487</c:v>
                </c:pt>
                <c:pt idx="542">
                  <c:v>373852</c:v>
                </c:pt>
                <c:pt idx="543">
                  <c:v>380682</c:v>
                </c:pt>
                <c:pt idx="544">
                  <c:v>382474</c:v>
                </c:pt>
                <c:pt idx="545">
                  <c:v>383392</c:v>
                </c:pt>
                <c:pt idx="546">
                  <c:v>384371</c:v>
                </c:pt>
                <c:pt idx="547">
                  <c:v>390345</c:v>
                </c:pt>
                <c:pt idx="548">
                  <c:v>395441</c:v>
                </c:pt>
                <c:pt idx="549">
                  <c:v>399812</c:v>
                </c:pt>
                <c:pt idx="550">
                  <c:v>403830</c:v>
                </c:pt>
                <c:pt idx="551">
                  <c:v>407177</c:v>
                </c:pt>
                <c:pt idx="552">
                  <c:v>407878</c:v>
                </c:pt>
                <c:pt idx="553">
                  <c:v>408424</c:v>
                </c:pt>
                <c:pt idx="554">
                  <c:v>411506</c:v>
                </c:pt>
                <c:pt idx="555">
                  <c:v>414979</c:v>
                </c:pt>
                <c:pt idx="556">
                  <c:v>417798</c:v>
                </c:pt>
                <c:pt idx="557">
                  <c:v>420645</c:v>
                </c:pt>
                <c:pt idx="558">
                  <c:v>423227</c:v>
                </c:pt>
                <c:pt idx="559">
                  <c:v>423578</c:v>
                </c:pt>
                <c:pt idx="560">
                  <c:v>424106</c:v>
                </c:pt>
                <c:pt idx="561">
                  <c:v>427944</c:v>
                </c:pt>
                <c:pt idx="562">
                  <c:v>430534</c:v>
                </c:pt>
                <c:pt idx="563">
                  <c:v>433356</c:v>
                </c:pt>
                <c:pt idx="564">
                  <c:v>435773</c:v>
                </c:pt>
                <c:pt idx="565">
                  <c:v>437598</c:v>
                </c:pt>
                <c:pt idx="566">
                  <c:v>437873</c:v>
                </c:pt>
                <c:pt idx="567">
                  <c:v>438059</c:v>
                </c:pt>
                <c:pt idx="568">
                  <c:v>439080</c:v>
                </c:pt>
                <c:pt idx="569">
                  <c:v>441456</c:v>
                </c:pt>
                <c:pt idx="570">
                  <c:v>444297</c:v>
                </c:pt>
                <c:pt idx="571">
                  <c:v>447002</c:v>
                </c:pt>
                <c:pt idx="572">
                  <c:v>453061</c:v>
                </c:pt>
                <c:pt idx="573">
                  <c:v>453380</c:v>
                </c:pt>
                <c:pt idx="574">
                  <c:v>453734</c:v>
                </c:pt>
                <c:pt idx="575">
                  <c:v>457908</c:v>
                </c:pt>
                <c:pt idx="576">
                  <c:v>459483</c:v>
                </c:pt>
                <c:pt idx="577">
                  <c:v>462033</c:v>
                </c:pt>
                <c:pt idx="578">
                  <c:v>464431</c:v>
                </c:pt>
                <c:pt idx="579">
                  <c:v>466145</c:v>
                </c:pt>
                <c:pt idx="580">
                  <c:v>466166</c:v>
                </c:pt>
                <c:pt idx="581">
                  <c:v>466389</c:v>
                </c:pt>
                <c:pt idx="582">
                  <c:v>469423</c:v>
                </c:pt>
                <c:pt idx="583">
                  <c:v>471942</c:v>
                </c:pt>
                <c:pt idx="584">
                  <c:v>474865</c:v>
                </c:pt>
                <c:pt idx="585">
                  <c:v>477360</c:v>
                </c:pt>
                <c:pt idx="586">
                  <c:v>480600</c:v>
                </c:pt>
                <c:pt idx="587">
                  <c:v>481356</c:v>
                </c:pt>
                <c:pt idx="588">
                  <c:v>481892</c:v>
                </c:pt>
                <c:pt idx="589">
                  <c:v>484998</c:v>
                </c:pt>
                <c:pt idx="590">
                  <c:v>488274</c:v>
                </c:pt>
                <c:pt idx="591">
                  <c:v>490893</c:v>
                </c:pt>
                <c:pt idx="592">
                  <c:v>493456</c:v>
                </c:pt>
                <c:pt idx="593">
                  <c:v>495025</c:v>
                </c:pt>
                <c:pt idx="594">
                  <c:v>495162</c:v>
                </c:pt>
                <c:pt idx="595">
                  <c:v>495508</c:v>
                </c:pt>
                <c:pt idx="596">
                  <c:v>499126</c:v>
                </c:pt>
                <c:pt idx="597">
                  <c:v>501931</c:v>
                </c:pt>
                <c:pt idx="598">
                  <c:v>504620</c:v>
                </c:pt>
                <c:pt idx="599">
                  <c:v>505759</c:v>
                </c:pt>
                <c:pt idx="600">
                  <c:v>507942</c:v>
                </c:pt>
                <c:pt idx="601">
                  <c:v>508076</c:v>
                </c:pt>
                <c:pt idx="602">
                  <c:v>508271</c:v>
                </c:pt>
                <c:pt idx="603">
                  <c:v>511575</c:v>
                </c:pt>
                <c:pt idx="604">
                  <c:v>515271</c:v>
                </c:pt>
                <c:pt idx="605">
                  <c:v>518122</c:v>
                </c:pt>
                <c:pt idx="606">
                  <c:v>520259</c:v>
                </c:pt>
                <c:pt idx="607">
                  <c:v>521465</c:v>
                </c:pt>
                <c:pt idx="608">
                  <c:v>521711</c:v>
                </c:pt>
                <c:pt idx="609">
                  <c:v>521721</c:v>
                </c:pt>
                <c:pt idx="610">
                  <c:v>524268</c:v>
                </c:pt>
                <c:pt idx="611">
                  <c:v>527138</c:v>
                </c:pt>
                <c:pt idx="612">
                  <c:v>530093</c:v>
                </c:pt>
                <c:pt idx="613">
                  <c:v>532688</c:v>
                </c:pt>
                <c:pt idx="614">
                  <c:v>533577</c:v>
                </c:pt>
                <c:pt idx="615">
                  <c:v>533533</c:v>
                </c:pt>
                <c:pt idx="616">
                  <c:v>533458</c:v>
                </c:pt>
                <c:pt idx="617">
                  <c:v>535719</c:v>
                </c:pt>
                <c:pt idx="618">
                  <c:v>537520</c:v>
                </c:pt>
                <c:pt idx="619">
                  <c:v>539186</c:v>
                </c:pt>
                <c:pt idx="620">
                  <c:v>538800</c:v>
                </c:pt>
                <c:pt idx="621">
                  <c:v>533940</c:v>
                </c:pt>
                <c:pt idx="622">
                  <c:v>533562</c:v>
                </c:pt>
                <c:pt idx="623">
                  <c:v>532796</c:v>
                </c:pt>
                <c:pt idx="624">
                  <c:v>530178</c:v>
                </c:pt>
                <c:pt idx="625">
                  <c:v>532324</c:v>
                </c:pt>
                <c:pt idx="626">
                  <c:v>534192</c:v>
                </c:pt>
                <c:pt idx="627">
                  <c:v>537297</c:v>
                </c:pt>
                <c:pt idx="628">
                  <c:v>537341</c:v>
                </c:pt>
                <c:pt idx="629">
                  <c:v>537312</c:v>
                </c:pt>
                <c:pt idx="630">
                  <c:v>537172</c:v>
                </c:pt>
                <c:pt idx="631">
                  <c:v>539049</c:v>
                </c:pt>
                <c:pt idx="632">
                  <c:v>540773</c:v>
                </c:pt>
                <c:pt idx="633">
                  <c:v>543088</c:v>
                </c:pt>
                <c:pt idx="634">
                  <c:v>544263</c:v>
                </c:pt>
                <c:pt idx="635">
                  <c:v>543378</c:v>
                </c:pt>
                <c:pt idx="636">
                  <c:v>542908</c:v>
                </c:pt>
                <c:pt idx="637">
                  <c:v>542550</c:v>
                </c:pt>
                <c:pt idx="638">
                  <c:v>538062</c:v>
                </c:pt>
                <c:pt idx="639">
                  <c:v>539511</c:v>
                </c:pt>
                <c:pt idx="640">
                  <c:v>540948</c:v>
                </c:pt>
                <c:pt idx="641">
                  <c:v>542901</c:v>
                </c:pt>
                <c:pt idx="642">
                  <c:v>543503</c:v>
                </c:pt>
                <c:pt idx="643">
                  <c:v>543338</c:v>
                </c:pt>
                <c:pt idx="644">
                  <c:v>543296</c:v>
                </c:pt>
                <c:pt idx="645">
                  <c:v>545468</c:v>
                </c:pt>
                <c:pt idx="646">
                  <c:v>548088</c:v>
                </c:pt>
                <c:pt idx="647">
                  <c:v>550099</c:v>
                </c:pt>
                <c:pt idx="648">
                  <c:v>553479</c:v>
                </c:pt>
                <c:pt idx="649">
                  <c:v>560161</c:v>
                </c:pt>
                <c:pt idx="650">
                  <c:v>560514</c:v>
                </c:pt>
                <c:pt idx="651">
                  <c:v>560834</c:v>
                </c:pt>
                <c:pt idx="652">
                  <c:v>567086</c:v>
                </c:pt>
                <c:pt idx="653">
                  <c:v>569619</c:v>
                </c:pt>
                <c:pt idx="654">
                  <c:v>571679</c:v>
                </c:pt>
                <c:pt idx="655">
                  <c:v>573678</c:v>
                </c:pt>
                <c:pt idx="656">
                  <c:v>574824</c:v>
                </c:pt>
                <c:pt idx="657">
                  <c:v>574539</c:v>
                </c:pt>
                <c:pt idx="658">
                  <c:v>574490</c:v>
                </c:pt>
                <c:pt idx="659">
                  <c:v>576771</c:v>
                </c:pt>
                <c:pt idx="660">
                  <c:v>579760</c:v>
                </c:pt>
                <c:pt idx="661">
                  <c:v>582286</c:v>
                </c:pt>
                <c:pt idx="662">
                  <c:v>582410</c:v>
                </c:pt>
                <c:pt idx="663">
                  <c:v>582848</c:v>
                </c:pt>
                <c:pt idx="664">
                  <c:v>582752</c:v>
                </c:pt>
                <c:pt idx="665">
                  <c:v>582533</c:v>
                </c:pt>
                <c:pt idx="666">
                  <c:v>584930</c:v>
                </c:pt>
                <c:pt idx="667">
                  <c:v>587053</c:v>
                </c:pt>
                <c:pt idx="668">
                  <c:v>589348</c:v>
                </c:pt>
                <c:pt idx="669">
                  <c:v>591064</c:v>
                </c:pt>
                <c:pt idx="670">
                  <c:v>592754</c:v>
                </c:pt>
                <c:pt idx="671">
                  <c:v>592493</c:v>
                </c:pt>
                <c:pt idx="672">
                  <c:v>592396</c:v>
                </c:pt>
                <c:pt idx="673">
                  <c:v>593255</c:v>
                </c:pt>
                <c:pt idx="674">
                  <c:v>595367</c:v>
                </c:pt>
                <c:pt idx="675">
                  <c:v>597657</c:v>
                </c:pt>
                <c:pt idx="676">
                  <c:v>599590</c:v>
                </c:pt>
                <c:pt idx="677">
                  <c:v>601113</c:v>
                </c:pt>
                <c:pt idx="678">
                  <c:v>600901</c:v>
                </c:pt>
                <c:pt idx="679">
                  <c:v>601036</c:v>
                </c:pt>
                <c:pt idx="680">
                  <c:v>603606</c:v>
                </c:pt>
                <c:pt idx="681">
                  <c:v>606409</c:v>
                </c:pt>
                <c:pt idx="682">
                  <c:v>608555</c:v>
                </c:pt>
                <c:pt idx="683">
                  <c:v>609296</c:v>
                </c:pt>
                <c:pt idx="684">
                  <c:v>609818</c:v>
                </c:pt>
                <c:pt idx="685">
                  <c:v>609704</c:v>
                </c:pt>
                <c:pt idx="686">
                  <c:v>609413</c:v>
                </c:pt>
                <c:pt idx="687">
                  <c:v>611360</c:v>
                </c:pt>
                <c:pt idx="688">
                  <c:v>613269</c:v>
                </c:pt>
                <c:pt idx="689">
                  <c:v>614344</c:v>
                </c:pt>
                <c:pt idx="690">
                  <c:v>617356</c:v>
                </c:pt>
                <c:pt idx="691">
                  <c:v>619053</c:v>
                </c:pt>
                <c:pt idx="692">
                  <c:v>619018</c:v>
                </c:pt>
                <c:pt idx="693">
                  <c:v>618956</c:v>
                </c:pt>
                <c:pt idx="694">
                  <c:v>621458</c:v>
                </c:pt>
                <c:pt idx="695">
                  <c:v>620403</c:v>
                </c:pt>
                <c:pt idx="696">
                  <c:v>618039</c:v>
                </c:pt>
                <c:pt idx="697">
                  <c:v>614273</c:v>
                </c:pt>
                <c:pt idx="698">
                  <c:v>610003</c:v>
                </c:pt>
                <c:pt idx="699">
                  <c:v>609577</c:v>
                </c:pt>
                <c:pt idx="700">
                  <c:v>609005</c:v>
                </c:pt>
                <c:pt idx="701">
                  <c:v>605462</c:v>
                </c:pt>
                <c:pt idx="702">
                  <c:v>598888</c:v>
                </c:pt>
                <c:pt idx="703">
                  <c:v>594742</c:v>
                </c:pt>
                <c:pt idx="704">
                  <c:v>590775</c:v>
                </c:pt>
                <c:pt idx="705">
                  <c:v>586294</c:v>
                </c:pt>
                <c:pt idx="706">
                  <c:v>585734</c:v>
                </c:pt>
                <c:pt idx="707">
                  <c:v>585245</c:v>
                </c:pt>
                <c:pt idx="708">
                  <c:v>582423</c:v>
                </c:pt>
                <c:pt idx="709">
                  <c:v>578985</c:v>
                </c:pt>
                <c:pt idx="710">
                  <c:v>575184</c:v>
                </c:pt>
                <c:pt idx="711">
                  <c:v>571581</c:v>
                </c:pt>
                <c:pt idx="712">
                  <c:v>567264</c:v>
                </c:pt>
                <c:pt idx="713">
                  <c:v>566395</c:v>
                </c:pt>
                <c:pt idx="714">
                  <c:v>565715</c:v>
                </c:pt>
                <c:pt idx="715">
                  <c:v>561130</c:v>
                </c:pt>
                <c:pt idx="716">
                  <c:v>554891</c:v>
                </c:pt>
                <c:pt idx="717">
                  <c:v>547625</c:v>
                </c:pt>
                <c:pt idx="718">
                  <c:v>538465</c:v>
                </c:pt>
                <c:pt idx="719">
                  <c:v>524690</c:v>
                </c:pt>
                <c:pt idx="720">
                  <c:v>522096</c:v>
                </c:pt>
                <c:pt idx="721">
                  <c:v>516900</c:v>
                </c:pt>
                <c:pt idx="722">
                  <c:v>518013</c:v>
                </c:pt>
                <c:pt idx="723">
                  <c:v>518719</c:v>
                </c:pt>
                <c:pt idx="724">
                  <c:v>519090</c:v>
                </c:pt>
                <c:pt idx="725">
                  <c:v>519153</c:v>
                </c:pt>
                <c:pt idx="726">
                  <c:v>517712</c:v>
                </c:pt>
                <c:pt idx="727">
                  <c:v>517211</c:v>
                </c:pt>
                <c:pt idx="728">
                  <c:v>517117</c:v>
                </c:pt>
                <c:pt idx="729">
                  <c:v>520342</c:v>
                </c:pt>
                <c:pt idx="730">
                  <c:v>524744</c:v>
                </c:pt>
                <c:pt idx="731">
                  <c:v>526728</c:v>
                </c:pt>
                <c:pt idx="732">
                  <c:v>528163</c:v>
                </c:pt>
                <c:pt idx="733">
                  <c:v>528076</c:v>
                </c:pt>
                <c:pt idx="734">
                  <c:v>527737</c:v>
                </c:pt>
                <c:pt idx="735">
                  <c:v>527396</c:v>
                </c:pt>
                <c:pt idx="736">
                  <c:v>528574</c:v>
                </c:pt>
                <c:pt idx="737">
                  <c:v>529479</c:v>
                </c:pt>
                <c:pt idx="738">
                  <c:v>528689</c:v>
                </c:pt>
                <c:pt idx="739">
                  <c:v>528528</c:v>
                </c:pt>
                <c:pt idx="740">
                  <c:v>528996</c:v>
                </c:pt>
                <c:pt idx="741">
                  <c:v>528748</c:v>
                </c:pt>
                <c:pt idx="742">
                  <c:v>528614</c:v>
                </c:pt>
                <c:pt idx="743">
                  <c:v>530355</c:v>
                </c:pt>
                <c:pt idx="744">
                  <c:v>530789</c:v>
                </c:pt>
                <c:pt idx="745">
                  <c:v>532787</c:v>
                </c:pt>
                <c:pt idx="746">
                  <c:v>534548</c:v>
                </c:pt>
                <c:pt idx="747">
                  <c:v>535419</c:v>
                </c:pt>
                <c:pt idx="748">
                  <c:v>535473</c:v>
                </c:pt>
                <c:pt idx="749">
                  <c:v>535608</c:v>
                </c:pt>
                <c:pt idx="750">
                  <c:v>537585</c:v>
                </c:pt>
                <c:pt idx="751">
                  <c:v>539487</c:v>
                </c:pt>
                <c:pt idx="752">
                  <c:v>541175</c:v>
                </c:pt>
                <c:pt idx="753">
                  <c:v>542549</c:v>
                </c:pt>
                <c:pt idx="754">
                  <c:v>543034</c:v>
                </c:pt>
                <c:pt idx="755">
                  <c:v>542960</c:v>
                </c:pt>
                <c:pt idx="756">
                  <c:v>542949</c:v>
                </c:pt>
                <c:pt idx="757">
                  <c:v>544545</c:v>
                </c:pt>
                <c:pt idx="758">
                  <c:v>546227</c:v>
                </c:pt>
                <c:pt idx="759">
                  <c:v>547446</c:v>
                </c:pt>
                <c:pt idx="760">
                  <c:v>548620</c:v>
                </c:pt>
                <c:pt idx="761">
                  <c:v>548802</c:v>
                </c:pt>
                <c:pt idx="762">
                  <c:v>548850</c:v>
                </c:pt>
                <c:pt idx="763">
                  <c:v>548836</c:v>
                </c:pt>
                <c:pt idx="764">
                  <c:v>547651</c:v>
                </c:pt>
                <c:pt idx="765">
                  <c:v>550157</c:v>
                </c:pt>
                <c:pt idx="766">
                  <c:v>552811</c:v>
                </c:pt>
                <c:pt idx="767">
                  <c:v>554300</c:v>
                </c:pt>
                <c:pt idx="768">
                  <c:v>555457</c:v>
                </c:pt>
                <c:pt idx="769">
                  <c:v>555512</c:v>
                </c:pt>
                <c:pt idx="770">
                  <c:v>555761</c:v>
                </c:pt>
                <c:pt idx="771">
                  <c:v>558985</c:v>
                </c:pt>
                <c:pt idx="772">
                  <c:v>563021</c:v>
                </c:pt>
                <c:pt idx="773">
                  <c:v>565983</c:v>
                </c:pt>
                <c:pt idx="774">
                  <c:v>567915</c:v>
                </c:pt>
                <c:pt idx="775">
                  <c:v>568878</c:v>
                </c:pt>
                <c:pt idx="776">
                  <c:v>568760</c:v>
                </c:pt>
                <c:pt idx="777">
                  <c:v>568879</c:v>
                </c:pt>
                <c:pt idx="778">
                  <c:v>571882</c:v>
                </c:pt>
                <c:pt idx="779">
                  <c:v>573557</c:v>
                </c:pt>
                <c:pt idx="780">
                  <c:v>575992</c:v>
                </c:pt>
                <c:pt idx="781">
                  <c:v>577842</c:v>
                </c:pt>
                <c:pt idx="782">
                  <c:v>579470</c:v>
                </c:pt>
                <c:pt idx="783">
                  <c:v>579555</c:v>
                </c:pt>
                <c:pt idx="784">
                  <c:v>579819</c:v>
                </c:pt>
                <c:pt idx="785">
                  <c:v>583115</c:v>
                </c:pt>
                <c:pt idx="786">
                  <c:v>585880</c:v>
                </c:pt>
                <c:pt idx="787">
                  <c:v>588212</c:v>
                </c:pt>
                <c:pt idx="788">
                  <c:v>590015</c:v>
                </c:pt>
                <c:pt idx="789">
                  <c:v>591319</c:v>
                </c:pt>
                <c:pt idx="790">
                  <c:v>591439</c:v>
                </c:pt>
                <c:pt idx="791">
                  <c:v>591725</c:v>
                </c:pt>
                <c:pt idx="792">
                  <c:v>596374</c:v>
                </c:pt>
                <c:pt idx="793">
                  <c:v>597841</c:v>
                </c:pt>
                <c:pt idx="794">
                  <c:v>599678</c:v>
                </c:pt>
                <c:pt idx="795">
                  <c:v>602586</c:v>
                </c:pt>
                <c:pt idx="796">
                  <c:v>604034</c:v>
                </c:pt>
                <c:pt idx="797">
                  <c:v>604353</c:v>
                </c:pt>
                <c:pt idx="798">
                  <c:v>604613</c:v>
                </c:pt>
                <c:pt idx="799">
                  <c:v>605914</c:v>
                </c:pt>
                <c:pt idx="800">
                  <c:v>608251</c:v>
                </c:pt>
                <c:pt idx="801">
                  <c:v>609873</c:v>
                </c:pt>
                <c:pt idx="802">
                  <c:v>610537</c:v>
                </c:pt>
                <c:pt idx="803">
                  <c:v>611230</c:v>
                </c:pt>
                <c:pt idx="804">
                  <c:v>611371</c:v>
                </c:pt>
                <c:pt idx="805">
                  <c:v>611728</c:v>
                </c:pt>
                <c:pt idx="806">
                  <c:v>613901</c:v>
                </c:pt>
                <c:pt idx="807">
                  <c:v>617104</c:v>
                </c:pt>
                <c:pt idx="808">
                  <c:v>618983</c:v>
                </c:pt>
                <c:pt idx="809">
                  <c:v>620694</c:v>
                </c:pt>
                <c:pt idx="810">
                  <c:v>622011</c:v>
                </c:pt>
                <c:pt idx="811">
                  <c:v>622246</c:v>
                </c:pt>
                <c:pt idx="812">
                  <c:v>622555</c:v>
                </c:pt>
                <c:pt idx="813">
                  <c:v>625352</c:v>
                </c:pt>
                <c:pt idx="814">
                  <c:v>627806</c:v>
                </c:pt>
                <c:pt idx="815">
                  <c:v>630229</c:v>
                </c:pt>
                <c:pt idx="816">
                  <c:v>631772</c:v>
                </c:pt>
                <c:pt idx="817">
                  <c:v>633366</c:v>
                </c:pt>
                <c:pt idx="818">
                  <c:v>633375</c:v>
                </c:pt>
                <c:pt idx="819">
                  <c:v>633894</c:v>
                </c:pt>
                <c:pt idx="820">
                  <c:v>637796</c:v>
                </c:pt>
                <c:pt idx="821">
                  <c:v>640224</c:v>
                </c:pt>
                <c:pt idx="822">
                  <c:v>641870</c:v>
                </c:pt>
                <c:pt idx="823">
                  <c:v>643000</c:v>
                </c:pt>
                <c:pt idx="824">
                  <c:v>644714</c:v>
                </c:pt>
                <c:pt idx="825">
                  <c:v>645049</c:v>
                </c:pt>
                <c:pt idx="826">
                  <c:v>645525</c:v>
                </c:pt>
                <c:pt idx="827">
                  <c:v>649276</c:v>
                </c:pt>
                <c:pt idx="828">
                  <c:v>653076</c:v>
                </c:pt>
                <c:pt idx="829">
                  <c:v>656629</c:v>
                </c:pt>
                <c:pt idx="830">
                  <c:v>660155</c:v>
                </c:pt>
                <c:pt idx="831">
                  <c:v>662497</c:v>
                </c:pt>
                <c:pt idx="832">
                  <c:v>662859</c:v>
                </c:pt>
                <c:pt idx="833">
                  <c:v>663337</c:v>
                </c:pt>
                <c:pt idx="834">
                  <c:v>667179</c:v>
                </c:pt>
                <c:pt idx="835">
                  <c:v>670725</c:v>
                </c:pt>
                <c:pt idx="836">
                  <c:v>673963</c:v>
                </c:pt>
                <c:pt idx="837">
                  <c:v>677907</c:v>
                </c:pt>
                <c:pt idx="838">
                  <c:v>680562</c:v>
                </c:pt>
                <c:pt idx="839">
                  <c:v>681071</c:v>
                </c:pt>
                <c:pt idx="840">
                  <c:v>681573</c:v>
                </c:pt>
                <c:pt idx="841">
                  <c:v>684066</c:v>
                </c:pt>
                <c:pt idx="842">
                  <c:v>686525</c:v>
                </c:pt>
                <c:pt idx="843">
                  <c:v>687253</c:v>
                </c:pt>
                <c:pt idx="844">
                  <c:v>685795</c:v>
                </c:pt>
                <c:pt idx="845">
                  <c:v>683265</c:v>
                </c:pt>
                <c:pt idx="846">
                  <c:v>683415</c:v>
                </c:pt>
                <c:pt idx="847">
                  <c:v>683631</c:v>
                </c:pt>
                <c:pt idx="848">
                  <c:v>686153</c:v>
                </c:pt>
                <c:pt idx="849">
                  <c:v>689598</c:v>
                </c:pt>
                <c:pt idx="850">
                  <c:v>693624</c:v>
                </c:pt>
                <c:pt idx="851">
                  <c:v>696204</c:v>
                </c:pt>
                <c:pt idx="852">
                  <c:v>697196</c:v>
                </c:pt>
                <c:pt idx="853">
                  <c:v>697463</c:v>
                </c:pt>
                <c:pt idx="854">
                  <c:v>697722</c:v>
                </c:pt>
                <c:pt idx="855">
                  <c:v>700244</c:v>
                </c:pt>
                <c:pt idx="856">
                  <c:v>701690</c:v>
                </c:pt>
                <c:pt idx="857">
                  <c:v>702381</c:v>
                </c:pt>
                <c:pt idx="858">
                  <c:v>703366</c:v>
                </c:pt>
                <c:pt idx="859">
                  <c:v>703089</c:v>
                </c:pt>
                <c:pt idx="860">
                  <c:v>703048</c:v>
                </c:pt>
                <c:pt idx="861">
                  <c:v>702916</c:v>
                </c:pt>
                <c:pt idx="862">
                  <c:v>703927</c:v>
                </c:pt>
                <c:pt idx="863">
                  <c:v>704656</c:v>
                </c:pt>
                <c:pt idx="864">
                  <c:v>705946</c:v>
                </c:pt>
                <c:pt idx="865">
                  <c:v>705818</c:v>
                </c:pt>
                <c:pt idx="866">
                  <c:v>705011</c:v>
                </c:pt>
                <c:pt idx="867">
                  <c:v>704828</c:v>
                </c:pt>
                <c:pt idx="868">
                  <c:v>704709</c:v>
                </c:pt>
                <c:pt idx="869">
                  <c:v>705877</c:v>
                </c:pt>
                <c:pt idx="870">
                  <c:v>705415</c:v>
                </c:pt>
                <c:pt idx="871">
                  <c:v>705837</c:v>
                </c:pt>
                <c:pt idx="872">
                  <c:v>707473</c:v>
                </c:pt>
                <c:pt idx="873">
                  <c:v>705933</c:v>
                </c:pt>
                <c:pt idx="874">
                  <c:v>705376</c:v>
                </c:pt>
                <c:pt idx="875">
                  <c:v>704155</c:v>
                </c:pt>
                <c:pt idx="876">
                  <c:v>690397</c:v>
                </c:pt>
                <c:pt idx="877">
                  <c:v>677812</c:v>
                </c:pt>
                <c:pt idx="878">
                  <c:v>667122</c:v>
                </c:pt>
                <c:pt idx="879">
                  <c:v>656631</c:v>
                </c:pt>
                <c:pt idx="880">
                  <c:v>646077</c:v>
                </c:pt>
                <c:pt idx="881">
                  <c:v>644753</c:v>
                </c:pt>
                <c:pt idx="882">
                  <c:v>677082</c:v>
                </c:pt>
                <c:pt idx="883">
                  <c:v>671684</c:v>
                </c:pt>
                <c:pt idx="884">
                  <c:v>763433</c:v>
                </c:pt>
                <c:pt idx="885">
                  <c:v>815075</c:v>
                </c:pt>
                <c:pt idx="886">
                  <c:v>847605</c:v>
                </c:pt>
                <c:pt idx="887">
                  <c:v>869940</c:v>
                </c:pt>
                <c:pt idx="888">
                  <c:v>872402</c:v>
                </c:pt>
                <c:pt idx="889">
                  <c:v>876581</c:v>
                </c:pt>
                <c:pt idx="890">
                  <c:v>906805</c:v>
                </c:pt>
                <c:pt idx="891">
                  <c:v>930133</c:v>
                </c:pt>
                <c:pt idx="892">
                  <c:v>944371</c:v>
                </c:pt>
                <c:pt idx="893">
                  <c:v>953062</c:v>
                </c:pt>
                <c:pt idx="894">
                  <c:v>958020</c:v>
                </c:pt>
                <c:pt idx="895">
                  <c:v>958699</c:v>
                </c:pt>
                <c:pt idx="896">
                  <c:v>959671</c:v>
                </c:pt>
                <c:pt idx="897">
                  <c:v>959691</c:v>
                </c:pt>
                <c:pt idx="898">
                  <c:v>958640</c:v>
                </c:pt>
                <c:pt idx="899">
                  <c:v>953693</c:v>
                </c:pt>
                <c:pt idx="900">
                  <c:v>944996</c:v>
                </c:pt>
                <c:pt idx="901">
                  <c:v>939387</c:v>
                </c:pt>
                <c:pt idx="902">
                  <c:v>939852</c:v>
                </c:pt>
                <c:pt idx="903">
                  <c:v>941278</c:v>
                </c:pt>
                <c:pt idx="904">
                  <c:v>966252</c:v>
                </c:pt>
                <c:pt idx="905">
                  <c:v>983369</c:v>
                </c:pt>
                <c:pt idx="906">
                  <c:v>987761</c:v>
                </c:pt>
                <c:pt idx="907">
                  <c:v>983631</c:v>
                </c:pt>
                <c:pt idx="908">
                  <c:v>966292</c:v>
                </c:pt>
                <c:pt idx="909">
                  <c:v>956100</c:v>
                </c:pt>
                <c:pt idx="910">
                  <c:v>958100</c:v>
                </c:pt>
                <c:pt idx="911">
                  <c:v>981949</c:v>
                </c:pt>
                <c:pt idx="912">
                  <c:v>994831</c:v>
                </c:pt>
                <c:pt idx="913">
                  <c:v>1004072</c:v>
                </c:pt>
                <c:pt idx="914">
                  <c:v>1013337</c:v>
                </c:pt>
                <c:pt idx="915">
                  <c:v>1020145</c:v>
                </c:pt>
                <c:pt idx="916">
                  <c:v>1021127</c:v>
                </c:pt>
                <c:pt idx="917">
                  <c:v>1022140</c:v>
                </c:pt>
                <c:pt idx="918">
                  <c:v>1029552</c:v>
                </c:pt>
                <c:pt idx="919">
                  <c:v>1036118</c:v>
                </c:pt>
                <c:pt idx="920">
                  <c:v>1042271</c:v>
                </c:pt>
                <c:pt idx="921">
                  <c:v>1048645</c:v>
                </c:pt>
                <c:pt idx="922">
                  <c:v>1052522</c:v>
                </c:pt>
                <c:pt idx="923">
                  <c:v>1052754</c:v>
                </c:pt>
                <c:pt idx="924">
                  <c:v>1053575</c:v>
                </c:pt>
                <c:pt idx="925">
                  <c:v>1060485</c:v>
                </c:pt>
                <c:pt idx="926">
                  <c:v>1065492</c:v>
                </c:pt>
                <c:pt idx="927">
                  <c:v>1175221</c:v>
                </c:pt>
                <c:pt idx="928">
                  <c:v>1219747</c:v>
                </c:pt>
                <c:pt idx="929">
                  <c:v>1242636</c:v>
                </c:pt>
                <c:pt idx="930">
                  <c:v>1244046</c:v>
                </c:pt>
                <c:pt idx="931">
                  <c:v>1168197</c:v>
                </c:pt>
                <c:pt idx="932">
                  <c:v>1266109</c:v>
                </c:pt>
                <c:pt idx="933">
                  <c:v>1283839</c:v>
                </c:pt>
                <c:pt idx="934">
                  <c:v>1295443</c:v>
                </c:pt>
                <c:pt idx="935">
                  <c:v>1302158</c:v>
                </c:pt>
                <c:pt idx="936">
                  <c:v>1306041</c:v>
                </c:pt>
                <c:pt idx="937">
                  <c:v>1305868</c:v>
                </c:pt>
                <c:pt idx="938">
                  <c:v>1305876</c:v>
                </c:pt>
                <c:pt idx="939">
                  <c:v>1311036</c:v>
                </c:pt>
                <c:pt idx="940">
                  <c:v>1311633</c:v>
                </c:pt>
                <c:pt idx="941">
                  <c:v>1307757</c:v>
                </c:pt>
                <c:pt idx="942">
                  <c:v>1298787</c:v>
                </c:pt>
                <c:pt idx="943">
                  <c:v>1286445</c:v>
                </c:pt>
                <c:pt idx="944">
                  <c:v>1284186</c:v>
                </c:pt>
                <c:pt idx="945">
                  <c:v>1282187</c:v>
                </c:pt>
                <c:pt idx="946">
                  <c:v>1270518</c:v>
                </c:pt>
                <c:pt idx="947">
                  <c:v>1252560</c:v>
                </c:pt>
                <c:pt idx="948">
                  <c:v>1228277</c:v>
                </c:pt>
                <c:pt idx="949">
                  <c:v>1194403</c:v>
                </c:pt>
                <c:pt idx="950">
                  <c:v>1148641</c:v>
                </c:pt>
                <c:pt idx="951">
                  <c:v>1104086</c:v>
                </c:pt>
                <c:pt idx="952">
                  <c:v>1133990</c:v>
                </c:pt>
                <c:pt idx="953">
                  <c:v>1075277</c:v>
                </c:pt>
                <c:pt idx="954">
                  <c:v>877334</c:v>
                </c:pt>
                <c:pt idx="955">
                  <c:v>881508</c:v>
                </c:pt>
                <c:pt idx="956">
                  <c:v>884838</c:v>
                </c:pt>
                <c:pt idx="957">
                  <c:v>887841</c:v>
                </c:pt>
                <c:pt idx="958">
                  <c:v>888328</c:v>
                </c:pt>
                <c:pt idx="959">
                  <c:v>888813</c:v>
                </c:pt>
                <c:pt idx="960">
                  <c:v>895113</c:v>
                </c:pt>
                <c:pt idx="961">
                  <c:v>899857</c:v>
                </c:pt>
                <c:pt idx="962">
                  <c:v>904061</c:v>
                </c:pt>
                <c:pt idx="963">
                  <c:v>907729</c:v>
                </c:pt>
                <c:pt idx="964">
                  <c:v>909597</c:v>
                </c:pt>
                <c:pt idx="965">
                  <c:v>909548</c:v>
                </c:pt>
                <c:pt idx="966">
                  <c:v>909747</c:v>
                </c:pt>
                <c:pt idx="967">
                  <c:v>912464</c:v>
                </c:pt>
                <c:pt idx="968">
                  <c:v>915777</c:v>
                </c:pt>
                <c:pt idx="969">
                  <c:v>918104</c:v>
                </c:pt>
                <c:pt idx="970">
                  <c:v>917152</c:v>
                </c:pt>
                <c:pt idx="971">
                  <c:v>910690</c:v>
                </c:pt>
                <c:pt idx="972">
                  <c:v>910118</c:v>
                </c:pt>
                <c:pt idx="973">
                  <c:v>909206</c:v>
                </c:pt>
                <c:pt idx="974">
                  <c:v>904323</c:v>
                </c:pt>
                <c:pt idx="975">
                  <c:v>907084</c:v>
                </c:pt>
                <c:pt idx="976">
                  <c:v>909686</c:v>
                </c:pt>
                <c:pt idx="977">
                  <c:v>912317</c:v>
                </c:pt>
                <c:pt idx="978">
                  <c:v>912927</c:v>
                </c:pt>
                <c:pt idx="979">
                  <c:v>912728</c:v>
                </c:pt>
                <c:pt idx="980">
                  <c:v>912990</c:v>
                </c:pt>
                <c:pt idx="981">
                  <c:v>917110</c:v>
                </c:pt>
                <c:pt idx="982">
                  <c:v>921787</c:v>
                </c:pt>
                <c:pt idx="983">
                  <c:v>924974</c:v>
                </c:pt>
                <c:pt idx="984">
                  <c:v>928192</c:v>
                </c:pt>
                <c:pt idx="985">
                  <c:v>930077</c:v>
                </c:pt>
                <c:pt idx="986">
                  <c:v>929883</c:v>
                </c:pt>
                <c:pt idx="987">
                  <c:v>929809</c:v>
                </c:pt>
                <c:pt idx="988">
                  <c:v>933468</c:v>
                </c:pt>
                <c:pt idx="989">
                  <c:v>936893</c:v>
                </c:pt>
                <c:pt idx="990">
                  <c:v>939936</c:v>
                </c:pt>
                <c:pt idx="991">
                  <c:v>942291</c:v>
                </c:pt>
                <c:pt idx="992">
                  <c:v>944052</c:v>
                </c:pt>
                <c:pt idx="993">
                  <c:v>944023</c:v>
                </c:pt>
                <c:pt idx="994">
                  <c:v>943906</c:v>
                </c:pt>
                <c:pt idx="995">
                  <c:v>947751</c:v>
                </c:pt>
                <c:pt idx="996">
                  <c:v>950645</c:v>
                </c:pt>
                <c:pt idx="997">
                  <c:v>952587</c:v>
                </c:pt>
                <c:pt idx="998">
                  <c:v>957496</c:v>
                </c:pt>
                <c:pt idx="999">
                  <c:v>965730</c:v>
                </c:pt>
                <c:pt idx="1000">
                  <c:v>966228</c:v>
                </c:pt>
                <c:pt idx="1001">
                  <c:v>966751</c:v>
                </c:pt>
                <c:pt idx="1002">
                  <c:v>971834</c:v>
                </c:pt>
                <c:pt idx="1003">
                  <c:v>967548</c:v>
                </c:pt>
                <c:pt idx="1004">
                  <c:v>949041</c:v>
                </c:pt>
                <c:pt idx="1005">
                  <c:v>956021</c:v>
                </c:pt>
                <c:pt idx="1006">
                  <c:v>959577</c:v>
                </c:pt>
                <c:pt idx="1007">
                  <c:v>959898</c:v>
                </c:pt>
                <c:pt idx="1008">
                  <c:v>959853</c:v>
                </c:pt>
                <c:pt idx="1009">
                  <c:v>961611</c:v>
                </c:pt>
                <c:pt idx="1010">
                  <c:v>942095</c:v>
                </c:pt>
                <c:pt idx="1011">
                  <c:v>948851</c:v>
                </c:pt>
                <c:pt idx="1012">
                  <c:v>949013</c:v>
                </c:pt>
                <c:pt idx="1013">
                  <c:v>949781</c:v>
                </c:pt>
                <c:pt idx="1014">
                  <c:v>950075</c:v>
                </c:pt>
                <c:pt idx="1015">
                  <c:v>950076</c:v>
                </c:pt>
                <c:pt idx="1016">
                  <c:v>954192</c:v>
                </c:pt>
                <c:pt idx="1017">
                  <c:v>958172</c:v>
                </c:pt>
                <c:pt idx="1018">
                  <c:v>961584</c:v>
                </c:pt>
                <c:pt idx="1019">
                  <c:v>965137</c:v>
                </c:pt>
                <c:pt idx="1020">
                  <c:v>966219</c:v>
                </c:pt>
                <c:pt idx="1021">
                  <c:v>966074</c:v>
                </c:pt>
                <c:pt idx="1022">
                  <c:v>965756</c:v>
                </c:pt>
                <c:pt idx="1023">
                  <c:v>965099</c:v>
                </c:pt>
                <c:pt idx="1024">
                  <c:v>968441</c:v>
                </c:pt>
                <c:pt idx="1025">
                  <c:v>972606</c:v>
                </c:pt>
                <c:pt idx="1026">
                  <c:v>974891</c:v>
                </c:pt>
                <c:pt idx="1027">
                  <c:v>975111</c:v>
                </c:pt>
                <c:pt idx="1028">
                  <c:v>974606</c:v>
                </c:pt>
                <c:pt idx="1029">
                  <c:v>974446</c:v>
                </c:pt>
                <c:pt idx="1030">
                  <c:v>971580</c:v>
                </c:pt>
                <c:pt idx="1031">
                  <c:v>978510</c:v>
                </c:pt>
                <c:pt idx="1032">
                  <c:v>1002788</c:v>
                </c:pt>
                <c:pt idx="1033">
                  <c:v>1003677</c:v>
                </c:pt>
                <c:pt idx="1034">
                  <c:v>1004466</c:v>
                </c:pt>
                <c:pt idx="1035">
                  <c:v>1004381</c:v>
                </c:pt>
                <c:pt idx="1036">
                  <c:v>1004349</c:v>
                </c:pt>
                <c:pt idx="1037">
                  <c:v>1008217</c:v>
                </c:pt>
                <c:pt idx="1038">
                  <c:v>1033527</c:v>
                </c:pt>
                <c:pt idx="1039">
                  <c:v>1037643</c:v>
                </c:pt>
                <c:pt idx="1040">
                  <c:v>1044190</c:v>
                </c:pt>
                <c:pt idx="1041">
                  <c:v>1047778</c:v>
                </c:pt>
                <c:pt idx="1042">
                  <c:v>1047901</c:v>
                </c:pt>
                <c:pt idx="1043">
                  <c:v>1048001</c:v>
                </c:pt>
                <c:pt idx="1044">
                  <c:v>1050726</c:v>
                </c:pt>
                <c:pt idx="1045">
                  <c:v>1054134</c:v>
                </c:pt>
                <c:pt idx="1046">
                  <c:v>1056683</c:v>
                </c:pt>
                <c:pt idx="1047">
                  <c:v>1058565</c:v>
                </c:pt>
                <c:pt idx="1048">
                  <c:v>1059159</c:v>
                </c:pt>
                <c:pt idx="1049">
                  <c:v>1059154</c:v>
                </c:pt>
                <c:pt idx="1050">
                  <c:v>1059139</c:v>
                </c:pt>
                <c:pt idx="1051">
                  <c:v>1065163</c:v>
                </c:pt>
                <c:pt idx="1052">
                  <c:v>1068920</c:v>
                </c:pt>
                <c:pt idx="1053">
                  <c:v>1071612</c:v>
                </c:pt>
                <c:pt idx="1054">
                  <c:v>1074188</c:v>
                </c:pt>
                <c:pt idx="1055">
                  <c:v>1076615</c:v>
                </c:pt>
                <c:pt idx="1056">
                  <c:v>1076707</c:v>
                </c:pt>
                <c:pt idx="1057">
                  <c:v>1076911</c:v>
                </c:pt>
                <c:pt idx="1058">
                  <c:v>1087786</c:v>
                </c:pt>
                <c:pt idx="1059">
                  <c:v>1092490</c:v>
                </c:pt>
                <c:pt idx="1060">
                  <c:v>1092948</c:v>
                </c:pt>
                <c:pt idx="1061">
                  <c:v>1095561</c:v>
                </c:pt>
                <c:pt idx="1062">
                  <c:v>1095964</c:v>
                </c:pt>
                <c:pt idx="1063">
                  <c:v>1095824</c:v>
                </c:pt>
                <c:pt idx="1064">
                  <c:v>1095709</c:v>
                </c:pt>
                <c:pt idx="1065">
                  <c:v>1095781</c:v>
                </c:pt>
                <c:pt idx="1066">
                  <c:v>1095019</c:v>
                </c:pt>
                <c:pt idx="1067">
                  <c:v>1089958</c:v>
                </c:pt>
                <c:pt idx="1068">
                  <c:v>1089513</c:v>
                </c:pt>
                <c:pt idx="1069">
                  <c:v>1088085</c:v>
                </c:pt>
                <c:pt idx="1070">
                  <c:v>1087560</c:v>
                </c:pt>
                <c:pt idx="1071">
                  <c:v>1087574</c:v>
                </c:pt>
                <c:pt idx="1072">
                  <c:v>1090289</c:v>
                </c:pt>
                <c:pt idx="1073">
                  <c:v>1092549</c:v>
                </c:pt>
                <c:pt idx="1074">
                  <c:v>1094046</c:v>
                </c:pt>
                <c:pt idx="1075">
                  <c:v>1096335</c:v>
                </c:pt>
                <c:pt idx="1076">
                  <c:v>1097497</c:v>
                </c:pt>
                <c:pt idx="1077">
                  <c:v>1097425</c:v>
                </c:pt>
                <c:pt idx="1078">
                  <c:v>1097471</c:v>
                </c:pt>
                <c:pt idx="1079">
                  <c:v>1099604</c:v>
                </c:pt>
                <c:pt idx="1080">
                  <c:v>1101384</c:v>
                </c:pt>
                <c:pt idx="1081">
                  <c:v>1102108</c:v>
                </c:pt>
                <c:pt idx="1082">
                  <c:v>1102509</c:v>
                </c:pt>
                <c:pt idx="1083">
                  <c:v>1102178</c:v>
                </c:pt>
                <c:pt idx="1084">
                  <c:v>1102065</c:v>
                </c:pt>
                <c:pt idx="1085">
                  <c:v>1081602</c:v>
                </c:pt>
                <c:pt idx="1086">
                  <c:v>1085129</c:v>
                </c:pt>
                <c:pt idx="1087">
                  <c:v>1085647</c:v>
                </c:pt>
                <c:pt idx="1088">
                  <c:v>1084743</c:v>
                </c:pt>
                <c:pt idx="1089">
                  <c:v>1084477</c:v>
                </c:pt>
                <c:pt idx="1090">
                  <c:v>1084422</c:v>
                </c:pt>
                <c:pt idx="1091">
                  <c:v>1088648</c:v>
                </c:pt>
                <c:pt idx="1092">
                  <c:v>1092647</c:v>
                </c:pt>
                <c:pt idx="1093">
                  <c:v>1101035</c:v>
                </c:pt>
                <c:pt idx="1094">
                  <c:v>1104390</c:v>
                </c:pt>
                <c:pt idx="1095">
                  <c:v>1105358</c:v>
                </c:pt>
                <c:pt idx="1096">
                  <c:v>1105445</c:v>
                </c:pt>
                <c:pt idx="1097">
                  <c:v>1105855</c:v>
                </c:pt>
                <c:pt idx="1098">
                  <c:v>1109909</c:v>
                </c:pt>
                <c:pt idx="1099">
                  <c:v>1114051</c:v>
                </c:pt>
                <c:pt idx="1100">
                  <c:v>1117208</c:v>
                </c:pt>
                <c:pt idx="1101">
                  <c:v>1119187</c:v>
                </c:pt>
                <c:pt idx="1102">
                  <c:v>1119499</c:v>
                </c:pt>
                <c:pt idx="1103">
                  <c:v>1119935</c:v>
                </c:pt>
                <c:pt idx="1104">
                  <c:v>1120301</c:v>
                </c:pt>
                <c:pt idx="1105">
                  <c:v>1126502</c:v>
                </c:pt>
                <c:pt idx="1106">
                  <c:v>1130998</c:v>
                </c:pt>
                <c:pt idx="1107">
                  <c:v>1131927</c:v>
                </c:pt>
                <c:pt idx="1108">
                  <c:v>1133697</c:v>
                </c:pt>
                <c:pt idx="1109">
                  <c:v>1133278</c:v>
                </c:pt>
                <c:pt idx="1110">
                  <c:v>1132706</c:v>
                </c:pt>
                <c:pt idx="1111">
                  <c:v>1136003</c:v>
                </c:pt>
                <c:pt idx="1112">
                  <c:v>1164310</c:v>
                </c:pt>
                <c:pt idx="1113">
                  <c:v>1167597</c:v>
                </c:pt>
                <c:pt idx="1114">
                  <c:v>1172366</c:v>
                </c:pt>
                <c:pt idx="1115">
                  <c:v>1177546</c:v>
                </c:pt>
                <c:pt idx="1116">
                  <c:v>1180913</c:v>
                </c:pt>
                <c:pt idx="1117">
                  <c:v>1181217</c:v>
                </c:pt>
                <c:pt idx="1118">
                  <c:v>1181636</c:v>
                </c:pt>
                <c:pt idx="1119">
                  <c:v>1186635</c:v>
                </c:pt>
                <c:pt idx="1120">
                  <c:v>1193513</c:v>
                </c:pt>
                <c:pt idx="1121">
                  <c:v>1198655</c:v>
                </c:pt>
                <c:pt idx="1122">
                  <c:v>1202646</c:v>
                </c:pt>
                <c:pt idx="1123">
                  <c:v>1204323</c:v>
                </c:pt>
                <c:pt idx="1124">
                  <c:v>1204876</c:v>
                </c:pt>
                <c:pt idx="1125">
                  <c:v>1205032</c:v>
                </c:pt>
                <c:pt idx="1126">
                  <c:v>1204130</c:v>
                </c:pt>
                <c:pt idx="1127">
                  <c:v>1210099</c:v>
                </c:pt>
                <c:pt idx="1128">
                  <c:v>1210612</c:v>
                </c:pt>
                <c:pt idx="1129">
                  <c:v>1218290</c:v>
                </c:pt>
                <c:pt idx="1130">
                  <c:v>1223106</c:v>
                </c:pt>
                <c:pt idx="1131">
                  <c:v>1223689</c:v>
                </c:pt>
                <c:pt idx="1132">
                  <c:v>1224331</c:v>
                </c:pt>
                <c:pt idx="1133">
                  <c:v>1232677</c:v>
                </c:pt>
                <c:pt idx="1134">
                  <c:v>1239533</c:v>
                </c:pt>
                <c:pt idx="1135">
                  <c:v>1248411</c:v>
                </c:pt>
                <c:pt idx="1136">
                  <c:v>1254982</c:v>
                </c:pt>
                <c:pt idx="1137">
                  <c:v>1260694</c:v>
                </c:pt>
                <c:pt idx="1138">
                  <c:v>1261186</c:v>
                </c:pt>
                <c:pt idx="1139">
                  <c:v>1261934</c:v>
                </c:pt>
                <c:pt idx="1140">
                  <c:v>1269459</c:v>
                </c:pt>
                <c:pt idx="1141">
                  <c:v>1278307</c:v>
                </c:pt>
                <c:pt idx="1142">
                  <c:v>1283710</c:v>
                </c:pt>
                <c:pt idx="1143">
                  <c:v>1285438</c:v>
                </c:pt>
                <c:pt idx="1144">
                  <c:v>1290941</c:v>
                </c:pt>
                <c:pt idx="1145">
                  <c:v>1291560</c:v>
                </c:pt>
                <c:pt idx="1146">
                  <c:v>1292519</c:v>
                </c:pt>
                <c:pt idx="1147">
                  <c:v>1298925</c:v>
                </c:pt>
                <c:pt idx="1148">
                  <c:v>1306811</c:v>
                </c:pt>
                <c:pt idx="1149">
                  <c:v>1313034</c:v>
                </c:pt>
                <c:pt idx="1150">
                  <c:v>1319313</c:v>
                </c:pt>
                <c:pt idx="1151">
                  <c:v>1324296</c:v>
                </c:pt>
                <c:pt idx="1152">
                  <c:v>1325112</c:v>
                </c:pt>
                <c:pt idx="1153">
                  <c:v>1325617</c:v>
                </c:pt>
                <c:pt idx="1154">
                  <c:v>1336456</c:v>
                </c:pt>
                <c:pt idx="1155">
                  <c:v>1340138</c:v>
                </c:pt>
                <c:pt idx="1156">
                  <c:v>1349760</c:v>
                </c:pt>
                <c:pt idx="1157">
                  <c:v>1359762</c:v>
                </c:pt>
                <c:pt idx="1158">
                  <c:v>1365634</c:v>
                </c:pt>
                <c:pt idx="1159">
                  <c:v>1365894</c:v>
                </c:pt>
                <c:pt idx="1160">
                  <c:v>1366689</c:v>
                </c:pt>
                <c:pt idx="1161">
                  <c:v>1371938</c:v>
                </c:pt>
                <c:pt idx="1162">
                  <c:v>1381762</c:v>
                </c:pt>
                <c:pt idx="1163">
                  <c:v>1389806</c:v>
                </c:pt>
                <c:pt idx="1164">
                  <c:v>1396629</c:v>
                </c:pt>
                <c:pt idx="1165">
                  <c:v>1400041</c:v>
                </c:pt>
                <c:pt idx="1166">
                  <c:v>1400246</c:v>
                </c:pt>
                <c:pt idx="1167">
                  <c:v>1401311</c:v>
                </c:pt>
                <c:pt idx="1168">
                  <c:v>1409151</c:v>
                </c:pt>
                <c:pt idx="1169">
                  <c:v>1417481</c:v>
                </c:pt>
                <c:pt idx="1170">
                  <c:v>1425868</c:v>
                </c:pt>
                <c:pt idx="1171">
                  <c:v>1434525</c:v>
                </c:pt>
                <c:pt idx="1172">
                  <c:v>1437168</c:v>
                </c:pt>
                <c:pt idx="1173">
                  <c:v>1437258</c:v>
                </c:pt>
                <c:pt idx="1174">
                  <c:v>1437828</c:v>
                </c:pt>
                <c:pt idx="1175">
                  <c:v>1445945</c:v>
                </c:pt>
                <c:pt idx="1176">
                  <c:v>1451678</c:v>
                </c:pt>
                <c:pt idx="1177">
                  <c:v>1457201</c:v>
                </c:pt>
                <c:pt idx="1178">
                  <c:v>1463060</c:v>
                </c:pt>
                <c:pt idx="1179">
                  <c:v>1466344</c:v>
                </c:pt>
                <c:pt idx="1180">
                  <c:v>1466296</c:v>
                </c:pt>
                <c:pt idx="1181">
                  <c:v>1466706</c:v>
                </c:pt>
                <c:pt idx="1182">
                  <c:v>1474172</c:v>
                </c:pt>
                <c:pt idx="1183">
                  <c:v>1482387</c:v>
                </c:pt>
                <c:pt idx="1184">
                  <c:v>1487576</c:v>
                </c:pt>
                <c:pt idx="1185">
                  <c:v>1488136</c:v>
                </c:pt>
                <c:pt idx="1186">
                  <c:v>1487478</c:v>
                </c:pt>
                <c:pt idx="1187">
                  <c:v>1487580</c:v>
                </c:pt>
                <c:pt idx="1188">
                  <c:v>1487755</c:v>
                </c:pt>
                <c:pt idx="1189">
                  <c:v>1496765</c:v>
                </c:pt>
                <c:pt idx="1190">
                  <c:v>1501394</c:v>
                </c:pt>
                <c:pt idx="1191">
                  <c:v>1506437</c:v>
                </c:pt>
                <c:pt idx="1192">
                  <c:v>1511133</c:v>
                </c:pt>
                <c:pt idx="1193">
                  <c:v>1515892</c:v>
                </c:pt>
                <c:pt idx="1194">
                  <c:v>1516605</c:v>
                </c:pt>
                <c:pt idx="1195">
                  <c:v>1517009</c:v>
                </c:pt>
                <c:pt idx="1196">
                  <c:v>1522107</c:v>
                </c:pt>
                <c:pt idx="1197">
                  <c:v>1528232</c:v>
                </c:pt>
                <c:pt idx="1198">
                  <c:v>1534500</c:v>
                </c:pt>
                <c:pt idx="1199">
                  <c:v>1540015</c:v>
                </c:pt>
                <c:pt idx="1200">
                  <c:v>1544587</c:v>
                </c:pt>
                <c:pt idx="1201">
                  <c:v>1545280</c:v>
                </c:pt>
                <c:pt idx="1202">
                  <c:v>1545789</c:v>
                </c:pt>
                <c:pt idx="1203">
                  <c:v>1550197</c:v>
                </c:pt>
                <c:pt idx="1204">
                  <c:v>1554360</c:v>
                </c:pt>
                <c:pt idx="1205">
                  <c:v>1555746</c:v>
                </c:pt>
                <c:pt idx="1206">
                  <c:v>1551616</c:v>
                </c:pt>
                <c:pt idx="1207">
                  <c:v>1546475</c:v>
                </c:pt>
                <c:pt idx="1208">
                  <c:v>1546434</c:v>
                </c:pt>
                <c:pt idx="1209">
                  <c:v>1546726</c:v>
                </c:pt>
                <c:pt idx="1210">
                  <c:v>1553061</c:v>
                </c:pt>
                <c:pt idx="1211">
                  <c:v>1558650</c:v>
                </c:pt>
                <c:pt idx="1212">
                  <c:v>1564781</c:v>
                </c:pt>
                <c:pt idx="1213">
                  <c:v>1572618</c:v>
                </c:pt>
                <c:pt idx="1214">
                  <c:v>1578006</c:v>
                </c:pt>
                <c:pt idx="1215">
                  <c:v>1578680</c:v>
                </c:pt>
                <c:pt idx="1216">
                  <c:v>1578863</c:v>
                </c:pt>
                <c:pt idx="1217">
                  <c:v>1584321</c:v>
                </c:pt>
                <c:pt idx="1218">
                  <c:v>1590527</c:v>
                </c:pt>
                <c:pt idx="1219">
                  <c:v>1595789</c:v>
                </c:pt>
                <c:pt idx="1220">
                  <c:v>1594851</c:v>
                </c:pt>
                <c:pt idx="1221">
                  <c:v>1595663</c:v>
                </c:pt>
                <c:pt idx="1222">
                  <c:v>1595605</c:v>
                </c:pt>
                <c:pt idx="1223">
                  <c:v>1595834</c:v>
                </c:pt>
                <c:pt idx="1224">
                  <c:v>1601623</c:v>
                </c:pt>
                <c:pt idx="1225">
                  <c:v>1605276</c:v>
                </c:pt>
                <c:pt idx="1226">
                  <c:v>1608093</c:v>
                </c:pt>
                <c:pt idx="1227">
                  <c:v>1611042</c:v>
                </c:pt>
                <c:pt idx="1228">
                  <c:v>1611258</c:v>
                </c:pt>
                <c:pt idx="1229">
                  <c:v>1611126</c:v>
                </c:pt>
                <c:pt idx="1230">
                  <c:v>1610970</c:v>
                </c:pt>
                <c:pt idx="1231">
                  <c:v>1614022</c:v>
                </c:pt>
                <c:pt idx="1232">
                  <c:v>1617006</c:v>
                </c:pt>
                <c:pt idx="1233">
                  <c:v>1620840</c:v>
                </c:pt>
                <c:pt idx="1234">
                  <c:v>1626547</c:v>
                </c:pt>
                <c:pt idx="1235">
                  <c:v>1627623</c:v>
                </c:pt>
                <c:pt idx="1236">
                  <c:v>1627110</c:v>
                </c:pt>
                <c:pt idx="1237">
                  <c:v>1625507</c:v>
                </c:pt>
                <c:pt idx="1238">
                  <c:v>1600710</c:v>
                </c:pt>
                <c:pt idx="1239">
                  <c:v>1569624</c:v>
                </c:pt>
                <c:pt idx="1240">
                  <c:v>1545016</c:v>
                </c:pt>
                <c:pt idx="1241">
                  <c:v>1523749</c:v>
                </c:pt>
                <c:pt idx="1242">
                  <c:v>1505492</c:v>
                </c:pt>
                <c:pt idx="1243">
                  <c:v>1503746</c:v>
                </c:pt>
                <c:pt idx="1244">
                  <c:v>1501418</c:v>
                </c:pt>
                <c:pt idx="1245">
                  <c:v>1470993</c:v>
                </c:pt>
                <c:pt idx="1246">
                  <c:v>1432708</c:v>
                </c:pt>
                <c:pt idx="1247">
                  <c:v>1421539</c:v>
                </c:pt>
                <c:pt idx="1248">
                  <c:v>1420700</c:v>
                </c:pt>
                <c:pt idx="1249">
                  <c:v>1417163</c:v>
                </c:pt>
                <c:pt idx="1250">
                  <c:v>1416412</c:v>
                </c:pt>
                <c:pt idx="1251">
                  <c:v>1415874</c:v>
                </c:pt>
                <c:pt idx="1252">
                  <c:v>1420470</c:v>
                </c:pt>
                <c:pt idx="1253">
                  <c:v>1427314</c:v>
                </c:pt>
                <c:pt idx="1254">
                  <c:v>1433041</c:v>
                </c:pt>
                <c:pt idx="1255">
                  <c:v>1438260</c:v>
                </c:pt>
                <c:pt idx="1256">
                  <c:v>1443931</c:v>
                </c:pt>
                <c:pt idx="1257">
                  <c:v>1443985</c:v>
                </c:pt>
                <c:pt idx="1258">
                  <c:v>1444202</c:v>
                </c:pt>
                <c:pt idx="1259">
                  <c:v>1454429</c:v>
                </c:pt>
                <c:pt idx="1260">
                  <c:v>1462645</c:v>
                </c:pt>
                <c:pt idx="1261">
                  <c:v>1473210</c:v>
                </c:pt>
                <c:pt idx="1262">
                  <c:v>1484790</c:v>
                </c:pt>
                <c:pt idx="1263">
                  <c:v>1498164</c:v>
                </c:pt>
                <c:pt idx="1264">
                  <c:v>1499887</c:v>
                </c:pt>
                <c:pt idx="1265">
                  <c:v>1502679</c:v>
                </c:pt>
                <c:pt idx="1266">
                  <c:v>1536370</c:v>
                </c:pt>
                <c:pt idx="1267">
                  <c:v>1579079</c:v>
                </c:pt>
                <c:pt idx="1268">
                  <c:v>1613120</c:v>
                </c:pt>
                <c:pt idx="1269">
                  <c:v>1641161</c:v>
                </c:pt>
                <c:pt idx="1270">
                  <c:v>1663208</c:v>
                </c:pt>
                <c:pt idx="1271">
                  <c:v>1664664</c:v>
                </c:pt>
                <c:pt idx="1272">
                  <c:v>1666772</c:v>
                </c:pt>
                <c:pt idx="1273">
                  <c:v>1699613</c:v>
                </c:pt>
                <c:pt idx="1274">
                  <c:v>1736961</c:v>
                </c:pt>
                <c:pt idx="1275">
                  <c:v>1755667</c:v>
                </c:pt>
                <c:pt idx="1276">
                  <c:v>1771116</c:v>
                </c:pt>
                <c:pt idx="1277">
                  <c:v>1781854</c:v>
                </c:pt>
                <c:pt idx="1278">
                  <c:v>1783373</c:v>
                </c:pt>
                <c:pt idx="1279">
                  <c:v>1783919</c:v>
                </c:pt>
                <c:pt idx="1280">
                  <c:v>1791800</c:v>
                </c:pt>
                <c:pt idx="1281">
                  <c:v>1799709</c:v>
                </c:pt>
                <c:pt idx="1282">
                  <c:v>1808120</c:v>
                </c:pt>
                <c:pt idx="1283">
                  <c:v>1815817</c:v>
                </c:pt>
                <c:pt idx="1284">
                  <c:v>1821474</c:v>
                </c:pt>
                <c:pt idx="1285">
                  <c:v>1822950</c:v>
                </c:pt>
                <c:pt idx="1286">
                  <c:v>1824368</c:v>
                </c:pt>
                <c:pt idx="1287">
                  <c:v>1835015</c:v>
                </c:pt>
                <c:pt idx="1288">
                  <c:v>1846782</c:v>
                </c:pt>
                <c:pt idx="1289">
                  <c:v>1855849</c:v>
                </c:pt>
                <c:pt idx="1290">
                  <c:v>1863912</c:v>
                </c:pt>
                <c:pt idx="1291">
                  <c:v>1870160</c:v>
                </c:pt>
                <c:pt idx="1292">
                  <c:v>1870848</c:v>
                </c:pt>
                <c:pt idx="1293">
                  <c:v>1871954</c:v>
                </c:pt>
                <c:pt idx="1294">
                  <c:v>1881864</c:v>
                </c:pt>
                <c:pt idx="1295">
                  <c:v>1892205</c:v>
                </c:pt>
                <c:pt idx="1296">
                  <c:v>1901840</c:v>
                </c:pt>
                <c:pt idx="1297">
                  <c:v>1911196</c:v>
                </c:pt>
                <c:pt idx="1298">
                  <c:v>1916731</c:v>
                </c:pt>
                <c:pt idx="1299">
                  <c:v>1917903</c:v>
                </c:pt>
                <c:pt idx="1300">
                  <c:v>1919325</c:v>
                </c:pt>
                <c:pt idx="1301">
                  <c:v>1930097</c:v>
                </c:pt>
                <c:pt idx="1302">
                  <c:v>1939818</c:v>
                </c:pt>
                <c:pt idx="1303">
                  <c:v>1948158</c:v>
                </c:pt>
                <c:pt idx="1304">
                  <c:v>1953796</c:v>
                </c:pt>
                <c:pt idx="1305">
                  <c:v>1958262</c:v>
                </c:pt>
                <c:pt idx="1306">
                  <c:v>1958626</c:v>
                </c:pt>
                <c:pt idx="1307">
                  <c:v>1959612</c:v>
                </c:pt>
                <c:pt idx="1308">
                  <c:v>1967475</c:v>
                </c:pt>
                <c:pt idx="1309">
                  <c:v>1975857</c:v>
                </c:pt>
                <c:pt idx="1310">
                  <c:v>1984260</c:v>
                </c:pt>
                <c:pt idx="1311">
                  <c:v>1992283</c:v>
                </c:pt>
                <c:pt idx="1312">
                  <c:v>1996908</c:v>
                </c:pt>
                <c:pt idx="1313">
                  <c:v>1997485</c:v>
                </c:pt>
                <c:pt idx="1314">
                  <c:v>1998032</c:v>
                </c:pt>
                <c:pt idx="1315">
                  <c:v>2006037</c:v>
                </c:pt>
                <c:pt idx="1316">
                  <c:v>2014429</c:v>
                </c:pt>
                <c:pt idx="1317">
                  <c:v>2022122</c:v>
                </c:pt>
                <c:pt idx="1318">
                  <c:v>2028555</c:v>
                </c:pt>
                <c:pt idx="1319">
                  <c:v>2032705</c:v>
                </c:pt>
                <c:pt idx="1320">
                  <c:v>2033131</c:v>
                </c:pt>
                <c:pt idx="1321">
                  <c:v>2033471</c:v>
                </c:pt>
                <c:pt idx="1322">
                  <c:v>2043853</c:v>
                </c:pt>
                <c:pt idx="1323">
                  <c:v>2052878</c:v>
                </c:pt>
                <c:pt idx="1324">
                  <c:v>2059814</c:v>
                </c:pt>
                <c:pt idx="1325">
                  <c:v>2064439</c:v>
                </c:pt>
                <c:pt idx="1326">
                  <c:v>2068630</c:v>
                </c:pt>
                <c:pt idx="1327">
                  <c:v>2068475</c:v>
                </c:pt>
                <c:pt idx="1328">
                  <c:v>2068612</c:v>
                </c:pt>
                <c:pt idx="1329">
                  <c:v>2076375</c:v>
                </c:pt>
                <c:pt idx="1330">
                  <c:v>2083725</c:v>
                </c:pt>
                <c:pt idx="1331">
                  <c:v>2089504</c:v>
                </c:pt>
                <c:pt idx="1332">
                  <c:v>2095726</c:v>
                </c:pt>
                <c:pt idx="1333">
                  <c:v>2098800</c:v>
                </c:pt>
                <c:pt idx="1334">
                  <c:v>2098883</c:v>
                </c:pt>
                <c:pt idx="1335">
                  <c:v>2098998</c:v>
                </c:pt>
                <c:pt idx="1336">
                  <c:v>2110485</c:v>
                </c:pt>
                <c:pt idx="1337">
                  <c:v>2122655</c:v>
                </c:pt>
                <c:pt idx="1338">
                  <c:v>2131386</c:v>
                </c:pt>
                <c:pt idx="1339">
                  <c:v>2139594</c:v>
                </c:pt>
                <c:pt idx="1340">
                  <c:v>2144917</c:v>
                </c:pt>
                <c:pt idx="1341">
                  <c:v>2144838</c:v>
                </c:pt>
                <c:pt idx="1342">
                  <c:v>2144862</c:v>
                </c:pt>
                <c:pt idx="1343">
                  <c:v>2155442</c:v>
                </c:pt>
                <c:pt idx="1344">
                  <c:v>2164174</c:v>
                </c:pt>
                <c:pt idx="1345">
                  <c:v>2173328</c:v>
                </c:pt>
                <c:pt idx="1346">
                  <c:v>2180983</c:v>
                </c:pt>
                <c:pt idx="1347">
                  <c:v>2185672</c:v>
                </c:pt>
                <c:pt idx="1348">
                  <c:v>2185644</c:v>
                </c:pt>
                <c:pt idx="1349">
                  <c:v>2185802</c:v>
                </c:pt>
                <c:pt idx="1350">
                  <c:v>2192451</c:v>
                </c:pt>
                <c:pt idx="1351">
                  <c:v>2196831</c:v>
                </c:pt>
                <c:pt idx="1352">
                  <c:v>2200785</c:v>
                </c:pt>
                <c:pt idx="1353">
                  <c:v>2198635</c:v>
                </c:pt>
                <c:pt idx="1354">
                  <c:v>2182837</c:v>
                </c:pt>
                <c:pt idx="1355">
                  <c:v>2181573</c:v>
                </c:pt>
                <c:pt idx="1356">
                  <c:v>2179813</c:v>
                </c:pt>
                <c:pt idx="1357">
                  <c:v>2170029</c:v>
                </c:pt>
                <c:pt idx="1358">
                  <c:v>2175146</c:v>
                </c:pt>
                <c:pt idx="1359">
                  <c:v>2180814</c:v>
                </c:pt>
                <c:pt idx="1360">
                  <c:v>2183695</c:v>
                </c:pt>
                <c:pt idx="1361">
                  <c:v>2185059</c:v>
                </c:pt>
                <c:pt idx="1362">
                  <c:v>2184838</c:v>
                </c:pt>
                <c:pt idx="1363">
                  <c:v>2184909</c:v>
                </c:pt>
                <c:pt idx="1364">
                  <c:v>2188839</c:v>
                </c:pt>
                <c:pt idx="1365">
                  <c:v>2190531</c:v>
                </c:pt>
                <c:pt idx="1366">
                  <c:v>2175494</c:v>
                </c:pt>
                <c:pt idx="1367">
                  <c:v>2180857</c:v>
                </c:pt>
                <c:pt idx="1368">
                  <c:v>2183086</c:v>
                </c:pt>
                <c:pt idx="1369">
                  <c:v>2183018</c:v>
                </c:pt>
                <c:pt idx="1370">
                  <c:v>2183318</c:v>
                </c:pt>
                <c:pt idx="1371">
                  <c:v>2186114</c:v>
                </c:pt>
                <c:pt idx="1372">
                  <c:v>2190870</c:v>
                </c:pt>
                <c:pt idx="1373">
                  <c:v>2197652</c:v>
                </c:pt>
                <c:pt idx="1374">
                  <c:v>2203331</c:v>
                </c:pt>
                <c:pt idx="1375">
                  <c:v>2206736</c:v>
                </c:pt>
                <c:pt idx="1376">
                  <c:v>2206607</c:v>
                </c:pt>
                <c:pt idx="1377">
                  <c:v>2206077</c:v>
                </c:pt>
                <c:pt idx="1378">
                  <c:v>2216227</c:v>
                </c:pt>
                <c:pt idx="1379">
                  <c:v>2229351</c:v>
                </c:pt>
                <c:pt idx="1380">
                  <c:v>2239335</c:v>
                </c:pt>
                <c:pt idx="1381">
                  <c:v>2254135</c:v>
                </c:pt>
                <c:pt idx="1382">
                  <c:v>2277583</c:v>
                </c:pt>
                <c:pt idx="1383">
                  <c:v>2278694</c:v>
                </c:pt>
                <c:pt idx="1384">
                  <c:v>2280743</c:v>
                </c:pt>
                <c:pt idx="1385">
                  <c:v>2302825</c:v>
                </c:pt>
                <c:pt idx="1386">
                  <c:v>2314030</c:v>
                </c:pt>
                <c:pt idx="1387">
                  <c:v>2324029</c:v>
                </c:pt>
                <c:pt idx="1388">
                  <c:v>2333281</c:v>
                </c:pt>
                <c:pt idx="1389">
                  <c:v>2336281</c:v>
                </c:pt>
                <c:pt idx="1390">
                  <c:v>2335760</c:v>
                </c:pt>
                <c:pt idx="1391">
                  <c:v>2334877</c:v>
                </c:pt>
                <c:pt idx="1392">
                  <c:v>2325093</c:v>
                </c:pt>
                <c:pt idx="1393">
                  <c:v>2331190</c:v>
                </c:pt>
                <c:pt idx="1394">
                  <c:v>2348362</c:v>
                </c:pt>
                <c:pt idx="1395">
                  <c:v>2346958</c:v>
                </c:pt>
                <c:pt idx="1396">
                  <c:v>2345399</c:v>
                </c:pt>
                <c:pt idx="1397">
                  <c:v>2344935</c:v>
                </c:pt>
                <c:pt idx="1398">
                  <c:v>2344006</c:v>
                </c:pt>
                <c:pt idx="1399">
                  <c:v>2354390</c:v>
                </c:pt>
                <c:pt idx="1400">
                  <c:v>2360710</c:v>
                </c:pt>
                <c:pt idx="1401">
                  <c:v>2366422</c:v>
                </c:pt>
                <c:pt idx="1402">
                  <c:v>2370915</c:v>
                </c:pt>
                <c:pt idx="1403">
                  <c:v>2372154</c:v>
                </c:pt>
                <c:pt idx="1404">
                  <c:v>2372173</c:v>
                </c:pt>
                <c:pt idx="1405">
                  <c:v>2372489</c:v>
                </c:pt>
                <c:pt idx="1406">
                  <c:v>2372337</c:v>
                </c:pt>
                <c:pt idx="1407">
                  <c:v>2379330</c:v>
                </c:pt>
                <c:pt idx="1408">
                  <c:v>2386776</c:v>
                </c:pt>
                <c:pt idx="1409">
                  <c:v>2392607</c:v>
                </c:pt>
                <c:pt idx="1410">
                  <c:v>2396014</c:v>
                </c:pt>
                <c:pt idx="1411">
                  <c:v>2396181</c:v>
                </c:pt>
                <c:pt idx="1412">
                  <c:v>2396177</c:v>
                </c:pt>
                <c:pt idx="1413">
                  <c:v>2406109</c:v>
                </c:pt>
                <c:pt idx="1414">
                  <c:v>2414833</c:v>
                </c:pt>
                <c:pt idx="1415">
                  <c:v>2419122</c:v>
                </c:pt>
                <c:pt idx="1416">
                  <c:v>2420797</c:v>
                </c:pt>
                <c:pt idx="1417">
                  <c:v>2421624</c:v>
                </c:pt>
                <c:pt idx="1418">
                  <c:v>2421395</c:v>
                </c:pt>
                <c:pt idx="1419">
                  <c:v>2421947</c:v>
                </c:pt>
                <c:pt idx="1420">
                  <c:v>2443309</c:v>
                </c:pt>
                <c:pt idx="1421">
                  <c:v>2450465</c:v>
                </c:pt>
                <c:pt idx="1422">
                  <c:v>2457852</c:v>
                </c:pt>
                <c:pt idx="1423">
                  <c:v>2469935</c:v>
                </c:pt>
                <c:pt idx="1424">
                  <c:v>2474214</c:v>
                </c:pt>
                <c:pt idx="1425">
                  <c:v>2474447</c:v>
                </c:pt>
                <c:pt idx="1426">
                  <c:v>2474963</c:v>
                </c:pt>
                <c:pt idx="1427">
                  <c:v>2480730</c:v>
                </c:pt>
                <c:pt idx="1428">
                  <c:v>2479539</c:v>
                </c:pt>
                <c:pt idx="1429">
                  <c:v>2487645</c:v>
                </c:pt>
                <c:pt idx="1430">
                  <c:v>2480374</c:v>
                </c:pt>
                <c:pt idx="1431">
                  <c:v>2475879</c:v>
                </c:pt>
                <c:pt idx="1432">
                  <c:v>2475662</c:v>
                </c:pt>
                <c:pt idx="1433">
                  <c:v>2475940</c:v>
                </c:pt>
                <c:pt idx="1434">
                  <c:v>2488543</c:v>
                </c:pt>
                <c:pt idx="1435">
                  <c:v>2494275</c:v>
                </c:pt>
                <c:pt idx="1436">
                  <c:v>2499124</c:v>
                </c:pt>
                <c:pt idx="1437">
                  <c:v>2501746</c:v>
                </c:pt>
                <c:pt idx="1438">
                  <c:v>2502736</c:v>
                </c:pt>
                <c:pt idx="1439">
                  <c:v>2502260</c:v>
                </c:pt>
                <c:pt idx="1440">
                  <c:v>2502129</c:v>
                </c:pt>
                <c:pt idx="1441">
                  <c:v>2505292</c:v>
                </c:pt>
                <c:pt idx="1442">
                  <c:v>2508675</c:v>
                </c:pt>
                <c:pt idx="1443">
                  <c:v>2512960</c:v>
                </c:pt>
                <c:pt idx="1444">
                  <c:v>2517452</c:v>
                </c:pt>
                <c:pt idx="1445">
                  <c:v>2521030</c:v>
                </c:pt>
                <c:pt idx="1446">
                  <c:v>2521156</c:v>
                </c:pt>
                <c:pt idx="1447">
                  <c:v>2521311</c:v>
                </c:pt>
                <c:pt idx="1448">
                  <c:v>2527990</c:v>
                </c:pt>
                <c:pt idx="1449">
                  <c:v>2528194</c:v>
                </c:pt>
                <c:pt idx="1450">
                  <c:v>2530240</c:v>
                </c:pt>
                <c:pt idx="1451">
                  <c:v>2533077</c:v>
                </c:pt>
                <c:pt idx="1452">
                  <c:v>2529838</c:v>
                </c:pt>
                <c:pt idx="1453">
                  <c:v>2528888</c:v>
                </c:pt>
                <c:pt idx="1454">
                  <c:v>2528442</c:v>
                </c:pt>
                <c:pt idx="1455">
                  <c:v>2533148</c:v>
                </c:pt>
                <c:pt idx="1456">
                  <c:v>2539938</c:v>
                </c:pt>
                <c:pt idx="1457">
                  <c:v>2542785</c:v>
                </c:pt>
                <c:pt idx="1458">
                  <c:v>2560840</c:v>
                </c:pt>
                <c:pt idx="1459">
                  <c:v>2566987</c:v>
                </c:pt>
                <c:pt idx="1460">
                  <c:v>2567584</c:v>
                </c:pt>
                <c:pt idx="1461">
                  <c:v>2567510</c:v>
                </c:pt>
                <c:pt idx="1462">
                  <c:v>2575583</c:v>
                </c:pt>
                <c:pt idx="1463">
                  <c:v>2579028</c:v>
                </c:pt>
                <c:pt idx="1464">
                  <c:v>2587342</c:v>
                </c:pt>
                <c:pt idx="1465">
                  <c:v>2591120</c:v>
                </c:pt>
                <c:pt idx="1466">
                  <c:v>2591189</c:v>
                </c:pt>
                <c:pt idx="1467">
                  <c:v>2591327</c:v>
                </c:pt>
                <c:pt idx="1468">
                  <c:v>2590760</c:v>
                </c:pt>
                <c:pt idx="1469">
                  <c:v>2600248</c:v>
                </c:pt>
                <c:pt idx="1470">
                  <c:v>2609139</c:v>
                </c:pt>
                <c:pt idx="1471">
                  <c:v>2614155</c:v>
                </c:pt>
                <c:pt idx="1472">
                  <c:v>2612128</c:v>
                </c:pt>
                <c:pt idx="1473">
                  <c:v>2612196</c:v>
                </c:pt>
                <c:pt idx="1474">
                  <c:v>2612266</c:v>
                </c:pt>
                <c:pt idx="1475">
                  <c:v>2612744</c:v>
                </c:pt>
                <c:pt idx="1476">
                  <c:v>2625861</c:v>
                </c:pt>
                <c:pt idx="1477">
                  <c:v>2635957</c:v>
                </c:pt>
                <c:pt idx="1478">
                  <c:v>2645875</c:v>
                </c:pt>
                <c:pt idx="1479">
                  <c:v>2654654</c:v>
                </c:pt>
                <c:pt idx="1480">
                  <c:v>2658992</c:v>
                </c:pt>
                <c:pt idx="1481">
                  <c:v>2659453</c:v>
                </c:pt>
                <c:pt idx="1482">
                  <c:v>2660117</c:v>
                </c:pt>
                <c:pt idx="1483">
                  <c:v>2668138</c:v>
                </c:pt>
                <c:pt idx="1484">
                  <c:v>2678607</c:v>
                </c:pt>
                <c:pt idx="1485">
                  <c:v>2684714</c:v>
                </c:pt>
                <c:pt idx="1486">
                  <c:v>2688803</c:v>
                </c:pt>
                <c:pt idx="1487">
                  <c:v>2689093</c:v>
                </c:pt>
                <c:pt idx="1488">
                  <c:v>2685747</c:v>
                </c:pt>
                <c:pt idx="1489">
                  <c:v>2689697</c:v>
                </c:pt>
                <c:pt idx="1490">
                  <c:v>2687272</c:v>
                </c:pt>
                <c:pt idx="1491">
                  <c:v>2700873</c:v>
                </c:pt>
                <c:pt idx="1492">
                  <c:v>2713909</c:v>
                </c:pt>
                <c:pt idx="1493">
                  <c:v>2724804</c:v>
                </c:pt>
                <c:pt idx="1494">
                  <c:v>2735589</c:v>
                </c:pt>
                <c:pt idx="1495">
                  <c:v>2736586</c:v>
                </c:pt>
                <c:pt idx="1496">
                  <c:v>2738622</c:v>
                </c:pt>
                <c:pt idx="1497">
                  <c:v>2758995</c:v>
                </c:pt>
                <c:pt idx="1498">
                  <c:v>2779793</c:v>
                </c:pt>
                <c:pt idx="1499">
                  <c:v>2796716</c:v>
                </c:pt>
                <c:pt idx="1500">
                  <c:v>2816990</c:v>
                </c:pt>
                <c:pt idx="1501">
                  <c:v>2828396</c:v>
                </c:pt>
                <c:pt idx="1502">
                  <c:v>2829594</c:v>
                </c:pt>
                <c:pt idx="1503">
                  <c:v>2830751</c:v>
                </c:pt>
                <c:pt idx="1504">
                  <c:v>2846498</c:v>
                </c:pt>
                <c:pt idx="1505">
                  <c:v>2862703</c:v>
                </c:pt>
                <c:pt idx="1506">
                  <c:v>2877221</c:v>
                </c:pt>
                <c:pt idx="1507">
                  <c:v>2889294</c:v>
                </c:pt>
                <c:pt idx="1508">
                  <c:v>2897026</c:v>
                </c:pt>
                <c:pt idx="1509">
                  <c:v>2897715</c:v>
                </c:pt>
                <c:pt idx="1510">
                  <c:v>2898885</c:v>
                </c:pt>
                <c:pt idx="1511">
                  <c:v>2914562</c:v>
                </c:pt>
                <c:pt idx="1512">
                  <c:v>2928653</c:v>
                </c:pt>
                <c:pt idx="1513">
                  <c:v>2941913</c:v>
                </c:pt>
                <c:pt idx="1514">
                  <c:v>2954271</c:v>
                </c:pt>
                <c:pt idx="1515">
                  <c:v>2963392</c:v>
                </c:pt>
                <c:pt idx="1516">
                  <c:v>2964664</c:v>
                </c:pt>
                <c:pt idx="1517">
                  <c:v>2966377</c:v>
                </c:pt>
                <c:pt idx="1518">
                  <c:v>2991739</c:v>
                </c:pt>
                <c:pt idx="1519">
                  <c:v>3005608</c:v>
                </c:pt>
                <c:pt idx="1520">
                  <c:v>3014864</c:v>
                </c:pt>
                <c:pt idx="1521">
                  <c:v>3023742</c:v>
                </c:pt>
                <c:pt idx="1522">
                  <c:v>3027631</c:v>
                </c:pt>
                <c:pt idx="1523">
                  <c:v>3028206</c:v>
                </c:pt>
                <c:pt idx="1524">
                  <c:v>3028969</c:v>
                </c:pt>
                <c:pt idx="1525">
                  <c:v>3037635</c:v>
                </c:pt>
                <c:pt idx="1526">
                  <c:v>3044618</c:v>
                </c:pt>
                <c:pt idx="1527">
                  <c:v>3054386</c:v>
                </c:pt>
                <c:pt idx="1528">
                  <c:v>3062747</c:v>
                </c:pt>
                <c:pt idx="1529">
                  <c:v>3068761</c:v>
                </c:pt>
                <c:pt idx="1530">
                  <c:v>3069220</c:v>
                </c:pt>
                <c:pt idx="1531">
                  <c:v>3069904</c:v>
                </c:pt>
                <c:pt idx="1532">
                  <c:v>3075939</c:v>
                </c:pt>
                <c:pt idx="1533">
                  <c:v>3086525</c:v>
                </c:pt>
                <c:pt idx="1534">
                  <c:v>3094095</c:v>
                </c:pt>
                <c:pt idx="1535">
                  <c:v>3101258</c:v>
                </c:pt>
                <c:pt idx="1536">
                  <c:v>3106763</c:v>
                </c:pt>
                <c:pt idx="1537">
                  <c:v>3107198</c:v>
                </c:pt>
                <c:pt idx="1538">
                  <c:v>3108239</c:v>
                </c:pt>
                <c:pt idx="1539">
                  <c:v>3118971</c:v>
                </c:pt>
                <c:pt idx="1540">
                  <c:v>3127445</c:v>
                </c:pt>
                <c:pt idx="1541">
                  <c:v>3137000</c:v>
                </c:pt>
                <c:pt idx="1542">
                  <c:v>3143312</c:v>
                </c:pt>
                <c:pt idx="1543">
                  <c:v>3146307</c:v>
                </c:pt>
                <c:pt idx="1544">
                  <c:v>3146190</c:v>
                </c:pt>
                <c:pt idx="1545">
                  <c:v>3145882</c:v>
                </c:pt>
                <c:pt idx="1546">
                  <c:v>3151603</c:v>
                </c:pt>
                <c:pt idx="1547">
                  <c:v>3158242</c:v>
                </c:pt>
                <c:pt idx="1548">
                  <c:v>3166821</c:v>
                </c:pt>
                <c:pt idx="1549">
                  <c:v>3169338</c:v>
                </c:pt>
                <c:pt idx="1550">
                  <c:v>3165652</c:v>
                </c:pt>
                <c:pt idx="1551">
                  <c:v>3165945</c:v>
                </c:pt>
                <c:pt idx="1552">
                  <c:v>3166668</c:v>
                </c:pt>
                <c:pt idx="1553">
                  <c:v>3176492</c:v>
                </c:pt>
                <c:pt idx="1554">
                  <c:v>3189904</c:v>
                </c:pt>
                <c:pt idx="1555">
                  <c:v>3200203</c:v>
                </c:pt>
                <c:pt idx="1556">
                  <c:v>3208416</c:v>
                </c:pt>
                <c:pt idx="1557">
                  <c:v>3214351</c:v>
                </c:pt>
                <c:pt idx="1558">
                  <c:v>3214982</c:v>
                </c:pt>
                <c:pt idx="1559">
                  <c:v>3215173</c:v>
                </c:pt>
                <c:pt idx="1560">
                  <c:v>3221891</c:v>
                </c:pt>
                <c:pt idx="1561">
                  <c:v>3232396</c:v>
                </c:pt>
                <c:pt idx="1562">
                  <c:v>3243998</c:v>
                </c:pt>
                <c:pt idx="1563">
                  <c:v>3251460</c:v>
                </c:pt>
                <c:pt idx="1564">
                  <c:v>3253941</c:v>
                </c:pt>
                <c:pt idx="1565">
                  <c:v>3254513</c:v>
                </c:pt>
                <c:pt idx="1566">
                  <c:v>3255092</c:v>
                </c:pt>
                <c:pt idx="1567">
                  <c:v>3266744</c:v>
                </c:pt>
                <c:pt idx="1568">
                  <c:v>3279498</c:v>
                </c:pt>
                <c:pt idx="1569">
                  <c:v>3287291</c:v>
                </c:pt>
                <c:pt idx="1570">
                  <c:v>3296451</c:v>
                </c:pt>
                <c:pt idx="1571">
                  <c:v>3302286</c:v>
                </c:pt>
                <c:pt idx="1572">
                  <c:v>3303390</c:v>
                </c:pt>
                <c:pt idx="1573">
                  <c:v>3304538</c:v>
                </c:pt>
                <c:pt idx="1574">
                  <c:v>3312244</c:v>
                </c:pt>
                <c:pt idx="1575">
                  <c:v>3316794</c:v>
                </c:pt>
                <c:pt idx="1576">
                  <c:v>3313294</c:v>
                </c:pt>
                <c:pt idx="1577">
                  <c:v>3299311</c:v>
                </c:pt>
                <c:pt idx="1578">
                  <c:v>3292740</c:v>
                </c:pt>
                <c:pt idx="1579">
                  <c:v>3292444</c:v>
                </c:pt>
                <c:pt idx="1580">
                  <c:v>3291806</c:v>
                </c:pt>
                <c:pt idx="1581">
                  <c:v>3297746</c:v>
                </c:pt>
                <c:pt idx="1582">
                  <c:v>3301064</c:v>
                </c:pt>
                <c:pt idx="1583">
                  <c:v>3306061</c:v>
                </c:pt>
                <c:pt idx="1584">
                  <c:v>3308575</c:v>
                </c:pt>
                <c:pt idx="1585">
                  <c:v>3307233</c:v>
                </c:pt>
                <c:pt idx="1586">
                  <c:v>3306876</c:v>
                </c:pt>
                <c:pt idx="1587">
                  <c:v>3307266</c:v>
                </c:pt>
                <c:pt idx="1588">
                  <c:v>3322624</c:v>
                </c:pt>
                <c:pt idx="1589">
                  <c:v>3330970</c:v>
                </c:pt>
                <c:pt idx="1590">
                  <c:v>3326930</c:v>
                </c:pt>
                <c:pt idx="1591">
                  <c:v>3329545</c:v>
                </c:pt>
                <c:pt idx="1592">
                  <c:v>3328381</c:v>
                </c:pt>
                <c:pt idx="1593">
                  <c:v>3327747</c:v>
                </c:pt>
                <c:pt idx="1594">
                  <c:v>3326798</c:v>
                </c:pt>
                <c:pt idx="1595">
                  <c:v>3330774</c:v>
                </c:pt>
                <c:pt idx="1596">
                  <c:v>3330314</c:v>
                </c:pt>
                <c:pt idx="1597">
                  <c:v>3333667</c:v>
                </c:pt>
                <c:pt idx="1598">
                  <c:v>3330698</c:v>
                </c:pt>
                <c:pt idx="1599">
                  <c:v>3322417</c:v>
                </c:pt>
                <c:pt idx="1600">
                  <c:v>3321238</c:v>
                </c:pt>
                <c:pt idx="1601">
                  <c:v>3317616</c:v>
                </c:pt>
                <c:pt idx="1602">
                  <c:v>3290225</c:v>
                </c:pt>
                <c:pt idx="1603">
                  <c:v>3243133</c:v>
                </c:pt>
                <c:pt idx="1604">
                  <c:v>3191389</c:v>
                </c:pt>
                <c:pt idx="1605">
                  <c:v>3165913</c:v>
                </c:pt>
                <c:pt idx="1606">
                  <c:v>3146930</c:v>
                </c:pt>
                <c:pt idx="1607">
                  <c:v>3144446</c:v>
                </c:pt>
                <c:pt idx="1608">
                  <c:v>3140844</c:v>
                </c:pt>
                <c:pt idx="1609">
                  <c:v>3099910</c:v>
                </c:pt>
                <c:pt idx="1610">
                  <c:v>3043462</c:v>
                </c:pt>
                <c:pt idx="1611">
                  <c:v>2961850</c:v>
                </c:pt>
                <c:pt idx="1612">
                  <c:v>2903901</c:v>
                </c:pt>
                <c:pt idx="1613">
                  <c:v>2891760</c:v>
                </c:pt>
                <c:pt idx="1614">
                  <c:v>2890693</c:v>
                </c:pt>
                <c:pt idx="1615">
                  <c:v>2889529</c:v>
                </c:pt>
                <c:pt idx="1616">
                  <c:v>2893393</c:v>
                </c:pt>
                <c:pt idx="1617">
                  <c:v>2902953</c:v>
                </c:pt>
                <c:pt idx="1618">
                  <c:v>2924564</c:v>
                </c:pt>
                <c:pt idx="1619">
                  <c:v>2936224</c:v>
                </c:pt>
                <c:pt idx="1620">
                  <c:v>2951052</c:v>
                </c:pt>
                <c:pt idx="1621">
                  <c:v>2951366</c:v>
                </c:pt>
                <c:pt idx="1622">
                  <c:v>2952240</c:v>
                </c:pt>
                <c:pt idx="1623">
                  <c:v>2967890</c:v>
                </c:pt>
                <c:pt idx="1624">
                  <c:v>2984615</c:v>
                </c:pt>
                <c:pt idx="1625">
                  <c:v>2996599</c:v>
                </c:pt>
                <c:pt idx="1626">
                  <c:v>3011911</c:v>
                </c:pt>
                <c:pt idx="1627">
                  <c:v>3026300</c:v>
                </c:pt>
                <c:pt idx="1628">
                  <c:v>3027480</c:v>
                </c:pt>
                <c:pt idx="1629">
                  <c:v>3032595</c:v>
                </c:pt>
                <c:pt idx="1630">
                  <c:v>3078930</c:v>
                </c:pt>
                <c:pt idx="1631">
                  <c:v>3152224</c:v>
                </c:pt>
                <c:pt idx="1632">
                  <c:v>3231130</c:v>
                </c:pt>
                <c:pt idx="1633">
                  <c:v>3292517</c:v>
                </c:pt>
                <c:pt idx="1634">
                  <c:v>3329043</c:v>
                </c:pt>
                <c:pt idx="1635">
                  <c:v>3332039</c:v>
                </c:pt>
                <c:pt idx="1636">
                  <c:v>3337981</c:v>
                </c:pt>
                <c:pt idx="1637">
                  <c:v>3384708</c:v>
                </c:pt>
                <c:pt idx="1638">
                  <c:v>3452042</c:v>
                </c:pt>
                <c:pt idx="1639">
                  <c:v>3522636</c:v>
                </c:pt>
                <c:pt idx="1640">
                  <c:v>3578787</c:v>
                </c:pt>
                <c:pt idx="1641">
                  <c:v>3601431</c:v>
                </c:pt>
                <c:pt idx="1642">
                  <c:v>3603568</c:v>
                </c:pt>
                <c:pt idx="1643">
                  <c:v>3605969</c:v>
                </c:pt>
                <c:pt idx="1644">
                  <c:v>3627404</c:v>
                </c:pt>
                <c:pt idx="1645">
                  <c:v>3645884</c:v>
                </c:pt>
                <c:pt idx="1646">
                  <c:v>3658997</c:v>
                </c:pt>
                <c:pt idx="1647">
                  <c:v>3671081</c:v>
                </c:pt>
                <c:pt idx="1648">
                  <c:v>3679364</c:v>
                </c:pt>
                <c:pt idx="1649">
                  <c:v>3680787</c:v>
                </c:pt>
                <c:pt idx="1650">
                  <c:v>3683705</c:v>
                </c:pt>
                <c:pt idx="1651">
                  <c:v>3699457</c:v>
                </c:pt>
                <c:pt idx="1652">
                  <c:v>3717730</c:v>
                </c:pt>
                <c:pt idx="1653">
                  <c:v>3734602</c:v>
                </c:pt>
                <c:pt idx="1654">
                  <c:v>3747270</c:v>
                </c:pt>
                <c:pt idx="1655">
                  <c:v>3753905</c:v>
                </c:pt>
                <c:pt idx="1656">
                  <c:v>3755445</c:v>
                </c:pt>
                <c:pt idx="1657">
                  <c:v>3756870</c:v>
                </c:pt>
                <c:pt idx="1658">
                  <c:v>3770094</c:v>
                </c:pt>
                <c:pt idx="1659">
                  <c:v>3787115</c:v>
                </c:pt>
                <c:pt idx="1660">
                  <c:v>3808807</c:v>
                </c:pt>
                <c:pt idx="1661">
                  <c:v>3825215</c:v>
                </c:pt>
                <c:pt idx="1662">
                  <c:v>3835606</c:v>
                </c:pt>
                <c:pt idx="1663">
                  <c:v>3836954</c:v>
                </c:pt>
                <c:pt idx="1664">
                  <c:v>3839283</c:v>
                </c:pt>
                <c:pt idx="1665">
                  <c:v>3854425</c:v>
                </c:pt>
                <c:pt idx="1666">
                  <c:v>3896476</c:v>
                </c:pt>
                <c:pt idx="1667">
                  <c:v>3964315</c:v>
                </c:pt>
                <c:pt idx="1668">
                  <c:v>4017020</c:v>
                </c:pt>
                <c:pt idx="1669">
                  <c:v>4050164</c:v>
                </c:pt>
                <c:pt idx="1670">
                  <c:v>4055395</c:v>
                </c:pt>
                <c:pt idx="1671">
                  <c:v>4061526</c:v>
                </c:pt>
                <c:pt idx="1672">
                  <c:v>4082886</c:v>
                </c:pt>
                <c:pt idx="1673">
                  <c:v>4102767</c:v>
                </c:pt>
                <c:pt idx="1674">
                  <c:v>4135746</c:v>
                </c:pt>
                <c:pt idx="1675">
                  <c:v>4163328</c:v>
                </c:pt>
                <c:pt idx="1676">
                  <c:v>4180221</c:v>
                </c:pt>
                <c:pt idx="1677">
                  <c:v>4182433</c:v>
                </c:pt>
                <c:pt idx="1678">
                  <c:v>4183997</c:v>
                </c:pt>
                <c:pt idx="1679">
                  <c:v>4210171</c:v>
                </c:pt>
                <c:pt idx="1680">
                  <c:v>4234112</c:v>
                </c:pt>
                <c:pt idx="1681">
                  <c:v>4256333</c:v>
                </c:pt>
                <c:pt idx="1682">
                  <c:v>4268499</c:v>
                </c:pt>
                <c:pt idx="1683">
                  <c:v>4272663</c:v>
                </c:pt>
                <c:pt idx="1684">
                  <c:v>4274106</c:v>
                </c:pt>
                <c:pt idx="1685">
                  <c:v>4276626</c:v>
                </c:pt>
                <c:pt idx="1686">
                  <c:v>4287709</c:v>
                </c:pt>
                <c:pt idx="1687">
                  <c:v>4288942</c:v>
                </c:pt>
                <c:pt idx="1688">
                  <c:v>4286786</c:v>
                </c:pt>
                <c:pt idx="1689">
                  <c:v>4286011</c:v>
                </c:pt>
                <c:pt idx="1690">
                  <c:v>4285615</c:v>
                </c:pt>
                <c:pt idx="1691">
                  <c:v>4287589</c:v>
                </c:pt>
                <c:pt idx="1692">
                  <c:v>4290112</c:v>
                </c:pt>
                <c:pt idx="1693">
                  <c:v>4294785</c:v>
                </c:pt>
                <c:pt idx="1694">
                  <c:v>4271713</c:v>
                </c:pt>
                <c:pt idx="1695">
                  <c:v>4224346</c:v>
                </c:pt>
                <c:pt idx="1696">
                  <c:v>4188699</c:v>
                </c:pt>
                <c:pt idx="1697">
                  <c:v>4174562</c:v>
                </c:pt>
                <c:pt idx="1698">
                  <c:v>4173425</c:v>
                </c:pt>
                <c:pt idx="1699">
                  <c:v>4174149</c:v>
                </c:pt>
                <c:pt idx="1700">
                  <c:v>4177732</c:v>
                </c:pt>
                <c:pt idx="1701">
                  <c:v>4179450</c:v>
                </c:pt>
                <c:pt idx="1702">
                  <c:v>4166594</c:v>
                </c:pt>
                <c:pt idx="1703">
                  <c:v>4145432</c:v>
                </c:pt>
                <c:pt idx="1704">
                  <c:v>4130768</c:v>
                </c:pt>
                <c:pt idx="1705">
                  <c:v>4129954</c:v>
                </c:pt>
                <c:pt idx="1706">
                  <c:v>4128666</c:v>
                </c:pt>
                <c:pt idx="1707">
                  <c:v>4115439</c:v>
                </c:pt>
                <c:pt idx="1708">
                  <c:v>4093958</c:v>
                </c:pt>
                <c:pt idx="1709">
                  <c:v>4066298</c:v>
                </c:pt>
                <c:pt idx="1710">
                  <c:v>4033609</c:v>
                </c:pt>
                <c:pt idx="1711">
                  <c:v>3988983</c:v>
                </c:pt>
                <c:pt idx="1712">
                  <c:v>3984349</c:v>
                </c:pt>
                <c:pt idx="1713">
                  <c:v>3977390</c:v>
                </c:pt>
                <c:pt idx="1714">
                  <c:v>3946396</c:v>
                </c:pt>
                <c:pt idx="1715">
                  <c:v>3951911</c:v>
                </c:pt>
                <c:pt idx="1716">
                  <c:v>3956490</c:v>
                </c:pt>
                <c:pt idx="1717">
                  <c:v>3961578</c:v>
                </c:pt>
                <c:pt idx="1718">
                  <c:v>3964151</c:v>
                </c:pt>
                <c:pt idx="1719">
                  <c:v>3962885</c:v>
                </c:pt>
                <c:pt idx="1720">
                  <c:v>3959047</c:v>
                </c:pt>
                <c:pt idx="1721">
                  <c:v>3969729</c:v>
                </c:pt>
                <c:pt idx="1722">
                  <c:v>3975767</c:v>
                </c:pt>
                <c:pt idx="1723">
                  <c:v>3985273</c:v>
                </c:pt>
                <c:pt idx="1724">
                  <c:v>3987058</c:v>
                </c:pt>
                <c:pt idx="1725">
                  <c:v>3977581</c:v>
                </c:pt>
                <c:pt idx="1726">
                  <c:v>3974489</c:v>
                </c:pt>
                <c:pt idx="1727">
                  <c:v>3970044</c:v>
                </c:pt>
                <c:pt idx="1728">
                  <c:v>3962129</c:v>
                </c:pt>
                <c:pt idx="1729">
                  <c:v>3950551</c:v>
                </c:pt>
                <c:pt idx="1730">
                  <c:v>3947096</c:v>
                </c:pt>
                <c:pt idx="1731">
                  <c:v>3949841</c:v>
                </c:pt>
                <c:pt idx="1732">
                  <c:v>3928523</c:v>
                </c:pt>
                <c:pt idx="1733">
                  <c:v>3928476</c:v>
                </c:pt>
                <c:pt idx="1734">
                  <c:v>3928614</c:v>
                </c:pt>
                <c:pt idx="1735">
                  <c:v>3939855</c:v>
                </c:pt>
                <c:pt idx="1736">
                  <c:v>3950182</c:v>
                </c:pt>
                <c:pt idx="1737">
                  <c:v>3964671</c:v>
                </c:pt>
                <c:pt idx="1738">
                  <c:v>3984084</c:v>
                </c:pt>
                <c:pt idx="1739">
                  <c:v>4014651</c:v>
                </c:pt>
                <c:pt idx="1740">
                  <c:v>4017079</c:v>
                </c:pt>
                <c:pt idx="1741">
                  <c:v>4019295</c:v>
                </c:pt>
                <c:pt idx="1742">
                  <c:v>4059437</c:v>
                </c:pt>
                <c:pt idx="1743">
                  <c:v>4079221</c:v>
                </c:pt>
                <c:pt idx="1744">
                  <c:v>4096728</c:v>
                </c:pt>
                <c:pt idx="1745">
                  <c:v>4110541</c:v>
                </c:pt>
                <c:pt idx="1746">
                  <c:v>4116741</c:v>
                </c:pt>
                <c:pt idx="1747">
                  <c:v>4117168</c:v>
                </c:pt>
                <c:pt idx="1748">
                  <c:v>4117603</c:v>
                </c:pt>
                <c:pt idx="1749">
                  <c:v>4133569</c:v>
                </c:pt>
                <c:pt idx="1750">
                  <c:v>4151473</c:v>
                </c:pt>
                <c:pt idx="1751">
                  <c:v>4162719</c:v>
                </c:pt>
                <c:pt idx="1752">
                  <c:v>4161627</c:v>
                </c:pt>
                <c:pt idx="1753">
                  <c:v>4155812</c:v>
                </c:pt>
                <c:pt idx="1754">
                  <c:v>4155720</c:v>
                </c:pt>
                <c:pt idx="1755">
                  <c:v>4154097</c:v>
                </c:pt>
                <c:pt idx="1756">
                  <c:v>4135483</c:v>
                </c:pt>
                <c:pt idx="1757">
                  <c:v>4143762</c:v>
                </c:pt>
                <c:pt idx="1758">
                  <c:v>4155458</c:v>
                </c:pt>
                <c:pt idx="1759">
                  <c:v>4167394</c:v>
                </c:pt>
                <c:pt idx="1760">
                  <c:v>4193815</c:v>
                </c:pt>
                <c:pt idx="1761">
                  <c:v>4194537</c:v>
                </c:pt>
                <c:pt idx="1762">
                  <c:v>4195200</c:v>
                </c:pt>
                <c:pt idx="1763">
                  <c:v>4197097</c:v>
                </c:pt>
                <c:pt idx="1764">
                  <c:v>4215106</c:v>
                </c:pt>
                <c:pt idx="1765">
                  <c:v>4229194</c:v>
                </c:pt>
                <c:pt idx="1766">
                  <c:v>4242138</c:v>
                </c:pt>
                <c:pt idx="1767">
                  <c:v>4256047</c:v>
                </c:pt>
                <c:pt idx="1768">
                  <c:v>4255981</c:v>
                </c:pt>
                <c:pt idx="1769">
                  <c:v>4256782</c:v>
                </c:pt>
                <c:pt idx="1770">
                  <c:v>4269894</c:v>
                </c:pt>
                <c:pt idx="1771">
                  <c:v>4282414</c:v>
                </c:pt>
                <c:pt idx="1772">
                  <c:v>4292947</c:v>
                </c:pt>
                <c:pt idx="1773">
                  <c:v>4295219</c:v>
                </c:pt>
                <c:pt idx="1774">
                  <c:v>4297010</c:v>
                </c:pt>
                <c:pt idx="1775">
                  <c:v>4296552</c:v>
                </c:pt>
                <c:pt idx="1776">
                  <c:v>4296359</c:v>
                </c:pt>
                <c:pt idx="1777">
                  <c:v>4309284</c:v>
                </c:pt>
                <c:pt idx="1778">
                  <c:v>4322113</c:v>
                </c:pt>
                <c:pt idx="1779">
                  <c:v>4332918</c:v>
                </c:pt>
                <c:pt idx="1780">
                  <c:v>4354505</c:v>
                </c:pt>
                <c:pt idx="1781">
                  <c:v>4366280</c:v>
                </c:pt>
                <c:pt idx="1782">
                  <c:v>4366333</c:v>
                </c:pt>
                <c:pt idx="1783">
                  <c:v>4366895</c:v>
                </c:pt>
                <c:pt idx="1784">
                  <c:v>4408060</c:v>
                </c:pt>
                <c:pt idx="1785">
                  <c:v>4423062</c:v>
                </c:pt>
                <c:pt idx="1786">
                  <c:v>4428701</c:v>
                </c:pt>
                <c:pt idx="1787">
                  <c:v>4430477</c:v>
                </c:pt>
                <c:pt idx="1788">
                  <c:v>4426890</c:v>
                </c:pt>
                <c:pt idx="1789">
                  <c:v>4426154</c:v>
                </c:pt>
                <c:pt idx="1790">
                  <c:v>4425802</c:v>
                </c:pt>
                <c:pt idx="1791">
                  <c:v>4440410</c:v>
                </c:pt>
                <c:pt idx="1792">
                  <c:v>4445807</c:v>
                </c:pt>
                <c:pt idx="1793">
                  <c:v>4450530</c:v>
                </c:pt>
                <c:pt idx="1794">
                  <c:v>4450195</c:v>
                </c:pt>
                <c:pt idx="1795">
                  <c:v>4434505</c:v>
                </c:pt>
                <c:pt idx="1796">
                  <c:v>4433102</c:v>
                </c:pt>
                <c:pt idx="1797">
                  <c:v>4432043</c:v>
                </c:pt>
                <c:pt idx="1798">
                  <c:v>4437400</c:v>
                </c:pt>
                <c:pt idx="1799">
                  <c:v>4444434</c:v>
                </c:pt>
                <c:pt idx="1800">
                  <c:v>4448435</c:v>
                </c:pt>
                <c:pt idx="1801">
                  <c:v>4456418</c:v>
                </c:pt>
                <c:pt idx="1802">
                  <c:v>4458814</c:v>
                </c:pt>
                <c:pt idx="1803">
                  <c:v>4458348</c:v>
                </c:pt>
                <c:pt idx="1804">
                  <c:v>4459875</c:v>
                </c:pt>
                <c:pt idx="1805">
                  <c:v>4464331</c:v>
                </c:pt>
                <c:pt idx="1806">
                  <c:v>4467172</c:v>
                </c:pt>
                <c:pt idx="1807">
                  <c:v>4470827</c:v>
                </c:pt>
                <c:pt idx="1808">
                  <c:v>4470444</c:v>
                </c:pt>
                <c:pt idx="1809">
                  <c:v>4472291</c:v>
                </c:pt>
                <c:pt idx="1810">
                  <c:v>4472053</c:v>
                </c:pt>
                <c:pt idx="1811">
                  <c:v>4472387</c:v>
                </c:pt>
                <c:pt idx="1812">
                  <c:v>4478142</c:v>
                </c:pt>
                <c:pt idx="1813">
                  <c:v>4477017</c:v>
                </c:pt>
                <c:pt idx="1814">
                  <c:v>4481412</c:v>
                </c:pt>
                <c:pt idx="1815">
                  <c:v>4480025</c:v>
                </c:pt>
                <c:pt idx="1816">
                  <c:v>4475484</c:v>
                </c:pt>
                <c:pt idx="1817">
                  <c:v>4473660</c:v>
                </c:pt>
                <c:pt idx="1818">
                  <c:v>4471363</c:v>
                </c:pt>
                <c:pt idx="1819">
                  <c:v>4468491</c:v>
                </c:pt>
                <c:pt idx="1820">
                  <c:v>4459094</c:v>
                </c:pt>
                <c:pt idx="1821">
                  <c:v>4448795</c:v>
                </c:pt>
                <c:pt idx="1822">
                  <c:v>4436991</c:v>
                </c:pt>
                <c:pt idx="1823">
                  <c:v>4431210</c:v>
                </c:pt>
                <c:pt idx="1824">
                  <c:v>4430691</c:v>
                </c:pt>
                <c:pt idx="1825">
                  <c:v>4428762</c:v>
                </c:pt>
                <c:pt idx="1826">
                  <c:v>4431183</c:v>
                </c:pt>
                <c:pt idx="1827">
                  <c:v>4427367</c:v>
                </c:pt>
                <c:pt idx="1828">
                  <c:v>4417955</c:v>
                </c:pt>
                <c:pt idx="1829">
                  <c:v>4406688</c:v>
                </c:pt>
                <c:pt idx="1830">
                  <c:v>4391058</c:v>
                </c:pt>
                <c:pt idx="1831">
                  <c:v>4389615</c:v>
                </c:pt>
                <c:pt idx="1832">
                  <c:v>4387775</c:v>
                </c:pt>
                <c:pt idx="1833">
                  <c:v>4388956</c:v>
                </c:pt>
                <c:pt idx="1834">
                  <c:v>4387881</c:v>
                </c:pt>
                <c:pt idx="1835">
                  <c:v>4379762</c:v>
                </c:pt>
                <c:pt idx="1836">
                  <c:v>4369215</c:v>
                </c:pt>
                <c:pt idx="1837">
                  <c:v>4354565</c:v>
                </c:pt>
                <c:pt idx="1838">
                  <c:v>4353029</c:v>
                </c:pt>
                <c:pt idx="1839">
                  <c:v>4351371</c:v>
                </c:pt>
                <c:pt idx="1840">
                  <c:v>4350647</c:v>
                </c:pt>
                <c:pt idx="1841">
                  <c:v>4353116</c:v>
                </c:pt>
                <c:pt idx="1842">
                  <c:v>4346306</c:v>
                </c:pt>
                <c:pt idx="1843">
                  <c:v>4334398</c:v>
                </c:pt>
                <c:pt idx="1844">
                  <c:v>4312893</c:v>
                </c:pt>
                <c:pt idx="1845">
                  <c:v>4312370</c:v>
                </c:pt>
                <c:pt idx="1846">
                  <c:v>4312747</c:v>
                </c:pt>
                <c:pt idx="1847">
                  <c:v>4332281</c:v>
                </c:pt>
                <c:pt idx="1848">
                  <c:v>4353462</c:v>
                </c:pt>
                <c:pt idx="1849">
                  <c:v>4369564</c:v>
                </c:pt>
                <c:pt idx="1850">
                  <c:v>4418372</c:v>
                </c:pt>
                <c:pt idx="1851">
                  <c:v>4442547</c:v>
                </c:pt>
                <c:pt idx="1852">
                  <c:v>4444241</c:v>
                </c:pt>
                <c:pt idx="1853">
                  <c:v>4448134</c:v>
                </c:pt>
                <c:pt idx="1854">
                  <c:v>4480934</c:v>
                </c:pt>
                <c:pt idx="1855">
                  <c:v>4519516</c:v>
                </c:pt>
                <c:pt idx="1856">
                  <c:v>4556437</c:v>
                </c:pt>
                <c:pt idx="1857">
                  <c:v>4588383</c:v>
                </c:pt>
                <c:pt idx="1858">
                  <c:v>4607737</c:v>
                </c:pt>
                <c:pt idx="1859">
                  <c:v>4609107</c:v>
                </c:pt>
                <c:pt idx="1860">
                  <c:v>4610873</c:v>
                </c:pt>
                <c:pt idx="1861">
                  <c:v>4612541</c:v>
                </c:pt>
                <c:pt idx="1862">
                  <c:v>4648496</c:v>
                </c:pt>
                <c:pt idx="1863">
                  <c:v>4684688</c:v>
                </c:pt>
                <c:pt idx="1864">
                  <c:v>4715675</c:v>
                </c:pt>
                <c:pt idx="1865">
                  <c:v>4737878</c:v>
                </c:pt>
                <c:pt idx="1866">
                  <c:v>4739873</c:v>
                </c:pt>
                <c:pt idx="1867">
                  <c:v>4742330</c:v>
                </c:pt>
                <c:pt idx="1868">
                  <c:v>4777932</c:v>
                </c:pt>
                <c:pt idx="1869">
                  <c:v>4809367</c:v>
                </c:pt>
                <c:pt idx="1870">
                  <c:v>4838059</c:v>
                </c:pt>
                <c:pt idx="1871">
                  <c:v>4867093</c:v>
                </c:pt>
                <c:pt idx="1872">
                  <c:v>4887716</c:v>
                </c:pt>
                <c:pt idx="1873">
                  <c:v>4889543</c:v>
                </c:pt>
                <c:pt idx="1874">
                  <c:v>4891642</c:v>
                </c:pt>
                <c:pt idx="1875">
                  <c:v>4921047</c:v>
                </c:pt>
                <c:pt idx="1876">
                  <c:v>4945947</c:v>
                </c:pt>
                <c:pt idx="1877">
                  <c:v>4969070</c:v>
                </c:pt>
                <c:pt idx="1878">
                  <c:v>4984058</c:v>
                </c:pt>
                <c:pt idx="1879">
                  <c:v>4995508</c:v>
                </c:pt>
                <c:pt idx="1880">
                  <c:v>4996350</c:v>
                </c:pt>
                <c:pt idx="1881">
                  <c:v>4997907</c:v>
                </c:pt>
                <c:pt idx="1882">
                  <c:v>5013182</c:v>
                </c:pt>
                <c:pt idx="1883">
                  <c:v>5029566</c:v>
                </c:pt>
                <c:pt idx="1884">
                  <c:v>5041293</c:v>
                </c:pt>
                <c:pt idx="1885">
                  <c:v>5055616</c:v>
                </c:pt>
                <c:pt idx="1886">
                  <c:v>5063948</c:v>
                </c:pt>
                <c:pt idx="1887">
                  <c:v>5065300</c:v>
                </c:pt>
                <c:pt idx="1888">
                  <c:v>5066793</c:v>
                </c:pt>
                <c:pt idx="1889">
                  <c:v>5110500</c:v>
                </c:pt>
                <c:pt idx="1890">
                  <c:v>5127874</c:v>
                </c:pt>
                <c:pt idx="1891">
                  <c:v>5139021</c:v>
                </c:pt>
                <c:pt idx="1892">
                  <c:v>5147161</c:v>
                </c:pt>
                <c:pt idx="1893">
                  <c:v>5152377</c:v>
                </c:pt>
                <c:pt idx="1894">
                  <c:v>5154400</c:v>
                </c:pt>
                <c:pt idx="1895">
                  <c:v>5156049</c:v>
                </c:pt>
                <c:pt idx="1896">
                  <c:v>5158463</c:v>
                </c:pt>
                <c:pt idx="1897">
                  <c:v>5175088</c:v>
                </c:pt>
                <c:pt idx="1898">
                  <c:v>5191419</c:v>
                </c:pt>
                <c:pt idx="1899">
                  <c:v>5205117</c:v>
                </c:pt>
                <c:pt idx="1900">
                  <c:v>5214886</c:v>
                </c:pt>
                <c:pt idx="1901">
                  <c:v>5217936</c:v>
                </c:pt>
                <c:pt idx="1902">
                  <c:v>5221706</c:v>
                </c:pt>
                <c:pt idx="1903">
                  <c:v>5242111</c:v>
                </c:pt>
                <c:pt idx="1904">
                  <c:v>5262464</c:v>
                </c:pt>
                <c:pt idx="1905">
                  <c:v>5277149</c:v>
                </c:pt>
                <c:pt idx="1906">
                  <c:v>5286644</c:v>
                </c:pt>
                <c:pt idx="1907">
                  <c:v>5290896</c:v>
                </c:pt>
                <c:pt idx="1908">
                  <c:v>5291291</c:v>
                </c:pt>
                <c:pt idx="1909">
                  <c:v>5291701</c:v>
                </c:pt>
                <c:pt idx="1910">
                  <c:v>5304331</c:v>
                </c:pt>
                <c:pt idx="1911">
                  <c:v>5312887</c:v>
                </c:pt>
                <c:pt idx="1912">
                  <c:v>5317385</c:v>
                </c:pt>
                <c:pt idx="1913">
                  <c:v>5319247</c:v>
                </c:pt>
                <c:pt idx="1914">
                  <c:v>5322339</c:v>
                </c:pt>
                <c:pt idx="1915">
                  <c:v>5322895</c:v>
                </c:pt>
                <c:pt idx="1916">
                  <c:v>5325191</c:v>
                </c:pt>
                <c:pt idx="1917">
                  <c:v>5333373</c:v>
                </c:pt>
                <c:pt idx="1918">
                  <c:v>5342891</c:v>
                </c:pt>
                <c:pt idx="1919">
                  <c:v>5354058</c:v>
                </c:pt>
                <c:pt idx="1920">
                  <c:v>5369209</c:v>
                </c:pt>
                <c:pt idx="1921">
                  <c:v>5381829</c:v>
                </c:pt>
                <c:pt idx="1922">
                  <c:v>5382210</c:v>
                </c:pt>
                <c:pt idx="1923">
                  <c:v>5383928</c:v>
                </c:pt>
                <c:pt idx="1924">
                  <c:v>5416011</c:v>
                </c:pt>
                <c:pt idx="1925">
                  <c:v>5438873</c:v>
                </c:pt>
                <c:pt idx="1926">
                  <c:v>5450001</c:v>
                </c:pt>
                <c:pt idx="1927">
                  <c:v>5468375</c:v>
                </c:pt>
                <c:pt idx="1928">
                  <c:v>5478008</c:v>
                </c:pt>
                <c:pt idx="1929">
                  <c:v>5477808</c:v>
                </c:pt>
                <c:pt idx="1930">
                  <c:v>5478222</c:v>
                </c:pt>
                <c:pt idx="1931">
                  <c:v>5494781</c:v>
                </c:pt>
                <c:pt idx="1932">
                  <c:v>5514991</c:v>
                </c:pt>
                <c:pt idx="1933">
                  <c:v>5534996</c:v>
                </c:pt>
                <c:pt idx="1934">
                  <c:v>5556740</c:v>
                </c:pt>
                <c:pt idx="1935">
                  <c:v>5561087</c:v>
                </c:pt>
                <c:pt idx="1936">
                  <c:v>5562914</c:v>
                </c:pt>
                <c:pt idx="1937">
                  <c:v>5564714</c:v>
                </c:pt>
                <c:pt idx="1938">
                  <c:v>5580719</c:v>
                </c:pt>
                <c:pt idx="1939">
                  <c:v>5590123</c:v>
                </c:pt>
                <c:pt idx="1940">
                  <c:v>5591172</c:v>
                </c:pt>
                <c:pt idx="1941">
                  <c:v>5577711</c:v>
                </c:pt>
                <c:pt idx="1942">
                  <c:v>5564579</c:v>
                </c:pt>
                <c:pt idx="1943">
                  <c:v>5563735</c:v>
                </c:pt>
                <c:pt idx="1944">
                  <c:v>5563254</c:v>
                </c:pt>
                <c:pt idx="1945">
                  <c:v>5578793</c:v>
                </c:pt>
                <c:pt idx="1946">
                  <c:v>5600531</c:v>
                </c:pt>
                <c:pt idx="1947">
                  <c:v>5619159</c:v>
                </c:pt>
                <c:pt idx="1948">
                  <c:v>5632802</c:v>
                </c:pt>
                <c:pt idx="1949">
                  <c:v>5639300</c:v>
                </c:pt>
                <c:pt idx="1950">
                  <c:v>5640484</c:v>
                </c:pt>
                <c:pt idx="1951">
                  <c:v>5641770</c:v>
                </c:pt>
                <c:pt idx="1952">
                  <c:v>5654784</c:v>
                </c:pt>
                <c:pt idx="1953">
                  <c:v>5650137</c:v>
                </c:pt>
                <c:pt idx="1954">
                  <c:v>5667904</c:v>
                </c:pt>
                <c:pt idx="1955">
                  <c:v>5676979</c:v>
                </c:pt>
                <c:pt idx="1956">
                  <c:v>5680435</c:v>
                </c:pt>
                <c:pt idx="1957">
                  <c:v>5681519</c:v>
                </c:pt>
                <c:pt idx="1958">
                  <c:v>5681983</c:v>
                </c:pt>
                <c:pt idx="1959">
                  <c:v>5692833</c:v>
                </c:pt>
                <c:pt idx="1960">
                  <c:v>5695473</c:v>
                </c:pt>
                <c:pt idx="1961">
                  <c:v>5694494</c:v>
                </c:pt>
                <c:pt idx="1962">
                  <c:v>5688477</c:v>
                </c:pt>
                <c:pt idx="1963">
                  <c:v>5680898</c:v>
                </c:pt>
                <c:pt idx="1964">
                  <c:v>5680640</c:v>
                </c:pt>
                <c:pt idx="1965">
                  <c:v>5678879</c:v>
                </c:pt>
                <c:pt idx="1966">
                  <c:v>5659774</c:v>
                </c:pt>
                <c:pt idx="1967">
                  <c:v>5632171</c:v>
                </c:pt>
                <c:pt idx="1968">
                  <c:v>5595925</c:v>
                </c:pt>
                <c:pt idx="1969">
                  <c:v>5542098</c:v>
                </c:pt>
                <c:pt idx="1970">
                  <c:v>5481281</c:v>
                </c:pt>
                <c:pt idx="1971">
                  <c:v>5475200</c:v>
                </c:pt>
                <c:pt idx="1972">
                  <c:v>5468291</c:v>
                </c:pt>
                <c:pt idx="1973">
                  <c:v>5401967</c:v>
                </c:pt>
                <c:pt idx="1974">
                  <c:v>5325328</c:v>
                </c:pt>
                <c:pt idx="1975">
                  <c:v>5242126</c:v>
                </c:pt>
                <c:pt idx="1976">
                  <c:v>5137087</c:v>
                </c:pt>
                <c:pt idx="1977">
                  <c:v>5023987</c:v>
                </c:pt>
                <c:pt idx="1978">
                  <c:v>5018006</c:v>
                </c:pt>
                <c:pt idx="1979">
                  <c:v>5013685</c:v>
                </c:pt>
                <c:pt idx="1980">
                  <c:v>5014206</c:v>
                </c:pt>
                <c:pt idx="1981">
                  <c:v>5014698</c:v>
                </c:pt>
                <c:pt idx="1982">
                  <c:v>4996346</c:v>
                </c:pt>
                <c:pt idx="1983">
                  <c:v>4987962</c:v>
                </c:pt>
                <c:pt idx="1984">
                  <c:v>4990498</c:v>
                </c:pt>
                <c:pt idx="1985">
                  <c:v>4988786</c:v>
                </c:pt>
                <c:pt idx="1986">
                  <c:v>4987590</c:v>
                </c:pt>
                <c:pt idx="1987">
                  <c:v>5010795</c:v>
                </c:pt>
                <c:pt idx="1988">
                  <c:v>5032503</c:v>
                </c:pt>
                <c:pt idx="1989">
                  <c:v>5051699</c:v>
                </c:pt>
                <c:pt idx="1990">
                  <c:v>5070689</c:v>
                </c:pt>
                <c:pt idx="1991">
                  <c:v>5091355</c:v>
                </c:pt>
                <c:pt idx="1992">
                  <c:v>5091861</c:v>
                </c:pt>
                <c:pt idx="1993">
                  <c:v>5095346</c:v>
                </c:pt>
                <c:pt idx="1994">
                  <c:v>5142027</c:v>
                </c:pt>
                <c:pt idx="1995">
                  <c:v>5213819</c:v>
                </c:pt>
                <c:pt idx="1996">
                  <c:v>5296838</c:v>
                </c:pt>
                <c:pt idx="1997">
                  <c:v>5410050</c:v>
                </c:pt>
                <c:pt idx="1998">
                  <c:v>5515617</c:v>
                </c:pt>
                <c:pt idx="1999">
                  <c:v>5523084</c:v>
                </c:pt>
                <c:pt idx="2000">
                  <c:v>5530347</c:v>
                </c:pt>
                <c:pt idx="2001">
                  <c:v>5617335</c:v>
                </c:pt>
                <c:pt idx="2002">
                  <c:v>5699612</c:v>
                </c:pt>
                <c:pt idx="2003">
                  <c:v>5787471</c:v>
                </c:pt>
                <c:pt idx="2004">
                  <c:v>5887256</c:v>
                </c:pt>
                <c:pt idx="2005">
                  <c:v>5984591</c:v>
                </c:pt>
                <c:pt idx="2006">
                  <c:v>5990888</c:v>
                </c:pt>
                <c:pt idx="2007">
                  <c:v>5995934</c:v>
                </c:pt>
                <c:pt idx="2008">
                  <c:v>6034386</c:v>
                </c:pt>
                <c:pt idx="2009">
                  <c:v>6076448</c:v>
                </c:pt>
                <c:pt idx="2010">
                  <c:v>6119533</c:v>
                </c:pt>
                <c:pt idx="2011">
                  <c:v>6151301</c:v>
                </c:pt>
                <c:pt idx="2012">
                  <c:v>6174391</c:v>
                </c:pt>
                <c:pt idx="2013">
                  <c:v>6176891</c:v>
                </c:pt>
                <c:pt idx="2014">
                  <c:v>6181124</c:v>
                </c:pt>
                <c:pt idx="2015">
                  <c:v>6204961</c:v>
                </c:pt>
                <c:pt idx="2016">
                  <c:v>6234315</c:v>
                </c:pt>
                <c:pt idx="2017">
                  <c:v>6262323</c:v>
                </c:pt>
                <c:pt idx="2018">
                  <c:v>6280724</c:v>
                </c:pt>
                <c:pt idx="2019">
                  <c:v>6289559</c:v>
                </c:pt>
                <c:pt idx="2020">
                  <c:v>6291171</c:v>
                </c:pt>
                <c:pt idx="2021">
                  <c:v>6292720</c:v>
                </c:pt>
                <c:pt idx="2022">
                  <c:v>6304295</c:v>
                </c:pt>
                <c:pt idx="2023">
                  <c:v>6315841</c:v>
                </c:pt>
                <c:pt idx="2024">
                  <c:v>6332221</c:v>
                </c:pt>
                <c:pt idx="2025">
                  <c:v>6349167</c:v>
                </c:pt>
                <c:pt idx="2026">
                  <c:v>6360465</c:v>
                </c:pt>
                <c:pt idx="2027">
                  <c:v>6363781</c:v>
                </c:pt>
                <c:pt idx="2028">
                  <c:v>6366010</c:v>
                </c:pt>
                <c:pt idx="2029">
                  <c:v>6390643</c:v>
                </c:pt>
                <c:pt idx="2030">
                  <c:v>6416201</c:v>
                </c:pt>
                <c:pt idx="2031">
                  <c:v>6433358</c:v>
                </c:pt>
                <c:pt idx="2032">
                  <c:v>6444197</c:v>
                </c:pt>
                <c:pt idx="2033">
                  <c:v>6448311</c:v>
                </c:pt>
                <c:pt idx="2034">
                  <c:v>6448544</c:v>
                </c:pt>
                <c:pt idx="2035">
                  <c:v>6450190</c:v>
                </c:pt>
                <c:pt idx="2036">
                  <c:v>6476519</c:v>
                </c:pt>
                <c:pt idx="2037">
                  <c:v>6500685</c:v>
                </c:pt>
                <c:pt idx="2038">
                  <c:v>6520010</c:v>
                </c:pt>
                <c:pt idx="2039">
                  <c:v>6538280</c:v>
                </c:pt>
                <c:pt idx="2040">
                  <c:v>6548319</c:v>
                </c:pt>
                <c:pt idx="2041">
                  <c:v>6549740</c:v>
                </c:pt>
                <c:pt idx="2042">
                  <c:v>6549552</c:v>
                </c:pt>
                <c:pt idx="2043">
                  <c:v>6567005</c:v>
                </c:pt>
                <c:pt idx="2044">
                  <c:v>6586636</c:v>
                </c:pt>
                <c:pt idx="2045">
                  <c:v>6605374</c:v>
                </c:pt>
                <c:pt idx="2046">
                  <c:v>6623849</c:v>
                </c:pt>
                <c:pt idx="2047">
                  <c:v>6637097</c:v>
                </c:pt>
                <c:pt idx="2048">
                  <c:v>6638452</c:v>
                </c:pt>
                <c:pt idx="2049">
                  <c:v>6641638</c:v>
                </c:pt>
                <c:pt idx="2050">
                  <c:v>6671259</c:v>
                </c:pt>
                <c:pt idx="2051">
                  <c:v>6704872</c:v>
                </c:pt>
                <c:pt idx="2052">
                  <c:v>6726110</c:v>
                </c:pt>
                <c:pt idx="2053">
                  <c:v>6740492</c:v>
                </c:pt>
                <c:pt idx="2054">
                  <c:v>6745768</c:v>
                </c:pt>
                <c:pt idx="2055">
                  <c:v>6744959</c:v>
                </c:pt>
                <c:pt idx="2056">
                  <c:v>6747110</c:v>
                </c:pt>
                <c:pt idx="2057">
                  <c:v>6771620</c:v>
                </c:pt>
                <c:pt idx="2058">
                  <c:v>6806393</c:v>
                </c:pt>
                <c:pt idx="2059">
                  <c:v>6834332</c:v>
                </c:pt>
                <c:pt idx="2060">
                  <c:v>6850126</c:v>
                </c:pt>
                <c:pt idx="2061">
                  <c:v>6858425</c:v>
                </c:pt>
                <c:pt idx="2062">
                  <c:v>6857398</c:v>
                </c:pt>
                <c:pt idx="2063">
                  <c:v>6855652</c:v>
                </c:pt>
                <c:pt idx="2064">
                  <c:v>6865523</c:v>
                </c:pt>
                <c:pt idx="2065">
                  <c:v>6872098</c:v>
                </c:pt>
                <c:pt idx="2066">
                  <c:v>6869087</c:v>
                </c:pt>
                <c:pt idx="2067">
                  <c:v>6858968</c:v>
                </c:pt>
                <c:pt idx="2068">
                  <c:v>6804582</c:v>
                </c:pt>
                <c:pt idx="2069">
                  <c:v>6800618</c:v>
                </c:pt>
                <c:pt idx="2070">
                  <c:v>6795137</c:v>
                </c:pt>
                <c:pt idx="2071">
                  <c:v>6760503</c:v>
                </c:pt>
                <c:pt idx="2072">
                  <c:v>6776546</c:v>
                </c:pt>
                <c:pt idx="2073">
                  <c:v>6796487</c:v>
                </c:pt>
                <c:pt idx="2074">
                  <c:v>6810486</c:v>
                </c:pt>
                <c:pt idx="2075">
                  <c:v>6822062</c:v>
                </c:pt>
                <c:pt idx="2076">
                  <c:v>6822214</c:v>
                </c:pt>
                <c:pt idx="2077">
                  <c:v>6819754</c:v>
                </c:pt>
                <c:pt idx="2078">
                  <c:v>6848529</c:v>
                </c:pt>
                <c:pt idx="2079">
                  <c:v>6863765</c:v>
                </c:pt>
                <c:pt idx="2080">
                  <c:v>6884454</c:v>
                </c:pt>
                <c:pt idx="2081">
                  <c:v>6903584</c:v>
                </c:pt>
                <c:pt idx="2082">
                  <c:v>6921797</c:v>
                </c:pt>
                <c:pt idx="2083">
                  <c:v>6922902</c:v>
                </c:pt>
                <c:pt idx="2084">
                  <c:v>6922956</c:v>
                </c:pt>
                <c:pt idx="2085">
                  <c:v>6951673</c:v>
                </c:pt>
                <c:pt idx="2086">
                  <c:v>6967258</c:v>
                </c:pt>
                <c:pt idx="2087">
                  <c:v>6973793</c:v>
                </c:pt>
                <c:pt idx="2088">
                  <c:v>6990498</c:v>
                </c:pt>
                <c:pt idx="2089">
                  <c:v>6997456</c:v>
                </c:pt>
                <c:pt idx="2090">
                  <c:v>6997515</c:v>
                </c:pt>
                <c:pt idx="2091">
                  <c:v>6997980</c:v>
                </c:pt>
                <c:pt idx="2092">
                  <c:v>7013807</c:v>
                </c:pt>
                <c:pt idx="2093">
                  <c:v>7026396</c:v>
                </c:pt>
                <c:pt idx="2094">
                  <c:v>7050663</c:v>
                </c:pt>
                <c:pt idx="2095">
                  <c:v>7074859</c:v>
                </c:pt>
                <c:pt idx="2096">
                  <c:v>7131184</c:v>
                </c:pt>
                <c:pt idx="2097">
                  <c:v>7133498</c:v>
                </c:pt>
                <c:pt idx="2098">
                  <c:v>7137096</c:v>
                </c:pt>
                <c:pt idx="2099">
                  <c:v>7180459</c:v>
                </c:pt>
                <c:pt idx="2100">
                  <c:v>7199121</c:v>
                </c:pt>
                <c:pt idx="2101">
                  <c:v>7209708</c:v>
                </c:pt>
                <c:pt idx="2102">
                  <c:v>7225357</c:v>
                </c:pt>
                <c:pt idx="2103">
                  <c:v>7239901</c:v>
                </c:pt>
                <c:pt idx="2104">
                  <c:v>7242526</c:v>
                </c:pt>
                <c:pt idx="2105">
                  <c:v>7241987</c:v>
                </c:pt>
                <c:pt idx="2106">
                  <c:v>7266911</c:v>
                </c:pt>
                <c:pt idx="2107">
                  <c:v>7295623</c:v>
                </c:pt>
                <c:pt idx="2108">
                  <c:v>7312918</c:v>
                </c:pt>
                <c:pt idx="2109">
                  <c:v>7297029</c:v>
                </c:pt>
                <c:pt idx="2110">
                  <c:v>7286545</c:v>
                </c:pt>
                <c:pt idx="2111">
                  <c:v>7286728</c:v>
                </c:pt>
                <c:pt idx="2112">
                  <c:v>7286370</c:v>
                </c:pt>
                <c:pt idx="2113">
                  <c:v>7301562</c:v>
                </c:pt>
                <c:pt idx="2114">
                  <c:v>7321473</c:v>
                </c:pt>
                <c:pt idx="2115">
                  <c:v>7344884</c:v>
                </c:pt>
                <c:pt idx="2116">
                  <c:v>7355357</c:v>
                </c:pt>
                <c:pt idx="2117">
                  <c:v>7359281</c:v>
                </c:pt>
                <c:pt idx="2118">
                  <c:v>7359428</c:v>
                </c:pt>
                <c:pt idx="2119">
                  <c:v>7358949</c:v>
                </c:pt>
                <c:pt idx="2120">
                  <c:v>7351867</c:v>
                </c:pt>
                <c:pt idx="2121">
                  <c:v>7376251</c:v>
                </c:pt>
                <c:pt idx="2122">
                  <c:v>7386962</c:v>
                </c:pt>
                <c:pt idx="2123">
                  <c:v>7394593</c:v>
                </c:pt>
                <c:pt idx="2124">
                  <c:v>7390593</c:v>
                </c:pt>
                <c:pt idx="2125">
                  <c:v>7389991</c:v>
                </c:pt>
                <c:pt idx="2126">
                  <c:v>7390741</c:v>
                </c:pt>
                <c:pt idx="2127">
                  <c:v>7376183</c:v>
                </c:pt>
                <c:pt idx="2128">
                  <c:v>7390726</c:v>
                </c:pt>
                <c:pt idx="2129">
                  <c:v>7404919</c:v>
                </c:pt>
                <c:pt idx="2130">
                  <c:v>7398080</c:v>
                </c:pt>
                <c:pt idx="2131">
                  <c:v>7388962</c:v>
                </c:pt>
                <c:pt idx="2132">
                  <c:v>7390307</c:v>
                </c:pt>
                <c:pt idx="2133">
                  <c:v>7391704</c:v>
                </c:pt>
                <c:pt idx="2134">
                  <c:v>7401623</c:v>
                </c:pt>
                <c:pt idx="2135">
                  <c:v>7409299</c:v>
                </c:pt>
                <c:pt idx="2136">
                  <c:v>7421779</c:v>
                </c:pt>
                <c:pt idx="2137">
                  <c:v>7464383</c:v>
                </c:pt>
                <c:pt idx="2138">
                  <c:v>7486420</c:v>
                </c:pt>
                <c:pt idx="2139">
                  <c:v>7485721</c:v>
                </c:pt>
                <c:pt idx="2140">
                  <c:v>7487672</c:v>
                </c:pt>
                <c:pt idx="2141">
                  <c:v>7495036</c:v>
                </c:pt>
                <c:pt idx="2142">
                  <c:v>7505079</c:v>
                </c:pt>
                <c:pt idx="2143">
                  <c:v>7510136</c:v>
                </c:pt>
                <c:pt idx="2144">
                  <c:v>7515660</c:v>
                </c:pt>
                <c:pt idx="2145">
                  <c:v>7514541</c:v>
                </c:pt>
                <c:pt idx="2146">
                  <c:v>7513835</c:v>
                </c:pt>
                <c:pt idx="2147">
                  <c:v>7513920</c:v>
                </c:pt>
                <c:pt idx="2148">
                  <c:v>7547771</c:v>
                </c:pt>
                <c:pt idx="2149">
                  <c:v>7553034</c:v>
                </c:pt>
                <c:pt idx="2150">
                  <c:v>7561251</c:v>
                </c:pt>
                <c:pt idx="2151">
                  <c:v>7559114</c:v>
                </c:pt>
                <c:pt idx="2152">
                  <c:v>7559095</c:v>
                </c:pt>
                <c:pt idx="2153">
                  <c:v>7558624</c:v>
                </c:pt>
                <c:pt idx="2154">
                  <c:v>7559258</c:v>
                </c:pt>
                <c:pt idx="2155">
                  <c:v>7608379</c:v>
                </c:pt>
                <c:pt idx="2156">
                  <c:v>7619205</c:v>
                </c:pt>
                <c:pt idx="2157">
                  <c:v>7640823</c:v>
                </c:pt>
                <c:pt idx="2158">
                  <c:v>7666015</c:v>
                </c:pt>
                <c:pt idx="2159">
                  <c:v>7669931</c:v>
                </c:pt>
                <c:pt idx="2160">
                  <c:v>7669683</c:v>
                </c:pt>
                <c:pt idx="2161">
                  <c:v>7669624</c:v>
                </c:pt>
                <c:pt idx="2162">
                  <c:v>7636903</c:v>
                </c:pt>
                <c:pt idx="2163">
                  <c:v>7656345</c:v>
                </c:pt>
                <c:pt idx="2164">
                  <c:v>7662896</c:v>
                </c:pt>
                <c:pt idx="2165">
                  <c:v>7661505</c:v>
                </c:pt>
                <c:pt idx="2166">
                  <c:v>7651529</c:v>
                </c:pt>
                <c:pt idx="2167">
                  <c:v>7651499</c:v>
                </c:pt>
                <c:pt idx="2168">
                  <c:v>7652089</c:v>
                </c:pt>
                <c:pt idx="2169">
                  <c:v>7680755</c:v>
                </c:pt>
                <c:pt idx="2170">
                  <c:v>7699363</c:v>
                </c:pt>
                <c:pt idx="2171">
                  <c:v>7705640</c:v>
                </c:pt>
                <c:pt idx="2172">
                  <c:v>7709212</c:v>
                </c:pt>
                <c:pt idx="2173">
                  <c:v>7706337</c:v>
                </c:pt>
                <c:pt idx="2174">
                  <c:v>7706822</c:v>
                </c:pt>
                <c:pt idx="2175">
                  <c:v>7705342</c:v>
                </c:pt>
                <c:pt idx="2176">
                  <c:v>7708761</c:v>
                </c:pt>
                <c:pt idx="2177">
                  <c:v>7695522</c:v>
                </c:pt>
                <c:pt idx="2178">
                  <c:v>7682375</c:v>
                </c:pt>
                <c:pt idx="2179">
                  <c:v>7667974</c:v>
                </c:pt>
                <c:pt idx="2180">
                  <c:v>7654287</c:v>
                </c:pt>
                <c:pt idx="2181">
                  <c:v>7652289</c:v>
                </c:pt>
                <c:pt idx="2182">
                  <c:v>7650618</c:v>
                </c:pt>
                <c:pt idx="2183">
                  <c:v>7647009</c:v>
                </c:pt>
                <c:pt idx="2184">
                  <c:v>7637310</c:v>
                </c:pt>
                <c:pt idx="2185">
                  <c:v>7612691</c:v>
                </c:pt>
                <c:pt idx="2186">
                  <c:v>7600436</c:v>
                </c:pt>
                <c:pt idx="2187">
                  <c:v>7588278</c:v>
                </c:pt>
                <c:pt idx="2188">
                  <c:v>7588996</c:v>
                </c:pt>
                <c:pt idx="2189">
                  <c:v>7590613</c:v>
                </c:pt>
                <c:pt idx="2190">
                  <c:v>7631282</c:v>
                </c:pt>
                <c:pt idx="2191">
                  <c:v>7646419</c:v>
                </c:pt>
                <c:pt idx="2192">
                  <c:v>7646996</c:v>
                </c:pt>
                <c:pt idx="2193">
                  <c:v>7625987</c:v>
                </c:pt>
                <c:pt idx="2194">
                  <c:v>7616685</c:v>
                </c:pt>
                <c:pt idx="2195">
                  <c:v>7621116</c:v>
                </c:pt>
                <c:pt idx="2196">
                  <c:v>7622716</c:v>
                </c:pt>
                <c:pt idx="2197">
                  <c:v>7633844</c:v>
                </c:pt>
                <c:pt idx="2198">
                  <c:v>7634097</c:v>
                </c:pt>
                <c:pt idx="2199">
                  <c:v>7640587</c:v>
                </c:pt>
                <c:pt idx="2200">
                  <c:v>7635967</c:v>
                </c:pt>
                <c:pt idx="2201">
                  <c:v>7628308</c:v>
                </c:pt>
                <c:pt idx="2202">
                  <c:v>7626921</c:v>
                </c:pt>
                <c:pt idx="2203">
                  <c:v>7628342</c:v>
                </c:pt>
                <c:pt idx="2204">
                  <c:v>7655031</c:v>
                </c:pt>
                <c:pt idx="2205">
                  <c:v>7687400</c:v>
                </c:pt>
                <c:pt idx="2206">
                  <c:v>7700112</c:v>
                </c:pt>
                <c:pt idx="2207">
                  <c:v>7701627</c:v>
                </c:pt>
                <c:pt idx="2208">
                  <c:v>7704580</c:v>
                </c:pt>
                <c:pt idx="2209">
                  <c:v>7705328</c:v>
                </c:pt>
                <c:pt idx="2210">
                  <c:v>7706359</c:v>
                </c:pt>
                <c:pt idx="2211">
                  <c:v>7735341</c:v>
                </c:pt>
                <c:pt idx="2212">
                  <c:v>7756623</c:v>
                </c:pt>
                <c:pt idx="2213">
                  <c:v>7778959</c:v>
                </c:pt>
                <c:pt idx="2214">
                  <c:v>7788518</c:v>
                </c:pt>
                <c:pt idx="2215">
                  <c:v>7785464</c:v>
                </c:pt>
                <c:pt idx="2216">
                  <c:v>7783640</c:v>
                </c:pt>
                <c:pt idx="2217">
                  <c:v>7782455</c:v>
                </c:pt>
                <c:pt idx="2218">
                  <c:v>7796983</c:v>
                </c:pt>
                <c:pt idx="2219">
                  <c:v>7814764</c:v>
                </c:pt>
                <c:pt idx="2220">
                  <c:v>7851672</c:v>
                </c:pt>
                <c:pt idx="2221">
                  <c:v>7880649</c:v>
                </c:pt>
                <c:pt idx="2222">
                  <c:v>7888642</c:v>
                </c:pt>
                <c:pt idx="2223">
                  <c:v>7888773</c:v>
                </c:pt>
                <c:pt idx="2224">
                  <c:v>7889237</c:v>
                </c:pt>
                <c:pt idx="2225">
                  <c:v>7873952</c:v>
                </c:pt>
                <c:pt idx="2226">
                  <c:v>7900322</c:v>
                </c:pt>
                <c:pt idx="2227">
                  <c:v>7947408</c:v>
                </c:pt>
                <c:pt idx="2228">
                  <c:v>7982093</c:v>
                </c:pt>
                <c:pt idx="2229">
                  <c:v>8004276</c:v>
                </c:pt>
                <c:pt idx="2230">
                  <c:v>8006762</c:v>
                </c:pt>
                <c:pt idx="2231">
                  <c:v>8010030</c:v>
                </c:pt>
                <c:pt idx="2232">
                  <c:v>8050409</c:v>
                </c:pt>
                <c:pt idx="2233">
                  <c:v>8088254</c:v>
                </c:pt>
                <c:pt idx="2234">
                  <c:v>8130047</c:v>
                </c:pt>
                <c:pt idx="2235">
                  <c:v>8177125</c:v>
                </c:pt>
                <c:pt idx="2236">
                  <c:v>8205378</c:v>
                </c:pt>
                <c:pt idx="2237">
                  <c:v>8208825</c:v>
                </c:pt>
                <c:pt idx="2238">
                  <c:v>8211305</c:v>
                </c:pt>
                <c:pt idx="2239">
                  <c:v>8244764</c:v>
                </c:pt>
                <c:pt idx="2240">
                  <c:v>8279696</c:v>
                </c:pt>
                <c:pt idx="2241">
                  <c:v>8307892</c:v>
                </c:pt>
                <c:pt idx="2242">
                  <c:v>8326916</c:v>
                </c:pt>
              </c:numCache>
            </c:numRef>
          </c:val>
          <c:smooth val="0"/>
          <c:extLst>
            <c:ext xmlns:c16="http://schemas.microsoft.com/office/drawing/2014/chart" uri="{C3380CC4-5D6E-409C-BE32-E72D297353CC}">
              <c16:uniqueId val="{00000000-DEC4-9945-B9EA-E1B870A2E924}"/>
            </c:ext>
          </c:extLst>
        </c:ser>
        <c:dLbls>
          <c:showLegendKey val="0"/>
          <c:showVal val="0"/>
          <c:showCatName val="0"/>
          <c:showSerName val="0"/>
          <c:showPercent val="0"/>
          <c:showBubbleSize val="0"/>
        </c:dLbls>
        <c:smooth val="0"/>
        <c:axId val="1753482304"/>
        <c:axId val="1753485632"/>
      </c:lineChart>
      <c:dateAx>
        <c:axId val="1753482304"/>
        <c:scaling>
          <c:orientation val="minMax"/>
        </c:scaling>
        <c:delete val="1"/>
        <c:axPos val="b"/>
        <c:numFmt formatCode="m/d/yyyy" sourceLinked="1"/>
        <c:majorTickMark val="out"/>
        <c:minorTickMark val="none"/>
        <c:tickLblPos val="nextTo"/>
        <c:crossAx val="1753485632"/>
        <c:crosses val="autoZero"/>
        <c:auto val="1"/>
        <c:lblOffset val="100"/>
        <c:baseTimeUnit val="days"/>
      </c:dateAx>
      <c:valAx>
        <c:axId val="1753485632"/>
        <c:scaling>
          <c:orientation val="minMax"/>
        </c:scaling>
        <c:delete val="1"/>
        <c:axPos val="l"/>
        <c:majorGridlines>
          <c:spPr>
            <a:ln w="9525" cap="flat" cmpd="sng" algn="ctr">
              <a:noFill/>
              <a:round/>
            </a:ln>
            <a:effectLst/>
          </c:spPr>
        </c:majorGridlines>
        <c:numFmt formatCode="#,##0" sourceLinked="1"/>
        <c:majorTickMark val="none"/>
        <c:minorTickMark val="none"/>
        <c:tickLblPos val="nextTo"/>
        <c:crossAx val="1753482304"/>
        <c:crosses val="autoZero"/>
        <c:crossBetween val="between"/>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cap="rnd">
      <a:noFill/>
      <a:prstDash val="lgDash"/>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4.xml.rels><?xml version="1.0" encoding="UTF-8" standalone="yes"?>
<Relationships xmlns="http://schemas.openxmlformats.org/package/2006/relationships"><Relationship Id="rId8" Type="http://schemas.openxmlformats.org/officeDocument/2006/relationships/image" Target="../media/image151.svg"/><Relationship Id="rId3" Type="http://schemas.openxmlformats.org/officeDocument/2006/relationships/image" Target="../media/image146.png"/><Relationship Id="rId7" Type="http://schemas.openxmlformats.org/officeDocument/2006/relationships/image" Target="../media/image150.png"/><Relationship Id="rId2" Type="http://schemas.openxmlformats.org/officeDocument/2006/relationships/image" Target="../media/image145.svg"/><Relationship Id="rId1" Type="http://schemas.openxmlformats.org/officeDocument/2006/relationships/image" Target="../media/image144.png"/><Relationship Id="rId6" Type="http://schemas.openxmlformats.org/officeDocument/2006/relationships/image" Target="../media/image149.svg"/><Relationship Id="rId5" Type="http://schemas.openxmlformats.org/officeDocument/2006/relationships/image" Target="../media/image148.png"/><Relationship Id="rId4" Type="http://schemas.openxmlformats.org/officeDocument/2006/relationships/image" Target="../media/image147.svg"/></Relationships>
</file>

<file path=ppt/diagrams/_rels/drawing4.xml.rels><?xml version="1.0" encoding="UTF-8" standalone="yes"?>
<Relationships xmlns="http://schemas.openxmlformats.org/package/2006/relationships"><Relationship Id="rId8" Type="http://schemas.openxmlformats.org/officeDocument/2006/relationships/image" Target="../media/image151.svg"/><Relationship Id="rId3" Type="http://schemas.openxmlformats.org/officeDocument/2006/relationships/image" Target="../media/image146.png"/><Relationship Id="rId7" Type="http://schemas.openxmlformats.org/officeDocument/2006/relationships/image" Target="../media/image150.png"/><Relationship Id="rId2" Type="http://schemas.openxmlformats.org/officeDocument/2006/relationships/image" Target="../media/image145.svg"/><Relationship Id="rId1" Type="http://schemas.openxmlformats.org/officeDocument/2006/relationships/image" Target="../media/image144.png"/><Relationship Id="rId6" Type="http://schemas.openxmlformats.org/officeDocument/2006/relationships/image" Target="../media/image149.svg"/><Relationship Id="rId5" Type="http://schemas.openxmlformats.org/officeDocument/2006/relationships/image" Target="../media/image148.png"/><Relationship Id="rId4" Type="http://schemas.openxmlformats.org/officeDocument/2006/relationships/image" Target="../media/image147.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4_5">
  <dgm:title val=""/>
  <dgm:desc val=""/>
  <dgm:catLst>
    <dgm:cat type="accent4" pri="11500"/>
  </dgm:catLst>
  <dgm:styleLbl name="node0">
    <dgm:fillClrLst meth="cycle">
      <a:schemeClr val="accent4">
        <a:alpha val="80000"/>
      </a:schemeClr>
    </dgm:fillClrLst>
    <dgm:linClrLst meth="repeat">
      <a:schemeClr val="lt1"/>
    </dgm:linClrLst>
    <dgm:effectClrLst/>
    <dgm:txLinClrLst/>
    <dgm:txFillClrLst/>
    <dgm:txEffectClrLst/>
  </dgm:styleLbl>
  <dgm:styleLbl name="node1">
    <dgm:fillClrLst>
      <a:schemeClr val="accent4">
        <a:alpha val="90000"/>
      </a:schemeClr>
      <a:schemeClr val="accent4">
        <a:alpha val="50000"/>
      </a:schemeClr>
    </dgm:fillClrLst>
    <dgm:linClrLst meth="repeat">
      <a:schemeClr val="lt1"/>
    </dgm:linClrLst>
    <dgm:effectClrLst/>
    <dgm:txLinClrLst/>
    <dgm:txFillClrLst/>
    <dgm:txEffectClrLst/>
  </dgm:styleLbl>
  <dgm:styleLbl name="alignNode1">
    <dgm:fillClrLst>
      <a:schemeClr val="accent4">
        <a:alpha val="90000"/>
      </a:schemeClr>
      <a:schemeClr val="accent4">
        <a:alpha val="50000"/>
      </a:schemeClr>
    </dgm:fillClrLst>
    <dgm:linClrLst>
      <a:schemeClr val="accent4">
        <a:alpha val="90000"/>
      </a:schemeClr>
      <a:schemeClr val="accent4">
        <a:alpha val="50000"/>
      </a:schemeClr>
    </dgm:linClrLst>
    <dgm:effectClrLst/>
    <dgm:txLinClrLst/>
    <dgm:txFillClrLst/>
    <dgm:txEffectClrLst/>
  </dgm:styleLbl>
  <dgm:styleLbl name="lnNode1">
    <dgm:fillClrLst>
      <a:schemeClr val="accent4">
        <a:shade val="90000"/>
      </a:schemeClr>
      <a:schemeClr val="accent4">
        <a:alpha val="50000"/>
        <a:tint val="5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alpha val="80000"/>
      </a:schemeClr>
    </dgm:fillClrLst>
    <dgm:linClrLst meth="repeat">
      <a:schemeClr val="lt1"/>
    </dgm:linClrLst>
    <dgm:effectClrLst/>
    <dgm:txLinClrLst/>
    <dgm:txFillClrLst/>
    <dgm:txEffectClrLst/>
  </dgm:styleLbl>
  <dgm:styleLbl name="node2">
    <dgm:fillClrLst>
      <a:schemeClr val="accent4">
        <a:alpha val="70000"/>
      </a:schemeClr>
    </dgm:fillClrLst>
    <dgm:linClrLst meth="repeat">
      <a:schemeClr val="lt1"/>
    </dgm:linClrLst>
    <dgm:effectClrLst/>
    <dgm:txLinClrLst/>
    <dgm:txFillClrLst/>
    <dgm:txEffectClrLst/>
  </dgm:styleLbl>
  <dgm:styleLbl name="node3">
    <dgm:fillClrLst>
      <a:schemeClr val="accent4">
        <a:alpha val="50000"/>
      </a:schemeClr>
    </dgm:fillClrLst>
    <dgm:linClrLst meth="repeat">
      <a:schemeClr val="lt1"/>
    </dgm:linClrLst>
    <dgm:effectClrLst/>
    <dgm:txLinClrLst/>
    <dgm:txFillClrLst/>
    <dgm:txEffectClrLst/>
  </dgm:styleLbl>
  <dgm:styleLbl name="node4">
    <dgm:fillClrLst>
      <a:schemeClr val="accent4">
        <a:alpha val="30000"/>
      </a:schemeClr>
    </dgm:fillClrLst>
    <dgm:linClrLst meth="repeat">
      <a:schemeClr val="lt1"/>
    </dgm:linClrLst>
    <dgm:effectClrLst/>
    <dgm:txLinClrLst/>
    <dgm:txFillClrLst/>
    <dgm:txEffectClrLst/>
  </dgm:styleLbl>
  <dgm:styleLbl name="fgImgPlace1">
    <dgm:fillClrLst>
      <a:schemeClr val="accent4">
        <a:tint val="50000"/>
        <a:alpha val="90000"/>
      </a:schemeClr>
      <a:schemeClr val="accent4">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f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b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sibTrans1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alpha val="90000"/>
      </a:schemeClr>
    </dgm:fillClrLst>
    <dgm:linClrLst meth="repeat">
      <a:schemeClr val="lt1"/>
    </dgm:linClrLst>
    <dgm:effectClrLst/>
    <dgm:txLinClrLst/>
    <dgm:txFillClrLst/>
    <dgm:txEffectClrLst/>
  </dgm:styleLbl>
  <dgm:styleLbl name="asst1">
    <dgm:fillClrLst meth="repeat">
      <a:schemeClr val="accent4">
        <a:alpha val="90000"/>
      </a:schemeClr>
    </dgm:fillClrLst>
    <dgm:linClrLst meth="repeat">
      <a:schemeClr val="lt1"/>
    </dgm:linClrLst>
    <dgm:effectClrLst/>
    <dgm:txLinClrLst/>
    <dgm:txFillClrLst/>
    <dgm:txEffectClrLst/>
  </dgm:styleLbl>
  <dgm:styleLbl name="asst2">
    <dgm:fillClrLst>
      <a:schemeClr val="accent4">
        <a:alpha val="90000"/>
      </a:schemeClr>
    </dgm:fillClrLst>
    <dgm:linClrLst meth="repeat">
      <a:schemeClr val="lt1"/>
    </dgm:linClrLst>
    <dgm:effectClrLst/>
    <dgm:txLinClrLst/>
    <dgm:txFillClrLst/>
    <dgm:txEffectClrLst/>
  </dgm:styleLbl>
  <dgm:styleLbl name="asst3">
    <dgm:fillClrLst>
      <a:schemeClr val="accent4">
        <a:alpha val="70000"/>
      </a:schemeClr>
    </dgm:fillClrLst>
    <dgm:linClrLst meth="repeat">
      <a:schemeClr val="lt1"/>
    </dgm:linClrLst>
    <dgm:effectClrLst/>
    <dgm:txLinClrLst/>
    <dgm:txFillClrLst/>
    <dgm:txEffectClrLst/>
  </dgm:styleLbl>
  <dgm:styleLbl name="asst4">
    <dgm:fillClrLst>
      <a:schemeClr val="accent4">
        <a:alpha val="50000"/>
      </a:schemeClr>
    </dgm:fillClrLst>
    <dgm:linClrLst meth="repeat">
      <a:schemeClr val="lt1"/>
    </dgm:linClrLst>
    <dgm:effectClrLst/>
    <dgm:txLinClrLst/>
    <dgm:txFillClrLst/>
    <dgm:txEffectClrLst/>
  </dgm:styleLbl>
  <dgm:styleLbl name="parChTrans2D1">
    <dgm:fillClrLst meth="repeat">
      <a:schemeClr val="accent4">
        <a:shade val="8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a:schemeClr val="accent4">
        <a:alpha val="90000"/>
        <a:tint val="40000"/>
      </a:schemeClr>
      <a:schemeClr val="accent4">
        <a:alpha val="5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87BA211-35F0-457D-8907-52965C5CF5C6}" type="doc">
      <dgm:prSet loTypeId="urn:microsoft.com/office/officeart/2005/8/layout/pyramid3" loCatId="pyramid" qsTypeId="urn:microsoft.com/office/officeart/2005/8/quickstyle/simple1" qsCatId="simple" csTypeId="urn:microsoft.com/office/officeart/2005/8/colors/accent1_2" csCatId="accent1" phldr="1"/>
      <dgm:spPr/>
    </dgm:pt>
    <dgm:pt modelId="{96266317-0820-4D15-A9E0-E4100F5D03D6}">
      <dgm:prSet phldrT="[Text]" custT="1"/>
      <dgm:spPr>
        <a:solidFill>
          <a:schemeClr val="bg1">
            <a:lumMod val="75000"/>
          </a:schemeClr>
        </a:solidFill>
      </dgm:spPr>
      <dgm:t>
        <a:bodyPr/>
        <a:lstStyle/>
        <a:p>
          <a:r>
            <a:rPr lang="en-US" sz="4400" b="1">
              <a:solidFill>
                <a:schemeClr val="bg1"/>
              </a:solidFill>
              <a:latin typeface="+mn-lt"/>
              <a:cs typeface="Leelawadee" panose="020B0502040204020203" pitchFamily="34" charset="-34"/>
            </a:rPr>
            <a:t>FILTERS/JOINS</a:t>
          </a:r>
        </a:p>
      </dgm:t>
    </dgm:pt>
    <dgm:pt modelId="{0D4DCD13-9C5B-4F68-B3EB-1DD21C3C7E6D}" type="parTrans" cxnId="{423E5F98-833A-49C7-9F6C-B8C86E83BA88}">
      <dgm:prSet/>
      <dgm:spPr/>
      <dgm:t>
        <a:bodyPr/>
        <a:lstStyle/>
        <a:p>
          <a:endParaRPr lang="en-US">
            <a:latin typeface="+mn-lt"/>
          </a:endParaRPr>
        </a:p>
      </dgm:t>
    </dgm:pt>
    <dgm:pt modelId="{95C0DEF4-E74E-481D-8682-99C256241B05}" type="sibTrans" cxnId="{423E5F98-833A-49C7-9F6C-B8C86E83BA88}">
      <dgm:prSet/>
      <dgm:spPr/>
      <dgm:t>
        <a:bodyPr/>
        <a:lstStyle/>
        <a:p>
          <a:endParaRPr lang="en-US">
            <a:latin typeface="+mn-lt"/>
          </a:endParaRPr>
        </a:p>
      </dgm:t>
    </dgm:pt>
    <dgm:pt modelId="{7F1B0F29-6E39-4266-AE10-FD0117BD0607}">
      <dgm:prSet phldrT="[Text]"/>
      <dgm:spPr>
        <a:solidFill>
          <a:schemeClr val="tx1">
            <a:lumMod val="50000"/>
            <a:lumOff val="50000"/>
          </a:schemeClr>
        </a:solidFill>
      </dgm:spPr>
      <dgm:t>
        <a:bodyPr/>
        <a:lstStyle/>
        <a:p>
          <a:r>
            <a:rPr lang="en-US" b="1">
              <a:solidFill>
                <a:schemeClr val="bg1"/>
              </a:solidFill>
              <a:latin typeface="+mn-lt"/>
              <a:cs typeface="Leelawadee" panose="020B0502040204020203" pitchFamily="34" charset="-34"/>
            </a:rPr>
            <a:t>TRANSFORMATIONS</a:t>
          </a:r>
        </a:p>
      </dgm:t>
    </dgm:pt>
    <dgm:pt modelId="{720A22CF-54D2-4BEC-BD4F-86FEB90DEC2E}" type="parTrans" cxnId="{050472DF-847A-44F4-8ED2-6FB399EB1B72}">
      <dgm:prSet/>
      <dgm:spPr/>
      <dgm:t>
        <a:bodyPr/>
        <a:lstStyle/>
        <a:p>
          <a:endParaRPr lang="en-US">
            <a:latin typeface="+mn-lt"/>
          </a:endParaRPr>
        </a:p>
      </dgm:t>
    </dgm:pt>
    <dgm:pt modelId="{ED5AC77C-5B6B-49A1-80CE-9CC3E00218FC}" type="sibTrans" cxnId="{050472DF-847A-44F4-8ED2-6FB399EB1B72}">
      <dgm:prSet/>
      <dgm:spPr/>
      <dgm:t>
        <a:bodyPr/>
        <a:lstStyle/>
        <a:p>
          <a:endParaRPr lang="en-US">
            <a:latin typeface="+mn-lt"/>
          </a:endParaRPr>
        </a:p>
      </dgm:t>
    </dgm:pt>
    <dgm:pt modelId="{6D0A2261-801C-42D8-91A7-2C997EDD487C}">
      <dgm:prSet phldrT="[Text]" custT="1"/>
      <dgm:spPr>
        <a:solidFill>
          <a:schemeClr val="tx1">
            <a:lumMod val="75000"/>
            <a:lumOff val="25000"/>
          </a:schemeClr>
        </a:solidFill>
      </dgm:spPr>
      <dgm:t>
        <a:bodyPr tIns="274320" anchor="t"/>
        <a:lstStyle/>
        <a:p>
          <a:pPr algn="ctr"/>
          <a:r>
            <a:rPr lang="en-US" sz="1600" b="1">
              <a:solidFill>
                <a:schemeClr val="bg1"/>
              </a:solidFill>
              <a:latin typeface="+mn-lt"/>
              <a:cs typeface="Leelawadee" panose="020B0502040204020203" pitchFamily="34" charset="-34"/>
            </a:rPr>
            <a:t>COLUMN</a:t>
          </a:r>
        </a:p>
        <a:p>
          <a:pPr algn="ctr"/>
          <a:r>
            <a:rPr lang="en-US" sz="1600" b="1">
              <a:solidFill>
                <a:schemeClr val="bg1"/>
              </a:solidFill>
              <a:latin typeface="+mn-lt"/>
              <a:cs typeface="Leelawadee" panose="020B0502040204020203" pitchFamily="34" charset="-34"/>
            </a:rPr>
            <a:t>SELECTION</a:t>
          </a:r>
        </a:p>
      </dgm:t>
    </dgm:pt>
    <dgm:pt modelId="{DA5ECBCD-81B7-4DEA-AD0F-7038E2360B09}" type="parTrans" cxnId="{D06161D6-69FE-42E7-84A4-537C35E660B5}">
      <dgm:prSet/>
      <dgm:spPr/>
      <dgm:t>
        <a:bodyPr/>
        <a:lstStyle/>
        <a:p>
          <a:endParaRPr lang="en-US">
            <a:latin typeface="+mn-lt"/>
          </a:endParaRPr>
        </a:p>
      </dgm:t>
    </dgm:pt>
    <dgm:pt modelId="{3A15FDD4-6CDE-47C3-806C-5EABE354AFB9}" type="sibTrans" cxnId="{D06161D6-69FE-42E7-84A4-537C35E660B5}">
      <dgm:prSet/>
      <dgm:spPr/>
      <dgm:t>
        <a:bodyPr/>
        <a:lstStyle/>
        <a:p>
          <a:endParaRPr lang="en-US">
            <a:latin typeface="+mn-lt"/>
          </a:endParaRPr>
        </a:p>
      </dgm:t>
    </dgm:pt>
    <dgm:pt modelId="{F6CB21B8-B641-4004-8232-3D37DD689D6D}" type="pres">
      <dgm:prSet presAssocID="{187BA211-35F0-457D-8907-52965C5CF5C6}" presName="Name0" presStyleCnt="0">
        <dgm:presLayoutVars>
          <dgm:dir/>
          <dgm:animLvl val="lvl"/>
          <dgm:resizeHandles val="exact"/>
        </dgm:presLayoutVars>
      </dgm:prSet>
      <dgm:spPr/>
    </dgm:pt>
    <dgm:pt modelId="{8AE5B34D-0BB8-4815-BFA1-EA1BA696C7E3}" type="pres">
      <dgm:prSet presAssocID="{96266317-0820-4D15-A9E0-E4100F5D03D6}" presName="Name8" presStyleCnt="0"/>
      <dgm:spPr/>
    </dgm:pt>
    <dgm:pt modelId="{07E091AE-D53F-408B-A6C6-547663D5AAC4}" type="pres">
      <dgm:prSet presAssocID="{96266317-0820-4D15-A9E0-E4100F5D03D6}" presName="level" presStyleLbl="node1" presStyleIdx="0" presStyleCnt="3">
        <dgm:presLayoutVars>
          <dgm:chMax val="1"/>
          <dgm:bulletEnabled val="1"/>
        </dgm:presLayoutVars>
      </dgm:prSet>
      <dgm:spPr/>
    </dgm:pt>
    <dgm:pt modelId="{69867BA3-B7BD-4302-AD61-E9C853280C09}" type="pres">
      <dgm:prSet presAssocID="{96266317-0820-4D15-A9E0-E4100F5D03D6}" presName="levelTx" presStyleLbl="revTx" presStyleIdx="0" presStyleCnt="0">
        <dgm:presLayoutVars>
          <dgm:chMax val="1"/>
          <dgm:bulletEnabled val="1"/>
        </dgm:presLayoutVars>
      </dgm:prSet>
      <dgm:spPr/>
    </dgm:pt>
    <dgm:pt modelId="{7DEFD483-9801-45B0-915D-F458BEE72BCB}" type="pres">
      <dgm:prSet presAssocID="{7F1B0F29-6E39-4266-AE10-FD0117BD0607}" presName="Name8" presStyleCnt="0"/>
      <dgm:spPr/>
    </dgm:pt>
    <dgm:pt modelId="{0870BA61-4217-427C-8C7E-4EA239322EAC}" type="pres">
      <dgm:prSet presAssocID="{7F1B0F29-6E39-4266-AE10-FD0117BD0607}" presName="level" presStyleLbl="node1" presStyleIdx="1" presStyleCnt="3">
        <dgm:presLayoutVars>
          <dgm:chMax val="1"/>
          <dgm:bulletEnabled val="1"/>
        </dgm:presLayoutVars>
      </dgm:prSet>
      <dgm:spPr/>
    </dgm:pt>
    <dgm:pt modelId="{41A8C422-F650-45CC-B381-C0F4443102E7}" type="pres">
      <dgm:prSet presAssocID="{7F1B0F29-6E39-4266-AE10-FD0117BD0607}" presName="levelTx" presStyleLbl="revTx" presStyleIdx="0" presStyleCnt="0">
        <dgm:presLayoutVars>
          <dgm:chMax val="1"/>
          <dgm:bulletEnabled val="1"/>
        </dgm:presLayoutVars>
      </dgm:prSet>
      <dgm:spPr/>
    </dgm:pt>
    <dgm:pt modelId="{9CC71D40-1D49-4FFC-8725-867081C07A41}" type="pres">
      <dgm:prSet presAssocID="{6D0A2261-801C-42D8-91A7-2C997EDD487C}" presName="Name8" presStyleCnt="0"/>
      <dgm:spPr/>
    </dgm:pt>
    <dgm:pt modelId="{3662EC92-002E-4F1B-AE1C-6EF3EC3391A1}" type="pres">
      <dgm:prSet presAssocID="{6D0A2261-801C-42D8-91A7-2C997EDD487C}" presName="level" presStyleLbl="node1" presStyleIdx="2" presStyleCnt="3">
        <dgm:presLayoutVars>
          <dgm:chMax val="1"/>
          <dgm:bulletEnabled val="1"/>
        </dgm:presLayoutVars>
      </dgm:prSet>
      <dgm:spPr/>
    </dgm:pt>
    <dgm:pt modelId="{64A32ECC-9666-477E-9320-5B3C56D070B7}" type="pres">
      <dgm:prSet presAssocID="{6D0A2261-801C-42D8-91A7-2C997EDD487C}" presName="levelTx" presStyleLbl="revTx" presStyleIdx="0" presStyleCnt="0">
        <dgm:presLayoutVars>
          <dgm:chMax val="1"/>
          <dgm:bulletEnabled val="1"/>
        </dgm:presLayoutVars>
      </dgm:prSet>
      <dgm:spPr/>
    </dgm:pt>
  </dgm:ptLst>
  <dgm:cxnLst>
    <dgm:cxn modelId="{1D074C1D-9FCA-4D4B-B3E4-90FE5103989E}" type="presOf" srcId="{7F1B0F29-6E39-4266-AE10-FD0117BD0607}" destId="{41A8C422-F650-45CC-B381-C0F4443102E7}" srcOrd="1" destOrd="0" presId="urn:microsoft.com/office/officeart/2005/8/layout/pyramid3"/>
    <dgm:cxn modelId="{DA9FA036-F6F2-4C86-B660-479A220D425F}" type="presOf" srcId="{96266317-0820-4D15-A9E0-E4100F5D03D6}" destId="{07E091AE-D53F-408B-A6C6-547663D5AAC4}" srcOrd="0" destOrd="0" presId="urn:microsoft.com/office/officeart/2005/8/layout/pyramid3"/>
    <dgm:cxn modelId="{DC62EE5F-1F77-4FB4-9EF9-48D0A5F3D9C6}" type="presOf" srcId="{96266317-0820-4D15-A9E0-E4100F5D03D6}" destId="{69867BA3-B7BD-4302-AD61-E9C853280C09}" srcOrd="1" destOrd="0" presId="urn:microsoft.com/office/officeart/2005/8/layout/pyramid3"/>
    <dgm:cxn modelId="{6DA00860-1793-4255-8527-3EED41248DB5}" type="presOf" srcId="{6D0A2261-801C-42D8-91A7-2C997EDD487C}" destId="{3662EC92-002E-4F1B-AE1C-6EF3EC3391A1}" srcOrd="0" destOrd="0" presId="urn:microsoft.com/office/officeart/2005/8/layout/pyramid3"/>
    <dgm:cxn modelId="{6D1BFD41-4C9E-4215-B680-81CDA976CA23}" type="presOf" srcId="{187BA211-35F0-457D-8907-52965C5CF5C6}" destId="{F6CB21B8-B641-4004-8232-3D37DD689D6D}" srcOrd="0" destOrd="0" presId="urn:microsoft.com/office/officeart/2005/8/layout/pyramid3"/>
    <dgm:cxn modelId="{29005D50-2E83-4EA6-89F8-884E0FD07206}" type="presOf" srcId="{7F1B0F29-6E39-4266-AE10-FD0117BD0607}" destId="{0870BA61-4217-427C-8C7E-4EA239322EAC}" srcOrd="0" destOrd="0" presId="urn:microsoft.com/office/officeart/2005/8/layout/pyramid3"/>
    <dgm:cxn modelId="{423E5F98-833A-49C7-9F6C-B8C86E83BA88}" srcId="{187BA211-35F0-457D-8907-52965C5CF5C6}" destId="{96266317-0820-4D15-A9E0-E4100F5D03D6}" srcOrd="0" destOrd="0" parTransId="{0D4DCD13-9C5B-4F68-B3EB-1DD21C3C7E6D}" sibTransId="{95C0DEF4-E74E-481D-8682-99C256241B05}"/>
    <dgm:cxn modelId="{D06161D6-69FE-42E7-84A4-537C35E660B5}" srcId="{187BA211-35F0-457D-8907-52965C5CF5C6}" destId="{6D0A2261-801C-42D8-91A7-2C997EDD487C}" srcOrd="2" destOrd="0" parTransId="{DA5ECBCD-81B7-4DEA-AD0F-7038E2360B09}" sibTransId="{3A15FDD4-6CDE-47C3-806C-5EABE354AFB9}"/>
    <dgm:cxn modelId="{050472DF-847A-44F4-8ED2-6FB399EB1B72}" srcId="{187BA211-35F0-457D-8907-52965C5CF5C6}" destId="{7F1B0F29-6E39-4266-AE10-FD0117BD0607}" srcOrd="1" destOrd="0" parTransId="{720A22CF-54D2-4BEC-BD4F-86FEB90DEC2E}" sibTransId="{ED5AC77C-5B6B-49A1-80CE-9CC3E00218FC}"/>
    <dgm:cxn modelId="{C369B0EC-882F-41AA-87BB-BA4119BD8D07}" type="presOf" srcId="{6D0A2261-801C-42D8-91A7-2C997EDD487C}" destId="{64A32ECC-9666-477E-9320-5B3C56D070B7}" srcOrd="1" destOrd="0" presId="urn:microsoft.com/office/officeart/2005/8/layout/pyramid3"/>
    <dgm:cxn modelId="{EFD3F302-78C3-4104-AE86-6C2B72417361}" type="presParOf" srcId="{F6CB21B8-B641-4004-8232-3D37DD689D6D}" destId="{8AE5B34D-0BB8-4815-BFA1-EA1BA696C7E3}" srcOrd="0" destOrd="0" presId="urn:microsoft.com/office/officeart/2005/8/layout/pyramid3"/>
    <dgm:cxn modelId="{8901A4B1-994C-48E4-B374-12D471D4A664}" type="presParOf" srcId="{8AE5B34D-0BB8-4815-BFA1-EA1BA696C7E3}" destId="{07E091AE-D53F-408B-A6C6-547663D5AAC4}" srcOrd="0" destOrd="0" presId="urn:microsoft.com/office/officeart/2005/8/layout/pyramid3"/>
    <dgm:cxn modelId="{855A8EFF-59A8-4215-AE09-A93C3D07EB22}" type="presParOf" srcId="{8AE5B34D-0BB8-4815-BFA1-EA1BA696C7E3}" destId="{69867BA3-B7BD-4302-AD61-E9C853280C09}" srcOrd="1" destOrd="0" presId="urn:microsoft.com/office/officeart/2005/8/layout/pyramid3"/>
    <dgm:cxn modelId="{8C36F9B4-EE5D-4725-A2A9-7DE6E369CF69}" type="presParOf" srcId="{F6CB21B8-B641-4004-8232-3D37DD689D6D}" destId="{7DEFD483-9801-45B0-915D-F458BEE72BCB}" srcOrd="1" destOrd="0" presId="urn:microsoft.com/office/officeart/2005/8/layout/pyramid3"/>
    <dgm:cxn modelId="{4096AE52-4144-4F22-8CB3-488B7341A075}" type="presParOf" srcId="{7DEFD483-9801-45B0-915D-F458BEE72BCB}" destId="{0870BA61-4217-427C-8C7E-4EA239322EAC}" srcOrd="0" destOrd="0" presId="urn:microsoft.com/office/officeart/2005/8/layout/pyramid3"/>
    <dgm:cxn modelId="{DDB11AA3-8EE9-441A-AAC5-96AC05909944}" type="presParOf" srcId="{7DEFD483-9801-45B0-915D-F458BEE72BCB}" destId="{41A8C422-F650-45CC-B381-C0F4443102E7}" srcOrd="1" destOrd="0" presId="urn:microsoft.com/office/officeart/2005/8/layout/pyramid3"/>
    <dgm:cxn modelId="{B7CEF5EB-D0E5-4723-B299-CED8675B1F31}" type="presParOf" srcId="{F6CB21B8-B641-4004-8232-3D37DD689D6D}" destId="{9CC71D40-1D49-4FFC-8725-867081C07A41}" srcOrd="2" destOrd="0" presId="urn:microsoft.com/office/officeart/2005/8/layout/pyramid3"/>
    <dgm:cxn modelId="{6026EAB3-F900-4BF6-961C-645E0D14686A}" type="presParOf" srcId="{9CC71D40-1D49-4FFC-8725-867081C07A41}" destId="{3662EC92-002E-4F1B-AE1C-6EF3EC3391A1}" srcOrd="0" destOrd="0" presId="urn:microsoft.com/office/officeart/2005/8/layout/pyramid3"/>
    <dgm:cxn modelId="{6845F401-2D29-4173-8B3B-7F6D54481DCB}" type="presParOf" srcId="{9CC71D40-1D49-4FFC-8725-867081C07A41}" destId="{64A32ECC-9666-477E-9320-5B3C56D070B7}" srcOrd="1" destOrd="0" presId="urn:microsoft.com/office/officeart/2005/8/layout/pyramid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87BA211-35F0-457D-8907-52965C5CF5C6}" type="doc">
      <dgm:prSet loTypeId="urn:microsoft.com/office/officeart/2005/8/layout/pyramid3" loCatId="pyramid" qsTypeId="urn:microsoft.com/office/officeart/2005/8/quickstyle/simple1" qsCatId="simple" csTypeId="urn:microsoft.com/office/officeart/2005/8/colors/accent1_2" csCatId="accent1" phldr="1"/>
      <dgm:spPr/>
    </dgm:pt>
    <dgm:pt modelId="{7F1B0F29-6E39-4266-AE10-FD0117BD0607}">
      <dgm:prSet phldrT="[Text]"/>
      <dgm:spPr>
        <a:solidFill>
          <a:schemeClr val="tx1">
            <a:lumMod val="50000"/>
            <a:lumOff val="50000"/>
          </a:schemeClr>
        </a:solidFill>
      </dgm:spPr>
      <dgm:t>
        <a:bodyPr/>
        <a:lstStyle/>
        <a:p>
          <a:r>
            <a:rPr lang="en-US" b="1">
              <a:solidFill>
                <a:schemeClr val="tx1">
                  <a:lumMod val="50000"/>
                  <a:lumOff val="50000"/>
                </a:schemeClr>
              </a:solidFill>
              <a:latin typeface="+mj-lt"/>
              <a:cs typeface="Leelawadee" panose="020B0502040204020203" pitchFamily="34" charset="-34"/>
            </a:rPr>
            <a:t>.</a:t>
          </a:r>
        </a:p>
      </dgm:t>
    </dgm:pt>
    <dgm:pt modelId="{720A22CF-54D2-4BEC-BD4F-86FEB90DEC2E}" type="parTrans" cxnId="{050472DF-847A-44F4-8ED2-6FB399EB1B72}">
      <dgm:prSet/>
      <dgm:spPr/>
      <dgm:t>
        <a:bodyPr/>
        <a:lstStyle/>
        <a:p>
          <a:endParaRPr lang="en-US"/>
        </a:p>
      </dgm:t>
    </dgm:pt>
    <dgm:pt modelId="{ED5AC77C-5B6B-49A1-80CE-9CC3E00218FC}" type="sibTrans" cxnId="{050472DF-847A-44F4-8ED2-6FB399EB1B72}">
      <dgm:prSet/>
      <dgm:spPr/>
      <dgm:t>
        <a:bodyPr/>
        <a:lstStyle/>
        <a:p>
          <a:endParaRPr lang="en-US"/>
        </a:p>
      </dgm:t>
    </dgm:pt>
    <dgm:pt modelId="{6D0A2261-801C-42D8-91A7-2C997EDD487C}">
      <dgm:prSet phldrT="[Text]" custT="1"/>
      <dgm:spPr>
        <a:solidFill>
          <a:schemeClr val="tx1">
            <a:lumMod val="75000"/>
            <a:lumOff val="25000"/>
          </a:schemeClr>
        </a:solidFill>
      </dgm:spPr>
      <dgm:t>
        <a:bodyPr tIns="274320" anchor="t"/>
        <a:lstStyle/>
        <a:p>
          <a:pPr algn="ctr"/>
          <a:r>
            <a:rPr lang="en-US" sz="1600" b="1">
              <a:solidFill>
                <a:schemeClr val="tx1">
                  <a:lumMod val="75000"/>
                  <a:lumOff val="25000"/>
                </a:schemeClr>
              </a:solidFill>
              <a:latin typeface="+mj-lt"/>
              <a:cs typeface="Leelawadee" panose="020B0502040204020203" pitchFamily="34" charset="-34"/>
            </a:rPr>
            <a:t>.</a:t>
          </a:r>
        </a:p>
      </dgm:t>
    </dgm:pt>
    <dgm:pt modelId="{DA5ECBCD-81B7-4DEA-AD0F-7038E2360B09}" type="parTrans" cxnId="{D06161D6-69FE-42E7-84A4-537C35E660B5}">
      <dgm:prSet/>
      <dgm:spPr/>
      <dgm:t>
        <a:bodyPr/>
        <a:lstStyle/>
        <a:p>
          <a:endParaRPr lang="en-US"/>
        </a:p>
      </dgm:t>
    </dgm:pt>
    <dgm:pt modelId="{3A15FDD4-6CDE-47C3-806C-5EABE354AFB9}" type="sibTrans" cxnId="{D06161D6-69FE-42E7-84A4-537C35E660B5}">
      <dgm:prSet/>
      <dgm:spPr/>
      <dgm:t>
        <a:bodyPr/>
        <a:lstStyle/>
        <a:p>
          <a:endParaRPr lang="en-US"/>
        </a:p>
      </dgm:t>
    </dgm:pt>
    <dgm:pt modelId="{96266317-0820-4D15-A9E0-E4100F5D03D6}">
      <dgm:prSet phldrT="[Text]" custT="1"/>
      <dgm:spPr>
        <a:solidFill>
          <a:schemeClr val="bg1">
            <a:lumMod val="75000"/>
          </a:schemeClr>
        </a:solidFill>
      </dgm:spPr>
      <dgm:t>
        <a:bodyPr/>
        <a:lstStyle/>
        <a:p>
          <a:r>
            <a:rPr lang="en-US" sz="4400" b="1">
              <a:solidFill>
                <a:schemeClr val="bg1"/>
              </a:solidFill>
              <a:latin typeface="Segoe UI Semibold" panose="020B0702040204020203" pitchFamily="34" charset="0"/>
              <a:cs typeface="Segoe UI Semibold" panose="020B0702040204020203" pitchFamily="34" charset="0"/>
            </a:rPr>
            <a:t>Data you have.</a:t>
          </a:r>
        </a:p>
      </dgm:t>
    </dgm:pt>
    <dgm:pt modelId="{95C0DEF4-E74E-481D-8682-99C256241B05}" type="sibTrans" cxnId="{423E5F98-833A-49C7-9F6C-B8C86E83BA88}">
      <dgm:prSet/>
      <dgm:spPr/>
      <dgm:t>
        <a:bodyPr/>
        <a:lstStyle/>
        <a:p>
          <a:endParaRPr lang="en-US"/>
        </a:p>
      </dgm:t>
    </dgm:pt>
    <dgm:pt modelId="{0D4DCD13-9C5B-4F68-B3EB-1DD21C3C7E6D}" type="parTrans" cxnId="{423E5F98-833A-49C7-9F6C-B8C86E83BA88}">
      <dgm:prSet/>
      <dgm:spPr/>
      <dgm:t>
        <a:bodyPr/>
        <a:lstStyle/>
        <a:p>
          <a:endParaRPr lang="en-US"/>
        </a:p>
      </dgm:t>
    </dgm:pt>
    <dgm:pt modelId="{F6CB21B8-B641-4004-8232-3D37DD689D6D}" type="pres">
      <dgm:prSet presAssocID="{187BA211-35F0-457D-8907-52965C5CF5C6}" presName="Name0" presStyleCnt="0">
        <dgm:presLayoutVars>
          <dgm:dir/>
          <dgm:animLvl val="lvl"/>
          <dgm:resizeHandles val="exact"/>
        </dgm:presLayoutVars>
      </dgm:prSet>
      <dgm:spPr/>
    </dgm:pt>
    <dgm:pt modelId="{8AE5B34D-0BB8-4815-BFA1-EA1BA696C7E3}" type="pres">
      <dgm:prSet presAssocID="{96266317-0820-4D15-A9E0-E4100F5D03D6}" presName="Name8" presStyleCnt="0"/>
      <dgm:spPr/>
    </dgm:pt>
    <dgm:pt modelId="{07E091AE-D53F-408B-A6C6-547663D5AAC4}" type="pres">
      <dgm:prSet presAssocID="{96266317-0820-4D15-A9E0-E4100F5D03D6}" presName="level" presStyleLbl="node1" presStyleIdx="0" presStyleCnt="3">
        <dgm:presLayoutVars>
          <dgm:chMax val="1"/>
          <dgm:bulletEnabled val="1"/>
        </dgm:presLayoutVars>
      </dgm:prSet>
      <dgm:spPr/>
    </dgm:pt>
    <dgm:pt modelId="{69867BA3-B7BD-4302-AD61-E9C853280C09}" type="pres">
      <dgm:prSet presAssocID="{96266317-0820-4D15-A9E0-E4100F5D03D6}" presName="levelTx" presStyleLbl="revTx" presStyleIdx="0" presStyleCnt="0">
        <dgm:presLayoutVars>
          <dgm:chMax val="1"/>
          <dgm:bulletEnabled val="1"/>
        </dgm:presLayoutVars>
      </dgm:prSet>
      <dgm:spPr/>
    </dgm:pt>
    <dgm:pt modelId="{7DEFD483-9801-45B0-915D-F458BEE72BCB}" type="pres">
      <dgm:prSet presAssocID="{7F1B0F29-6E39-4266-AE10-FD0117BD0607}" presName="Name8" presStyleCnt="0"/>
      <dgm:spPr/>
    </dgm:pt>
    <dgm:pt modelId="{0870BA61-4217-427C-8C7E-4EA239322EAC}" type="pres">
      <dgm:prSet presAssocID="{7F1B0F29-6E39-4266-AE10-FD0117BD0607}" presName="level" presStyleLbl="node1" presStyleIdx="1" presStyleCnt="3">
        <dgm:presLayoutVars>
          <dgm:chMax val="1"/>
          <dgm:bulletEnabled val="1"/>
        </dgm:presLayoutVars>
      </dgm:prSet>
      <dgm:spPr/>
    </dgm:pt>
    <dgm:pt modelId="{41A8C422-F650-45CC-B381-C0F4443102E7}" type="pres">
      <dgm:prSet presAssocID="{7F1B0F29-6E39-4266-AE10-FD0117BD0607}" presName="levelTx" presStyleLbl="revTx" presStyleIdx="0" presStyleCnt="0">
        <dgm:presLayoutVars>
          <dgm:chMax val="1"/>
          <dgm:bulletEnabled val="1"/>
        </dgm:presLayoutVars>
      </dgm:prSet>
      <dgm:spPr/>
    </dgm:pt>
    <dgm:pt modelId="{9CC71D40-1D49-4FFC-8725-867081C07A41}" type="pres">
      <dgm:prSet presAssocID="{6D0A2261-801C-42D8-91A7-2C997EDD487C}" presName="Name8" presStyleCnt="0"/>
      <dgm:spPr/>
    </dgm:pt>
    <dgm:pt modelId="{3662EC92-002E-4F1B-AE1C-6EF3EC3391A1}" type="pres">
      <dgm:prSet presAssocID="{6D0A2261-801C-42D8-91A7-2C997EDD487C}" presName="level" presStyleLbl="node1" presStyleIdx="2" presStyleCnt="3">
        <dgm:presLayoutVars>
          <dgm:chMax val="1"/>
          <dgm:bulletEnabled val="1"/>
        </dgm:presLayoutVars>
      </dgm:prSet>
      <dgm:spPr/>
    </dgm:pt>
    <dgm:pt modelId="{64A32ECC-9666-477E-9320-5B3C56D070B7}" type="pres">
      <dgm:prSet presAssocID="{6D0A2261-801C-42D8-91A7-2C997EDD487C}" presName="levelTx" presStyleLbl="revTx" presStyleIdx="0" presStyleCnt="0">
        <dgm:presLayoutVars>
          <dgm:chMax val="1"/>
          <dgm:bulletEnabled val="1"/>
        </dgm:presLayoutVars>
      </dgm:prSet>
      <dgm:spPr/>
    </dgm:pt>
  </dgm:ptLst>
  <dgm:cxnLst>
    <dgm:cxn modelId="{1D074C1D-9FCA-4D4B-B3E4-90FE5103989E}" type="presOf" srcId="{7F1B0F29-6E39-4266-AE10-FD0117BD0607}" destId="{41A8C422-F650-45CC-B381-C0F4443102E7}" srcOrd="1" destOrd="0" presId="urn:microsoft.com/office/officeart/2005/8/layout/pyramid3"/>
    <dgm:cxn modelId="{DA9FA036-F6F2-4C86-B660-479A220D425F}" type="presOf" srcId="{96266317-0820-4D15-A9E0-E4100F5D03D6}" destId="{07E091AE-D53F-408B-A6C6-547663D5AAC4}" srcOrd="0" destOrd="0" presId="urn:microsoft.com/office/officeart/2005/8/layout/pyramid3"/>
    <dgm:cxn modelId="{DC62EE5F-1F77-4FB4-9EF9-48D0A5F3D9C6}" type="presOf" srcId="{96266317-0820-4D15-A9E0-E4100F5D03D6}" destId="{69867BA3-B7BD-4302-AD61-E9C853280C09}" srcOrd="1" destOrd="0" presId="urn:microsoft.com/office/officeart/2005/8/layout/pyramid3"/>
    <dgm:cxn modelId="{6DA00860-1793-4255-8527-3EED41248DB5}" type="presOf" srcId="{6D0A2261-801C-42D8-91A7-2C997EDD487C}" destId="{3662EC92-002E-4F1B-AE1C-6EF3EC3391A1}" srcOrd="0" destOrd="0" presId="urn:microsoft.com/office/officeart/2005/8/layout/pyramid3"/>
    <dgm:cxn modelId="{6D1BFD41-4C9E-4215-B680-81CDA976CA23}" type="presOf" srcId="{187BA211-35F0-457D-8907-52965C5CF5C6}" destId="{F6CB21B8-B641-4004-8232-3D37DD689D6D}" srcOrd="0" destOrd="0" presId="urn:microsoft.com/office/officeart/2005/8/layout/pyramid3"/>
    <dgm:cxn modelId="{29005D50-2E83-4EA6-89F8-884E0FD07206}" type="presOf" srcId="{7F1B0F29-6E39-4266-AE10-FD0117BD0607}" destId="{0870BA61-4217-427C-8C7E-4EA239322EAC}" srcOrd="0" destOrd="0" presId="urn:microsoft.com/office/officeart/2005/8/layout/pyramid3"/>
    <dgm:cxn modelId="{423E5F98-833A-49C7-9F6C-B8C86E83BA88}" srcId="{187BA211-35F0-457D-8907-52965C5CF5C6}" destId="{96266317-0820-4D15-A9E0-E4100F5D03D6}" srcOrd="0" destOrd="0" parTransId="{0D4DCD13-9C5B-4F68-B3EB-1DD21C3C7E6D}" sibTransId="{95C0DEF4-E74E-481D-8682-99C256241B05}"/>
    <dgm:cxn modelId="{D06161D6-69FE-42E7-84A4-537C35E660B5}" srcId="{187BA211-35F0-457D-8907-52965C5CF5C6}" destId="{6D0A2261-801C-42D8-91A7-2C997EDD487C}" srcOrd="2" destOrd="0" parTransId="{DA5ECBCD-81B7-4DEA-AD0F-7038E2360B09}" sibTransId="{3A15FDD4-6CDE-47C3-806C-5EABE354AFB9}"/>
    <dgm:cxn modelId="{050472DF-847A-44F4-8ED2-6FB399EB1B72}" srcId="{187BA211-35F0-457D-8907-52965C5CF5C6}" destId="{7F1B0F29-6E39-4266-AE10-FD0117BD0607}" srcOrd="1" destOrd="0" parTransId="{720A22CF-54D2-4BEC-BD4F-86FEB90DEC2E}" sibTransId="{ED5AC77C-5B6B-49A1-80CE-9CC3E00218FC}"/>
    <dgm:cxn modelId="{C369B0EC-882F-41AA-87BB-BA4119BD8D07}" type="presOf" srcId="{6D0A2261-801C-42D8-91A7-2C997EDD487C}" destId="{64A32ECC-9666-477E-9320-5B3C56D070B7}" srcOrd="1" destOrd="0" presId="urn:microsoft.com/office/officeart/2005/8/layout/pyramid3"/>
    <dgm:cxn modelId="{EFD3F302-78C3-4104-AE86-6C2B72417361}" type="presParOf" srcId="{F6CB21B8-B641-4004-8232-3D37DD689D6D}" destId="{8AE5B34D-0BB8-4815-BFA1-EA1BA696C7E3}" srcOrd="0" destOrd="0" presId="urn:microsoft.com/office/officeart/2005/8/layout/pyramid3"/>
    <dgm:cxn modelId="{8901A4B1-994C-48E4-B374-12D471D4A664}" type="presParOf" srcId="{8AE5B34D-0BB8-4815-BFA1-EA1BA696C7E3}" destId="{07E091AE-D53F-408B-A6C6-547663D5AAC4}" srcOrd="0" destOrd="0" presId="urn:microsoft.com/office/officeart/2005/8/layout/pyramid3"/>
    <dgm:cxn modelId="{855A8EFF-59A8-4215-AE09-A93C3D07EB22}" type="presParOf" srcId="{8AE5B34D-0BB8-4815-BFA1-EA1BA696C7E3}" destId="{69867BA3-B7BD-4302-AD61-E9C853280C09}" srcOrd="1" destOrd="0" presId="urn:microsoft.com/office/officeart/2005/8/layout/pyramid3"/>
    <dgm:cxn modelId="{8C36F9B4-EE5D-4725-A2A9-7DE6E369CF69}" type="presParOf" srcId="{F6CB21B8-B641-4004-8232-3D37DD689D6D}" destId="{7DEFD483-9801-45B0-915D-F458BEE72BCB}" srcOrd="1" destOrd="0" presId="urn:microsoft.com/office/officeart/2005/8/layout/pyramid3"/>
    <dgm:cxn modelId="{4096AE52-4144-4F22-8CB3-488B7341A075}" type="presParOf" srcId="{7DEFD483-9801-45B0-915D-F458BEE72BCB}" destId="{0870BA61-4217-427C-8C7E-4EA239322EAC}" srcOrd="0" destOrd="0" presId="urn:microsoft.com/office/officeart/2005/8/layout/pyramid3"/>
    <dgm:cxn modelId="{DDB11AA3-8EE9-441A-AAC5-96AC05909944}" type="presParOf" srcId="{7DEFD483-9801-45B0-915D-F458BEE72BCB}" destId="{41A8C422-F650-45CC-B381-C0F4443102E7}" srcOrd="1" destOrd="0" presId="urn:microsoft.com/office/officeart/2005/8/layout/pyramid3"/>
    <dgm:cxn modelId="{B7CEF5EB-D0E5-4723-B299-CED8675B1F31}" type="presParOf" srcId="{F6CB21B8-B641-4004-8232-3D37DD689D6D}" destId="{9CC71D40-1D49-4FFC-8725-867081C07A41}" srcOrd="2" destOrd="0" presId="urn:microsoft.com/office/officeart/2005/8/layout/pyramid3"/>
    <dgm:cxn modelId="{6026EAB3-F900-4BF6-961C-645E0D14686A}" type="presParOf" srcId="{9CC71D40-1D49-4FFC-8725-867081C07A41}" destId="{3662EC92-002E-4F1B-AE1C-6EF3EC3391A1}" srcOrd="0" destOrd="0" presId="urn:microsoft.com/office/officeart/2005/8/layout/pyramid3"/>
    <dgm:cxn modelId="{6845F401-2D29-4173-8B3B-7F6D54481DCB}" type="presParOf" srcId="{9CC71D40-1D49-4FFC-8725-867081C07A41}" destId="{64A32ECC-9666-477E-9320-5B3C56D070B7}" srcOrd="1" destOrd="0" presId="urn:microsoft.com/office/officeart/2005/8/layout/pyramid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AB6AD74-280E-4915-BBBA-0130EAB508B1}" type="doc">
      <dgm:prSet loTypeId="urn:microsoft.com/office/officeart/2005/8/layout/process1" loCatId="process" qsTypeId="urn:microsoft.com/office/officeart/2005/8/quickstyle/simple1" qsCatId="simple" csTypeId="urn:microsoft.com/office/officeart/2005/8/colors/accent1_2" csCatId="accent1" phldr="1"/>
      <dgm:spPr/>
    </dgm:pt>
    <dgm:pt modelId="{8C3A6BC9-B48A-4C1D-82E7-100FA938D563}">
      <dgm:prSet phldrT="[Text]"/>
      <dgm:spPr>
        <a:solidFill>
          <a:schemeClr val="bg1">
            <a:lumMod val="65000"/>
          </a:schemeClr>
        </a:solidFill>
      </dgm:spPr>
      <dgm:t>
        <a:bodyPr/>
        <a:lstStyle/>
        <a:p>
          <a:r>
            <a:rPr lang="en-US">
              <a:latin typeface="Segoe UI"/>
              <a:cs typeface="Segoe UI"/>
            </a:rPr>
            <a:t>1M</a:t>
          </a:r>
        </a:p>
      </dgm:t>
    </dgm:pt>
    <dgm:pt modelId="{0CAB1F38-4A19-4946-AC48-6F0E6F12801A}" type="parTrans" cxnId="{FC6B056E-64D8-446B-89C3-85B151CF3B3E}">
      <dgm:prSet/>
      <dgm:spPr/>
      <dgm:t>
        <a:bodyPr/>
        <a:lstStyle/>
        <a:p>
          <a:endParaRPr lang="en-US">
            <a:latin typeface="Segoe UI" panose="020B0502040204020203" pitchFamily="34" charset="0"/>
            <a:cs typeface="Segoe UI" panose="020B0502040204020203" pitchFamily="34" charset="0"/>
          </a:endParaRPr>
        </a:p>
      </dgm:t>
    </dgm:pt>
    <dgm:pt modelId="{E18899D0-0961-4D2C-8665-051F6AB34E60}" type="sibTrans" cxnId="{FC6B056E-64D8-446B-89C3-85B151CF3B3E}">
      <dgm:prSet/>
      <dgm:spPr>
        <a:solidFill>
          <a:schemeClr val="tx1"/>
        </a:solidFill>
      </dgm:spPr>
      <dgm:t>
        <a:bodyPr/>
        <a:lstStyle/>
        <a:p>
          <a:endParaRPr lang="en-US">
            <a:latin typeface="Segoe UI" panose="020B0502040204020203" pitchFamily="34" charset="0"/>
            <a:cs typeface="Segoe UI" panose="020B0502040204020203" pitchFamily="34" charset="0"/>
          </a:endParaRPr>
        </a:p>
      </dgm:t>
    </dgm:pt>
    <dgm:pt modelId="{F6F00FFE-4EAD-4B5A-B370-FF01E441954A}">
      <dgm:prSet phldrT="[Text]" custT="1"/>
      <dgm:spPr>
        <a:solidFill>
          <a:schemeClr val="bg1">
            <a:lumMod val="65000"/>
          </a:schemeClr>
        </a:solidFill>
      </dgm:spPr>
      <dgm:t>
        <a:bodyPr/>
        <a:lstStyle/>
        <a:p>
          <a:r>
            <a:rPr lang="en-US" sz="3100" kern="1200">
              <a:solidFill>
                <a:prstClr val="white"/>
              </a:solidFill>
              <a:latin typeface="Segoe UI"/>
              <a:ea typeface="+mn-ea"/>
              <a:cs typeface="Segoe UI"/>
            </a:rPr>
            <a:t>1M</a:t>
          </a:r>
        </a:p>
      </dgm:t>
    </dgm:pt>
    <dgm:pt modelId="{EFF52375-9BAD-450D-BA9E-43587885ABD7}" type="parTrans" cxnId="{76C0CAEA-F6BC-4E00-98F7-42B1D90C6DEC}">
      <dgm:prSet/>
      <dgm:spPr/>
      <dgm:t>
        <a:bodyPr/>
        <a:lstStyle/>
        <a:p>
          <a:endParaRPr lang="en-US">
            <a:latin typeface="Segoe UI" panose="020B0502040204020203" pitchFamily="34" charset="0"/>
            <a:cs typeface="Segoe UI" panose="020B0502040204020203" pitchFamily="34" charset="0"/>
          </a:endParaRPr>
        </a:p>
      </dgm:t>
    </dgm:pt>
    <dgm:pt modelId="{333DF442-0980-44A2-AB95-0CD082B5E325}" type="sibTrans" cxnId="{76C0CAEA-F6BC-4E00-98F7-42B1D90C6DEC}">
      <dgm:prSet/>
      <dgm:spPr>
        <a:solidFill>
          <a:schemeClr val="tx1"/>
        </a:solidFill>
      </dgm:spPr>
      <dgm:t>
        <a:bodyPr/>
        <a:lstStyle/>
        <a:p>
          <a:endParaRPr lang="en-US">
            <a:latin typeface="Segoe UI" panose="020B0502040204020203" pitchFamily="34" charset="0"/>
            <a:cs typeface="Segoe UI" panose="020B0502040204020203" pitchFamily="34" charset="0"/>
          </a:endParaRPr>
        </a:p>
      </dgm:t>
    </dgm:pt>
    <dgm:pt modelId="{AA53E7F9-0B95-458E-8583-EF08F5936DCD}">
      <dgm:prSet phldrT="[Text]" custT="1"/>
      <dgm:spPr>
        <a:solidFill>
          <a:schemeClr val="bg1">
            <a:lumMod val="65000"/>
          </a:schemeClr>
        </a:solidFill>
      </dgm:spPr>
      <dgm:t>
        <a:bodyPr/>
        <a:lstStyle/>
        <a:p>
          <a:r>
            <a:rPr lang="en-US" sz="3100" kern="1200">
              <a:solidFill>
                <a:prstClr val="white"/>
              </a:solidFill>
              <a:latin typeface="Segoe UI"/>
              <a:ea typeface="+mn-ea"/>
              <a:cs typeface="Segoe UI"/>
            </a:rPr>
            <a:t>1M</a:t>
          </a:r>
        </a:p>
      </dgm:t>
    </dgm:pt>
    <dgm:pt modelId="{BC9AEAAD-862F-41B7-9368-AD9586A901E1}" type="parTrans" cxnId="{C4808917-9CF3-449F-B404-0BE3D952B643}">
      <dgm:prSet/>
      <dgm:spPr/>
      <dgm:t>
        <a:bodyPr/>
        <a:lstStyle/>
        <a:p>
          <a:endParaRPr lang="en-US">
            <a:latin typeface="Segoe UI" panose="020B0502040204020203" pitchFamily="34" charset="0"/>
            <a:cs typeface="Segoe UI" panose="020B0502040204020203" pitchFamily="34" charset="0"/>
          </a:endParaRPr>
        </a:p>
      </dgm:t>
    </dgm:pt>
    <dgm:pt modelId="{35B4E646-2EE6-45BE-BA8C-5136647C7EFA}" type="sibTrans" cxnId="{C4808917-9CF3-449F-B404-0BE3D952B643}">
      <dgm:prSet/>
      <dgm:spPr>
        <a:solidFill>
          <a:schemeClr val="tx1"/>
        </a:solidFill>
      </dgm:spPr>
      <dgm:t>
        <a:bodyPr/>
        <a:lstStyle/>
        <a:p>
          <a:endParaRPr lang="en-US">
            <a:latin typeface="Segoe UI" panose="020B0502040204020203" pitchFamily="34" charset="0"/>
            <a:cs typeface="Segoe UI" panose="020B0502040204020203" pitchFamily="34" charset="0"/>
          </a:endParaRPr>
        </a:p>
      </dgm:t>
    </dgm:pt>
    <dgm:pt modelId="{AF17FB4B-3D06-45AF-A943-3B641C1BB32E}">
      <dgm:prSet phldrT="[Text]"/>
      <dgm:spPr>
        <a:solidFill>
          <a:schemeClr val="bg1">
            <a:lumMod val="65000"/>
          </a:schemeClr>
        </a:solidFill>
      </dgm:spPr>
      <dgm:t>
        <a:bodyPr/>
        <a:lstStyle/>
        <a:p>
          <a:r>
            <a:rPr lang="en-US">
              <a:latin typeface="Segoe UI"/>
              <a:cs typeface="Segoe UI"/>
            </a:rPr>
            <a:t>…</a:t>
          </a:r>
        </a:p>
      </dgm:t>
    </dgm:pt>
    <dgm:pt modelId="{1BC612BA-50CE-4E94-9C4F-939F6FA65F14}" type="parTrans" cxnId="{763E3DB7-6569-4C0D-94FE-38BC284AAA8F}">
      <dgm:prSet/>
      <dgm:spPr/>
      <dgm:t>
        <a:bodyPr/>
        <a:lstStyle/>
        <a:p>
          <a:endParaRPr lang="en-US">
            <a:latin typeface="Segoe UI" panose="020B0502040204020203" pitchFamily="34" charset="0"/>
            <a:cs typeface="Segoe UI" panose="020B0502040204020203" pitchFamily="34" charset="0"/>
          </a:endParaRPr>
        </a:p>
      </dgm:t>
    </dgm:pt>
    <dgm:pt modelId="{B3AEA3DD-0F2A-42A4-A9EA-64184B838CEA}" type="sibTrans" cxnId="{763E3DB7-6569-4C0D-94FE-38BC284AAA8F}">
      <dgm:prSet/>
      <dgm:spPr>
        <a:solidFill>
          <a:schemeClr val="tx1"/>
        </a:solidFill>
      </dgm:spPr>
      <dgm:t>
        <a:bodyPr/>
        <a:lstStyle/>
        <a:p>
          <a:endParaRPr lang="en-US">
            <a:latin typeface="Segoe UI" panose="020B0502040204020203" pitchFamily="34" charset="0"/>
            <a:cs typeface="Segoe UI" panose="020B0502040204020203" pitchFamily="34" charset="0"/>
          </a:endParaRPr>
        </a:p>
      </dgm:t>
    </dgm:pt>
    <dgm:pt modelId="{067D8D75-32C1-43C1-838E-300A16AE07B8}">
      <dgm:prSet phldrT="[Text]"/>
      <dgm:spPr>
        <a:solidFill>
          <a:schemeClr val="bg1">
            <a:lumMod val="65000"/>
          </a:schemeClr>
        </a:solidFill>
      </dgm:spPr>
      <dgm:t>
        <a:bodyPr/>
        <a:lstStyle/>
        <a:p>
          <a:r>
            <a:rPr lang="en-US">
              <a:latin typeface="Segoe UI"/>
              <a:cs typeface="Segoe UI"/>
            </a:rPr>
            <a:t>Model</a:t>
          </a:r>
        </a:p>
      </dgm:t>
    </dgm:pt>
    <dgm:pt modelId="{9D2F820B-59E0-448B-832C-45E3339EF6DB}" type="parTrans" cxnId="{CA20F9F1-10BF-4829-9148-24FD0E403786}">
      <dgm:prSet/>
      <dgm:spPr/>
      <dgm:t>
        <a:bodyPr/>
        <a:lstStyle/>
        <a:p>
          <a:endParaRPr lang="en-US">
            <a:latin typeface="Segoe UI" panose="020B0502040204020203" pitchFamily="34" charset="0"/>
            <a:cs typeface="Segoe UI" panose="020B0502040204020203" pitchFamily="34" charset="0"/>
          </a:endParaRPr>
        </a:p>
      </dgm:t>
    </dgm:pt>
    <dgm:pt modelId="{26CF408D-0AED-438A-84AC-85CFD07706DE}" type="sibTrans" cxnId="{CA20F9F1-10BF-4829-9148-24FD0E403786}">
      <dgm:prSet/>
      <dgm:spPr/>
      <dgm:t>
        <a:bodyPr/>
        <a:lstStyle/>
        <a:p>
          <a:endParaRPr lang="en-US">
            <a:latin typeface="Segoe UI" panose="020B0502040204020203" pitchFamily="34" charset="0"/>
            <a:cs typeface="Segoe UI" panose="020B0502040204020203" pitchFamily="34" charset="0"/>
          </a:endParaRPr>
        </a:p>
      </dgm:t>
    </dgm:pt>
    <dgm:pt modelId="{36D2F89F-5172-44E9-B2DC-14A957605A5F}" type="pres">
      <dgm:prSet presAssocID="{FAB6AD74-280E-4915-BBBA-0130EAB508B1}" presName="Name0" presStyleCnt="0">
        <dgm:presLayoutVars>
          <dgm:dir/>
          <dgm:resizeHandles val="exact"/>
        </dgm:presLayoutVars>
      </dgm:prSet>
      <dgm:spPr/>
    </dgm:pt>
    <dgm:pt modelId="{29150B59-0B90-46E8-9768-9BA30A6D62E4}" type="pres">
      <dgm:prSet presAssocID="{8C3A6BC9-B48A-4C1D-82E7-100FA938D563}" presName="node" presStyleLbl="node1" presStyleIdx="0" presStyleCnt="5">
        <dgm:presLayoutVars>
          <dgm:bulletEnabled val="1"/>
        </dgm:presLayoutVars>
      </dgm:prSet>
      <dgm:spPr/>
    </dgm:pt>
    <dgm:pt modelId="{7E6DE381-6BBD-430C-83B5-6C15F09BCF6A}" type="pres">
      <dgm:prSet presAssocID="{E18899D0-0961-4D2C-8665-051F6AB34E60}" presName="sibTrans" presStyleLbl="sibTrans2D1" presStyleIdx="0" presStyleCnt="4"/>
      <dgm:spPr/>
    </dgm:pt>
    <dgm:pt modelId="{EE90C5C1-BB5A-4B8F-A635-7FFF9CB1F190}" type="pres">
      <dgm:prSet presAssocID="{E18899D0-0961-4D2C-8665-051F6AB34E60}" presName="connectorText" presStyleLbl="sibTrans2D1" presStyleIdx="0" presStyleCnt="4"/>
      <dgm:spPr/>
    </dgm:pt>
    <dgm:pt modelId="{F38B7CE1-A879-48CC-9DD9-4D17D0D7999C}" type="pres">
      <dgm:prSet presAssocID="{F6F00FFE-4EAD-4B5A-B370-FF01E441954A}" presName="node" presStyleLbl="node1" presStyleIdx="1" presStyleCnt="5">
        <dgm:presLayoutVars>
          <dgm:bulletEnabled val="1"/>
        </dgm:presLayoutVars>
      </dgm:prSet>
      <dgm:spPr/>
    </dgm:pt>
    <dgm:pt modelId="{554C59A2-F510-474B-944F-4FEE21DB775D}" type="pres">
      <dgm:prSet presAssocID="{333DF442-0980-44A2-AB95-0CD082B5E325}" presName="sibTrans" presStyleLbl="sibTrans2D1" presStyleIdx="1" presStyleCnt="4"/>
      <dgm:spPr/>
    </dgm:pt>
    <dgm:pt modelId="{C50A1F00-5251-487D-9E6F-81DF14491499}" type="pres">
      <dgm:prSet presAssocID="{333DF442-0980-44A2-AB95-0CD082B5E325}" presName="connectorText" presStyleLbl="sibTrans2D1" presStyleIdx="1" presStyleCnt="4"/>
      <dgm:spPr/>
    </dgm:pt>
    <dgm:pt modelId="{1D3EE6CD-3321-4358-9040-E1B47919D934}" type="pres">
      <dgm:prSet presAssocID="{AA53E7F9-0B95-458E-8583-EF08F5936DCD}" presName="node" presStyleLbl="node1" presStyleIdx="2" presStyleCnt="5">
        <dgm:presLayoutVars>
          <dgm:bulletEnabled val="1"/>
        </dgm:presLayoutVars>
      </dgm:prSet>
      <dgm:spPr/>
    </dgm:pt>
    <dgm:pt modelId="{28F8CDC0-E374-4543-A5AB-985BAA86A247}" type="pres">
      <dgm:prSet presAssocID="{35B4E646-2EE6-45BE-BA8C-5136647C7EFA}" presName="sibTrans" presStyleLbl="sibTrans2D1" presStyleIdx="2" presStyleCnt="4"/>
      <dgm:spPr/>
    </dgm:pt>
    <dgm:pt modelId="{06F263B8-9D57-4EBA-9F6D-2C9747BDDD37}" type="pres">
      <dgm:prSet presAssocID="{35B4E646-2EE6-45BE-BA8C-5136647C7EFA}" presName="connectorText" presStyleLbl="sibTrans2D1" presStyleIdx="2" presStyleCnt="4"/>
      <dgm:spPr/>
    </dgm:pt>
    <dgm:pt modelId="{248275CA-6548-4D0B-A163-56AE036BAF82}" type="pres">
      <dgm:prSet presAssocID="{AF17FB4B-3D06-45AF-A943-3B641C1BB32E}" presName="node" presStyleLbl="node1" presStyleIdx="3" presStyleCnt="5">
        <dgm:presLayoutVars>
          <dgm:bulletEnabled val="1"/>
        </dgm:presLayoutVars>
      </dgm:prSet>
      <dgm:spPr/>
    </dgm:pt>
    <dgm:pt modelId="{D2D26390-4359-4FE4-AE8A-1AB2F8EFE066}" type="pres">
      <dgm:prSet presAssocID="{B3AEA3DD-0F2A-42A4-A9EA-64184B838CEA}" presName="sibTrans" presStyleLbl="sibTrans2D1" presStyleIdx="3" presStyleCnt="4"/>
      <dgm:spPr/>
    </dgm:pt>
    <dgm:pt modelId="{D644487E-B33D-4DCD-A72A-66DD0CC16FE5}" type="pres">
      <dgm:prSet presAssocID="{B3AEA3DD-0F2A-42A4-A9EA-64184B838CEA}" presName="connectorText" presStyleLbl="sibTrans2D1" presStyleIdx="3" presStyleCnt="4"/>
      <dgm:spPr/>
    </dgm:pt>
    <dgm:pt modelId="{A0B9D9DB-49C0-47E4-A88B-FE8D78B470C6}" type="pres">
      <dgm:prSet presAssocID="{067D8D75-32C1-43C1-838E-300A16AE07B8}" presName="node" presStyleLbl="node1" presStyleIdx="4" presStyleCnt="5">
        <dgm:presLayoutVars>
          <dgm:bulletEnabled val="1"/>
        </dgm:presLayoutVars>
      </dgm:prSet>
      <dgm:spPr/>
    </dgm:pt>
  </dgm:ptLst>
  <dgm:cxnLst>
    <dgm:cxn modelId="{CB6F1B02-1E21-4656-8A00-0FE5DC68EE4B}" type="presOf" srcId="{E18899D0-0961-4D2C-8665-051F6AB34E60}" destId="{EE90C5C1-BB5A-4B8F-A635-7FFF9CB1F190}" srcOrd="1" destOrd="0" presId="urn:microsoft.com/office/officeart/2005/8/layout/process1"/>
    <dgm:cxn modelId="{E9A0FB0C-4263-49F8-9C28-556830AA612C}" type="presOf" srcId="{067D8D75-32C1-43C1-838E-300A16AE07B8}" destId="{A0B9D9DB-49C0-47E4-A88B-FE8D78B470C6}" srcOrd="0" destOrd="0" presId="urn:microsoft.com/office/officeart/2005/8/layout/process1"/>
    <dgm:cxn modelId="{C4808917-9CF3-449F-B404-0BE3D952B643}" srcId="{FAB6AD74-280E-4915-BBBA-0130EAB508B1}" destId="{AA53E7F9-0B95-458E-8583-EF08F5936DCD}" srcOrd="2" destOrd="0" parTransId="{BC9AEAAD-862F-41B7-9368-AD9586A901E1}" sibTransId="{35B4E646-2EE6-45BE-BA8C-5136647C7EFA}"/>
    <dgm:cxn modelId="{A65F3428-3E10-48BE-AD3F-BAC5C5BF1746}" type="presOf" srcId="{FAB6AD74-280E-4915-BBBA-0130EAB508B1}" destId="{36D2F89F-5172-44E9-B2DC-14A957605A5F}" srcOrd="0" destOrd="0" presId="urn:microsoft.com/office/officeart/2005/8/layout/process1"/>
    <dgm:cxn modelId="{3247AA2C-A3A5-45CC-ACCA-CEF481440941}" type="presOf" srcId="{35B4E646-2EE6-45BE-BA8C-5136647C7EFA}" destId="{28F8CDC0-E374-4543-A5AB-985BAA86A247}" srcOrd="0" destOrd="0" presId="urn:microsoft.com/office/officeart/2005/8/layout/process1"/>
    <dgm:cxn modelId="{497CF733-46D9-437A-803D-47CA3F224E61}" type="presOf" srcId="{B3AEA3DD-0F2A-42A4-A9EA-64184B838CEA}" destId="{D644487E-B33D-4DCD-A72A-66DD0CC16FE5}" srcOrd="1" destOrd="0" presId="urn:microsoft.com/office/officeart/2005/8/layout/process1"/>
    <dgm:cxn modelId="{00FAB247-344A-455B-99EF-D2875D26421F}" type="presOf" srcId="{333DF442-0980-44A2-AB95-0CD082B5E325}" destId="{554C59A2-F510-474B-944F-4FEE21DB775D}" srcOrd="0" destOrd="0" presId="urn:microsoft.com/office/officeart/2005/8/layout/process1"/>
    <dgm:cxn modelId="{FC6B056E-64D8-446B-89C3-85B151CF3B3E}" srcId="{FAB6AD74-280E-4915-BBBA-0130EAB508B1}" destId="{8C3A6BC9-B48A-4C1D-82E7-100FA938D563}" srcOrd="0" destOrd="0" parTransId="{0CAB1F38-4A19-4946-AC48-6F0E6F12801A}" sibTransId="{E18899D0-0961-4D2C-8665-051F6AB34E60}"/>
    <dgm:cxn modelId="{FE791F8B-0CE3-45E3-B38D-63293099A3D6}" type="presOf" srcId="{E18899D0-0961-4D2C-8665-051F6AB34E60}" destId="{7E6DE381-6BBD-430C-83B5-6C15F09BCF6A}" srcOrd="0" destOrd="0" presId="urn:microsoft.com/office/officeart/2005/8/layout/process1"/>
    <dgm:cxn modelId="{E8BD5DB1-EA7C-41EC-9F22-8558A5109A30}" type="presOf" srcId="{AF17FB4B-3D06-45AF-A943-3B641C1BB32E}" destId="{248275CA-6548-4D0B-A163-56AE036BAF82}" srcOrd="0" destOrd="0" presId="urn:microsoft.com/office/officeart/2005/8/layout/process1"/>
    <dgm:cxn modelId="{763E3DB7-6569-4C0D-94FE-38BC284AAA8F}" srcId="{FAB6AD74-280E-4915-BBBA-0130EAB508B1}" destId="{AF17FB4B-3D06-45AF-A943-3B641C1BB32E}" srcOrd="3" destOrd="0" parTransId="{1BC612BA-50CE-4E94-9C4F-939F6FA65F14}" sibTransId="{B3AEA3DD-0F2A-42A4-A9EA-64184B838CEA}"/>
    <dgm:cxn modelId="{7729D3B8-08B5-4F38-B794-9608C508087D}" type="presOf" srcId="{333DF442-0980-44A2-AB95-0CD082B5E325}" destId="{C50A1F00-5251-487D-9E6F-81DF14491499}" srcOrd="1" destOrd="0" presId="urn:microsoft.com/office/officeart/2005/8/layout/process1"/>
    <dgm:cxn modelId="{9A276DC6-8F97-4D9F-A017-B51D42B8AE46}" type="presOf" srcId="{35B4E646-2EE6-45BE-BA8C-5136647C7EFA}" destId="{06F263B8-9D57-4EBA-9F6D-2C9747BDDD37}" srcOrd="1" destOrd="0" presId="urn:microsoft.com/office/officeart/2005/8/layout/process1"/>
    <dgm:cxn modelId="{D10CE6CD-0D10-4A96-B16C-9B8AC499D08D}" type="presOf" srcId="{8C3A6BC9-B48A-4C1D-82E7-100FA938D563}" destId="{29150B59-0B90-46E8-9768-9BA30A6D62E4}" srcOrd="0" destOrd="0" presId="urn:microsoft.com/office/officeart/2005/8/layout/process1"/>
    <dgm:cxn modelId="{84D52DDA-BB9C-4620-8F00-06F4EFAA2765}" type="presOf" srcId="{B3AEA3DD-0F2A-42A4-A9EA-64184B838CEA}" destId="{D2D26390-4359-4FE4-AE8A-1AB2F8EFE066}" srcOrd="0" destOrd="0" presId="urn:microsoft.com/office/officeart/2005/8/layout/process1"/>
    <dgm:cxn modelId="{76C0CAEA-F6BC-4E00-98F7-42B1D90C6DEC}" srcId="{FAB6AD74-280E-4915-BBBA-0130EAB508B1}" destId="{F6F00FFE-4EAD-4B5A-B370-FF01E441954A}" srcOrd="1" destOrd="0" parTransId="{EFF52375-9BAD-450D-BA9E-43587885ABD7}" sibTransId="{333DF442-0980-44A2-AB95-0CD082B5E325}"/>
    <dgm:cxn modelId="{CA20F9F1-10BF-4829-9148-24FD0E403786}" srcId="{FAB6AD74-280E-4915-BBBA-0130EAB508B1}" destId="{067D8D75-32C1-43C1-838E-300A16AE07B8}" srcOrd="4" destOrd="0" parTransId="{9D2F820B-59E0-448B-832C-45E3339EF6DB}" sibTransId="{26CF408D-0AED-438A-84AC-85CFD07706DE}"/>
    <dgm:cxn modelId="{A682ECF2-A99D-42F6-B432-A9163F6D6998}" type="presOf" srcId="{AA53E7F9-0B95-458E-8583-EF08F5936DCD}" destId="{1D3EE6CD-3321-4358-9040-E1B47919D934}" srcOrd="0" destOrd="0" presId="urn:microsoft.com/office/officeart/2005/8/layout/process1"/>
    <dgm:cxn modelId="{A471DDF9-3305-47F2-BBA8-1DFD2DEEFDEE}" type="presOf" srcId="{F6F00FFE-4EAD-4B5A-B370-FF01E441954A}" destId="{F38B7CE1-A879-48CC-9DD9-4D17D0D7999C}" srcOrd="0" destOrd="0" presId="urn:microsoft.com/office/officeart/2005/8/layout/process1"/>
    <dgm:cxn modelId="{124806EF-68D9-4681-8C25-220CF76BF87C}" type="presParOf" srcId="{36D2F89F-5172-44E9-B2DC-14A957605A5F}" destId="{29150B59-0B90-46E8-9768-9BA30A6D62E4}" srcOrd="0" destOrd="0" presId="urn:microsoft.com/office/officeart/2005/8/layout/process1"/>
    <dgm:cxn modelId="{D98C4D31-6B92-44CA-BE29-17408248A4C4}" type="presParOf" srcId="{36D2F89F-5172-44E9-B2DC-14A957605A5F}" destId="{7E6DE381-6BBD-430C-83B5-6C15F09BCF6A}" srcOrd="1" destOrd="0" presId="urn:microsoft.com/office/officeart/2005/8/layout/process1"/>
    <dgm:cxn modelId="{84931AE2-4482-4640-AE5F-4D95DC057994}" type="presParOf" srcId="{7E6DE381-6BBD-430C-83B5-6C15F09BCF6A}" destId="{EE90C5C1-BB5A-4B8F-A635-7FFF9CB1F190}" srcOrd="0" destOrd="0" presId="urn:microsoft.com/office/officeart/2005/8/layout/process1"/>
    <dgm:cxn modelId="{2B5CBBA9-6084-4DF8-AAB2-BACF94046219}" type="presParOf" srcId="{36D2F89F-5172-44E9-B2DC-14A957605A5F}" destId="{F38B7CE1-A879-48CC-9DD9-4D17D0D7999C}" srcOrd="2" destOrd="0" presId="urn:microsoft.com/office/officeart/2005/8/layout/process1"/>
    <dgm:cxn modelId="{33776D5D-C80C-4E64-87FB-ECDF1752995B}" type="presParOf" srcId="{36D2F89F-5172-44E9-B2DC-14A957605A5F}" destId="{554C59A2-F510-474B-944F-4FEE21DB775D}" srcOrd="3" destOrd="0" presId="urn:microsoft.com/office/officeart/2005/8/layout/process1"/>
    <dgm:cxn modelId="{18F4FC6E-663E-4D5C-A051-45C83FA861CA}" type="presParOf" srcId="{554C59A2-F510-474B-944F-4FEE21DB775D}" destId="{C50A1F00-5251-487D-9E6F-81DF14491499}" srcOrd="0" destOrd="0" presId="urn:microsoft.com/office/officeart/2005/8/layout/process1"/>
    <dgm:cxn modelId="{D17814C0-9C17-47EE-8C30-2C850A1C4D18}" type="presParOf" srcId="{36D2F89F-5172-44E9-B2DC-14A957605A5F}" destId="{1D3EE6CD-3321-4358-9040-E1B47919D934}" srcOrd="4" destOrd="0" presId="urn:microsoft.com/office/officeart/2005/8/layout/process1"/>
    <dgm:cxn modelId="{E9DC9BFD-7424-41FD-87E3-979B63E69B81}" type="presParOf" srcId="{36D2F89F-5172-44E9-B2DC-14A957605A5F}" destId="{28F8CDC0-E374-4543-A5AB-985BAA86A247}" srcOrd="5" destOrd="0" presId="urn:microsoft.com/office/officeart/2005/8/layout/process1"/>
    <dgm:cxn modelId="{B3CB0EEA-BFA5-4D4E-A7A3-2FA6D0150096}" type="presParOf" srcId="{28F8CDC0-E374-4543-A5AB-985BAA86A247}" destId="{06F263B8-9D57-4EBA-9F6D-2C9747BDDD37}" srcOrd="0" destOrd="0" presId="urn:microsoft.com/office/officeart/2005/8/layout/process1"/>
    <dgm:cxn modelId="{4CC74199-EC57-4024-B227-A37972449A6B}" type="presParOf" srcId="{36D2F89F-5172-44E9-B2DC-14A957605A5F}" destId="{248275CA-6548-4D0B-A163-56AE036BAF82}" srcOrd="6" destOrd="0" presId="urn:microsoft.com/office/officeart/2005/8/layout/process1"/>
    <dgm:cxn modelId="{1D1B5824-4AA0-4B13-89F9-1DE8CBA75881}" type="presParOf" srcId="{36D2F89F-5172-44E9-B2DC-14A957605A5F}" destId="{D2D26390-4359-4FE4-AE8A-1AB2F8EFE066}" srcOrd="7" destOrd="0" presId="urn:microsoft.com/office/officeart/2005/8/layout/process1"/>
    <dgm:cxn modelId="{D17A588E-BE2B-4E0C-BD26-6ACB8B3FAC5B}" type="presParOf" srcId="{D2D26390-4359-4FE4-AE8A-1AB2F8EFE066}" destId="{D644487E-B33D-4DCD-A72A-66DD0CC16FE5}" srcOrd="0" destOrd="0" presId="urn:microsoft.com/office/officeart/2005/8/layout/process1"/>
    <dgm:cxn modelId="{00B66EA0-7EB8-4419-B4D3-C9F67AE95C86}" type="presParOf" srcId="{36D2F89F-5172-44E9-B2DC-14A957605A5F}" destId="{A0B9D9DB-49C0-47E4-A88B-FE8D78B470C6}" srcOrd="8" destOrd="0" presId="urn:microsoft.com/office/officeart/2005/8/layout/process1"/>
  </dgm:cxnLst>
  <dgm:bg>
    <a:solidFill>
      <a:schemeClr val="bg1">
        <a:lumMod val="95000"/>
      </a:schemeClr>
    </a:solid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35511DC7-87BF-48DD-8542-A2D0604B95A3}" type="doc">
      <dgm:prSet loTypeId="urn:microsoft.com/office/officeart/2018/5/layout/IconCircleLabelList" loCatId="icon" qsTypeId="urn:microsoft.com/office/officeart/2005/8/quickstyle/simple1" qsCatId="simple" csTypeId="urn:microsoft.com/office/officeart/2005/8/colors/accent4_5" csCatId="accent4" phldr="1"/>
      <dgm:spPr/>
      <dgm:t>
        <a:bodyPr/>
        <a:lstStyle/>
        <a:p>
          <a:endParaRPr lang="en-US"/>
        </a:p>
      </dgm:t>
    </dgm:pt>
    <dgm:pt modelId="{850FAB0D-190C-4B5E-8469-747D5D996CCB}">
      <dgm:prSet custT="1"/>
      <dgm:spPr/>
      <dgm:t>
        <a:bodyPr/>
        <a:lstStyle/>
        <a:p>
          <a:pPr>
            <a:lnSpc>
              <a:spcPct val="100000"/>
            </a:lnSpc>
            <a:defRPr cap="all"/>
          </a:pPr>
          <a:r>
            <a:rPr lang="en-US" sz="1800" b="1" kern="1200" spc="0" baseline="0">
              <a:gradFill>
                <a:gsLst>
                  <a:gs pos="2917">
                    <a:srgbClr val="505050"/>
                  </a:gs>
                  <a:gs pos="30000">
                    <a:srgbClr val="505050"/>
                  </a:gs>
                </a:gsLst>
                <a:lin ang="5400000" scaled="0"/>
              </a:gradFill>
              <a:latin typeface="Segoe UI"/>
              <a:ea typeface="+mn-ea"/>
              <a:cs typeface="Segoe UI" panose="020B0502040204020203" pitchFamily="34" charset="0"/>
            </a:rPr>
            <a:t>Be careful with calendArauto()</a:t>
          </a:r>
        </a:p>
      </dgm:t>
    </dgm:pt>
    <dgm:pt modelId="{37C81B84-62E1-4027-B7E6-D4BAB4E457E1}" type="parTrans" cxnId="{7B520F88-0A8E-4F58-AA06-C050C603D2AF}">
      <dgm:prSet/>
      <dgm:spPr/>
      <dgm:t>
        <a:bodyPr/>
        <a:lstStyle/>
        <a:p>
          <a:endParaRPr lang="en-US"/>
        </a:p>
      </dgm:t>
    </dgm:pt>
    <dgm:pt modelId="{FBEFD68D-457E-45BC-A86E-9A9A4CAC3E20}" type="sibTrans" cxnId="{7B520F88-0A8E-4F58-AA06-C050C603D2AF}">
      <dgm:prSet/>
      <dgm:spPr/>
      <dgm:t>
        <a:bodyPr/>
        <a:lstStyle/>
        <a:p>
          <a:endParaRPr lang="en-US"/>
        </a:p>
      </dgm:t>
    </dgm:pt>
    <dgm:pt modelId="{25538840-AB6C-4F8D-B63F-8EFE7DCD5D0D}">
      <dgm:prSet custT="1"/>
      <dgm:spPr/>
      <dgm:t>
        <a:bodyPr/>
        <a:lstStyle/>
        <a:p>
          <a:pPr>
            <a:lnSpc>
              <a:spcPct val="100000"/>
            </a:lnSpc>
            <a:defRPr cap="all"/>
          </a:pPr>
          <a:r>
            <a:rPr lang="en-US" sz="1600" b="1" kern="1200" spc="0" baseline="0">
              <a:gradFill>
                <a:gsLst>
                  <a:gs pos="2917">
                    <a:srgbClr val="505050"/>
                  </a:gs>
                  <a:gs pos="30000">
                    <a:srgbClr val="505050"/>
                  </a:gs>
                </a:gsLst>
                <a:lin ang="5400000" scaled="0"/>
              </a:gradFill>
              <a:latin typeface="Segoe UI"/>
              <a:ea typeface="+mn-ea"/>
              <a:cs typeface="Segoe UI" panose="020B0502040204020203" pitchFamily="34" charset="0"/>
            </a:rPr>
            <a:t>Use Date only</a:t>
          </a:r>
        </a:p>
      </dgm:t>
    </dgm:pt>
    <dgm:pt modelId="{DD59A7CB-BB4E-4E9F-9476-1C8ED2F5F356}" type="parTrans" cxnId="{20B9F5BC-490C-4504-A297-37E7E976FBB7}">
      <dgm:prSet/>
      <dgm:spPr/>
      <dgm:t>
        <a:bodyPr/>
        <a:lstStyle/>
        <a:p>
          <a:endParaRPr lang="en-US"/>
        </a:p>
      </dgm:t>
    </dgm:pt>
    <dgm:pt modelId="{B1DE17D4-CA40-4BE9-8208-3AAE4D5642B4}" type="sibTrans" cxnId="{20B9F5BC-490C-4504-A297-37E7E976FBB7}">
      <dgm:prSet/>
      <dgm:spPr/>
      <dgm:t>
        <a:bodyPr/>
        <a:lstStyle/>
        <a:p>
          <a:endParaRPr lang="en-US"/>
        </a:p>
      </dgm:t>
    </dgm:pt>
    <dgm:pt modelId="{059EFA65-AEB9-4B90-B7BA-E153DD86A525}">
      <dgm:prSet custT="1"/>
      <dgm:spPr/>
      <dgm:t>
        <a:bodyPr/>
        <a:lstStyle/>
        <a:p>
          <a:pPr>
            <a:lnSpc>
              <a:spcPct val="100000"/>
            </a:lnSpc>
            <a:defRPr cap="all"/>
          </a:pPr>
          <a:r>
            <a:rPr lang="en-US" sz="1600" b="1" kern="1200" spc="0" baseline="0">
              <a:gradFill>
                <a:gsLst>
                  <a:gs pos="2917">
                    <a:srgbClr val="505050"/>
                  </a:gs>
                  <a:gs pos="30000">
                    <a:srgbClr val="505050"/>
                  </a:gs>
                </a:gsLst>
                <a:lin ang="5400000" scaled="0"/>
              </a:gradFill>
              <a:latin typeface="Segoe UI"/>
              <a:ea typeface="+mn-ea"/>
              <a:cs typeface="Segoe UI" panose="020B0502040204020203" pitchFamily="34" charset="0"/>
            </a:rPr>
            <a:t>Split Date/Time</a:t>
          </a:r>
        </a:p>
      </dgm:t>
    </dgm:pt>
    <dgm:pt modelId="{9F4D8D43-9496-48FB-A1F4-B1CB6582C0BE}" type="parTrans" cxnId="{CDAE299A-59D6-43F1-A35E-30466EC60B5E}">
      <dgm:prSet/>
      <dgm:spPr/>
      <dgm:t>
        <a:bodyPr/>
        <a:lstStyle/>
        <a:p>
          <a:endParaRPr lang="en-US"/>
        </a:p>
      </dgm:t>
    </dgm:pt>
    <dgm:pt modelId="{8A7690F7-E09C-4235-A289-A47E8761A636}" type="sibTrans" cxnId="{CDAE299A-59D6-43F1-A35E-30466EC60B5E}">
      <dgm:prSet/>
      <dgm:spPr/>
      <dgm:t>
        <a:bodyPr/>
        <a:lstStyle/>
        <a:p>
          <a:endParaRPr lang="en-US"/>
        </a:p>
      </dgm:t>
    </dgm:pt>
    <dgm:pt modelId="{BC45C170-8192-4AAE-95DA-786BF4170ECD}">
      <dgm:prSet custT="1"/>
      <dgm:spPr/>
      <dgm:t>
        <a:bodyPr/>
        <a:lstStyle/>
        <a:p>
          <a:pPr>
            <a:lnSpc>
              <a:spcPct val="100000"/>
            </a:lnSpc>
            <a:defRPr cap="all"/>
          </a:pPr>
          <a:r>
            <a:rPr lang="en-US" sz="1800" b="1" kern="1200" spc="0" baseline="0">
              <a:gradFill>
                <a:gsLst>
                  <a:gs pos="2917">
                    <a:srgbClr val="505050"/>
                  </a:gs>
                  <a:gs pos="30000">
                    <a:srgbClr val="505050"/>
                  </a:gs>
                </a:gsLst>
                <a:lin ang="5400000" scaled="0"/>
              </a:gradFill>
              <a:latin typeface="Segoe UI"/>
              <a:ea typeface="+mn-ea"/>
              <a:cs typeface="Segoe UI" panose="020B0502040204020203" pitchFamily="34" charset="0"/>
            </a:rPr>
            <a:t>Disable auto-time Intelligence</a:t>
          </a:r>
        </a:p>
      </dgm:t>
    </dgm:pt>
    <dgm:pt modelId="{08CB77EA-C83B-4FAA-B4DB-A649AB9A3CB6}" type="parTrans" cxnId="{88B0DF84-9500-468B-B875-99915116BF4F}">
      <dgm:prSet/>
      <dgm:spPr/>
      <dgm:t>
        <a:bodyPr/>
        <a:lstStyle/>
        <a:p>
          <a:endParaRPr lang="en-US"/>
        </a:p>
      </dgm:t>
    </dgm:pt>
    <dgm:pt modelId="{06B16E98-C09C-4A5D-9F5D-F79F56A8E225}" type="sibTrans" cxnId="{88B0DF84-9500-468B-B875-99915116BF4F}">
      <dgm:prSet/>
      <dgm:spPr/>
      <dgm:t>
        <a:bodyPr/>
        <a:lstStyle/>
        <a:p>
          <a:endParaRPr lang="en-US"/>
        </a:p>
      </dgm:t>
    </dgm:pt>
    <dgm:pt modelId="{B2564A7B-53A8-48AB-9E53-758F9FFD60C6}" type="pres">
      <dgm:prSet presAssocID="{35511DC7-87BF-48DD-8542-A2D0604B95A3}" presName="root" presStyleCnt="0">
        <dgm:presLayoutVars>
          <dgm:dir/>
          <dgm:resizeHandles val="exact"/>
        </dgm:presLayoutVars>
      </dgm:prSet>
      <dgm:spPr/>
    </dgm:pt>
    <dgm:pt modelId="{D03FF0BC-978F-45AB-A131-71059F6B936A}" type="pres">
      <dgm:prSet presAssocID="{850FAB0D-190C-4B5E-8469-747D5D996CCB}" presName="compNode" presStyleCnt="0"/>
      <dgm:spPr/>
    </dgm:pt>
    <dgm:pt modelId="{6C63B464-8759-4E61-9C81-1D46F9C9A4D2}" type="pres">
      <dgm:prSet presAssocID="{850FAB0D-190C-4B5E-8469-747D5D996CCB}" presName="iconBgRect" presStyleLbl="bgShp" presStyleIdx="0" presStyleCnt="4"/>
      <dgm:spPr>
        <a:solidFill>
          <a:schemeClr val="tx1">
            <a:lumMod val="65000"/>
            <a:lumOff val="35000"/>
          </a:schemeClr>
        </a:solidFill>
      </dgm:spPr>
    </dgm:pt>
    <dgm:pt modelId="{EB3C8009-E2B9-490C-9860-ED58AFD5D528}" type="pres">
      <dgm:prSet presAssocID="{850FAB0D-190C-4B5E-8469-747D5D996CCB}" presName="iconRect" presStyleLbl="node1" presStyleIdx="0" presStyleCnt="4"/>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Warning"/>
        </a:ext>
      </dgm:extLst>
    </dgm:pt>
    <dgm:pt modelId="{742B5142-213B-480E-A3C9-70B14A479B85}" type="pres">
      <dgm:prSet presAssocID="{850FAB0D-190C-4B5E-8469-747D5D996CCB}" presName="spaceRect" presStyleCnt="0"/>
      <dgm:spPr/>
    </dgm:pt>
    <dgm:pt modelId="{B2836A5D-E40A-496F-BC32-F824495B8587}" type="pres">
      <dgm:prSet presAssocID="{850FAB0D-190C-4B5E-8469-747D5D996CCB}" presName="textRect" presStyleLbl="revTx" presStyleIdx="0" presStyleCnt="4">
        <dgm:presLayoutVars>
          <dgm:chMax val="1"/>
          <dgm:chPref val="1"/>
        </dgm:presLayoutVars>
      </dgm:prSet>
      <dgm:spPr/>
    </dgm:pt>
    <dgm:pt modelId="{086E4163-59E7-45A5-B46C-C30B791F77A7}" type="pres">
      <dgm:prSet presAssocID="{FBEFD68D-457E-45BC-A86E-9A9A4CAC3E20}" presName="sibTrans" presStyleCnt="0"/>
      <dgm:spPr/>
    </dgm:pt>
    <dgm:pt modelId="{198BB991-4986-4DC4-A3AB-A9C8ED5499EC}" type="pres">
      <dgm:prSet presAssocID="{25538840-AB6C-4F8D-B63F-8EFE7DCD5D0D}" presName="compNode" presStyleCnt="0"/>
      <dgm:spPr/>
    </dgm:pt>
    <dgm:pt modelId="{28EED2B0-F1F7-46D6-BF5A-5511EA0674F0}" type="pres">
      <dgm:prSet presAssocID="{25538840-AB6C-4F8D-B63F-8EFE7DCD5D0D}" presName="iconBgRect" presStyleLbl="bgShp" presStyleIdx="1" presStyleCnt="4"/>
      <dgm:spPr>
        <a:solidFill>
          <a:schemeClr val="tx1">
            <a:lumMod val="65000"/>
            <a:lumOff val="35000"/>
          </a:schemeClr>
        </a:solidFill>
      </dgm:spPr>
    </dgm:pt>
    <dgm:pt modelId="{33F57FEE-B569-4823-99AF-3F2947AE0F78}" type="pres">
      <dgm:prSet presAssocID="{25538840-AB6C-4F8D-B63F-8EFE7DCD5D0D}"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Daily Calendar"/>
        </a:ext>
      </dgm:extLst>
    </dgm:pt>
    <dgm:pt modelId="{CA04123E-B359-4875-B0B0-1633247FE214}" type="pres">
      <dgm:prSet presAssocID="{25538840-AB6C-4F8D-B63F-8EFE7DCD5D0D}" presName="spaceRect" presStyleCnt="0"/>
      <dgm:spPr/>
    </dgm:pt>
    <dgm:pt modelId="{8F5D34D3-B443-42E2-BD65-64AEA40DFAF3}" type="pres">
      <dgm:prSet presAssocID="{25538840-AB6C-4F8D-B63F-8EFE7DCD5D0D}" presName="textRect" presStyleLbl="revTx" presStyleIdx="1" presStyleCnt="4">
        <dgm:presLayoutVars>
          <dgm:chMax val="1"/>
          <dgm:chPref val="1"/>
        </dgm:presLayoutVars>
      </dgm:prSet>
      <dgm:spPr/>
    </dgm:pt>
    <dgm:pt modelId="{D92F2705-BCF9-478C-A250-81587D11FFAB}" type="pres">
      <dgm:prSet presAssocID="{B1DE17D4-CA40-4BE9-8208-3AAE4D5642B4}" presName="sibTrans" presStyleCnt="0"/>
      <dgm:spPr/>
    </dgm:pt>
    <dgm:pt modelId="{40107F2A-FD2D-481B-A7AD-AD1DDC9CBFFF}" type="pres">
      <dgm:prSet presAssocID="{059EFA65-AEB9-4B90-B7BA-E153DD86A525}" presName="compNode" presStyleCnt="0"/>
      <dgm:spPr/>
    </dgm:pt>
    <dgm:pt modelId="{5EB352DD-C631-49D7-80AA-9DD14541AD57}" type="pres">
      <dgm:prSet presAssocID="{059EFA65-AEB9-4B90-B7BA-E153DD86A525}" presName="iconBgRect" presStyleLbl="bgShp" presStyleIdx="2" presStyleCnt="4"/>
      <dgm:spPr>
        <a:solidFill>
          <a:schemeClr val="tx1">
            <a:lumMod val="65000"/>
            <a:lumOff val="35000"/>
          </a:schemeClr>
        </a:solidFill>
      </dgm:spPr>
    </dgm:pt>
    <dgm:pt modelId="{A81C64E1-C528-4F6A-854A-88B668708A69}" type="pres">
      <dgm:prSet presAssocID="{059EFA65-AEB9-4B90-B7BA-E153DD86A525}"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Cut with solid fill"/>
        </a:ext>
      </dgm:extLst>
    </dgm:pt>
    <dgm:pt modelId="{9A3BE3E8-DEC2-4BA2-940C-BBBDE7F30EF6}" type="pres">
      <dgm:prSet presAssocID="{059EFA65-AEB9-4B90-B7BA-E153DD86A525}" presName="spaceRect" presStyleCnt="0"/>
      <dgm:spPr/>
    </dgm:pt>
    <dgm:pt modelId="{FCE2595C-D046-48A0-B5C1-0F6DBFDD8071}" type="pres">
      <dgm:prSet presAssocID="{059EFA65-AEB9-4B90-B7BA-E153DD86A525}" presName="textRect" presStyleLbl="revTx" presStyleIdx="2" presStyleCnt="4">
        <dgm:presLayoutVars>
          <dgm:chMax val="1"/>
          <dgm:chPref val="1"/>
        </dgm:presLayoutVars>
      </dgm:prSet>
      <dgm:spPr/>
    </dgm:pt>
    <dgm:pt modelId="{5F55C343-53C6-4CD8-BA23-0192F3B9CC7D}" type="pres">
      <dgm:prSet presAssocID="{8A7690F7-E09C-4235-A289-A47E8761A636}" presName="sibTrans" presStyleCnt="0"/>
      <dgm:spPr/>
    </dgm:pt>
    <dgm:pt modelId="{B1BAC197-44DF-45E0-830D-9FD0911824A5}" type="pres">
      <dgm:prSet presAssocID="{BC45C170-8192-4AAE-95DA-786BF4170ECD}" presName="compNode" presStyleCnt="0"/>
      <dgm:spPr/>
    </dgm:pt>
    <dgm:pt modelId="{E1F59C9D-BB26-4C0C-B028-4EB6C1671212}" type="pres">
      <dgm:prSet presAssocID="{BC45C170-8192-4AAE-95DA-786BF4170ECD}" presName="iconBgRect" presStyleLbl="bgShp" presStyleIdx="3" presStyleCnt="4"/>
      <dgm:spPr>
        <a:solidFill>
          <a:schemeClr val="tx1">
            <a:lumMod val="65000"/>
            <a:lumOff val="35000"/>
          </a:schemeClr>
        </a:solidFill>
      </dgm:spPr>
    </dgm:pt>
    <dgm:pt modelId="{ACEF1ADC-5E4F-429E-B694-3D67E08DC24A}" type="pres">
      <dgm:prSet presAssocID="{BC45C170-8192-4AAE-95DA-786BF4170ECD}" presName="iconRect" presStyleLbl="node1" presStyleIdx="3" presStyleCnt="4"/>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Power with solid fill"/>
        </a:ext>
      </dgm:extLst>
    </dgm:pt>
    <dgm:pt modelId="{0C5C3947-64F0-4837-8935-D6D100436D71}" type="pres">
      <dgm:prSet presAssocID="{BC45C170-8192-4AAE-95DA-786BF4170ECD}" presName="spaceRect" presStyleCnt="0"/>
      <dgm:spPr/>
    </dgm:pt>
    <dgm:pt modelId="{0C7584CF-1385-4033-B162-C63CF6BDF9A7}" type="pres">
      <dgm:prSet presAssocID="{BC45C170-8192-4AAE-95DA-786BF4170ECD}" presName="textRect" presStyleLbl="revTx" presStyleIdx="3" presStyleCnt="4">
        <dgm:presLayoutVars>
          <dgm:chMax val="1"/>
          <dgm:chPref val="1"/>
        </dgm:presLayoutVars>
      </dgm:prSet>
      <dgm:spPr/>
    </dgm:pt>
  </dgm:ptLst>
  <dgm:cxnLst>
    <dgm:cxn modelId="{BB76841C-54C9-4E3C-8AE8-378C7C029C16}" type="presOf" srcId="{850FAB0D-190C-4B5E-8469-747D5D996CCB}" destId="{B2836A5D-E40A-496F-BC32-F824495B8587}" srcOrd="0" destOrd="0" presId="urn:microsoft.com/office/officeart/2018/5/layout/IconCircleLabelList"/>
    <dgm:cxn modelId="{D8DA3281-1E4F-403E-BF5C-6CD55D5ED434}" type="presOf" srcId="{25538840-AB6C-4F8D-B63F-8EFE7DCD5D0D}" destId="{8F5D34D3-B443-42E2-BD65-64AEA40DFAF3}" srcOrd="0" destOrd="0" presId="urn:microsoft.com/office/officeart/2018/5/layout/IconCircleLabelList"/>
    <dgm:cxn modelId="{65930383-4297-475F-BB83-50AC0D54DB1F}" type="presOf" srcId="{BC45C170-8192-4AAE-95DA-786BF4170ECD}" destId="{0C7584CF-1385-4033-B162-C63CF6BDF9A7}" srcOrd="0" destOrd="0" presId="urn:microsoft.com/office/officeart/2018/5/layout/IconCircleLabelList"/>
    <dgm:cxn modelId="{88B0DF84-9500-468B-B875-99915116BF4F}" srcId="{35511DC7-87BF-48DD-8542-A2D0604B95A3}" destId="{BC45C170-8192-4AAE-95DA-786BF4170ECD}" srcOrd="3" destOrd="0" parTransId="{08CB77EA-C83B-4FAA-B4DB-A649AB9A3CB6}" sibTransId="{06B16E98-C09C-4A5D-9F5D-F79F56A8E225}"/>
    <dgm:cxn modelId="{7B520F88-0A8E-4F58-AA06-C050C603D2AF}" srcId="{35511DC7-87BF-48DD-8542-A2D0604B95A3}" destId="{850FAB0D-190C-4B5E-8469-747D5D996CCB}" srcOrd="0" destOrd="0" parTransId="{37C81B84-62E1-4027-B7E6-D4BAB4E457E1}" sibTransId="{FBEFD68D-457E-45BC-A86E-9A9A4CAC3E20}"/>
    <dgm:cxn modelId="{CDAE299A-59D6-43F1-A35E-30466EC60B5E}" srcId="{35511DC7-87BF-48DD-8542-A2D0604B95A3}" destId="{059EFA65-AEB9-4B90-B7BA-E153DD86A525}" srcOrd="2" destOrd="0" parTransId="{9F4D8D43-9496-48FB-A1F4-B1CB6582C0BE}" sibTransId="{8A7690F7-E09C-4235-A289-A47E8761A636}"/>
    <dgm:cxn modelId="{05B574AA-A29A-4D4A-8D69-9F2B3B06AA81}" type="presOf" srcId="{35511DC7-87BF-48DD-8542-A2D0604B95A3}" destId="{B2564A7B-53A8-48AB-9E53-758F9FFD60C6}" srcOrd="0" destOrd="0" presId="urn:microsoft.com/office/officeart/2018/5/layout/IconCircleLabelList"/>
    <dgm:cxn modelId="{20B9F5BC-490C-4504-A297-37E7E976FBB7}" srcId="{35511DC7-87BF-48DD-8542-A2D0604B95A3}" destId="{25538840-AB6C-4F8D-B63F-8EFE7DCD5D0D}" srcOrd="1" destOrd="0" parTransId="{DD59A7CB-BB4E-4E9F-9476-1C8ED2F5F356}" sibTransId="{B1DE17D4-CA40-4BE9-8208-3AAE4D5642B4}"/>
    <dgm:cxn modelId="{1A30CBBD-29B1-413D-BDD0-7CD7E901F05C}" type="presOf" srcId="{059EFA65-AEB9-4B90-B7BA-E153DD86A525}" destId="{FCE2595C-D046-48A0-B5C1-0F6DBFDD8071}" srcOrd="0" destOrd="0" presId="urn:microsoft.com/office/officeart/2018/5/layout/IconCircleLabelList"/>
    <dgm:cxn modelId="{F1ACA5CD-3FEA-44B7-AAF7-DEE372A4E03F}" type="presParOf" srcId="{B2564A7B-53A8-48AB-9E53-758F9FFD60C6}" destId="{D03FF0BC-978F-45AB-A131-71059F6B936A}" srcOrd="0" destOrd="0" presId="urn:microsoft.com/office/officeart/2018/5/layout/IconCircleLabelList"/>
    <dgm:cxn modelId="{E5980A2A-3542-4CEC-8337-70CCD0636C13}" type="presParOf" srcId="{D03FF0BC-978F-45AB-A131-71059F6B936A}" destId="{6C63B464-8759-4E61-9C81-1D46F9C9A4D2}" srcOrd="0" destOrd="0" presId="urn:microsoft.com/office/officeart/2018/5/layout/IconCircleLabelList"/>
    <dgm:cxn modelId="{DFD20219-E0E5-48A7-A3F0-586BBCB2F099}" type="presParOf" srcId="{D03FF0BC-978F-45AB-A131-71059F6B936A}" destId="{EB3C8009-E2B9-490C-9860-ED58AFD5D528}" srcOrd="1" destOrd="0" presId="urn:microsoft.com/office/officeart/2018/5/layout/IconCircleLabelList"/>
    <dgm:cxn modelId="{9FFE9BBE-F069-4F13-9B49-2DCAB93CFD79}" type="presParOf" srcId="{D03FF0BC-978F-45AB-A131-71059F6B936A}" destId="{742B5142-213B-480E-A3C9-70B14A479B85}" srcOrd="2" destOrd="0" presId="urn:microsoft.com/office/officeart/2018/5/layout/IconCircleLabelList"/>
    <dgm:cxn modelId="{06927DD0-FAED-4819-9488-C21AE4040C20}" type="presParOf" srcId="{D03FF0BC-978F-45AB-A131-71059F6B936A}" destId="{B2836A5D-E40A-496F-BC32-F824495B8587}" srcOrd="3" destOrd="0" presId="urn:microsoft.com/office/officeart/2018/5/layout/IconCircleLabelList"/>
    <dgm:cxn modelId="{7C18387F-87D7-4A46-8C9A-4DF9A7D6378C}" type="presParOf" srcId="{B2564A7B-53A8-48AB-9E53-758F9FFD60C6}" destId="{086E4163-59E7-45A5-B46C-C30B791F77A7}" srcOrd="1" destOrd="0" presId="urn:microsoft.com/office/officeart/2018/5/layout/IconCircleLabelList"/>
    <dgm:cxn modelId="{F09E366F-19EB-44F7-9DF7-F15B05073C35}" type="presParOf" srcId="{B2564A7B-53A8-48AB-9E53-758F9FFD60C6}" destId="{198BB991-4986-4DC4-A3AB-A9C8ED5499EC}" srcOrd="2" destOrd="0" presId="urn:microsoft.com/office/officeart/2018/5/layout/IconCircleLabelList"/>
    <dgm:cxn modelId="{3FCF3DC2-4885-41AC-AA80-42665F0F7C94}" type="presParOf" srcId="{198BB991-4986-4DC4-A3AB-A9C8ED5499EC}" destId="{28EED2B0-F1F7-46D6-BF5A-5511EA0674F0}" srcOrd="0" destOrd="0" presId="urn:microsoft.com/office/officeart/2018/5/layout/IconCircleLabelList"/>
    <dgm:cxn modelId="{B9CD616A-BD14-4379-8A0F-1A01252D190F}" type="presParOf" srcId="{198BB991-4986-4DC4-A3AB-A9C8ED5499EC}" destId="{33F57FEE-B569-4823-99AF-3F2947AE0F78}" srcOrd="1" destOrd="0" presId="urn:microsoft.com/office/officeart/2018/5/layout/IconCircleLabelList"/>
    <dgm:cxn modelId="{EEEDBBE4-E787-450B-AE04-DF627B823E29}" type="presParOf" srcId="{198BB991-4986-4DC4-A3AB-A9C8ED5499EC}" destId="{CA04123E-B359-4875-B0B0-1633247FE214}" srcOrd="2" destOrd="0" presId="urn:microsoft.com/office/officeart/2018/5/layout/IconCircleLabelList"/>
    <dgm:cxn modelId="{B13F66B5-EB57-47C8-875D-90B6C064FE65}" type="presParOf" srcId="{198BB991-4986-4DC4-A3AB-A9C8ED5499EC}" destId="{8F5D34D3-B443-42E2-BD65-64AEA40DFAF3}" srcOrd="3" destOrd="0" presId="urn:microsoft.com/office/officeart/2018/5/layout/IconCircleLabelList"/>
    <dgm:cxn modelId="{9FEBB30F-5FD6-4606-A0ED-FC34B6B1250B}" type="presParOf" srcId="{B2564A7B-53A8-48AB-9E53-758F9FFD60C6}" destId="{D92F2705-BCF9-478C-A250-81587D11FFAB}" srcOrd="3" destOrd="0" presId="urn:microsoft.com/office/officeart/2018/5/layout/IconCircleLabelList"/>
    <dgm:cxn modelId="{5ED8D6F5-FBA7-4582-9431-DAE08AEBF14F}" type="presParOf" srcId="{B2564A7B-53A8-48AB-9E53-758F9FFD60C6}" destId="{40107F2A-FD2D-481B-A7AD-AD1DDC9CBFFF}" srcOrd="4" destOrd="0" presId="urn:microsoft.com/office/officeart/2018/5/layout/IconCircleLabelList"/>
    <dgm:cxn modelId="{DE816956-6E35-4C00-A972-8879281F3993}" type="presParOf" srcId="{40107F2A-FD2D-481B-A7AD-AD1DDC9CBFFF}" destId="{5EB352DD-C631-49D7-80AA-9DD14541AD57}" srcOrd="0" destOrd="0" presId="urn:microsoft.com/office/officeart/2018/5/layout/IconCircleLabelList"/>
    <dgm:cxn modelId="{C77DD983-AD7F-428A-91E3-A714CAA33F3B}" type="presParOf" srcId="{40107F2A-FD2D-481B-A7AD-AD1DDC9CBFFF}" destId="{A81C64E1-C528-4F6A-854A-88B668708A69}" srcOrd="1" destOrd="0" presId="urn:microsoft.com/office/officeart/2018/5/layout/IconCircleLabelList"/>
    <dgm:cxn modelId="{6FC8DFAD-4492-4EB4-921A-EC7340B398C0}" type="presParOf" srcId="{40107F2A-FD2D-481B-A7AD-AD1DDC9CBFFF}" destId="{9A3BE3E8-DEC2-4BA2-940C-BBBDE7F30EF6}" srcOrd="2" destOrd="0" presId="urn:microsoft.com/office/officeart/2018/5/layout/IconCircleLabelList"/>
    <dgm:cxn modelId="{8963BAD9-8920-411B-BFFB-33660678CBDA}" type="presParOf" srcId="{40107F2A-FD2D-481B-A7AD-AD1DDC9CBFFF}" destId="{FCE2595C-D046-48A0-B5C1-0F6DBFDD8071}" srcOrd="3" destOrd="0" presId="urn:microsoft.com/office/officeart/2018/5/layout/IconCircleLabelList"/>
    <dgm:cxn modelId="{DEFD5335-3856-41D3-9560-8D7FC9795E41}" type="presParOf" srcId="{B2564A7B-53A8-48AB-9E53-758F9FFD60C6}" destId="{5F55C343-53C6-4CD8-BA23-0192F3B9CC7D}" srcOrd="5" destOrd="0" presId="urn:microsoft.com/office/officeart/2018/5/layout/IconCircleLabelList"/>
    <dgm:cxn modelId="{9A4E9568-0839-41C3-A3F0-C73124B621E1}" type="presParOf" srcId="{B2564A7B-53A8-48AB-9E53-758F9FFD60C6}" destId="{B1BAC197-44DF-45E0-830D-9FD0911824A5}" srcOrd="6" destOrd="0" presId="urn:microsoft.com/office/officeart/2018/5/layout/IconCircleLabelList"/>
    <dgm:cxn modelId="{BEDCCB18-A788-4675-9EFC-6C041660B647}" type="presParOf" srcId="{B1BAC197-44DF-45E0-830D-9FD0911824A5}" destId="{E1F59C9D-BB26-4C0C-B028-4EB6C1671212}" srcOrd="0" destOrd="0" presId="urn:microsoft.com/office/officeart/2018/5/layout/IconCircleLabelList"/>
    <dgm:cxn modelId="{75A3E15C-5082-47C4-B2EC-CA4E0A05AD3B}" type="presParOf" srcId="{B1BAC197-44DF-45E0-830D-9FD0911824A5}" destId="{ACEF1ADC-5E4F-429E-B694-3D67E08DC24A}" srcOrd="1" destOrd="0" presId="urn:microsoft.com/office/officeart/2018/5/layout/IconCircleLabelList"/>
    <dgm:cxn modelId="{8407FBB7-0FFA-4653-87B6-ABAD9AD45D3B}" type="presParOf" srcId="{B1BAC197-44DF-45E0-830D-9FD0911824A5}" destId="{0C5C3947-64F0-4837-8935-D6D100436D71}" srcOrd="2" destOrd="0" presId="urn:microsoft.com/office/officeart/2018/5/layout/IconCircleLabelList"/>
    <dgm:cxn modelId="{18041330-EDC0-41D9-9A7D-C2CE7C57E436}" type="presParOf" srcId="{B1BAC197-44DF-45E0-830D-9FD0911824A5}" destId="{0C7584CF-1385-4033-B162-C63CF6BDF9A7}" srcOrd="3" destOrd="0" presId="urn:microsoft.com/office/officeart/2018/5/layout/IconCircleLabel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5.xml><?xml version="1.0" encoding="utf-8"?>
<dgm:dataModel xmlns:dgm="http://schemas.openxmlformats.org/drawingml/2006/diagram" xmlns:a="http://schemas.openxmlformats.org/drawingml/2006/main">
  <dgm:ptLst>
    <dgm:pt modelId="{6A993D06-AA99-4F3D-B309-9798F18CDE0C}" type="doc">
      <dgm:prSet loTypeId="urn:microsoft.com/office/officeart/2005/8/layout/target3" loCatId="relationship" qsTypeId="urn:microsoft.com/office/officeart/2005/8/quickstyle/simple1" qsCatId="simple" csTypeId="urn:microsoft.com/office/officeart/2005/8/colors/colorful1" csCatId="colorful" phldr="1"/>
      <dgm:spPr/>
      <dgm:t>
        <a:bodyPr/>
        <a:lstStyle/>
        <a:p>
          <a:endParaRPr lang="en-US"/>
        </a:p>
      </dgm:t>
    </dgm:pt>
    <dgm:pt modelId="{602704CB-89C9-4D28-9876-EC4325B8CC4C}">
      <dgm:prSet phldrT="[Text]"/>
      <dgm:spPr/>
      <dgm:t>
        <a:bodyPr/>
        <a:lstStyle/>
        <a:p>
          <a:r>
            <a:rPr lang="en-US"/>
            <a:t>End Users</a:t>
          </a:r>
        </a:p>
      </dgm:t>
    </dgm:pt>
    <dgm:pt modelId="{BE9354C2-3BF1-4D07-9E24-3ADF61646F03}" type="parTrans" cxnId="{A84DC32A-CBF0-48B5-B6D8-57A203FDC8D0}">
      <dgm:prSet/>
      <dgm:spPr/>
      <dgm:t>
        <a:bodyPr/>
        <a:lstStyle/>
        <a:p>
          <a:endParaRPr lang="en-US"/>
        </a:p>
      </dgm:t>
    </dgm:pt>
    <dgm:pt modelId="{6F31C978-BF01-4475-A060-88428C032AC5}" type="sibTrans" cxnId="{A84DC32A-CBF0-48B5-B6D8-57A203FDC8D0}">
      <dgm:prSet/>
      <dgm:spPr/>
      <dgm:t>
        <a:bodyPr/>
        <a:lstStyle/>
        <a:p>
          <a:endParaRPr lang="en-US"/>
        </a:p>
      </dgm:t>
    </dgm:pt>
    <dgm:pt modelId="{0185057B-7951-4CFB-A40A-E09B151F0921}">
      <dgm:prSet phldrT="[Text]"/>
      <dgm:spPr/>
      <dgm:t>
        <a:bodyPr/>
        <a:lstStyle/>
        <a:p>
          <a:r>
            <a:rPr lang="en-US"/>
            <a:t>Any user can work with data</a:t>
          </a:r>
        </a:p>
      </dgm:t>
    </dgm:pt>
    <dgm:pt modelId="{453830A6-C812-49F6-85F5-9E28C7C8E7D6}" type="parTrans" cxnId="{C3C05F7E-54C5-4AE8-9763-ED31563A0CF5}">
      <dgm:prSet/>
      <dgm:spPr/>
      <dgm:t>
        <a:bodyPr/>
        <a:lstStyle/>
        <a:p>
          <a:endParaRPr lang="en-US"/>
        </a:p>
      </dgm:t>
    </dgm:pt>
    <dgm:pt modelId="{F888B5FD-94A8-4C76-9049-70BA5EE882E9}" type="sibTrans" cxnId="{C3C05F7E-54C5-4AE8-9763-ED31563A0CF5}">
      <dgm:prSet/>
      <dgm:spPr/>
      <dgm:t>
        <a:bodyPr/>
        <a:lstStyle/>
        <a:p>
          <a:endParaRPr lang="en-US"/>
        </a:p>
      </dgm:t>
    </dgm:pt>
    <dgm:pt modelId="{E405AC8B-DB75-4271-95AE-CC58CA46D61A}">
      <dgm:prSet phldrT="[Text]"/>
      <dgm:spPr/>
      <dgm:t>
        <a:bodyPr/>
        <a:lstStyle/>
        <a:p>
          <a:r>
            <a:rPr lang="en-US"/>
            <a:t>Curated datasets</a:t>
          </a:r>
        </a:p>
      </dgm:t>
    </dgm:pt>
    <dgm:pt modelId="{AE25F95B-0C08-488A-9852-47597FBC765D}" type="parTrans" cxnId="{4E9712D7-947C-4744-97EF-16AFF4A4D53E}">
      <dgm:prSet/>
      <dgm:spPr/>
      <dgm:t>
        <a:bodyPr/>
        <a:lstStyle/>
        <a:p>
          <a:endParaRPr lang="en-US"/>
        </a:p>
      </dgm:t>
    </dgm:pt>
    <dgm:pt modelId="{A00984A1-CD5A-42C8-B14E-0C401E1692B3}" type="sibTrans" cxnId="{4E9712D7-947C-4744-97EF-16AFF4A4D53E}">
      <dgm:prSet/>
      <dgm:spPr/>
      <dgm:t>
        <a:bodyPr/>
        <a:lstStyle/>
        <a:p>
          <a:endParaRPr lang="en-US"/>
        </a:p>
      </dgm:t>
    </dgm:pt>
    <dgm:pt modelId="{D9D549E6-36B2-42FB-93C2-B09E3FB24F75}">
      <dgm:prSet phldrT="[Text]"/>
      <dgm:spPr/>
      <dgm:t>
        <a:bodyPr/>
        <a:lstStyle/>
        <a:p>
          <a:r>
            <a:rPr lang="en-US"/>
            <a:t>Users in Key Departments</a:t>
          </a:r>
        </a:p>
      </dgm:t>
    </dgm:pt>
    <dgm:pt modelId="{DA6B62B4-7B8E-4004-82B9-E162DF4B35AC}" type="parTrans" cxnId="{73FBFC60-6ACF-4C7E-83F2-A9E5CEF39596}">
      <dgm:prSet/>
      <dgm:spPr/>
      <dgm:t>
        <a:bodyPr/>
        <a:lstStyle/>
        <a:p>
          <a:endParaRPr lang="en-US"/>
        </a:p>
      </dgm:t>
    </dgm:pt>
    <dgm:pt modelId="{C0A75C7A-4093-47DB-A4F4-2E3D270959FE}" type="sibTrans" cxnId="{73FBFC60-6ACF-4C7E-83F2-A9E5CEF39596}">
      <dgm:prSet/>
      <dgm:spPr/>
      <dgm:t>
        <a:bodyPr/>
        <a:lstStyle/>
        <a:p>
          <a:endParaRPr lang="en-US"/>
        </a:p>
      </dgm:t>
    </dgm:pt>
    <dgm:pt modelId="{57F95F84-7420-42F8-B62B-F121D51F583E}">
      <dgm:prSet phldrT="[Text]"/>
      <dgm:spPr/>
      <dgm:t>
        <a:bodyPr/>
        <a:lstStyle/>
        <a:p>
          <a:r>
            <a:rPr lang="en-US"/>
            <a:t>Any user can work with data</a:t>
          </a:r>
        </a:p>
      </dgm:t>
    </dgm:pt>
    <dgm:pt modelId="{6D8EBF3C-E87E-4233-86F7-BBFCD7A7DCED}" type="parTrans" cxnId="{C3401FC4-3DB9-4471-8443-7ECDDB5EE7B7}">
      <dgm:prSet/>
      <dgm:spPr/>
      <dgm:t>
        <a:bodyPr/>
        <a:lstStyle/>
        <a:p>
          <a:endParaRPr lang="en-US"/>
        </a:p>
      </dgm:t>
    </dgm:pt>
    <dgm:pt modelId="{F612B89B-1F52-43B7-91EF-AB7B332BD47B}" type="sibTrans" cxnId="{C3401FC4-3DB9-4471-8443-7ECDDB5EE7B7}">
      <dgm:prSet/>
      <dgm:spPr/>
      <dgm:t>
        <a:bodyPr/>
        <a:lstStyle/>
        <a:p>
          <a:endParaRPr lang="en-US"/>
        </a:p>
      </dgm:t>
    </dgm:pt>
    <dgm:pt modelId="{1ABD9F05-4229-440F-A819-F04C0D014FB2}">
      <dgm:prSet phldrT="[Text]"/>
      <dgm:spPr/>
      <dgm:t>
        <a:bodyPr/>
        <a:lstStyle/>
        <a:p>
          <a:r>
            <a:rPr lang="en-US"/>
            <a:t>More data available</a:t>
          </a:r>
        </a:p>
      </dgm:t>
    </dgm:pt>
    <dgm:pt modelId="{A24F785E-3BC0-4C28-B1A4-349460C440FA}" type="parTrans" cxnId="{922F0778-24A2-4A70-8B35-ED447B895CA2}">
      <dgm:prSet/>
      <dgm:spPr/>
      <dgm:t>
        <a:bodyPr/>
        <a:lstStyle/>
        <a:p>
          <a:endParaRPr lang="en-US"/>
        </a:p>
      </dgm:t>
    </dgm:pt>
    <dgm:pt modelId="{4250D2C2-FEBD-4127-8B44-1DA958A00152}" type="sibTrans" cxnId="{922F0778-24A2-4A70-8B35-ED447B895CA2}">
      <dgm:prSet/>
      <dgm:spPr/>
      <dgm:t>
        <a:bodyPr/>
        <a:lstStyle/>
        <a:p>
          <a:endParaRPr lang="en-US"/>
        </a:p>
      </dgm:t>
    </dgm:pt>
    <dgm:pt modelId="{46C08378-7670-45FB-A05C-B1B45B12BBE2}">
      <dgm:prSet phldrT="[Text]"/>
      <dgm:spPr/>
      <dgm:t>
        <a:bodyPr/>
        <a:lstStyle/>
        <a:p>
          <a:r>
            <a:rPr lang="en-US"/>
            <a:t>Power Users</a:t>
          </a:r>
        </a:p>
      </dgm:t>
    </dgm:pt>
    <dgm:pt modelId="{450A703D-68FF-483E-8A1D-EC7BD13FA9F5}" type="parTrans" cxnId="{DE5F6DEF-870B-4BBB-A88A-B550E90B433C}">
      <dgm:prSet/>
      <dgm:spPr/>
      <dgm:t>
        <a:bodyPr/>
        <a:lstStyle/>
        <a:p>
          <a:endParaRPr lang="en-US"/>
        </a:p>
      </dgm:t>
    </dgm:pt>
    <dgm:pt modelId="{99DFD126-014D-4EA9-9922-AA45CE62796F}" type="sibTrans" cxnId="{DE5F6DEF-870B-4BBB-A88A-B550E90B433C}">
      <dgm:prSet/>
      <dgm:spPr/>
      <dgm:t>
        <a:bodyPr/>
        <a:lstStyle/>
        <a:p>
          <a:endParaRPr lang="en-US"/>
        </a:p>
      </dgm:t>
    </dgm:pt>
    <dgm:pt modelId="{9A4FBD4F-0A0F-4EB2-B338-B137F0134359}">
      <dgm:prSet phldrT="[Text]"/>
      <dgm:spPr/>
      <dgm:t>
        <a:bodyPr/>
        <a:lstStyle/>
        <a:p>
          <a:r>
            <a:rPr lang="en-US"/>
            <a:t>More skills</a:t>
          </a:r>
        </a:p>
      </dgm:t>
    </dgm:pt>
    <dgm:pt modelId="{9FF2DB91-4124-4D3B-88DD-4EA8F5286A49}" type="parTrans" cxnId="{AB45A043-26F2-4B88-8CF9-88CD9E7F8298}">
      <dgm:prSet/>
      <dgm:spPr/>
      <dgm:t>
        <a:bodyPr/>
        <a:lstStyle/>
        <a:p>
          <a:endParaRPr lang="en-US"/>
        </a:p>
      </dgm:t>
    </dgm:pt>
    <dgm:pt modelId="{9455D2A3-600A-4827-B750-0406D3B35E36}" type="sibTrans" cxnId="{AB45A043-26F2-4B88-8CF9-88CD9E7F8298}">
      <dgm:prSet/>
      <dgm:spPr/>
      <dgm:t>
        <a:bodyPr/>
        <a:lstStyle/>
        <a:p>
          <a:endParaRPr lang="en-US"/>
        </a:p>
      </dgm:t>
    </dgm:pt>
    <dgm:pt modelId="{C9192EBF-0FFE-484B-8696-555A1E05E7BB}">
      <dgm:prSet phldrT="[Text]"/>
      <dgm:spPr/>
      <dgm:t>
        <a:bodyPr/>
        <a:lstStyle/>
        <a:p>
          <a:r>
            <a:rPr lang="en-US"/>
            <a:t>More tools</a:t>
          </a:r>
        </a:p>
      </dgm:t>
    </dgm:pt>
    <dgm:pt modelId="{23E3B11D-C018-4EF5-81A3-51C14A54F2E6}" type="parTrans" cxnId="{726020A8-7EEC-40AB-9C69-8164CC1D01E7}">
      <dgm:prSet/>
      <dgm:spPr/>
      <dgm:t>
        <a:bodyPr/>
        <a:lstStyle/>
        <a:p>
          <a:endParaRPr lang="en-US"/>
        </a:p>
      </dgm:t>
    </dgm:pt>
    <dgm:pt modelId="{7636818B-4D12-4E57-8D8F-CED23278DDB2}" type="sibTrans" cxnId="{726020A8-7EEC-40AB-9C69-8164CC1D01E7}">
      <dgm:prSet/>
      <dgm:spPr/>
      <dgm:t>
        <a:bodyPr/>
        <a:lstStyle/>
        <a:p>
          <a:endParaRPr lang="en-US"/>
        </a:p>
      </dgm:t>
    </dgm:pt>
    <dgm:pt modelId="{B6F897A9-3C0C-48A1-8480-EA708B130775}">
      <dgm:prSet phldrT="[Text]"/>
      <dgm:spPr/>
      <dgm:t>
        <a:bodyPr/>
        <a:lstStyle/>
        <a:p>
          <a:r>
            <a:rPr lang="en-US"/>
            <a:t>Better resources</a:t>
          </a:r>
        </a:p>
      </dgm:t>
    </dgm:pt>
    <dgm:pt modelId="{54363FAB-3873-47BF-ADFF-F46A39170388}" type="parTrans" cxnId="{D27E3773-6CB3-4C17-B41C-DAD4FCBAE290}">
      <dgm:prSet/>
      <dgm:spPr/>
      <dgm:t>
        <a:bodyPr/>
        <a:lstStyle/>
        <a:p>
          <a:endParaRPr lang="en-US"/>
        </a:p>
      </dgm:t>
    </dgm:pt>
    <dgm:pt modelId="{D6802A6A-BE3B-4803-8EFA-B208503EAE6C}" type="sibTrans" cxnId="{D27E3773-6CB3-4C17-B41C-DAD4FCBAE290}">
      <dgm:prSet/>
      <dgm:spPr/>
      <dgm:t>
        <a:bodyPr/>
        <a:lstStyle/>
        <a:p>
          <a:endParaRPr lang="en-US"/>
        </a:p>
      </dgm:t>
    </dgm:pt>
    <dgm:pt modelId="{F3F5508C-7E6C-4C20-AD69-3CE5ED2C1A02}">
      <dgm:prSet phldrT="[Text]"/>
      <dgm:spPr/>
      <dgm:t>
        <a:bodyPr/>
        <a:lstStyle/>
        <a:p>
          <a:r>
            <a:rPr lang="en-US"/>
            <a:t>Hardcore IT</a:t>
          </a:r>
        </a:p>
      </dgm:t>
    </dgm:pt>
    <dgm:pt modelId="{FBE7C894-F885-4778-81B6-2F7D59283A17}" type="parTrans" cxnId="{DA00A8AB-D5A8-4C9B-824B-A0F358586945}">
      <dgm:prSet/>
      <dgm:spPr/>
      <dgm:t>
        <a:bodyPr/>
        <a:lstStyle/>
        <a:p>
          <a:endParaRPr lang="en-US"/>
        </a:p>
      </dgm:t>
    </dgm:pt>
    <dgm:pt modelId="{77ACB143-29F9-4113-9C3B-FDA27F058024}" type="sibTrans" cxnId="{DA00A8AB-D5A8-4C9B-824B-A0F358586945}">
      <dgm:prSet/>
      <dgm:spPr/>
      <dgm:t>
        <a:bodyPr/>
        <a:lstStyle/>
        <a:p>
          <a:endParaRPr lang="en-US"/>
        </a:p>
      </dgm:t>
    </dgm:pt>
    <dgm:pt modelId="{F5A968C8-5E7E-4683-8EDA-4201CCB60C91}">
      <dgm:prSet phldrT="[Text]"/>
      <dgm:spPr/>
      <dgm:t>
        <a:bodyPr/>
        <a:lstStyle/>
        <a:p>
          <a:r>
            <a:rPr lang="en-US"/>
            <a:t>Professional developers</a:t>
          </a:r>
        </a:p>
      </dgm:t>
    </dgm:pt>
    <dgm:pt modelId="{29E83CAF-BE0F-4B2A-A973-CC74F4B3E5B4}" type="parTrans" cxnId="{0DEC4FD6-77A8-4BC0-8852-7F2AB683005D}">
      <dgm:prSet/>
      <dgm:spPr/>
      <dgm:t>
        <a:bodyPr/>
        <a:lstStyle/>
        <a:p>
          <a:endParaRPr lang="en-US"/>
        </a:p>
      </dgm:t>
    </dgm:pt>
    <dgm:pt modelId="{D84F08FC-EE44-4C99-841F-D3613A857926}" type="sibTrans" cxnId="{0DEC4FD6-77A8-4BC0-8852-7F2AB683005D}">
      <dgm:prSet/>
      <dgm:spPr/>
      <dgm:t>
        <a:bodyPr/>
        <a:lstStyle/>
        <a:p>
          <a:endParaRPr lang="en-US"/>
        </a:p>
      </dgm:t>
    </dgm:pt>
    <dgm:pt modelId="{C33FC17C-6104-4096-A10D-43645D8D5BFC}">
      <dgm:prSet phldrT="[Text]"/>
      <dgm:spPr/>
      <dgm:t>
        <a:bodyPr/>
        <a:lstStyle/>
        <a:p>
          <a:r>
            <a:rPr lang="en-US"/>
            <a:t>Traditional owners of BI</a:t>
          </a:r>
        </a:p>
      </dgm:t>
    </dgm:pt>
    <dgm:pt modelId="{CEC145FE-1DF0-4F44-AB4B-3DCEFD34F208}" type="parTrans" cxnId="{4059BCD3-EB88-4571-89E5-1FEB4282CE52}">
      <dgm:prSet/>
      <dgm:spPr/>
      <dgm:t>
        <a:bodyPr/>
        <a:lstStyle/>
        <a:p>
          <a:endParaRPr lang="en-US"/>
        </a:p>
      </dgm:t>
    </dgm:pt>
    <dgm:pt modelId="{598FA458-915F-4140-84B7-BC0F546F2296}" type="sibTrans" cxnId="{4059BCD3-EB88-4571-89E5-1FEB4282CE52}">
      <dgm:prSet/>
      <dgm:spPr/>
      <dgm:t>
        <a:bodyPr/>
        <a:lstStyle/>
        <a:p>
          <a:endParaRPr lang="en-US"/>
        </a:p>
      </dgm:t>
    </dgm:pt>
    <dgm:pt modelId="{F47B56F4-E8EA-47BE-9641-1936281C3385}" type="pres">
      <dgm:prSet presAssocID="{6A993D06-AA99-4F3D-B309-9798F18CDE0C}" presName="Name0" presStyleCnt="0">
        <dgm:presLayoutVars>
          <dgm:chMax val="7"/>
          <dgm:dir/>
          <dgm:animLvl val="lvl"/>
          <dgm:resizeHandles val="exact"/>
        </dgm:presLayoutVars>
      </dgm:prSet>
      <dgm:spPr/>
    </dgm:pt>
    <dgm:pt modelId="{913285EF-7CF0-4D03-9C7E-A9EFF915D1E6}" type="pres">
      <dgm:prSet presAssocID="{602704CB-89C9-4D28-9876-EC4325B8CC4C}" presName="circle1" presStyleLbl="node1" presStyleIdx="0" presStyleCnt="4"/>
      <dgm:spPr>
        <a:solidFill>
          <a:srgbClr val="ED7D31"/>
        </a:solidFill>
      </dgm:spPr>
    </dgm:pt>
    <dgm:pt modelId="{FC6A5E09-AF97-4448-8CE0-94BE4C46FE32}" type="pres">
      <dgm:prSet presAssocID="{602704CB-89C9-4D28-9876-EC4325B8CC4C}" presName="space" presStyleCnt="0"/>
      <dgm:spPr/>
    </dgm:pt>
    <dgm:pt modelId="{F1271936-9E56-4BB3-AA63-1ACD49AF8B48}" type="pres">
      <dgm:prSet presAssocID="{602704CB-89C9-4D28-9876-EC4325B8CC4C}" presName="rect1" presStyleLbl="alignAcc1" presStyleIdx="0" presStyleCnt="4"/>
      <dgm:spPr/>
    </dgm:pt>
    <dgm:pt modelId="{28B379E2-B7C3-4C08-A5D0-C8D0C2799ECE}" type="pres">
      <dgm:prSet presAssocID="{D9D549E6-36B2-42FB-93C2-B09E3FB24F75}" presName="vertSpace2" presStyleLbl="node1" presStyleIdx="0" presStyleCnt="4"/>
      <dgm:spPr/>
    </dgm:pt>
    <dgm:pt modelId="{BB5965C5-F907-483A-B0A5-414578A21B77}" type="pres">
      <dgm:prSet presAssocID="{D9D549E6-36B2-42FB-93C2-B09E3FB24F75}" presName="circle2" presStyleLbl="node1" presStyleIdx="1" presStyleCnt="4"/>
      <dgm:spPr>
        <a:solidFill>
          <a:srgbClr val="A5A5A5"/>
        </a:solidFill>
      </dgm:spPr>
    </dgm:pt>
    <dgm:pt modelId="{9EA332EC-4F8C-4AEA-9B46-C6A414F7A033}" type="pres">
      <dgm:prSet presAssocID="{D9D549E6-36B2-42FB-93C2-B09E3FB24F75}" presName="rect2" presStyleLbl="alignAcc1" presStyleIdx="1" presStyleCnt="4"/>
      <dgm:spPr/>
    </dgm:pt>
    <dgm:pt modelId="{5FBBD777-AD2B-442B-8929-54E6F9D5888F}" type="pres">
      <dgm:prSet presAssocID="{46C08378-7670-45FB-A05C-B1B45B12BBE2}" presName="vertSpace3" presStyleLbl="node1" presStyleIdx="1" presStyleCnt="4"/>
      <dgm:spPr/>
    </dgm:pt>
    <dgm:pt modelId="{49156CC1-4316-4278-8CEF-4AC787FCE06A}" type="pres">
      <dgm:prSet presAssocID="{46C08378-7670-45FB-A05C-B1B45B12BBE2}" presName="circle3" presStyleLbl="node1" presStyleIdx="2" presStyleCnt="4"/>
      <dgm:spPr>
        <a:solidFill>
          <a:srgbClr val="FFC000"/>
        </a:solidFill>
      </dgm:spPr>
    </dgm:pt>
    <dgm:pt modelId="{039A6B55-D247-481E-B079-427345A889D5}" type="pres">
      <dgm:prSet presAssocID="{46C08378-7670-45FB-A05C-B1B45B12BBE2}" presName="rect3" presStyleLbl="alignAcc1" presStyleIdx="2" presStyleCnt="4"/>
      <dgm:spPr/>
    </dgm:pt>
    <dgm:pt modelId="{DEAB3DFD-FEAA-4ABE-B222-94C92237C897}" type="pres">
      <dgm:prSet presAssocID="{F3F5508C-7E6C-4C20-AD69-3CE5ED2C1A02}" presName="vertSpace4" presStyleLbl="node1" presStyleIdx="2" presStyleCnt="4"/>
      <dgm:spPr/>
    </dgm:pt>
    <dgm:pt modelId="{BECD5256-D636-446C-B5FE-6A37BB73EB67}" type="pres">
      <dgm:prSet presAssocID="{F3F5508C-7E6C-4C20-AD69-3CE5ED2C1A02}" presName="circle4" presStyleLbl="node1" presStyleIdx="3" presStyleCnt="4"/>
      <dgm:spPr>
        <a:solidFill>
          <a:srgbClr val="5B9BD5"/>
        </a:solidFill>
      </dgm:spPr>
    </dgm:pt>
    <dgm:pt modelId="{4914F23A-A444-4242-B2A7-9CA012AE34B8}" type="pres">
      <dgm:prSet presAssocID="{F3F5508C-7E6C-4C20-AD69-3CE5ED2C1A02}" presName="rect4" presStyleLbl="alignAcc1" presStyleIdx="3" presStyleCnt="4"/>
      <dgm:spPr/>
    </dgm:pt>
    <dgm:pt modelId="{6A5345A5-A76B-4BCF-92AC-A71579632611}" type="pres">
      <dgm:prSet presAssocID="{602704CB-89C9-4D28-9876-EC4325B8CC4C}" presName="rect1ParTx" presStyleLbl="alignAcc1" presStyleIdx="3" presStyleCnt="4">
        <dgm:presLayoutVars>
          <dgm:chMax val="1"/>
          <dgm:bulletEnabled val="1"/>
        </dgm:presLayoutVars>
      </dgm:prSet>
      <dgm:spPr/>
    </dgm:pt>
    <dgm:pt modelId="{E0868841-CA79-48B0-8B24-06E20683B4DC}" type="pres">
      <dgm:prSet presAssocID="{602704CB-89C9-4D28-9876-EC4325B8CC4C}" presName="rect1ChTx" presStyleLbl="alignAcc1" presStyleIdx="3" presStyleCnt="4">
        <dgm:presLayoutVars>
          <dgm:bulletEnabled val="1"/>
        </dgm:presLayoutVars>
      </dgm:prSet>
      <dgm:spPr/>
    </dgm:pt>
    <dgm:pt modelId="{7561E617-5921-409C-AA7D-C655AB87F0E0}" type="pres">
      <dgm:prSet presAssocID="{D9D549E6-36B2-42FB-93C2-B09E3FB24F75}" presName="rect2ParTx" presStyleLbl="alignAcc1" presStyleIdx="3" presStyleCnt="4">
        <dgm:presLayoutVars>
          <dgm:chMax val="1"/>
          <dgm:bulletEnabled val="1"/>
        </dgm:presLayoutVars>
      </dgm:prSet>
      <dgm:spPr/>
    </dgm:pt>
    <dgm:pt modelId="{4A11FD6C-291E-4C7E-BD4C-D721A5D23244}" type="pres">
      <dgm:prSet presAssocID="{D9D549E6-36B2-42FB-93C2-B09E3FB24F75}" presName="rect2ChTx" presStyleLbl="alignAcc1" presStyleIdx="3" presStyleCnt="4">
        <dgm:presLayoutVars>
          <dgm:bulletEnabled val="1"/>
        </dgm:presLayoutVars>
      </dgm:prSet>
      <dgm:spPr/>
    </dgm:pt>
    <dgm:pt modelId="{B0FA4860-1BB8-4976-BFE5-0D9011C9B1F9}" type="pres">
      <dgm:prSet presAssocID="{46C08378-7670-45FB-A05C-B1B45B12BBE2}" presName="rect3ParTx" presStyleLbl="alignAcc1" presStyleIdx="3" presStyleCnt="4">
        <dgm:presLayoutVars>
          <dgm:chMax val="1"/>
          <dgm:bulletEnabled val="1"/>
        </dgm:presLayoutVars>
      </dgm:prSet>
      <dgm:spPr/>
    </dgm:pt>
    <dgm:pt modelId="{4133E269-082B-40CA-BDEE-0073C65D10D8}" type="pres">
      <dgm:prSet presAssocID="{46C08378-7670-45FB-A05C-B1B45B12BBE2}" presName="rect3ChTx" presStyleLbl="alignAcc1" presStyleIdx="3" presStyleCnt="4">
        <dgm:presLayoutVars>
          <dgm:bulletEnabled val="1"/>
        </dgm:presLayoutVars>
      </dgm:prSet>
      <dgm:spPr/>
    </dgm:pt>
    <dgm:pt modelId="{F9A5970F-448C-4C38-8B9C-0A409812C674}" type="pres">
      <dgm:prSet presAssocID="{F3F5508C-7E6C-4C20-AD69-3CE5ED2C1A02}" presName="rect4ParTx" presStyleLbl="alignAcc1" presStyleIdx="3" presStyleCnt="4">
        <dgm:presLayoutVars>
          <dgm:chMax val="1"/>
          <dgm:bulletEnabled val="1"/>
        </dgm:presLayoutVars>
      </dgm:prSet>
      <dgm:spPr/>
    </dgm:pt>
    <dgm:pt modelId="{C7047BA2-2019-4E65-A76B-4EE5B1055C58}" type="pres">
      <dgm:prSet presAssocID="{F3F5508C-7E6C-4C20-AD69-3CE5ED2C1A02}" presName="rect4ChTx" presStyleLbl="alignAcc1" presStyleIdx="3" presStyleCnt="4">
        <dgm:presLayoutVars>
          <dgm:bulletEnabled val="1"/>
        </dgm:presLayoutVars>
      </dgm:prSet>
      <dgm:spPr/>
    </dgm:pt>
  </dgm:ptLst>
  <dgm:cxnLst>
    <dgm:cxn modelId="{D480150A-0FB4-4F3B-A08B-3C3A58C7840E}" type="presOf" srcId="{46C08378-7670-45FB-A05C-B1B45B12BBE2}" destId="{B0FA4860-1BB8-4976-BFE5-0D9011C9B1F9}" srcOrd="1" destOrd="0" presId="urn:microsoft.com/office/officeart/2005/8/layout/target3"/>
    <dgm:cxn modelId="{3F79B514-258B-4DD8-8800-19418FB117DF}" type="presOf" srcId="{1ABD9F05-4229-440F-A819-F04C0D014FB2}" destId="{4A11FD6C-291E-4C7E-BD4C-D721A5D23244}" srcOrd="0" destOrd="1" presId="urn:microsoft.com/office/officeart/2005/8/layout/target3"/>
    <dgm:cxn modelId="{8E65031C-DEE5-4EAC-A336-B8D3EA01C724}" type="presOf" srcId="{F5A968C8-5E7E-4683-8EDA-4201CCB60C91}" destId="{C7047BA2-2019-4E65-A76B-4EE5B1055C58}" srcOrd="0" destOrd="0" presId="urn:microsoft.com/office/officeart/2005/8/layout/target3"/>
    <dgm:cxn modelId="{A84DC32A-CBF0-48B5-B6D8-57A203FDC8D0}" srcId="{6A993D06-AA99-4F3D-B309-9798F18CDE0C}" destId="{602704CB-89C9-4D28-9876-EC4325B8CC4C}" srcOrd="0" destOrd="0" parTransId="{BE9354C2-3BF1-4D07-9E24-3ADF61646F03}" sibTransId="{6F31C978-BF01-4475-A060-88428C032AC5}"/>
    <dgm:cxn modelId="{ADBF6E31-8B4D-4540-9D9B-FADBE10F5B91}" type="presOf" srcId="{6A993D06-AA99-4F3D-B309-9798F18CDE0C}" destId="{F47B56F4-E8EA-47BE-9641-1936281C3385}" srcOrd="0" destOrd="0" presId="urn:microsoft.com/office/officeart/2005/8/layout/target3"/>
    <dgm:cxn modelId="{0A5D7731-F019-4C5C-B497-3EE43DD0C5DB}" type="presOf" srcId="{57F95F84-7420-42F8-B62B-F121D51F583E}" destId="{4A11FD6C-291E-4C7E-BD4C-D721A5D23244}" srcOrd="0" destOrd="0" presId="urn:microsoft.com/office/officeart/2005/8/layout/target3"/>
    <dgm:cxn modelId="{CA95B433-4572-4854-B270-73C2C5640F91}" type="presOf" srcId="{C9192EBF-0FFE-484B-8696-555A1E05E7BB}" destId="{4133E269-082B-40CA-BDEE-0073C65D10D8}" srcOrd="0" destOrd="1" presId="urn:microsoft.com/office/officeart/2005/8/layout/target3"/>
    <dgm:cxn modelId="{73FBFC60-6ACF-4C7E-83F2-A9E5CEF39596}" srcId="{6A993D06-AA99-4F3D-B309-9798F18CDE0C}" destId="{D9D549E6-36B2-42FB-93C2-B09E3FB24F75}" srcOrd="1" destOrd="0" parTransId="{DA6B62B4-7B8E-4004-82B9-E162DF4B35AC}" sibTransId="{C0A75C7A-4093-47DB-A4F4-2E3D270959FE}"/>
    <dgm:cxn modelId="{AB45A043-26F2-4B88-8CF9-88CD9E7F8298}" srcId="{46C08378-7670-45FB-A05C-B1B45B12BBE2}" destId="{9A4FBD4F-0A0F-4EB2-B338-B137F0134359}" srcOrd="0" destOrd="0" parTransId="{9FF2DB91-4124-4D3B-88DD-4EA8F5286A49}" sibTransId="{9455D2A3-600A-4827-B750-0406D3B35E36}"/>
    <dgm:cxn modelId="{FA9DD166-271F-4990-BC51-68AD89513D9C}" type="presOf" srcId="{F3F5508C-7E6C-4C20-AD69-3CE5ED2C1A02}" destId="{F9A5970F-448C-4C38-8B9C-0A409812C674}" srcOrd="1" destOrd="0" presId="urn:microsoft.com/office/officeart/2005/8/layout/target3"/>
    <dgm:cxn modelId="{D2508268-5FE0-4D32-BD6D-33F64FA069C5}" type="presOf" srcId="{D9D549E6-36B2-42FB-93C2-B09E3FB24F75}" destId="{7561E617-5921-409C-AA7D-C655AB87F0E0}" srcOrd="1" destOrd="0" presId="urn:microsoft.com/office/officeart/2005/8/layout/target3"/>
    <dgm:cxn modelId="{D27E3773-6CB3-4C17-B41C-DAD4FCBAE290}" srcId="{46C08378-7670-45FB-A05C-B1B45B12BBE2}" destId="{B6F897A9-3C0C-48A1-8480-EA708B130775}" srcOrd="2" destOrd="0" parTransId="{54363FAB-3873-47BF-ADFF-F46A39170388}" sibTransId="{D6802A6A-BE3B-4803-8EFA-B208503EAE6C}"/>
    <dgm:cxn modelId="{922F0778-24A2-4A70-8B35-ED447B895CA2}" srcId="{D9D549E6-36B2-42FB-93C2-B09E3FB24F75}" destId="{1ABD9F05-4229-440F-A819-F04C0D014FB2}" srcOrd="1" destOrd="0" parTransId="{A24F785E-3BC0-4C28-B1A4-349460C440FA}" sibTransId="{4250D2C2-FEBD-4127-8B44-1DA958A00152}"/>
    <dgm:cxn modelId="{C3C05F7E-54C5-4AE8-9763-ED31563A0CF5}" srcId="{602704CB-89C9-4D28-9876-EC4325B8CC4C}" destId="{0185057B-7951-4CFB-A40A-E09B151F0921}" srcOrd="0" destOrd="0" parTransId="{453830A6-C812-49F6-85F5-9E28C7C8E7D6}" sibTransId="{F888B5FD-94A8-4C76-9049-70BA5EE882E9}"/>
    <dgm:cxn modelId="{E54C0283-9278-409E-A15F-1AA25C7C9252}" type="presOf" srcId="{F3F5508C-7E6C-4C20-AD69-3CE5ED2C1A02}" destId="{4914F23A-A444-4242-B2A7-9CA012AE34B8}" srcOrd="0" destOrd="0" presId="urn:microsoft.com/office/officeart/2005/8/layout/target3"/>
    <dgm:cxn modelId="{ED195584-A17C-4224-BEBD-391E3D428D21}" type="presOf" srcId="{0185057B-7951-4CFB-A40A-E09B151F0921}" destId="{E0868841-CA79-48B0-8B24-06E20683B4DC}" srcOrd="0" destOrd="0" presId="urn:microsoft.com/office/officeart/2005/8/layout/target3"/>
    <dgm:cxn modelId="{76859A8D-2BD2-4A1D-81E6-5BE661EB5C04}" type="presOf" srcId="{46C08378-7670-45FB-A05C-B1B45B12BBE2}" destId="{039A6B55-D247-481E-B079-427345A889D5}" srcOrd="0" destOrd="0" presId="urn:microsoft.com/office/officeart/2005/8/layout/target3"/>
    <dgm:cxn modelId="{7035C197-70F3-4607-A46D-3C163317677D}" type="presOf" srcId="{602704CB-89C9-4D28-9876-EC4325B8CC4C}" destId="{F1271936-9E56-4BB3-AA63-1ACD49AF8B48}" srcOrd="0" destOrd="0" presId="urn:microsoft.com/office/officeart/2005/8/layout/target3"/>
    <dgm:cxn modelId="{4033539C-5E76-4C3B-BF66-DD8E6710B8DD}" type="presOf" srcId="{B6F897A9-3C0C-48A1-8480-EA708B130775}" destId="{4133E269-082B-40CA-BDEE-0073C65D10D8}" srcOrd="0" destOrd="2" presId="urn:microsoft.com/office/officeart/2005/8/layout/target3"/>
    <dgm:cxn modelId="{726020A8-7EEC-40AB-9C69-8164CC1D01E7}" srcId="{46C08378-7670-45FB-A05C-B1B45B12BBE2}" destId="{C9192EBF-0FFE-484B-8696-555A1E05E7BB}" srcOrd="1" destOrd="0" parTransId="{23E3B11D-C018-4EF5-81A3-51C14A54F2E6}" sibTransId="{7636818B-4D12-4E57-8D8F-CED23278DDB2}"/>
    <dgm:cxn modelId="{DA00A8AB-D5A8-4C9B-824B-A0F358586945}" srcId="{6A993D06-AA99-4F3D-B309-9798F18CDE0C}" destId="{F3F5508C-7E6C-4C20-AD69-3CE5ED2C1A02}" srcOrd="3" destOrd="0" parTransId="{FBE7C894-F885-4778-81B6-2F7D59283A17}" sibTransId="{77ACB143-29F9-4113-9C3B-FDA27F058024}"/>
    <dgm:cxn modelId="{D1E160AC-A5AC-4CD1-BEFC-BC32D2581B88}" type="presOf" srcId="{9A4FBD4F-0A0F-4EB2-B338-B137F0134359}" destId="{4133E269-082B-40CA-BDEE-0073C65D10D8}" srcOrd="0" destOrd="0" presId="urn:microsoft.com/office/officeart/2005/8/layout/target3"/>
    <dgm:cxn modelId="{C3401FC4-3DB9-4471-8443-7ECDDB5EE7B7}" srcId="{D9D549E6-36B2-42FB-93C2-B09E3FB24F75}" destId="{57F95F84-7420-42F8-B62B-F121D51F583E}" srcOrd="0" destOrd="0" parTransId="{6D8EBF3C-E87E-4233-86F7-BBFCD7A7DCED}" sibTransId="{F612B89B-1F52-43B7-91EF-AB7B332BD47B}"/>
    <dgm:cxn modelId="{D7C63FD0-46D7-4EB7-AD39-33EF3DAEECEA}" type="presOf" srcId="{C33FC17C-6104-4096-A10D-43645D8D5BFC}" destId="{C7047BA2-2019-4E65-A76B-4EE5B1055C58}" srcOrd="0" destOrd="1" presId="urn:microsoft.com/office/officeart/2005/8/layout/target3"/>
    <dgm:cxn modelId="{0D9055D0-42C3-4AB7-9C92-A4D0CC9445DF}" type="presOf" srcId="{602704CB-89C9-4D28-9876-EC4325B8CC4C}" destId="{6A5345A5-A76B-4BCF-92AC-A71579632611}" srcOrd="1" destOrd="0" presId="urn:microsoft.com/office/officeart/2005/8/layout/target3"/>
    <dgm:cxn modelId="{4059BCD3-EB88-4571-89E5-1FEB4282CE52}" srcId="{F3F5508C-7E6C-4C20-AD69-3CE5ED2C1A02}" destId="{C33FC17C-6104-4096-A10D-43645D8D5BFC}" srcOrd="1" destOrd="0" parTransId="{CEC145FE-1DF0-4F44-AB4B-3DCEFD34F208}" sibTransId="{598FA458-915F-4140-84B7-BC0F546F2296}"/>
    <dgm:cxn modelId="{9FF1E8D3-048E-40E8-8BCA-251B7809E4F8}" type="presOf" srcId="{D9D549E6-36B2-42FB-93C2-B09E3FB24F75}" destId="{9EA332EC-4F8C-4AEA-9B46-C6A414F7A033}" srcOrd="0" destOrd="0" presId="urn:microsoft.com/office/officeart/2005/8/layout/target3"/>
    <dgm:cxn modelId="{0DEC4FD6-77A8-4BC0-8852-7F2AB683005D}" srcId="{F3F5508C-7E6C-4C20-AD69-3CE5ED2C1A02}" destId="{F5A968C8-5E7E-4683-8EDA-4201CCB60C91}" srcOrd="0" destOrd="0" parTransId="{29E83CAF-BE0F-4B2A-A973-CC74F4B3E5B4}" sibTransId="{D84F08FC-EE44-4C99-841F-D3613A857926}"/>
    <dgm:cxn modelId="{4E9712D7-947C-4744-97EF-16AFF4A4D53E}" srcId="{602704CB-89C9-4D28-9876-EC4325B8CC4C}" destId="{E405AC8B-DB75-4271-95AE-CC58CA46D61A}" srcOrd="1" destOrd="0" parTransId="{AE25F95B-0C08-488A-9852-47597FBC765D}" sibTransId="{A00984A1-CD5A-42C8-B14E-0C401E1692B3}"/>
    <dgm:cxn modelId="{DE5F6DEF-870B-4BBB-A88A-B550E90B433C}" srcId="{6A993D06-AA99-4F3D-B309-9798F18CDE0C}" destId="{46C08378-7670-45FB-A05C-B1B45B12BBE2}" srcOrd="2" destOrd="0" parTransId="{450A703D-68FF-483E-8A1D-EC7BD13FA9F5}" sibTransId="{99DFD126-014D-4EA9-9922-AA45CE62796F}"/>
    <dgm:cxn modelId="{084F98EF-47D5-4368-A0CB-C55D6FE2B61C}" type="presOf" srcId="{E405AC8B-DB75-4271-95AE-CC58CA46D61A}" destId="{E0868841-CA79-48B0-8B24-06E20683B4DC}" srcOrd="0" destOrd="1" presId="urn:microsoft.com/office/officeart/2005/8/layout/target3"/>
    <dgm:cxn modelId="{ADDD8129-512B-414B-9E9E-E2D1BBA407B6}" type="presParOf" srcId="{F47B56F4-E8EA-47BE-9641-1936281C3385}" destId="{913285EF-7CF0-4D03-9C7E-A9EFF915D1E6}" srcOrd="0" destOrd="0" presId="urn:microsoft.com/office/officeart/2005/8/layout/target3"/>
    <dgm:cxn modelId="{21DC1D99-B98B-4724-93C6-340D70C55F2C}" type="presParOf" srcId="{F47B56F4-E8EA-47BE-9641-1936281C3385}" destId="{FC6A5E09-AF97-4448-8CE0-94BE4C46FE32}" srcOrd="1" destOrd="0" presId="urn:microsoft.com/office/officeart/2005/8/layout/target3"/>
    <dgm:cxn modelId="{FA295983-AA73-4F97-BA9A-1F9732F5E4D0}" type="presParOf" srcId="{F47B56F4-E8EA-47BE-9641-1936281C3385}" destId="{F1271936-9E56-4BB3-AA63-1ACD49AF8B48}" srcOrd="2" destOrd="0" presId="urn:microsoft.com/office/officeart/2005/8/layout/target3"/>
    <dgm:cxn modelId="{CF9D1792-9CF8-44F1-837E-982C58BFADF8}" type="presParOf" srcId="{F47B56F4-E8EA-47BE-9641-1936281C3385}" destId="{28B379E2-B7C3-4C08-A5D0-C8D0C2799ECE}" srcOrd="3" destOrd="0" presId="urn:microsoft.com/office/officeart/2005/8/layout/target3"/>
    <dgm:cxn modelId="{C1C62C3D-5617-4297-89CF-D21F5E1B725C}" type="presParOf" srcId="{F47B56F4-E8EA-47BE-9641-1936281C3385}" destId="{BB5965C5-F907-483A-B0A5-414578A21B77}" srcOrd="4" destOrd="0" presId="urn:microsoft.com/office/officeart/2005/8/layout/target3"/>
    <dgm:cxn modelId="{8E6BE6B2-7935-4D7F-B539-1C8EAE6CA237}" type="presParOf" srcId="{F47B56F4-E8EA-47BE-9641-1936281C3385}" destId="{9EA332EC-4F8C-4AEA-9B46-C6A414F7A033}" srcOrd="5" destOrd="0" presId="urn:microsoft.com/office/officeart/2005/8/layout/target3"/>
    <dgm:cxn modelId="{078BD4AD-CB61-4C95-8578-A0C4D826C032}" type="presParOf" srcId="{F47B56F4-E8EA-47BE-9641-1936281C3385}" destId="{5FBBD777-AD2B-442B-8929-54E6F9D5888F}" srcOrd="6" destOrd="0" presId="urn:microsoft.com/office/officeart/2005/8/layout/target3"/>
    <dgm:cxn modelId="{D19C439A-8FEE-4315-A3A2-682512E16255}" type="presParOf" srcId="{F47B56F4-E8EA-47BE-9641-1936281C3385}" destId="{49156CC1-4316-4278-8CEF-4AC787FCE06A}" srcOrd="7" destOrd="0" presId="urn:microsoft.com/office/officeart/2005/8/layout/target3"/>
    <dgm:cxn modelId="{AE79690A-8029-4937-A522-DF80553BBDB4}" type="presParOf" srcId="{F47B56F4-E8EA-47BE-9641-1936281C3385}" destId="{039A6B55-D247-481E-B079-427345A889D5}" srcOrd="8" destOrd="0" presId="urn:microsoft.com/office/officeart/2005/8/layout/target3"/>
    <dgm:cxn modelId="{149C1A56-EFB5-40CB-87AE-BFC6F4846FDF}" type="presParOf" srcId="{F47B56F4-E8EA-47BE-9641-1936281C3385}" destId="{DEAB3DFD-FEAA-4ABE-B222-94C92237C897}" srcOrd="9" destOrd="0" presId="urn:microsoft.com/office/officeart/2005/8/layout/target3"/>
    <dgm:cxn modelId="{5DB4928D-0B22-4C47-AD92-994026130643}" type="presParOf" srcId="{F47B56F4-E8EA-47BE-9641-1936281C3385}" destId="{BECD5256-D636-446C-B5FE-6A37BB73EB67}" srcOrd="10" destOrd="0" presId="urn:microsoft.com/office/officeart/2005/8/layout/target3"/>
    <dgm:cxn modelId="{3E412875-6A94-4CFE-BD2C-F7AE4D293FEC}" type="presParOf" srcId="{F47B56F4-E8EA-47BE-9641-1936281C3385}" destId="{4914F23A-A444-4242-B2A7-9CA012AE34B8}" srcOrd="11" destOrd="0" presId="urn:microsoft.com/office/officeart/2005/8/layout/target3"/>
    <dgm:cxn modelId="{E35C7762-55BC-4473-94CD-7B054775A05C}" type="presParOf" srcId="{F47B56F4-E8EA-47BE-9641-1936281C3385}" destId="{6A5345A5-A76B-4BCF-92AC-A71579632611}" srcOrd="12" destOrd="0" presId="urn:microsoft.com/office/officeart/2005/8/layout/target3"/>
    <dgm:cxn modelId="{30E2A4BE-ACF1-4D94-84F4-12CC3108E38C}" type="presParOf" srcId="{F47B56F4-E8EA-47BE-9641-1936281C3385}" destId="{E0868841-CA79-48B0-8B24-06E20683B4DC}" srcOrd="13" destOrd="0" presId="urn:microsoft.com/office/officeart/2005/8/layout/target3"/>
    <dgm:cxn modelId="{4BF1CCF7-BDB1-48AA-B415-55CA92E3EA04}" type="presParOf" srcId="{F47B56F4-E8EA-47BE-9641-1936281C3385}" destId="{7561E617-5921-409C-AA7D-C655AB87F0E0}" srcOrd="14" destOrd="0" presId="urn:microsoft.com/office/officeart/2005/8/layout/target3"/>
    <dgm:cxn modelId="{CCF2F9A3-22BC-4150-BD54-0398C2E7CBCD}" type="presParOf" srcId="{F47B56F4-E8EA-47BE-9641-1936281C3385}" destId="{4A11FD6C-291E-4C7E-BD4C-D721A5D23244}" srcOrd="15" destOrd="0" presId="urn:microsoft.com/office/officeart/2005/8/layout/target3"/>
    <dgm:cxn modelId="{97D8EDA4-229C-4944-9D62-C426035ACE8C}" type="presParOf" srcId="{F47B56F4-E8EA-47BE-9641-1936281C3385}" destId="{B0FA4860-1BB8-4976-BFE5-0D9011C9B1F9}" srcOrd="16" destOrd="0" presId="urn:microsoft.com/office/officeart/2005/8/layout/target3"/>
    <dgm:cxn modelId="{BC8EC850-3CD6-4EAD-9D3B-A521E58AADF1}" type="presParOf" srcId="{F47B56F4-E8EA-47BE-9641-1936281C3385}" destId="{4133E269-082B-40CA-BDEE-0073C65D10D8}" srcOrd="17" destOrd="0" presId="urn:microsoft.com/office/officeart/2005/8/layout/target3"/>
    <dgm:cxn modelId="{5BE19B2F-0CDF-4A40-BF06-2727C85F3C3C}" type="presParOf" srcId="{F47B56F4-E8EA-47BE-9641-1936281C3385}" destId="{F9A5970F-448C-4C38-8B9C-0A409812C674}" srcOrd="18" destOrd="0" presId="urn:microsoft.com/office/officeart/2005/8/layout/target3"/>
    <dgm:cxn modelId="{20FF48BA-F138-4A63-ADB9-3797EA8E8482}" type="presParOf" srcId="{F47B56F4-E8EA-47BE-9641-1936281C3385}" destId="{C7047BA2-2019-4E65-A76B-4EE5B1055C58}" srcOrd="19" destOrd="0" presId="urn:microsoft.com/office/officeart/2005/8/layout/target3"/>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6.xml><?xml version="1.0" encoding="utf-8"?>
<dgm:dataModel xmlns:dgm="http://schemas.openxmlformats.org/drawingml/2006/diagram" xmlns:a="http://schemas.openxmlformats.org/drawingml/2006/main">
  <dgm:ptLst>
    <dgm:pt modelId="{6A993D06-AA99-4F3D-B309-9798F18CDE0C}" type="doc">
      <dgm:prSet loTypeId="urn:microsoft.com/office/officeart/2009/3/layout/StepUpProcess" loCatId="process" qsTypeId="urn:microsoft.com/office/officeart/2005/8/quickstyle/simple1" qsCatId="simple" csTypeId="urn:microsoft.com/office/officeart/2005/8/colors/colorful1" csCatId="colorful" phldr="1"/>
      <dgm:spPr/>
      <dgm:t>
        <a:bodyPr/>
        <a:lstStyle/>
        <a:p>
          <a:endParaRPr lang="en-US"/>
        </a:p>
      </dgm:t>
    </dgm:pt>
    <dgm:pt modelId="{602704CB-89C9-4D28-9876-EC4325B8CC4C}">
      <dgm:prSet phldrT="[Text]"/>
      <dgm:spPr/>
      <dgm:t>
        <a:bodyPr/>
        <a:lstStyle/>
        <a:p>
          <a:r>
            <a:rPr lang="en-US"/>
            <a:t>Exploration</a:t>
          </a:r>
        </a:p>
      </dgm:t>
    </dgm:pt>
    <dgm:pt modelId="{BE9354C2-3BF1-4D07-9E24-3ADF61646F03}" type="parTrans" cxnId="{A84DC32A-CBF0-48B5-B6D8-57A203FDC8D0}">
      <dgm:prSet/>
      <dgm:spPr/>
      <dgm:t>
        <a:bodyPr/>
        <a:lstStyle/>
        <a:p>
          <a:endParaRPr lang="en-US"/>
        </a:p>
      </dgm:t>
    </dgm:pt>
    <dgm:pt modelId="{6F31C978-BF01-4475-A060-88428C032AC5}" type="sibTrans" cxnId="{A84DC32A-CBF0-48B5-B6D8-57A203FDC8D0}">
      <dgm:prSet/>
      <dgm:spPr/>
      <dgm:t>
        <a:bodyPr/>
        <a:lstStyle/>
        <a:p>
          <a:endParaRPr lang="en-US"/>
        </a:p>
      </dgm:t>
    </dgm:pt>
    <dgm:pt modelId="{141DAF27-9884-45C0-9A7F-F595B3DD1F34}">
      <dgm:prSet phldrT="[Text]"/>
      <dgm:spPr/>
      <dgm:t>
        <a:bodyPr/>
        <a:lstStyle/>
        <a:p>
          <a:r>
            <a:rPr lang="en-US"/>
            <a:t>Promotion</a:t>
          </a:r>
        </a:p>
      </dgm:t>
    </dgm:pt>
    <dgm:pt modelId="{3C19FDC2-6D75-48C0-BE59-CE9093549B71}" type="parTrans" cxnId="{BC876931-F46E-435B-9E6F-D1445CB855AE}">
      <dgm:prSet/>
      <dgm:spPr/>
      <dgm:t>
        <a:bodyPr/>
        <a:lstStyle/>
        <a:p>
          <a:endParaRPr lang="en-US"/>
        </a:p>
      </dgm:t>
    </dgm:pt>
    <dgm:pt modelId="{59D3B008-4701-45F3-9A18-D8A8280474F1}" type="sibTrans" cxnId="{BC876931-F46E-435B-9E6F-D1445CB855AE}">
      <dgm:prSet/>
      <dgm:spPr/>
      <dgm:t>
        <a:bodyPr/>
        <a:lstStyle/>
        <a:p>
          <a:endParaRPr lang="en-US"/>
        </a:p>
      </dgm:t>
    </dgm:pt>
    <dgm:pt modelId="{7C9BBA7F-69BB-4688-B9F5-C424675DADDA}">
      <dgm:prSet phldrT="[Text]"/>
      <dgm:spPr/>
      <dgm:t>
        <a:bodyPr/>
        <a:lstStyle/>
        <a:p>
          <a:r>
            <a:rPr lang="en-US"/>
            <a:t>Preparation</a:t>
          </a:r>
        </a:p>
      </dgm:t>
    </dgm:pt>
    <dgm:pt modelId="{9ADE456D-12C4-43E7-9AD8-8DED8C3E6AF8}" type="parTrans" cxnId="{2EB8A2DC-2816-4888-98E9-63B31CC67BB8}">
      <dgm:prSet/>
      <dgm:spPr/>
      <dgm:t>
        <a:bodyPr/>
        <a:lstStyle/>
        <a:p>
          <a:endParaRPr lang="en-US"/>
        </a:p>
      </dgm:t>
    </dgm:pt>
    <dgm:pt modelId="{0F569CE6-76AB-48E8-BFCA-646B74A41ACF}" type="sibTrans" cxnId="{2EB8A2DC-2816-4888-98E9-63B31CC67BB8}">
      <dgm:prSet/>
      <dgm:spPr/>
      <dgm:t>
        <a:bodyPr/>
        <a:lstStyle/>
        <a:p>
          <a:endParaRPr lang="en-US"/>
        </a:p>
      </dgm:t>
    </dgm:pt>
    <dgm:pt modelId="{5F815A55-7FC3-4FA3-ABF3-2D4390A8360E}">
      <dgm:prSet phldrT="[Text]"/>
      <dgm:spPr/>
      <dgm:t>
        <a:bodyPr/>
        <a:lstStyle/>
        <a:p>
          <a:r>
            <a:rPr lang="en-US"/>
            <a:t>Operationalization</a:t>
          </a:r>
        </a:p>
      </dgm:t>
    </dgm:pt>
    <dgm:pt modelId="{33CD8727-4C15-4604-A51A-27CD4DA6E884}" type="parTrans" cxnId="{B13F8005-673E-4103-8CC7-8240A910B5F3}">
      <dgm:prSet/>
      <dgm:spPr/>
      <dgm:t>
        <a:bodyPr/>
        <a:lstStyle/>
        <a:p>
          <a:endParaRPr lang="en-US"/>
        </a:p>
      </dgm:t>
    </dgm:pt>
    <dgm:pt modelId="{1A51ABF6-8AA8-4B9E-8E13-6A181908A140}" type="sibTrans" cxnId="{B13F8005-673E-4103-8CC7-8240A910B5F3}">
      <dgm:prSet/>
      <dgm:spPr/>
      <dgm:t>
        <a:bodyPr/>
        <a:lstStyle/>
        <a:p>
          <a:endParaRPr lang="en-US"/>
        </a:p>
      </dgm:t>
    </dgm:pt>
    <dgm:pt modelId="{4A234FAF-730A-4DCE-9F8A-FBAEAEE366E0}">
      <dgm:prSet phldrT="[Text]"/>
      <dgm:spPr/>
      <dgm:t>
        <a:bodyPr/>
        <a:lstStyle/>
        <a:p>
          <a:r>
            <a:rPr lang="en-US"/>
            <a:t>Gateway</a:t>
          </a:r>
        </a:p>
      </dgm:t>
    </dgm:pt>
    <dgm:pt modelId="{F095E743-148D-425C-AD4B-EB7D2605FA6A}" type="parTrans" cxnId="{1F15F903-14E4-46F9-B74C-27900464EF21}">
      <dgm:prSet/>
      <dgm:spPr/>
      <dgm:t>
        <a:bodyPr/>
        <a:lstStyle/>
        <a:p>
          <a:endParaRPr lang="en-US"/>
        </a:p>
      </dgm:t>
    </dgm:pt>
    <dgm:pt modelId="{FE4330DB-B572-4DDD-B340-33DD82963E7B}" type="sibTrans" cxnId="{1F15F903-14E4-46F9-B74C-27900464EF21}">
      <dgm:prSet/>
      <dgm:spPr/>
      <dgm:t>
        <a:bodyPr/>
        <a:lstStyle/>
        <a:p>
          <a:endParaRPr lang="en-US"/>
        </a:p>
      </dgm:t>
    </dgm:pt>
    <dgm:pt modelId="{46A13AB2-7A6A-4D92-949C-96598476F708}">
      <dgm:prSet phldrT="[Text]"/>
      <dgm:spPr/>
      <dgm:t>
        <a:bodyPr/>
        <a:lstStyle/>
        <a:p>
          <a:r>
            <a:rPr lang="en-US"/>
            <a:t>Data sources</a:t>
          </a:r>
        </a:p>
      </dgm:t>
    </dgm:pt>
    <dgm:pt modelId="{249854D0-FDAD-43E7-B549-E4F6D73FDC42}" type="parTrans" cxnId="{C8176903-0DCE-4EB3-93BF-013991D79010}">
      <dgm:prSet/>
      <dgm:spPr/>
      <dgm:t>
        <a:bodyPr/>
        <a:lstStyle/>
        <a:p>
          <a:endParaRPr lang="en-US"/>
        </a:p>
      </dgm:t>
    </dgm:pt>
    <dgm:pt modelId="{E64968A1-2330-40E0-8AC1-55B6B12AFDD5}" type="sibTrans" cxnId="{C8176903-0DCE-4EB3-93BF-013991D79010}">
      <dgm:prSet/>
      <dgm:spPr/>
      <dgm:t>
        <a:bodyPr/>
        <a:lstStyle/>
        <a:p>
          <a:endParaRPr lang="en-US"/>
        </a:p>
      </dgm:t>
    </dgm:pt>
    <dgm:pt modelId="{D3C7E271-0B35-4572-A4B6-D834F3C461B8}">
      <dgm:prSet phldrT="[Text]"/>
      <dgm:spPr/>
      <dgm:t>
        <a:bodyPr/>
        <a:lstStyle/>
        <a:p>
          <a:r>
            <a:rPr lang="en-US"/>
            <a:t>Prod workspace</a:t>
          </a:r>
        </a:p>
      </dgm:t>
    </dgm:pt>
    <dgm:pt modelId="{AFD7C7E1-87D5-4713-84FC-7E021BEAC1D7}" type="parTrans" cxnId="{F24C8C72-331C-46AD-B34C-50E6BC5551E2}">
      <dgm:prSet/>
      <dgm:spPr/>
      <dgm:t>
        <a:bodyPr/>
        <a:lstStyle/>
        <a:p>
          <a:endParaRPr lang="en-US"/>
        </a:p>
      </dgm:t>
    </dgm:pt>
    <dgm:pt modelId="{81ADA548-D70B-4DCC-A838-EEB773026924}" type="sibTrans" cxnId="{F24C8C72-331C-46AD-B34C-50E6BC5551E2}">
      <dgm:prSet/>
      <dgm:spPr/>
      <dgm:t>
        <a:bodyPr/>
        <a:lstStyle/>
        <a:p>
          <a:endParaRPr lang="en-US"/>
        </a:p>
      </dgm:t>
    </dgm:pt>
    <dgm:pt modelId="{BF97630A-959B-4336-BC08-0D06E06062F2}">
      <dgm:prSet phldrT="[Text]"/>
      <dgm:spPr/>
      <dgm:t>
        <a:bodyPr/>
        <a:lstStyle/>
        <a:p>
          <a:r>
            <a:rPr lang="en-US"/>
            <a:t>Work with SSBI</a:t>
          </a:r>
        </a:p>
      </dgm:t>
    </dgm:pt>
    <dgm:pt modelId="{5908BA9F-E107-4582-98FF-2FD94CFFD919}" type="sibTrans" cxnId="{512B6542-1ACA-464F-81D4-0BC90C246C38}">
      <dgm:prSet/>
      <dgm:spPr/>
      <dgm:t>
        <a:bodyPr/>
        <a:lstStyle/>
        <a:p>
          <a:endParaRPr lang="en-US"/>
        </a:p>
      </dgm:t>
    </dgm:pt>
    <dgm:pt modelId="{51EAAD93-C15C-4BB5-BDEB-E98FB3CB21B6}" type="parTrans" cxnId="{512B6542-1ACA-464F-81D4-0BC90C246C38}">
      <dgm:prSet/>
      <dgm:spPr/>
      <dgm:t>
        <a:bodyPr/>
        <a:lstStyle/>
        <a:p>
          <a:endParaRPr lang="en-US"/>
        </a:p>
      </dgm:t>
    </dgm:pt>
    <dgm:pt modelId="{CAEF5DFA-3003-4F05-9DFB-992B2619C8C0}">
      <dgm:prSet phldrT="[Text]"/>
      <dgm:spPr/>
      <dgm:t>
        <a:bodyPr/>
        <a:lstStyle/>
        <a:p>
          <a:r>
            <a:rPr lang="en-US"/>
            <a:t>Documentation</a:t>
          </a:r>
        </a:p>
      </dgm:t>
    </dgm:pt>
    <dgm:pt modelId="{6B8FF51A-9C27-4AB3-B231-E9073BF05E82}" type="parTrans" cxnId="{94FAB125-6FEA-4298-A0DF-D064124B53EF}">
      <dgm:prSet/>
      <dgm:spPr/>
      <dgm:t>
        <a:bodyPr/>
        <a:lstStyle/>
        <a:p>
          <a:endParaRPr lang="en-US"/>
        </a:p>
      </dgm:t>
    </dgm:pt>
    <dgm:pt modelId="{2FF9D6D9-F054-4CEB-838A-D7730786A1A4}" type="sibTrans" cxnId="{94FAB125-6FEA-4298-A0DF-D064124B53EF}">
      <dgm:prSet/>
      <dgm:spPr/>
      <dgm:t>
        <a:bodyPr/>
        <a:lstStyle/>
        <a:p>
          <a:endParaRPr lang="en-US"/>
        </a:p>
      </dgm:t>
    </dgm:pt>
    <dgm:pt modelId="{AF5BF1F0-F94A-41C2-9A93-C45EC72532A9}">
      <dgm:prSet phldrT="[Text]"/>
      <dgm:spPr/>
      <dgm:t>
        <a:bodyPr/>
        <a:lstStyle/>
        <a:p>
          <a:r>
            <a:rPr lang="en-US"/>
            <a:t>Ownership</a:t>
          </a:r>
        </a:p>
      </dgm:t>
    </dgm:pt>
    <dgm:pt modelId="{A7F2B521-57F1-4D35-8E19-0393551A46C4}" type="parTrans" cxnId="{7B01A666-D0D2-4E51-8A48-72A3E3FA833A}">
      <dgm:prSet/>
      <dgm:spPr/>
      <dgm:t>
        <a:bodyPr/>
        <a:lstStyle/>
        <a:p>
          <a:endParaRPr lang="en-US"/>
        </a:p>
      </dgm:t>
    </dgm:pt>
    <dgm:pt modelId="{C458BD2E-4E12-44BF-A375-B78F28640BD3}" type="sibTrans" cxnId="{7B01A666-D0D2-4E51-8A48-72A3E3FA833A}">
      <dgm:prSet/>
      <dgm:spPr/>
      <dgm:t>
        <a:bodyPr/>
        <a:lstStyle/>
        <a:p>
          <a:endParaRPr lang="en-US"/>
        </a:p>
      </dgm:t>
    </dgm:pt>
    <dgm:pt modelId="{662F15CC-E95F-46B7-B190-8E452DCA2F60}">
      <dgm:prSet phldrT="[Text]"/>
      <dgm:spPr/>
      <dgm:t>
        <a:bodyPr/>
        <a:lstStyle/>
        <a:p>
          <a:r>
            <a:rPr lang="en-US"/>
            <a:t>Full support</a:t>
          </a:r>
        </a:p>
      </dgm:t>
    </dgm:pt>
    <dgm:pt modelId="{F69BDF01-D7F2-4F8B-BFC2-91ACDC9A2604}" type="parTrans" cxnId="{DC562DB4-D714-4C28-B7B1-B65EB6EE575C}">
      <dgm:prSet/>
      <dgm:spPr/>
      <dgm:t>
        <a:bodyPr/>
        <a:lstStyle/>
        <a:p>
          <a:endParaRPr lang="en-US"/>
        </a:p>
      </dgm:t>
    </dgm:pt>
    <dgm:pt modelId="{F082243F-C7EA-4CC3-BB38-0BC8212E7838}" type="sibTrans" cxnId="{DC562DB4-D714-4C28-B7B1-B65EB6EE575C}">
      <dgm:prSet/>
      <dgm:spPr/>
      <dgm:t>
        <a:bodyPr/>
        <a:lstStyle/>
        <a:p>
          <a:endParaRPr lang="en-US"/>
        </a:p>
      </dgm:t>
    </dgm:pt>
    <dgm:pt modelId="{D5CBDB21-A270-496E-9352-721A4C3E1A2F}">
      <dgm:prSet phldrT="[Text]"/>
      <dgm:spPr/>
      <dgm:t>
        <a:bodyPr/>
        <a:lstStyle/>
        <a:p>
          <a:r>
            <a:rPr lang="en-US"/>
            <a:t>Prove out ideas</a:t>
          </a:r>
        </a:p>
      </dgm:t>
    </dgm:pt>
    <dgm:pt modelId="{343A2B8D-59BA-4F99-9FEC-CA5CA819A958}" type="parTrans" cxnId="{EBAAB863-81C5-4498-A347-0433811CF18A}">
      <dgm:prSet/>
      <dgm:spPr/>
      <dgm:t>
        <a:bodyPr/>
        <a:lstStyle/>
        <a:p>
          <a:endParaRPr lang="en-US"/>
        </a:p>
      </dgm:t>
    </dgm:pt>
    <dgm:pt modelId="{8443B1C1-1272-4C37-98CA-BDF354EAE9E1}" type="sibTrans" cxnId="{EBAAB863-81C5-4498-A347-0433811CF18A}">
      <dgm:prSet/>
      <dgm:spPr/>
      <dgm:t>
        <a:bodyPr/>
        <a:lstStyle/>
        <a:p>
          <a:endParaRPr lang="en-US"/>
        </a:p>
      </dgm:t>
    </dgm:pt>
    <dgm:pt modelId="{BAB3D24F-528C-4FD4-B5F6-3A54DFFD6F08}">
      <dgm:prSet phldrT="[Text]"/>
      <dgm:spPr/>
      <dgm:t>
        <a:bodyPr/>
        <a:lstStyle/>
        <a:p>
          <a:r>
            <a:rPr lang="en-US"/>
            <a:t>Desktop or Excel</a:t>
          </a:r>
        </a:p>
      </dgm:t>
    </dgm:pt>
    <dgm:pt modelId="{FD6C66E6-9741-4019-9CBB-C453A0C15D99}" type="parTrans" cxnId="{58E89B8C-8E3A-4E0C-85E7-7BD9633CFA05}">
      <dgm:prSet/>
      <dgm:spPr/>
      <dgm:t>
        <a:bodyPr/>
        <a:lstStyle/>
        <a:p>
          <a:endParaRPr lang="en-US"/>
        </a:p>
      </dgm:t>
    </dgm:pt>
    <dgm:pt modelId="{9FE1ABE5-DD2E-4A95-ADA8-A89F90DB2059}" type="sibTrans" cxnId="{58E89B8C-8E3A-4E0C-85E7-7BD9633CFA05}">
      <dgm:prSet/>
      <dgm:spPr/>
      <dgm:t>
        <a:bodyPr/>
        <a:lstStyle/>
        <a:p>
          <a:endParaRPr lang="en-US"/>
        </a:p>
      </dgm:t>
    </dgm:pt>
    <dgm:pt modelId="{90E77209-D6B4-40A7-AE94-BBB825C63FA7}">
      <dgm:prSet phldrT="[Text]"/>
      <dgm:spPr/>
      <dgm:t>
        <a:bodyPr/>
        <a:lstStyle/>
        <a:p>
          <a:r>
            <a:rPr lang="en-US"/>
            <a:t>Scheduled refresh</a:t>
          </a:r>
        </a:p>
      </dgm:t>
    </dgm:pt>
    <dgm:pt modelId="{0B4C1210-A9CA-46D8-9F0F-353CAAB15F4D}" type="parTrans" cxnId="{9480D411-F632-40E4-97ED-C5F8C91152D7}">
      <dgm:prSet/>
      <dgm:spPr/>
      <dgm:t>
        <a:bodyPr/>
        <a:lstStyle/>
        <a:p>
          <a:endParaRPr lang="en-US"/>
        </a:p>
      </dgm:t>
    </dgm:pt>
    <dgm:pt modelId="{3C10C280-8642-4949-B322-EA523ADA0286}" type="sibTrans" cxnId="{9480D411-F632-40E4-97ED-C5F8C91152D7}">
      <dgm:prSet/>
      <dgm:spPr/>
      <dgm:t>
        <a:bodyPr/>
        <a:lstStyle/>
        <a:p>
          <a:endParaRPr lang="en-US"/>
        </a:p>
      </dgm:t>
    </dgm:pt>
    <dgm:pt modelId="{157CB20B-DEB2-40B6-931D-D6E4294F47CA}">
      <dgm:prSet phldrT="[Text]"/>
      <dgm:spPr/>
      <dgm:t>
        <a:bodyPr/>
        <a:lstStyle/>
        <a:p>
          <a:r>
            <a:rPr lang="en-US"/>
            <a:t>Theme</a:t>
          </a:r>
        </a:p>
      </dgm:t>
    </dgm:pt>
    <dgm:pt modelId="{89C6E239-D77E-493D-9AFE-4C2CFA32FA9A}" type="parTrans" cxnId="{81487DF4-62EA-4412-BF55-30156BF28D61}">
      <dgm:prSet/>
      <dgm:spPr/>
      <dgm:t>
        <a:bodyPr/>
        <a:lstStyle/>
        <a:p>
          <a:endParaRPr lang="en-US"/>
        </a:p>
      </dgm:t>
    </dgm:pt>
    <dgm:pt modelId="{12EFADC2-9668-4158-8E5B-026A93BDD0B0}" type="sibTrans" cxnId="{81487DF4-62EA-4412-BF55-30156BF28D61}">
      <dgm:prSet/>
      <dgm:spPr/>
      <dgm:t>
        <a:bodyPr/>
        <a:lstStyle/>
        <a:p>
          <a:endParaRPr lang="en-US"/>
        </a:p>
      </dgm:t>
    </dgm:pt>
    <dgm:pt modelId="{E502987D-0C62-4775-84F2-9C971D67E76B}">
      <dgm:prSet phldrT="[Text]"/>
      <dgm:spPr/>
      <dgm:t>
        <a:bodyPr/>
        <a:lstStyle/>
        <a:p>
          <a:r>
            <a:rPr lang="en-US"/>
            <a:t>SLA</a:t>
          </a:r>
        </a:p>
      </dgm:t>
    </dgm:pt>
    <dgm:pt modelId="{284AF138-94E4-46AB-83F9-C13D76D39042}" type="parTrans" cxnId="{D8C21D1D-62A6-4DD6-BAD0-8EF1EC9C8E99}">
      <dgm:prSet/>
      <dgm:spPr/>
      <dgm:t>
        <a:bodyPr/>
        <a:lstStyle/>
        <a:p>
          <a:endParaRPr lang="en-US"/>
        </a:p>
      </dgm:t>
    </dgm:pt>
    <dgm:pt modelId="{2FE46425-A3E2-4982-9043-559A4FFC49F8}" type="sibTrans" cxnId="{D8C21D1D-62A6-4DD6-BAD0-8EF1EC9C8E99}">
      <dgm:prSet/>
      <dgm:spPr/>
      <dgm:t>
        <a:bodyPr/>
        <a:lstStyle/>
        <a:p>
          <a:endParaRPr lang="en-US"/>
        </a:p>
      </dgm:t>
    </dgm:pt>
    <dgm:pt modelId="{C09D8D3F-2F64-46B8-A9AE-F06068D50FAD}" type="pres">
      <dgm:prSet presAssocID="{6A993D06-AA99-4F3D-B309-9798F18CDE0C}" presName="rootnode" presStyleCnt="0">
        <dgm:presLayoutVars>
          <dgm:chMax/>
          <dgm:chPref/>
          <dgm:dir/>
          <dgm:animLvl val="lvl"/>
        </dgm:presLayoutVars>
      </dgm:prSet>
      <dgm:spPr/>
    </dgm:pt>
    <dgm:pt modelId="{5AFE32D8-3E6F-4BB1-BC44-8C0FFC77B432}" type="pres">
      <dgm:prSet presAssocID="{602704CB-89C9-4D28-9876-EC4325B8CC4C}" presName="composite" presStyleCnt="0"/>
      <dgm:spPr/>
    </dgm:pt>
    <dgm:pt modelId="{9B98BC4B-E7B1-4268-9495-5D73CC9C3051}" type="pres">
      <dgm:prSet presAssocID="{602704CB-89C9-4D28-9876-EC4325B8CC4C}" presName="LShape" presStyleLbl="alignNode1" presStyleIdx="0" presStyleCnt="7"/>
      <dgm:spPr/>
    </dgm:pt>
    <dgm:pt modelId="{504845A6-302F-43F6-9CB3-AF9747308E3F}" type="pres">
      <dgm:prSet presAssocID="{602704CB-89C9-4D28-9876-EC4325B8CC4C}" presName="ParentText" presStyleLbl="revTx" presStyleIdx="0" presStyleCnt="4">
        <dgm:presLayoutVars>
          <dgm:chMax val="0"/>
          <dgm:chPref val="0"/>
          <dgm:bulletEnabled val="1"/>
        </dgm:presLayoutVars>
      </dgm:prSet>
      <dgm:spPr/>
    </dgm:pt>
    <dgm:pt modelId="{7892D8E5-7831-49CA-80E3-16F27E5F78B1}" type="pres">
      <dgm:prSet presAssocID="{602704CB-89C9-4D28-9876-EC4325B8CC4C}" presName="Triangle" presStyleLbl="alignNode1" presStyleIdx="1" presStyleCnt="7"/>
      <dgm:spPr/>
    </dgm:pt>
    <dgm:pt modelId="{82A78625-0B45-43DA-A862-56951F08A8EA}" type="pres">
      <dgm:prSet presAssocID="{6F31C978-BF01-4475-A060-88428C032AC5}" presName="sibTrans" presStyleCnt="0"/>
      <dgm:spPr/>
    </dgm:pt>
    <dgm:pt modelId="{E39F83A5-74F9-471B-865F-3503041B2D25}" type="pres">
      <dgm:prSet presAssocID="{6F31C978-BF01-4475-A060-88428C032AC5}" presName="space" presStyleCnt="0"/>
      <dgm:spPr/>
    </dgm:pt>
    <dgm:pt modelId="{FD9F62B4-88A3-4D7C-8303-F28ECA6485FA}" type="pres">
      <dgm:prSet presAssocID="{141DAF27-9884-45C0-9A7F-F595B3DD1F34}" presName="composite" presStyleCnt="0"/>
      <dgm:spPr/>
    </dgm:pt>
    <dgm:pt modelId="{1EC21D07-3AE2-445D-8679-AAE5514D3CAC}" type="pres">
      <dgm:prSet presAssocID="{141DAF27-9884-45C0-9A7F-F595B3DD1F34}" presName="LShape" presStyleLbl="alignNode1" presStyleIdx="2" presStyleCnt="7"/>
      <dgm:spPr/>
    </dgm:pt>
    <dgm:pt modelId="{EFEDE421-90FB-41C5-B5BF-EDC1A5D9C31C}" type="pres">
      <dgm:prSet presAssocID="{141DAF27-9884-45C0-9A7F-F595B3DD1F34}" presName="ParentText" presStyleLbl="revTx" presStyleIdx="1" presStyleCnt="4">
        <dgm:presLayoutVars>
          <dgm:chMax val="0"/>
          <dgm:chPref val="0"/>
          <dgm:bulletEnabled val="1"/>
        </dgm:presLayoutVars>
      </dgm:prSet>
      <dgm:spPr/>
    </dgm:pt>
    <dgm:pt modelId="{186E60F8-3613-42A3-8D7D-987F6AB990A6}" type="pres">
      <dgm:prSet presAssocID="{141DAF27-9884-45C0-9A7F-F595B3DD1F34}" presName="Triangle" presStyleLbl="alignNode1" presStyleIdx="3" presStyleCnt="7"/>
      <dgm:spPr/>
    </dgm:pt>
    <dgm:pt modelId="{DB92C1C8-8A8F-4F0A-B224-3CD491920E25}" type="pres">
      <dgm:prSet presAssocID="{59D3B008-4701-45F3-9A18-D8A8280474F1}" presName="sibTrans" presStyleCnt="0"/>
      <dgm:spPr/>
    </dgm:pt>
    <dgm:pt modelId="{8E4FF814-55AD-42B6-9AC2-E83FFFF1DBD5}" type="pres">
      <dgm:prSet presAssocID="{59D3B008-4701-45F3-9A18-D8A8280474F1}" presName="space" presStyleCnt="0"/>
      <dgm:spPr/>
    </dgm:pt>
    <dgm:pt modelId="{709D3B69-C9AE-4410-B12F-A43B5574F6B1}" type="pres">
      <dgm:prSet presAssocID="{7C9BBA7F-69BB-4688-B9F5-C424675DADDA}" presName="composite" presStyleCnt="0"/>
      <dgm:spPr/>
    </dgm:pt>
    <dgm:pt modelId="{F5DBA1AA-898E-443B-B181-2F96741E6C15}" type="pres">
      <dgm:prSet presAssocID="{7C9BBA7F-69BB-4688-B9F5-C424675DADDA}" presName="LShape" presStyleLbl="alignNode1" presStyleIdx="4" presStyleCnt="7"/>
      <dgm:spPr/>
    </dgm:pt>
    <dgm:pt modelId="{FBF030BD-263B-4E98-916E-530C9C7BE1F9}" type="pres">
      <dgm:prSet presAssocID="{7C9BBA7F-69BB-4688-B9F5-C424675DADDA}" presName="ParentText" presStyleLbl="revTx" presStyleIdx="2" presStyleCnt="4">
        <dgm:presLayoutVars>
          <dgm:chMax val="0"/>
          <dgm:chPref val="0"/>
          <dgm:bulletEnabled val="1"/>
        </dgm:presLayoutVars>
      </dgm:prSet>
      <dgm:spPr/>
    </dgm:pt>
    <dgm:pt modelId="{4A235F80-B814-470E-8989-4207188E13E9}" type="pres">
      <dgm:prSet presAssocID="{7C9BBA7F-69BB-4688-B9F5-C424675DADDA}" presName="Triangle" presStyleLbl="alignNode1" presStyleIdx="5" presStyleCnt="7"/>
      <dgm:spPr/>
    </dgm:pt>
    <dgm:pt modelId="{63715E73-DC28-475D-B1EF-8F14E205150A}" type="pres">
      <dgm:prSet presAssocID="{0F569CE6-76AB-48E8-BFCA-646B74A41ACF}" presName="sibTrans" presStyleCnt="0"/>
      <dgm:spPr/>
    </dgm:pt>
    <dgm:pt modelId="{2A58E278-1766-430D-AC6A-0A7C5F0B4D90}" type="pres">
      <dgm:prSet presAssocID="{0F569CE6-76AB-48E8-BFCA-646B74A41ACF}" presName="space" presStyleCnt="0"/>
      <dgm:spPr/>
    </dgm:pt>
    <dgm:pt modelId="{9F54CD51-4043-4B53-A6F5-52BC626926B1}" type="pres">
      <dgm:prSet presAssocID="{5F815A55-7FC3-4FA3-ABF3-2D4390A8360E}" presName="composite" presStyleCnt="0"/>
      <dgm:spPr/>
    </dgm:pt>
    <dgm:pt modelId="{090BB8F0-AA1B-4AE3-A053-53E3B9E68528}" type="pres">
      <dgm:prSet presAssocID="{5F815A55-7FC3-4FA3-ABF3-2D4390A8360E}" presName="LShape" presStyleLbl="alignNode1" presStyleIdx="6" presStyleCnt="7"/>
      <dgm:spPr/>
    </dgm:pt>
    <dgm:pt modelId="{669F8A5C-6F87-4A8F-9088-B91AF7F36E87}" type="pres">
      <dgm:prSet presAssocID="{5F815A55-7FC3-4FA3-ABF3-2D4390A8360E}" presName="ParentText" presStyleLbl="revTx" presStyleIdx="3" presStyleCnt="4">
        <dgm:presLayoutVars>
          <dgm:chMax val="0"/>
          <dgm:chPref val="0"/>
          <dgm:bulletEnabled val="1"/>
        </dgm:presLayoutVars>
      </dgm:prSet>
      <dgm:spPr/>
    </dgm:pt>
  </dgm:ptLst>
  <dgm:cxnLst>
    <dgm:cxn modelId="{3DCF1502-27F3-4BB7-AFD3-889A3AAAC0E9}" type="presOf" srcId="{D3C7E271-0B35-4572-A4B6-D834F3C461B8}" destId="{669F8A5C-6F87-4A8F-9088-B91AF7F36E87}" srcOrd="0" destOrd="1" presId="urn:microsoft.com/office/officeart/2009/3/layout/StepUpProcess"/>
    <dgm:cxn modelId="{C8176903-0DCE-4EB3-93BF-013991D79010}" srcId="{7C9BBA7F-69BB-4688-B9F5-C424675DADDA}" destId="{46A13AB2-7A6A-4D92-949C-96598476F708}" srcOrd="0" destOrd="0" parTransId="{249854D0-FDAD-43E7-B549-E4F6D73FDC42}" sibTransId="{E64968A1-2330-40E0-8AC1-55B6B12AFDD5}"/>
    <dgm:cxn modelId="{1F15F903-14E4-46F9-B74C-27900464EF21}" srcId="{141DAF27-9884-45C0-9A7F-F595B3DD1F34}" destId="{4A234FAF-730A-4DCE-9F8A-FBAEAEE366E0}" srcOrd="0" destOrd="0" parTransId="{F095E743-148D-425C-AD4B-EB7D2605FA6A}" sibTransId="{FE4330DB-B572-4DDD-B340-33DD82963E7B}"/>
    <dgm:cxn modelId="{B13F8005-673E-4103-8CC7-8240A910B5F3}" srcId="{6A993D06-AA99-4F3D-B309-9798F18CDE0C}" destId="{5F815A55-7FC3-4FA3-ABF3-2D4390A8360E}" srcOrd="3" destOrd="0" parTransId="{33CD8727-4C15-4604-A51A-27CD4DA6E884}" sibTransId="{1A51ABF6-8AA8-4B9E-8E13-6A181908A140}"/>
    <dgm:cxn modelId="{9480D411-F632-40E4-97ED-C5F8C91152D7}" srcId="{141DAF27-9884-45C0-9A7F-F595B3DD1F34}" destId="{90E77209-D6B4-40A7-AE94-BBB825C63FA7}" srcOrd="1" destOrd="0" parTransId="{0B4C1210-A9CA-46D8-9F0F-353CAAB15F4D}" sibTransId="{3C10C280-8642-4949-B322-EA523ADA0286}"/>
    <dgm:cxn modelId="{D8C21D1D-62A6-4DD6-BAD0-8EF1EC9C8E99}" srcId="{5F815A55-7FC3-4FA3-ABF3-2D4390A8360E}" destId="{E502987D-0C62-4775-84F2-9C971D67E76B}" srcOrd="2" destOrd="0" parTransId="{284AF138-94E4-46AB-83F9-C13D76D39042}" sibTransId="{2FE46425-A3E2-4982-9043-559A4FFC49F8}"/>
    <dgm:cxn modelId="{ADB86124-3D31-4230-AB6A-51B35765E797}" type="presOf" srcId="{4A234FAF-730A-4DCE-9F8A-FBAEAEE366E0}" destId="{EFEDE421-90FB-41C5-B5BF-EDC1A5D9C31C}" srcOrd="0" destOrd="1" presId="urn:microsoft.com/office/officeart/2009/3/layout/StepUpProcess"/>
    <dgm:cxn modelId="{94FAB125-6FEA-4298-A0DF-D064124B53EF}" srcId="{7C9BBA7F-69BB-4688-B9F5-C424675DADDA}" destId="{CAEF5DFA-3003-4F05-9DFB-992B2619C8C0}" srcOrd="1" destOrd="0" parTransId="{6B8FF51A-9C27-4AB3-B231-E9073BF05E82}" sibTransId="{2FF9D6D9-F054-4CEB-838A-D7730786A1A4}"/>
    <dgm:cxn modelId="{53EBF628-AD87-4827-ADBB-E98AE6978429}" type="presOf" srcId="{BAB3D24F-528C-4FD4-B5F6-3A54DFFD6F08}" destId="{504845A6-302F-43F6-9CB3-AF9747308E3F}" srcOrd="0" destOrd="3" presId="urn:microsoft.com/office/officeart/2009/3/layout/StepUpProcess"/>
    <dgm:cxn modelId="{A84DC32A-CBF0-48B5-B6D8-57A203FDC8D0}" srcId="{6A993D06-AA99-4F3D-B309-9798F18CDE0C}" destId="{602704CB-89C9-4D28-9876-EC4325B8CC4C}" srcOrd="0" destOrd="0" parTransId="{BE9354C2-3BF1-4D07-9E24-3ADF61646F03}" sibTransId="{6F31C978-BF01-4475-A060-88428C032AC5}"/>
    <dgm:cxn modelId="{BC876931-F46E-435B-9E6F-D1445CB855AE}" srcId="{6A993D06-AA99-4F3D-B309-9798F18CDE0C}" destId="{141DAF27-9884-45C0-9A7F-F595B3DD1F34}" srcOrd="1" destOrd="0" parTransId="{3C19FDC2-6D75-48C0-BE59-CE9093549B71}" sibTransId="{59D3B008-4701-45F3-9A18-D8A8280474F1}"/>
    <dgm:cxn modelId="{3E1E6435-4667-4F71-8A3C-24B140F09CA1}" type="presOf" srcId="{7C9BBA7F-69BB-4688-B9F5-C424675DADDA}" destId="{FBF030BD-263B-4E98-916E-530C9C7BE1F9}" srcOrd="0" destOrd="0" presId="urn:microsoft.com/office/officeart/2009/3/layout/StepUpProcess"/>
    <dgm:cxn modelId="{A5D7783D-C5E0-4200-B404-D5D6F46D6F12}" type="presOf" srcId="{E502987D-0C62-4775-84F2-9C971D67E76B}" destId="{669F8A5C-6F87-4A8F-9088-B91AF7F36E87}" srcOrd="0" destOrd="3" presId="urn:microsoft.com/office/officeart/2009/3/layout/StepUpProcess"/>
    <dgm:cxn modelId="{AF0F8E60-D19C-459B-B197-865B2A4DCDF4}" type="presOf" srcId="{6A993D06-AA99-4F3D-B309-9798F18CDE0C}" destId="{C09D8D3F-2F64-46B8-A9AE-F06068D50FAD}" srcOrd="0" destOrd="0" presId="urn:microsoft.com/office/officeart/2009/3/layout/StepUpProcess"/>
    <dgm:cxn modelId="{512B6542-1ACA-464F-81D4-0BC90C246C38}" srcId="{602704CB-89C9-4D28-9876-EC4325B8CC4C}" destId="{BF97630A-959B-4336-BC08-0D06E06062F2}" srcOrd="0" destOrd="0" parTransId="{51EAAD93-C15C-4BB5-BDEB-E98FB3CB21B6}" sibTransId="{5908BA9F-E107-4582-98FF-2FD94CFFD919}"/>
    <dgm:cxn modelId="{EBAAB863-81C5-4498-A347-0433811CF18A}" srcId="{602704CB-89C9-4D28-9876-EC4325B8CC4C}" destId="{D5CBDB21-A270-496E-9352-721A4C3E1A2F}" srcOrd="1" destOrd="0" parTransId="{343A2B8D-59BA-4F99-9FEC-CA5CA819A958}" sibTransId="{8443B1C1-1272-4C37-98CA-BDF354EAE9E1}"/>
    <dgm:cxn modelId="{7B01A666-D0D2-4E51-8A48-72A3E3FA833A}" srcId="{7C9BBA7F-69BB-4688-B9F5-C424675DADDA}" destId="{AF5BF1F0-F94A-41C2-9A93-C45EC72532A9}" srcOrd="2" destOrd="0" parTransId="{A7F2B521-57F1-4D35-8E19-0393551A46C4}" sibTransId="{C458BD2E-4E12-44BF-A375-B78F28640BD3}"/>
    <dgm:cxn modelId="{30E2154A-25BE-416D-AFF5-321952DF096F}" type="presOf" srcId="{157CB20B-DEB2-40B6-931D-D6E4294F47CA}" destId="{EFEDE421-90FB-41C5-B5BF-EDC1A5D9C31C}" srcOrd="0" destOrd="3" presId="urn:microsoft.com/office/officeart/2009/3/layout/StepUpProcess"/>
    <dgm:cxn modelId="{1572AB6B-CE5D-4EF3-A615-5C45B9A2519A}" type="presOf" srcId="{5F815A55-7FC3-4FA3-ABF3-2D4390A8360E}" destId="{669F8A5C-6F87-4A8F-9088-B91AF7F36E87}" srcOrd="0" destOrd="0" presId="urn:microsoft.com/office/officeart/2009/3/layout/StepUpProcess"/>
    <dgm:cxn modelId="{F24C8C72-331C-46AD-B34C-50E6BC5551E2}" srcId="{5F815A55-7FC3-4FA3-ABF3-2D4390A8360E}" destId="{D3C7E271-0B35-4572-A4B6-D834F3C461B8}" srcOrd="0" destOrd="0" parTransId="{AFD7C7E1-87D5-4713-84FC-7E021BEAC1D7}" sibTransId="{81ADA548-D70B-4DCC-A838-EEB773026924}"/>
    <dgm:cxn modelId="{4E19AC7C-93CF-452F-9C4C-C50FED4C7326}" type="presOf" srcId="{602704CB-89C9-4D28-9876-EC4325B8CC4C}" destId="{504845A6-302F-43F6-9CB3-AF9747308E3F}" srcOrd="0" destOrd="0" presId="urn:microsoft.com/office/officeart/2009/3/layout/StepUpProcess"/>
    <dgm:cxn modelId="{20564285-8D6E-4209-9A50-0AC5FBD75AB4}" type="presOf" srcId="{662F15CC-E95F-46B7-B190-8E452DCA2F60}" destId="{669F8A5C-6F87-4A8F-9088-B91AF7F36E87}" srcOrd="0" destOrd="2" presId="urn:microsoft.com/office/officeart/2009/3/layout/StepUpProcess"/>
    <dgm:cxn modelId="{58E89B8C-8E3A-4E0C-85E7-7BD9633CFA05}" srcId="{602704CB-89C9-4D28-9876-EC4325B8CC4C}" destId="{BAB3D24F-528C-4FD4-B5F6-3A54DFFD6F08}" srcOrd="2" destOrd="0" parTransId="{FD6C66E6-9741-4019-9CBB-C453A0C15D99}" sibTransId="{9FE1ABE5-DD2E-4A95-ADA8-A89F90DB2059}"/>
    <dgm:cxn modelId="{F4994FB2-0CC9-4371-A8FA-F08C5B5858F9}" type="presOf" srcId="{46A13AB2-7A6A-4D92-949C-96598476F708}" destId="{FBF030BD-263B-4E98-916E-530C9C7BE1F9}" srcOrd="0" destOrd="1" presId="urn:microsoft.com/office/officeart/2009/3/layout/StepUpProcess"/>
    <dgm:cxn modelId="{DC562DB4-D714-4C28-B7B1-B65EB6EE575C}" srcId="{5F815A55-7FC3-4FA3-ABF3-2D4390A8360E}" destId="{662F15CC-E95F-46B7-B190-8E452DCA2F60}" srcOrd="1" destOrd="0" parTransId="{F69BDF01-D7F2-4F8B-BFC2-91ACDC9A2604}" sibTransId="{F082243F-C7EA-4CC3-BB38-0BC8212E7838}"/>
    <dgm:cxn modelId="{51333DB8-1BF6-464D-ABD9-53D5863D7665}" type="presOf" srcId="{AF5BF1F0-F94A-41C2-9A93-C45EC72532A9}" destId="{FBF030BD-263B-4E98-916E-530C9C7BE1F9}" srcOrd="0" destOrd="3" presId="urn:microsoft.com/office/officeart/2009/3/layout/StepUpProcess"/>
    <dgm:cxn modelId="{496B2EBE-17A2-4065-B4AD-7595AC404C0A}" type="presOf" srcId="{141DAF27-9884-45C0-9A7F-F595B3DD1F34}" destId="{EFEDE421-90FB-41C5-B5BF-EDC1A5D9C31C}" srcOrd="0" destOrd="0" presId="urn:microsoft.com/office/officeart/2009/3/layout/StepUpProcess"/>
    <dgm:cxn modelId="{E12B83CA-4D35-4836-A5AE-22C92ED502AE}" type="presOf" srcId="{BF97630A-959B-4336-BC08-0D06E06062F2}" destId="{504845A6-302F-43F6-9CB3-AF9747308E3F}" srcOrd="0" destOrd="1" presId="urn:microsoft.com/office/officeart/2009/3/layout/StepUpProcess"/>
    <dgm:cxn modelId="{F364A7CA-9005-44C0-97B4-509D6DA46731}" type="presOf" srcId="{CAEF5DFA-3003-4F05-9DFB-992B2619C8C0}" destId="{FBF030BD-263B-4E98-916E-530C9C7BE1F9}" srcOrd="0" destOrd="2" presId="urn:microsoft.com/office/officeart/2009/3/layout/StepUpProcess"/>
    <dgm:cxn modelId="{2EB8A2DC-2816-4888-98E9-63B31CC67BB8}" srcId="{6A993D06-AA99-4F3D-B309-9798F18CDE0C}" destId="{7C9BBA7F-69BB-4688-B9F5-C424675DADDA}" srcOrd="2" destOrd="0" parTransId="{9ADE456D-12C4-43E7-9AD8-8DED8C3E6AF8}" sibTransId="{0F569CE6-76AB-48E8-BFCA-646B74A41ACF}"/>
    <dgm:cxn modelId="{62DA4EE3-6919-41B2-83EA-9720306184D2}" type="presOf" srcId="{D5CBDB21-A270-496E-9352-721A4C3E1A2F}" destId="{504845A6-302F-43F6-9CB3-AF9747308E3F}" srcOrd="0" destOrd="2" presId="urn:microsoft.com/office/officeart/2009/3/layout/StepUpProcess"/>
    <dgm:cxn modelId="{81487DF4-62EA-4412-BF55-30156BF28D61}" srcId="{141DAF27-9884-45C0-9A7F-F595B3DD1F34}" destId="{157CB20B-DEB2-40B6-931D-D6E4294F47CA}" srcOrd="2" destOrd="0" parTransId="{89C6E239-D77E-493D-9AFE-4C2CFA32FA9A}" sibTransId="{12EFADC2-9668-4158-8E5B-026A93BDD0B0}"/>
    <dgm:cxn modelId="{9A4FBEF8-930D-4A55-A634-76AFB440C98D}" type="presOf" srcId="{90E77209-D6B4-40A7-AE94-BBB825C63FA7}" destId="{EFEDE421-90FB-41C5-B5BF-EDC1A5D9C31C}" srcOrd="0" destOrd="2" presId="urn:microsoft.com/office/officeart/2009/3/layout/StepUpProcess"/>
    <dgm:cxn modelId="{36F77DB4-1C0F-48B1-8CF6-CE378F026CB2}" type="presParOf" srcId="{C09D8D3F-2F64-46B8-A9AE-F06068D50FAD}" destId="{5AFE32D8-3E6F-4BB1-BC44-8C0FFC77B432}" srcOrd="0" destOrd="0" presId="urn:microsoft.com/office/officeart/2009/3/layout/StepUpProcess"/>
    <dgm:cxn modelId="{7AE41F4B-8996-4980-81D5-F2A3221298B5}" type="presParOf" srcId="{5AFE32D8-3E6F-4BB1-BC44-8C0FFC77B432}" destId="{9B98BC4B-E7B1-4268-9495-5D73CC9C3051}" srcOrd="0" destOrd="0" presId="urn:microsoft.com/office/officeart/2009/3/layout/StepUpProcess"/>
    <dgm:cxn modelId="{0219565A-7EBD-4443-AAB5-46FBB32E1CBC}" type="presParOf" srcId="{5AFE32D8-3E6F-4BB1-BC44-8C0FFC77B432}" destId="{504845A6-302F-43F6-9CB3-AF9747308E3F}" srcOrd="1" destOrd="0" presId="urn:microsoft.com/office/officeart/2009/3/layout/StepUpProcess"/>
    <dgm:cxn modelId="{966AA960-3B6F-4191-BCDD-57DC9489C490}" type="presParOf" srcId="{5AFE32D8-3E6F-4BB1-BC44-8C0FFC77B432}" destId="{7892D8E5-7831-49CA-80E3-16F27E5F78B1}" srcOrd="2" destOrd="0" presId="urn:microsoft.com/office/officeart/2009/3/layout/StepUpProcess"/>
    <dgm:cxn modelId="{83078EBA-15A2-4A87-9415-A16148241B34}" type="presParOf" srcId="{C09D8D3F-2F64-46B8-A9AE-F06068D50FAD}" destId="{82A78625-0B45-43DA-A862-56951F08A8EA}" srcOrd="1" destOrd="0" presId="urn:microsoft.com/office/officeart/2009/3/layout/StepUpProcess"/>
    <dgm:cxn modelId="{CC137E2F-EF4D-4978-880E-9D90BE4F483F}" type="presParOf" srcId="{82A78625-0B45-43DA-A862-56951F08A8EA}" destId="{E39F83A5-74F9-471B-865F-3503041B2D25}" srcOrd="0" destOrd="0" presId="urn:microsoft.com/office/officeart/2009/3/layout/StepUpProcess"/>
    <dgm:cxn modelId="{C8ED53E1-5229-49E5-81F6-457081C1B38C}" type="presParOf" srcId="{C09D8D3F-2F64-46B8-A9AE-F06068D50FAD}" destId="{FD9F62B4-88A3-4D7C-8303-F28ECA6485FA}" srcOrd="2" destOrd="0" presId="urn:microsoft.com/office/officeart/2009/3/layout/StepUpProcess"/>
    <dgm:cxn modelId="{66D322F2-FB1C-4BCD-A80C-18BC52B874EF}" type="presParOf" srcId="{FD9F62B4-88A3-4D7C-8303-F28ECA6485FA}" destId="{1EC21D07-3AE2-445D-8679-AAE5514D3CAC}" srcOrd="0" destOrd="0" presId="urn:microsoft.com/office/officeart/2009/3/layout/StepUpProcess"/>
    <dgm:cxn modelId="{1251D2E6-114F-46CC-874B-5B2C4AAD660D}" type="presParOf" srcId="{FD9F62B4-88A3-4D7C-8303-F28ECA6485FA}" destId="{EFEDE421-90FB-41C5-B5BF-EDC1A5D9C31C}" srcOrd="1" destOrd="0" presId="urn:microsoft.com/office/officeart/2009/3/layout/StepUpProcess"/>
    <dgm:cxn modelId="{46102024-C549-465D-A23B-155848DCF8ED}" type="presParOf" srcId="{FD9F62B4-88A3-4D7C-8303-F28ECA6485FA}" destId="{186E60F8-3613-42A3-8D7D-987F6AB990A6}" srcOrd="2" destOrd="0" presId="urn:microsoft.com/office/officeart/2009/3/layout/StepUpProcess"/>
    <dgm:cxn modelId="{5ADD7683-F028-44AA-BA96-E58956810CA9}" type="presParOf" srcId="{C09D8D3F-2F64-46B8-A9AE-F06068D50FAD}" destId="{DB92C1C8-8A8F-4F0A-B224-3CD491920E25}" srcOrd="3" destOrd="0" presId="urn:microsoft.com/office/officeart/2009/3/layout/StepUpProcess"/>
    <dgm:cxn modelId="{A3950E4F-99AF-4B33-9BE5-BBB98664100B}" type="presParOf" srcId="{DB92C1C8-8A8F-4F0A-B224-3CD491920E25}" destId="{8E4FF814-55AD-42B6-9AC2-E83FFFF1DBD5}" srcOrd="0" destOrd="0" presId="urn:microsoft.com/office/officeart/2009/3/layout/StepUpProcess"/>
    <dgm:cxn modelId="{80E1F8EB-D075-49A1-AF46-4E4024FD4F9B}" type="presParOf" srcId="{C09D8D3F-2F64-46B8-A9AE-F06068D50FAD}" destId="{709D3B69-C9AE-4410-B12F-A43B5574F6B1}" srcOrd="4" destOrd="0" presId="urn:microsoft.com/office/officeart/2009/3/layout/StepUpProcess"/>
    <dgm:cxn modelId="{4EE4E5A1-9E4A-4EDC-A6A8-B27094DAAF3B}" type="presParOf" srcId="{709D3B69-C9AE-4410-B12F-A43B5574F6B1}" destId="{F5DBA1AA-898E-443B-B181-2F96741E6C15}" srcOrd="0" destOrd="0" presId="urn:microsoft.com/office/officeart/2009/3/layout/StepUpProcess"/>
    <dgm:cxn modelId="{0BAF1F36-A972-4020-AC58-24BFBA3A5300}" type="presParOf" srcId="{709D3B69-C9AE-4410-B12F-A43B5574F6B1}" destId="{FBF030BD-263B-4E98-916E-530C9C7BE1F9}" srcOrd="1" destOrd="0" presId="urn:microsoft.com/office/officeart/2009/3/layout/StepUpProcess"/>
    <dgm:cxn modelId="{3CA02BA3-8B03-4F31-912C-9C280DF7FF2C}" type="presParOf" srcId="{709D3B69-C9AE-4410-B12F-A43B5574F6B1}" destId="{4A235F80-B814-470E-8989-4207188E13E9}" srcOrd="2" destOrd="0" presId="urn:microsoft.com/office/officeart/2009/3/layout/StepUpProcess"/>
    <dgm:cxn modelId="{8EB36552-FAFD-48E2-989D-CA018957426C}" type="presParOf" srcId="{C09D8D3F-2F64-46B8-A9AE-F06068D50FAD}" destId="{63715E73-DC28-475D-B1EF-8F14E205150A}" srcOrd="5" destOrd="0" presId="urn:microsoft.com/office/officeart/2009/3/layout/StepUpProcess"/>
    <dgm:cxn modelId="{83E66368-2F8D-42AF-AC5B-CA4624D92CC8}" type="presParOf" srcId="{63715E73-DC28-475D-B1EF-8F14E205150A}" destId="{2A58E278-1766-430D-AC6A-0A7C5F0B4D90}" srcOrd="0" destOrd="0" presId="urn:microsoft.com/office/officeart/2009/3/layout/StepUpProcess"/>
    <dgm:cxn modelId="{B90EE83A-AE36-478E-B78F-B3D02BEF0CB2}" type="presParOf" srcId="{C09D8D3F-2F64-46B8-A9AE-F06068D50FAD}" destId="{9F54CD51-4043-4B53-A6F5-52BC626926B1}" srcOrd="6" destOrd="0" presId="urn:microsoft.com/office/officeart/2009/3/layout/StepUpProcess"/>
    <dgm:cxn modelId="{C7D6C34E-E477-418F-8D06-D05B95C5BD4E}" type="presParOf" srcId="{9F54CD51-4043-4B53-A6F5-52BC626926B1}" destId="{090BB8F0-AA1B-4AE3-A053-53E3B9E68528}" srcOrd="0" destOrd="0" presId="urn:microsoft.com/office/officeart/2009/3/layout/StepUpProcess"/>
    <dgm:cxn modelId="{DABA14D1-6B69-461D-A060-4A4720242BF7}" type="presParOf" srcId="{9F54CD51-4043-4B53-A6F5-52BC626926B1}" destId="{669F8A5C-6F87-4A8F-9088-B91AF7F36E87}" srcOrd="1" destOrd="0" presId="urn:microsoft.com/office/officeart/2009/3/layout/StepUpProcess"/>
  </dgm:cxnLst>
  <dgm:bg/>
  <dgm:whole/>
  <dgm:extLst>
    <a:ext uri="http://schemas.microsoft.com/office/drawing/2008/diagram">
      <dsp:dataModelExt xmlns:dsp="http://schemas.microsoft.com/office/drawing/2008/diagram" relId="rId11" minVer="http://schemas.openxmlformats.org/drawingml/2006/diagram"/>
    </a:ext>
    <a:ext uri="{C62137D5-CB1D-491B-B009-E17868A290BF}">
      <dgm14:recolorImg xmlns:dgm14="http://schemas.microsoft.com/office/drawing/2010/diagram" val="1"/>
    </a:ext>
  </dgm:extLst>
</dgm:dataModel>
</file>

<file path=ppt/diagrams/data7.xml><?xml version="1.0" encoding="utf-8"?>
<dgm:dataModel xmlns:dgm="http://schemas.openxmlformats.org/drawingml/2006/diagram" xmlns:a="http://schemas.openxmlformats.org/drawingml/2006/main">
  <dgm:ptLst>
    <dgm:pt modelId="{6A993D06-AA99-4F3D-B309-9798F18CDE0C}" type="doc">
      <dgm:prSet loTypeId="urn:microsoft.com/office/officeart/2005/8/layout/target3" loCatId="relationship" qsTypeId="urn:microsoft.com/office/officeart/2005/8/quickstyle/simple1" qsCatId="simple" csTypeId="urn:microsoft.com/office/officeart/2005/8/colors/colorful1" csCatId="colorful" phldr="1"/>
      <dgm:spPr/>
      <dgm:t>
        <a:bodyPr/>
        <a:lstStyle/>
        <a:p>
          <a:endParaRPr lang="en-US"/>
        </a:p>
      </dgm:t>
    </dgm:pt>
    <dgm:pt modelId="{602704CB-89C9-4D28-9876-EC4325B8CC4C}">
      <dgm:prSet phldrT="[Text]"/>
      <dgm:spPr/>
      <dgm:t>
        <a:bodyPr/>
        <a:lstStyle/>
        <a:p>
          <a:r>
            <a:rPr lang="en-US"/>
            <a:t>End Users</a:t>
          </a:r>
        </a:p>
      </dgm:t>
    </dgm:pt>
    <dgm:pt modelId="{BE9354C2-3BF1-4D07-9E24-3ADF61646F03}" type="parTrans" cxnId="{A84DC32A-CBF0-48B5-B6D8-57A203FDC8D0}">
      <dgm:prSet/>
      <dgm:spPr/>
      <dgm:t>
        <a:bodyPr/>
        <a:lstStyle/>
        <a:p>
          <a:endParaRPr lang="en-US"/>
        </a:p>
      </dgm:t>
    </dgm:pt>
    <dgm:pt modelId="{6F31C978-BF01-4475-A060-88428C032AC5}" type="sibTrans" cxnId="{A84DC32A-CBF0-48B5-B6D8-57A203FDC8D0}">
      <dgm:prSet/>
      <dgm:spPr/>
      <dgm:t>
        <a:bodyPr/>
        <a:lstStyle/>
        <a:p>
          <a:endParaRPr lang="en-US"/>
        </a:p>
      </dgm:t>
    </dgm:pt>
    <dgm:pt modelId="{0185057B-7951-4CFB-A40A-E09B151F0921}">
      <dgm:prSet phldrT="[Text]"/>
      <dgm:spPr/>
      <dgm:t>
        <a:bodyPr/>
        <a:lstStyle/>
        <a:p>
          <a:r>
            <a:rPr lang="en-US"/>
            <a:t>Any user can work with data</a:t>
          </a:r>
        </a:p>
      </dgm:t>
    </dgm:pt>
    <dgm:pt modelId="{453830A6-C812-49F6-85F5-9E28C7C8E7D6}" type="parTrans" cxnId="{C3C05F7E-54C5-4AE8-9763-ED31563A0CF5}">
      <dgm:prSet/>
      <dgm:spPr/>
      <dgm:t>
        <a:bodyPr/>
        <a:lstStyle/>
        <a:p>
          <a:endParaRPr lang="en-US"/>
        </a:p>
      </dgm:t>
    </dgm:pt>
    <dgm:pt modelId="{F888B5FD-94A8-4C76-9049-70BA5EE882E9}" type="sibTrans" cxnId="{C3C05F7E-54C5-4AE8-9763-ED31563A0CF5}">
      <dgm:prSet/>
      <dgm:spPr/>
      <dgm:t>
        <a:bodyPr/>
        <a:lstStyle/>
        <a:p>
          <a:endParaRPr lang="en-US"/>
        </a:p>
      </dgm:t>
    </dgm:pt>
    <dgm:pt modelId="{E405AC8B-DB75-4271-95AE-CC58CA46D61A}">
      <dgm:prSet phldrT="[Text]"/>
      <dgm:spPr/>
      <dgm:t>
        <a:bodyPr/>
        <a:lstStyle/>
        <a:p>
          <a:r>
            <a:rPr lang="en-US"/>
            <a:t>Curated datasets</a:t>
          </a:r>
        </a:p>
      </dgm:t>
    </dgm:pt>
    <dgm:pt modelId="{AE25F95B-0C08-488A-9852-47597FBC765D}" type="parTrans" cxnId="{4E9712D7-947C-4744-97EF-16AFF4A4D53E}">
      <dgm:prSet/>
      <dgm:spPr/>
      <dgm:t>
        <a:bodyPr/>
        <a:lstStyle/>
        <a:p>
          <a:endParaRPr lang="en-US"/>
        </a:p>
      </dgm:t>
    </dgm:pt>
    <dgm:pt modelId="{A00984A1-CD5A-42C8-B14E-0C401E1692B3}" type="sibTrans" cxnId="{4E9712D7-947C-4744-97EF-16AFF4A4D53E}">
      <dgm:prSet/>
      <dgm:spPr/>
      <dgm:t>
        <a:bodyPr/>
        <a:lstStyle/>
        <a:p>
          <a:endParaRPr lang="en-US"/>
        </a:p>
      </dgm:t>
    </dgm:pt>
    <dgm:pt modelId="{D9D549E6-36B2-42FB-93C2-B09E3FB24F75}">
      <dgm:prSet phldrT="[Text]"/>
      <dgm:spPr/>
      <dgm:t>
        <a:bodyPr/>
        <a:lstStyle/>
        <a:p>
          <a:r>
            <a:rPr lang="en-US"/>
            <a:t>Users in Key Departments</a:t>
          </a:r>
        </a:p>
      </dgm:t>
    </dgm:pt>
    <dgm:pt modelId="{DA6B62B4-7B8E-4004-82B9-E162DF4B35AC}" type="parTrans" cxnId="{73FBFC60-6ACF-4C7E-83F2-A9E5CEF39596}">
      <dgm:prSet/>
      <dgm:spPr/>
      <dgm:t>
        <a:bodyPr/>
        <a:lstStyle/>
        <a:p>
          <a:endParaRPr lang="en-US"/>
        </a:p>
      </dgm:t>
    </dgm:pt>
    <dgm:pt modelId="{C0A75C7A-4093-47DB-A4F4-2E3D270959FE}" type="sibTrans" cxnId="{73FBFC60-6ACF-4C7E-83F2-A9E5CEF39596}">
      <dgm:prSet/>
      <dgm:spPr/>
      <dgm:t>
        <a:bodyPr/>
        <a:lstStyle/>
        <a:p>
          <a:endParaRPr lang="en-US"/>
        </a:p>
      </dgm:t>
    </dgm:pt>
    <dgm:pt modelId="{57F95F84-7420-42F8-B62B-F121D51F583E}">
      <dgm:prSet phldrT="[Text]"/>
      <dgm:spPr/>
      <dgm:t>
        <a:bodyPr/>
        <a:lstStyle/>
        <a:p>
          <a:r>
            <a:rPr lang="en-US"/>
            <a:t>Any user can work with data</a:t>
          </a:r>
        </a:p>
      </dgm:t>
    </dgm:pt>
    <dgm:pt modelId="{6D8EBF3C-E87E-4233-86F7-BBFCD7A7DCED}" type="parTrans" cxnId="{C3401FC4-3DB9-4471-8443-7ECDDB5EE7B7}">
      <dgm:prSet/>
      <dgm:spPr/>
      <dgm:t>
        <a:bodyPr/>
        <a:lstStyle/>
        <a:p>
          <a:endParaRPr lang="en-US"/>
        </a:p>
      </dgm:t>
    </dgm:pt>
    <dgm:pt modelId="{F612B89B-1F52-43B7-91EF-AB7B332BD47B}" type="sibTrans" cxnId="{C3401FC4-3DB9-4471-8443-7ECDDB5EE7B7}">
      <dgm:prSet/>
      <dgm:spPr/>
      <dgm:t>
        <a:bodyPr/>
        <a:lstStyle/>
        <a:p>
          <a:endParaRPr lang="en-US"/>
        </a:p>
      </dgm:t>
    </dgm:pt>
    <dgm:pt modelId="{1ABD9F05-4229-440F-A819-F04C0D014FB2}">
      <dgm:prSet phldrT="[Text]"/>
      <dgm:spPr/>
      <dgm:t>
        <a:bodyPr/>
        <a:lstStyle/>
        <a:p>
          <a:r>
            <a:rPr lang="en-US"/>
            <a:t>More data available</a:t>
          </a:r>
        </a:p>
      </dgm:t>
    </dgm:pt>
    <dgm:pt modelId="{A24F785E-3BC0-4C28-B1A4-349460C440FA}" type="parTrans" cxnId="{922F0778-24A2-4A70-8B35-ED447B895CA2}">
      <dgm:prSet/>
      <dgm:spPr/>
      <dgm:t>
        <a:bodyPr/>
        <a:lstStyle/>
        <a:p>
          <a:endParaRPr lang="en-US"/>
        </a:p>
      </dgm:t>
    </dgm:pt>
    <dgm:pt modelId="{4250D2C2-FEBD-4127-8B44-1DA958A00152}" type="sibTrans" cxnId="{922F0778-24A2-4A70-8B35-ED447B895CA2}">
      <dgm:prSet/>
      <dgm:spPr/>
      <dgm:t>
        <a:bodyPr/>
        <a:lstStyle/>
        <a:p>
          <a:endParaRPr lang="en-US"/>
        </a:p>
      </dgm:t>
    </dgm:pt>
    <dgm:pt modelId="{46C08378-7670-45FB-A05C-B1B45B12BBE2}">
      <dgm:prSet phldrT="[Text]"/>
      <dgm:spPr/>
      <dgm:t>
        <a:bodyPr/>
        <a:lstStyle/>
        <a:p>
          <a:r>
            <a:rPr lang="en-US"/>
            <a:t>Power Users</a:t>
          </a:r>
        </a:p>
      </dgm:t>
    </dgm:pt>
    <dgm:pt modelId="{450A703D-68FF-483E-8A1D-EC7BD13FA9F5}" type="parTrans" cxnId="{DE5F6DEF-870B-4BBB-A88A-B550E90B433C}">
      <dgm:prSet/>
      <dgm:spPr/>
      <dgm:t>
        <a:bodyPr/>
        <a:lstStyle/>
        <a:p>
          <a:endParaRPr lang="en-US"/>
        </a:p>
      </dgm:t>
    </dgm:pt>
    <dgm:pt modelId="{99DFD126-014D-4EA9-9922-AA45CE62796F}" type="sibTrans" cxnId="{DE5F6DEF-870B-4BBB-A88A-B550E90B433C}">
      <dgm:prSet/>
      <dgm:spPr/>
      <dgm:t>
        <a:bodyPr/>
        <a:lstStyle/>
        <a:p>
          <a:endParaRPr lang="en-US"/>
        </a:p>
      </dgm:t>
    </dgm:pt>
    <dgm:pt modelId="{9A4FBD4F-0A0F-4EB2-B338-B137F0134359}">
      <dgm:prSet phldrT="[Text]"/>
      <dgm:spPr/>
      <dgm:t>
        <a:bodyPr/>
        <a:lstStyle/>
        <a:p>
          <a:r>
            <a:rPr lang="en-US"/>
            <a:t>More skills</a:t>
          </a:r>
        </a:p>
      </dgm:t>
    </dgm:pt>
    <dgm:pt modelId="{9FF2DB91-4124-4D3B-88DD-4EA8F5286A49}" type="parTrans" cxnId="{AB45A043-26F2-4B88-8CF9-88CD9E7F8298}">
      <dgm:prSet/>
      <dgm:spPr/>
      <dgm:t>
        <a:bodyPr/>
        <a:lstStyle/>
        <a:p>
          <a:endParaRPr lang="en-US"/>
        </a:p>
      </dgm:t>
    </dgm:pt>
    <dgm:pt modelId="{9455D2A3-600A-4827-B750-0406D3B35E36}" type="sibTrans" cxnId="{AB45A043-26F2-4B88-8CF9-88CD9E7F8298}">
      <dgm:prSet/>
      <dgm:spPr/>
      <dgm:t>
        <a:bodyPr/>
        <a:lstStyle/>
        <a:p>
          <a:endParaRPr lang="en-US"/>
        </a:p>
      </dgm:t>
    </dgm:pt>
    <dgm:pt modelId="{C9192EBF-0FFE-484B-8696-555A1E05E7BB}">
      <dgm:prSet phldrT="[Text]"/>
      <dgm:spPr/>
      <dgm:t>
        <a:bodyPr/>
        <a:lstStyle/>
        <a:p>
          <a:r>
            <a:rPr lang="en-US"/>
            <a:t>More tools</a:t>
          </a:r>
        </a:p>
      </dgm:t>
    </dgm:pt>
    <dgm:pt modelId="{23E3B11D-C018-4EF5-81A3-51C14A54F2E6}" type="parTrans" cxnId="{726020A8-7EEC-40AB-9C69-8164CC1D01E7}">
      <dgm:prSet/>
      <dgm:spPr/>
      <dgm:t>
        <a:bodyPr/>
        <a:lstStyle/>
        <a:p>
          <a:endParaRPr lang="en-US"/>
        </a:p>
      </dgm:t>
    </dgm:pt>
    <dgm:pt modelId="{7636818B-4D12-4E57-8D8F-CED23278DDB2}" type="sibTrans" cxnId="{726020A8-7EEC-40AB-9C69-8164CC1D01E7}">
      <dgm:prSet/>
      <dgm:spPr/>
      <dgm:t>
        <a:bodyPr/>
        <a:lstStyle/>
        <a:p>
          <a:endParaRPr lang="en-US"/>
        </a:p>
      </dgm:t>
    </dgm:pt>
    <dgm:pt modelId="{B6F897A9-3C0C-48A1-8480-EA708B130775}">
      <dgm:prSet phldrT="[Text]"/>
      <dgm:spPr/>
      <dgm:t>
        <a:bodyPr/>
        <a:lstStyle/>
        <a:p>
          <a:r>
            <a:rPr lang="en-US"/>
            <a:t>Better resources</a:t>
          </a:r>
        </a:p>
      </dgm:t>
    </dgm:pt>
    <dgm:pt modelId="{54363FAB-3873-47BF-ADFF-F46A39170388}" type="parTrans" cxnId="{D27E3773-6CB3-4C17-B41C-DAD4FCBAE290}">
      <dgm:prSet/>
      <dgm:spPr/>
      <dgm:t>
        <a:bodyPr/>
        <a:lstStyle/>
        <a:p>
          <a:endParaRPr lang="en-US"/>
        </a:p>
      </dgm:t>
    </dgm:pt>
    <dgm:pt modelId="{D6802A6A-BE3B-4803-8EFA-B208503EAE6C}" type="sibTrans" cxnId="{D27E3773-6CB3-4C17-B41C-DAD4FCBAE290}">
      <dgm:prSet/>
      <dgm:spPr/>
      <dgm:t>
        <a:bodyPr/>
        <a:lstStyle/>
        <a:p>
          <a:endParaRPr lang="en-US"/>
        </a:p>
      </dgm:t>
    </dgm:pt>
    <dgm:pt modelId="{F3F5508C-7E6C-4C20-AD69-3CE5ED2C1A02}">
      <dgm:prSet phldrT="[Text]"/>
      <dgm:spPr/>
      <dgm:t>
        <a:bodyPr/>
        <a:lstStyle/>
        <a:p>
          <a:r>
            <a:rPr lang="en-US"/>
            <a:t>Hardcore IT</a:t>
          </a:r>
        </a:p>
      </dgm:t>
    </dgm:pt>
    <dgm:pt modelId="{FBE7C894-F885-4778-81B6-2F7D59283A17}" type="parTrans" cxnId="{DA00A8AB-D5A8-4C9B-824B-A0F358586945}">
      <dgm:prSet/>
      <dgm:spPr/>
      <dgm:t>
        <a:bodyPr/>
        <a:lstStyle/>
        <a:p>
          <a:endParaRPr lang="en-US"/>
        </a:p>
      </dgm:t>
    </dgm:pt>
    <dgm:pt modelId="{77ACB143-29F9-4113-9C3B-FDA27F058024}" type="sibTrans" cxnId="{DA00A8AB-D5A8-4C9B-824B-A0F358586945}">
      <dgm:prSet/>
      <dgm:spPr/>
      <dgm:t>
        <a:bodyPr/>
        <a:lstStyle/>
        <a:p>
          <a:endParaRPr lang="en-US"/>
        </a:p>
      </dgm:t>
    </dgm:pt>
    <dgm:pt modelId="{F5A968C8-5E7E-4683-8EDA-4201CCB60C91}">
      <dgm:prSet phldrT="[Text]"/>
      <dgm:spPr/>
      <dgm:t>
        <a:bodyPr/>
        <a:lstStyle/>
        <a:p>
          <a:r>
            <a:rPr lang="en-US"/>
            <a:t>Professional developers</a:t>
          </a:r>
        </a:p>
      </dgm:t>
    </dgm:pt>
    <dgm:pt modelId="{29E83CAF-BE0F-4B2A-A973-CC74F4B3E5B4}" type="parTrans" cxnId="{0DEC4FD6-77A8-4BC0-8852-7F2AB683005D}">
      <dgm:prSet/>
      <dgm:spPr/>
      <dgm:t>
        <a:bodyPr/>
        <a:lstStyle/>
        <a:p>
          <a:endParaRPr lang="en-US"/>
        </a:p>
      </dgm:t>
    </dgm:pt>
    <dgm:pt modelId="{D84F08FC-EE44-4C99-841F-D3613A857926}" type="sibTrans" cxnId="{0DEC4FD6-77A8-4BC0-8852-7F2AB683005D}">
      <dgm:prSet/>
      <dgm:spPr/>
      <dgm:t>
        <a:bodyPr/>
        <a:lstStyle/>
        <a:p>
          <a:endParaRPr lang="en-US"/>
        </a:p>
      </dgm:t>
    </dgm:pt>
    <dgm:pt modelId="{C33FC17C-6104-4096-A10D-43645D8D5BFC}">
      <dgm:prSet phldrT="[Text]"/>
      <dgm:spPr/>
      <dgm:t>
        <a:bodyPr/>
        <a:lstStyle/>
        <a:p>
          <a:r>
            <a:rPr lang="en-US"/>
            <a:t>Traditional owners of BI</a:t>
          </a:r>
        </a:p>
      </dgm:t>
    </dgm:pt>
    <dgm:pt modelId="{CEC145FE-1DF0-4F44-AB4B-3DCEFD34F208}" type="parTrans" cxnId="{4059BCD3-EB88-4571-89E5-1FEB4282CE52}">
      <dgm:prSet/>
      <dgm:spPr/>
      <dgm:t>
        <a:bodyPr/>
        <a:lstStyle/>
        <a:p>
          <a:endParaRPr lang="en-US"/>
        </a:p>
      </dgm:t>
    </dgm:pt>
    <dgm:pt modelId="{598FA458-915F-4140-84B7-BC0F546F2296}" type="sibTrans" cxnId="{4059BCD3-EB88-4571-89E5-1FEB4282CE52}">
      <dgm:prSet/>
      <dgm:spPr/>
      <dgm:t>
        <a:bodyPr/>
        <a:lstStyle/>
        <a:p>
          <a:endParaRPr lang="en-US"/>
        </a:p>
      </dgm:t>
    </dgm:pt>
    <dgm:pt modelId="{F47B56F4-E8EA-47BE-9641-1936281C3385}" type="pres">
      <dgm:prSet presAssocID="{6A993D06-AA99-4F3D-B309-9798F18CDE0C}" presName="Name0" presStyleCnt="0">
        <dgm:presLayoutVars>
          <dgm:chMax val="7"/>
          <dgm:dir/>
          <dgm:animLvl val="lvl"/>
          <dgm:resizeHandles val="exact"/>
        </dgm:presLayoutVars>
      </dgm:prSet>
      <dgm:spPr/>
    </dgm:pt>
    <dgm:pt modelId="{913285EF-7CF0-4D03-9C7E-A9EFF915D1E6}" type="pres">
      <dgm:prSet presAssocID="{602704CB-89C9-4D28-9876-EC4325B8CC4C}" presName="circle1" presStyleLbl="node1" presStyleIdx="0" presStyleCnt="4"/>
      <dgm:spPr>
        <a:solidFill>
          <a:srgbClr val="ED7D31"/>
        </a:solidFill>
      </dgm:spPr>
    </dgm:pt>
    <dgm:pt modelId="{FC6A5E09-AF97-4448-8CE0-94BE4C46FE32}" type="pres">
      <dgm:prSet presAssocID="{602704CB-89C9-4D28-9876-EC4325B8CC4C}" presName="space" presStyleCnt="0"/>
      <dgm:spPr/>
    </dgm:pt>
    <dgm:pt modelId="{F1271936-9E56-4BB3-AA63-1ACD49AF8B48}" type="pres">
      <dgm:prSet presAssocID="{602704CB-89C9-4D28-9876-EC4325B8CC4C}" presName="rect1" presStyleLbl="alignAcc1" presStyleIdx="0" presStyleCnt="4"/>
      <dgm:spPr/>
    </dgm:pt>
    <dgm:pt modelId="{28B379E2-B7C3-4C08-A5D0-C8D0C2799ECE}" type="pres">
      <dgm:prSet presAssocID="{D9D549E6-36B2-42FB-93C2-B09E3FB24F75}" presName="vertSpace2" presStyleLbl="node1" presStyleIdx="0" presStyleCnt="4"/>
      <dgm:spPr/>
    </dgm:pt>
    <dgm:pt modelId="{BB5965C5-F907-483A-B0A5-414578A21B77}" type="pres">
      <dgm:prSet presAssocID="{D9D549E6-36B2-42FB-93C2-B09E3FB24F75}" presName="circle2" presStyleLbl="node1" presStyleIdx="1" presStyleCnt="4"/>
      <dgm:spPr>
        <a:solidFill>
          <a:srgbClr val="A5A5A5"/>
        </a:solidFill>
      </dgm:spPr>
    </dgm:pt>
    <dgm:pt modelId="{9EA332EC-4F8C-4AEA-9B46-C6A414F7A033}" type="pres">
      <dgm:prSet presAssocID="{D9D549E6-36B2-42FB-93C2-B09E3FB24F75}" presName="rect2" presStyleLbl="alignAcc1" presStyleIdx="1" presStyleCnt="4"/>
      <dgm:spPr/>
    </dgm:pt>
    <dgm:pt modelId="{5FBBD777-AD2B-442B-8929-54E6F9D5888F}" type="pres">
      <dgm:prSet presAssocID="{46C08378-7670-45FB-A05C-B1B45B12BBE2}" presName="vertSpace3" presStyleLbl="node1" presStyleIdx="1" presStyleCnt="4"/>
      <dgm:spPr/>
    </dgm:pt>
    <dgm:pt modelId="{49156CC1-4316-4278-8CEF-4AC787FCE06A}" type="pres">
      <dgm:prSet presAssocID="{46C08378-7670-45FB-A05C-B1B45B12BBE2}" presName="circle3" presStyleLbl="node1" presStyleIdx="2" presStyleCnt="4"/>
      <dgm:spPr>
        <a:solidFill>
          <a:srgbClr val="FFC000"/>
        </a:solidFill>
      </dgm:spPr>
    </dgm:pt>
    <dgm:pt modelId="{039A6B55-D247-481E-B079-427345A889D5}" type="pres">
      <dgm:prSet presAssocID="{46C08378-7670-45FB-A05C-B1B45B12BBE2}" presName="rect3" presStyleLbl="alignAcc1" presStyleIdx="2" presStyleCnt="4"/>
      <dgm:spPr/>
    </dgm:pt>
    <dgm:pt modelId="{DEAB3DFD-FEAA-4ABE-B222-94C92237C897}" type="pres">
      <dgm:prSet presAssocID="{F3F5508C-7E6C-4C20-AD69-3CE5ED2C1A02}" presName="vertSpace4" presStyleLbl="node1" presStyleIdx="2" presStyleCnt="4"/>
      <dgm:spPr/>
    </dgm:pt>
    <dgm:pt modelId="{BECD5256-D636-446C-B5FE-6A37BB73EB67}" type="pres">
      <dgm:prSet presAssocID="{F3F5508C-7E6C-4C20-AD69-3CE5ED2C1A02}" presName="circle4" presStyleLbl="node1" presStyleIdx="3" presStyleCnt="4"/>
      <dgm:spPr>
        <a:solidFill>
          <a:srgbClr val="5B9BD5"/>
        </a:solidFill>
      </dgm:spPr>
    </dgm:pt>
    <dgm:pt modelId="{4914F23A-A444-4242-B2A7-9CA012AE34B8}" type="pres">
      <dgm:prSet presAssocID="{F3F5508C-7E6C-4C20-AD69-3CE5ED2C1A02}" presName="rect4" presStyleLbl="alignAcc1" presStyleIdx="3" presStyleCnt="4"/>
      <dgm:spPr/>
    </dgm:pt>
    <dgm:pt modelId="{6A5345A5-A76B-4BCF-92AC-A71579632611}" type="pres">
      <dgm:prSet presAssocID="{602704CB-89C9-4D28-9876-EC4325B8CC4C}" presName="rect1ParTx" presStyleLbl="alignAcc1" presStyleIdx="3" presStyleCnt="4">
        <dgm:presLayoutVars>
          <dgm:chMax val="1"/>
          <dgm:bulletEnabled val="1"/>
        </dgm:presLayoutVars>
      </dgm:prSet>
      <dgm:spPr/>
    </dgm:pt>
    <dgm:pt modelId="{E0868841-CA79-48B0-8B24-06E20683B4DC}" type="pres">
      <dgm:prSet presAssocID="{602704CB-89C9-4D28-9876-EC4325B8CC4C}" presName="rect1ChTx" presStyleLbl="alignAcc1" presStyleIdx="3" presStyleCnt="4">
        <dgm:presLayoutVars>
          <dgm:bulletEnabled val="1"/>
        </dgm:presLayoutVars>
      </dgm:prSet>
      <dgm:spPr/>
    </dgm:pt>
    <dgm:pt modelId="{7561E617-5921-409C-AA7D-C655AB87F0E0}" type="pres">
      <dgm:prSet presAssocID="{D9D549E6-36B2-42FB-93C2-B09E3FB24F75}" presName="rect2ParTx" presStyleLbl="alignAcc1" presStyleIdx="3" presStyleCnt="4">
        <dgm:presLayoutVars>
          <dgm:chMax val="1"/>
          <dgm:bulletEnabled val="1"/>
        </dgm:presLayoutVars>
      </dgm:prSet>
      <dgm:spPr/>
    </dgm:pt>
    <dgm:pt modelId="{4A11FD6C-291E-4C7E-BD4C-D721A5D23244}" type="pres">
      <dgm:prSet presAssocID="{D9D549E6-36B2-42FB-93C2-B09E3FB24F75}" presName="rect2ChTx" presStyleLbl="alignAcc1" presStyleIdx="3" presStyleCnt="4">
        <dgm:presLayoutVars>
          <dgm:bulletEnabled val="1"/>
        </dgm:presLayoutVars>
      </dgm:prSet>
      <dgm:spPr/>
    </dgm:pt>
    <dgm:pt modelId="{B0FA4860-1BB8-4976-BFE5-0D9011C9B1F9}" type="pres">
      <dgm:prSet presAssocID="{46C08378-7670-45FB-A05C-B1B45B12BBE2}" presName="rect3ParTx" presStyleLbl="alignAcc1" presStyleIdx="3" presStyleCnt="4">
        <dgm:presLayoutVars>
          <dgm:chMax val="1"/>
          <dgm:bulletEnabled val="1"/>
        </dgm:presLayoutVars>
      </dgm:prSet>
      <dgm:spPr/>
    </dgm:pt>
    <dgm:pt modelId="{4133E269-082B-40CA-BDEE-0073C65D10D8}" type="pres">
      <dgm:prSet presAssocID="{46C08378-7670-45FB-A05C-B1B45B12BBE2}" presName="rect3ChTx" presStyleLbl="alignAcc1" presStyleIdx="3" presStyleCnt="4">
        <dgm:presLayoutVars>
          <dgm:bulletEnabled val="1"/>
        </dgm:presLayoutVars>
      </dgm:prSet>
      <dgm:spPr/>
    </dgm:pt>
    <dgm:pt modelId="{F9A5970F-448C-4C38-8B9C-0A409812C674}" type="pres">
      <dgm:prSet presAssocID="{F3F5508C-7E6C-4C20-AD69-3CE5ED2C1A02}" presName="rect4ParTx" presStyleLbl="alignAcc1" presStyleIdx="3" presStyleCnt="4">
        <dgm:presLayoutVars>
          <dgm:chMax val="1"/>
          <dgm:bulletEnabled val="1"/>
        </dgm:presLayoutVars>
      </dgm:prSet>
      <dgm:spPr/>
    </dgm:pt>
    <dgm:pt modelId="{C7047BA2-2019-4E65-A76B-4EE5B1055C58}" type="pres">
      <dgm:prSet presAssocID="{F3F5508C-7E6C-4C20-AD69-3CE5ED2C1A02}" presName="rect4ChTx" presStyleLbl="alignAcc1" presStyleIdx="3" presStyleCnt="4">
        <dgm:presLayoutVars>
          <dgm:bulletEnabled val="1"/>
        </dgm:presLayoutVars>
      </dgm:prSet>
      <dgm:spPr/>
    </dgm:pt>
  </dgm:ptLst>
  <dgm:cxnLst>
    <dgm:cxn modelId="{D480150A-0FB4-4F3B-A08B-3C3A58C7840E}" type="presOf" srcId="{46C08378-7670-45FB-A05C-B1B45B12BBE2}" destId="{B0FA4860-1BB8-4976-BFE5-0D9011C9B1F9}" srcOrd="1" destOrd="0" presId="urn:microsoft.com/office/officeart/2005/8/layout/target3"/>
    <dgm:cxn modelId="{3F79B514-258B-4DD8-8800-19418FB117DF}" type="presOf" srcId="{1ABD9F05-4229-440F-A819-F04C0D014FB2}" destId="{4A11FD6C-291E-4C7E-BD4C-D721A5D23244}" srcOrd="0" destOrd="1" presId="urn:microsoft.com/office/officeart/2005/8/layout/target3"/>
    <dgm:cxn modelId="{8E65031C-DEE5-4EAC-A336-B8D3EA01C724}" type="presOf" srcId="{F5A968C8-5E7E-4683-8EDA-4201CCB60C91}" destId="{C7047BA2-2019-4E65-A76B-4EE5B1055C58}" srcOrd="0" destOrd="0" presId="urn:microsoft.com/office/officeart/2005/8/layout/target3"/>
    <dgm:cxn modelId="{A84DC32A-CBF0-48B5-B6D8-57A203FDC8D0}" srcId="{6A993D06-AA99-4F3D-B309-9798F18CDE0C}" destId="{602704CB-89C9-4D28-9876-EC4325B8CC4C}" srcOrd="0" destOrd="0" parTransId="{BE9354C2-3BF1-4D07-9E24-3ADF61646F03}" sibTransId="{6F31C978-BF01-4475-A060-88428C032AC5}"/>
    <dgm:cxn modelId="{ADBF6E31-8B4D-4540-9D9B-FADBE10F5B91}" type="presOf" srcId="{6A993D06-AA99-4F3D-B309-9798F18CDE0C}" destId="{F47B56F4-E8EA-47BE-9641-1936281C3385}" srcOrd="0" destOrd="0" presId="urn:microsoft.com/office/officeart/2005/8/layout/target3"/>
    <dgm:cxn modelId="{0A5D7731-F019-4C5C-B497-3EE43DD0C5DB}" type="presOf" srcId="{57F95F84-7420-42F8-B62B-F121D51F583E}" destId="{4A11FD6C-291E-4C7E-BD4C-D721A5D23244}" srcOrd="0" destOrd="0" presId="urn:microsoft.com/office/officeart/2005/8/layout/target3"/>
    <dgm:cxn modelId="{CA95B433-4572-4854-B270-73C2C5640F91}" type="presOf" srcId="{C9192EBF-0FFE-484B-8696-555A1E05E7BB}" destId="{4133E269-082B-40CA-BDEE-0073C65D10D8}" srcOrd="0" destOrd="1" presId="urn:microsoft.com/office/officeart/2005/8/layout/target3"/>
    <dgm:cxn modelId="{73FBFC60-6ACF-4C7E-83F2-A9E5CEF39596}" srcId="{6A993D06-AA99-4F3D-B309-9798F18CDE0C}" destId="{D9D549E6-36B2-42FB-93C2-B09E3FB24F75}" srcOrd="1" destOrd="0" parTransId="{DA6B62B4-7B8E-4004-82B9-E162DF4B35AC}" sibTransId="{C0A75C7A-4093-47DB-A4F4-2E3D270959FE}"/>
    <dgm:cxn modelId="{AB45A043-26F2-4B88-8CF9-88CD9E7F8298}" srcId="{46C08378-7670-45FB-A05C-B1B45B12BBE2}" destId="{9A4FBD4F-0A0F-4EB2-B338-B137F0134359}" srcOrd="0" destOrd="0" parTransId="{9FF2DB91-4124-4D3B-88DD-4EA8F5286A49}" sibTransId="{9455D2A3-600A-4827-B750-0406D3B35E36}"/>
    <dgm:cxn modelId="{FA9DD166-271F-4990-BC51-68AD89513D9C}" type="presOf" srcId="{F3F5508C-7E6C-4C20-AD69-3CE5ED2C1A02}" destId="{F9A5970F-448C-4C38-8B9C-0A409812C674}" srcOrd="1" destOrd="0" presId="urn:microsoft.com/office/officeart/2005/8/layout/target3"/>
    <dgm:cxn modelId="{D2508268-5FE0-4D32-BD6D-33F64FA069C5}" type="presOf" srcId="{D9D549E6-36B2-42FB-93C2-B09E3FB24F75}" destId="{7561E617-5921-409C-AA7D-C655AB87F0E0}" srcOrd="1" destOrd="0" presId="urn:microsoft.com/office/officeart/2005/8/layout/target3"/>
    <dgm:cxn modelId="{D27E3773-6CB3-4C17-B41C-DAD4FCBAE290}" srcId="{46C08378-7670-45FB-A05C-B1B45B12BBE2}" destId="{B6F897A9-3C0C-48A1-8480-EA708B130775}" srcOrd="2" destOrd="0" parTransId="{54363FAB-3873-47BF-ADFF-F46A39170388}" sibTransId="{D6802A6A-BE3B-4803-8EFA-B208503EAE6C}"/>
    <dgm:cxn modelId="{922F0778-24A2-4A70-8B35-ED447B895CA2}" srcId="{D9D549E6-36B2-42FB-93C2-B09E3FB24F75}" destId="{1ABD9F05-4229-440F-A819-F04C0D014FB2}" srcOrd="1" destOrd="0" parTransId="{A24F785E-3BC0-4C28-B1A4-349460C440FA}" sibTransId="{4250D2C2-FEBD-4127-8B44-1DA958A00152}"/>
    <dgm:cxn modelId="{C3C05F7E-54C5-4AE8-9763-ED31563A0CF5}" srcId="{602704CB-89C9-4D28-9876-EC4325B8CC4C}" destId="{0185057B-7951-4CFB-A40A-E09B151F0921}" srcOrd="0" destOrd="0" parTransId="{453830A6-C812-49F6-85F5-9E28C7C8E7D6}" sibTransId="{F888B5FD-94A8-4C76-9049-70BA5EE882E9}"/>
    <dgm:cxn modelId="{E54C0283-9278-409E-A15F-1AA25C7C9252}" type="presOf" srcId="{F3F5508C-7E6C-4C20-AD69-3CE5ED2C1A02}" destId="{4914F23A-A444-4242-B2A7-9CA012AE34B8}" srcOrd="0" destOrd="0" presId="urn:microsoft.com/office/officeart/2005/8/layout/target3"/>
    <dgm:cxn modelId="{ED195584-A17C-4224-BEBD-391E3D428D21}" type="presOf" srcId="{0185057B-7951-4CFB-A40A-E09B151F0921}" destId="{E0868841-CA79-48B0-8B24-06E20683B4DC}" srcOrd="0" destOrd="0" presId="urn:microsoft.com/office/officeart/2005/8/layout/target3"/>
    <dgm:cxn modelId="{76859A8D-2BD2-4A1D-81E6-5BE661EB5C04}" type="presOf" srcId="{46C08378-7670-45FB-A05C-B1B45B12BBE2}" destId="{039A6B55-D247-481E-B079-427345A889D5}" srcOrd="0" destOrd="0" presId="urn:microsoft.com/office/officeart/2005/8/layout/target3"/>
    <dgm:cxn modelId="{7035C197-70F3-4607-A46D-3C163317677D}" type="presOf" srcId="{602704CB-89C9-4D28-9876-EC4325B8CC4C}" destId="{F1271936-9E56-4BB3-AA63-1ACD49AF8B48}" srcOrd="0" destOrd="0" presId="urn:microsoft.com/office/officeart/2005/8/layout/target3"/>
    <dgm:cxn modelId="{4033539C-5E76-4C3B-BF66-DD8E6710B8DD}" type="presOf" srcId="{B6F897A9-3C0C-48A1-8480-EA708B130775}" destId="{4133E269-082B-40CA-BDEE-0073C65D10D8}" srcOrd="0" destOrd="2" presId="urn:microsoft.com/office/officeart/2005/8/layout/target3"/>
    <dgm:cxn modelId="{726020A8-7EEC-40AB-9C69-8164CC1D01E7}" srcId="{46C08378-7670-45FB-A05C-B1B45B12BBE2}" destId="{C9192EBF-0FFE-484B-8696-555A1E05E7BB}" srcOrd="1" destOrd="0" parTransId="{23E3B11D-C018-4EF5-81A3-51C14A54F2E6}" sibTransId="{7636818B-4D12-4E57-8D8F-CED23278DDB2}"/>
    <dgm:cxn modelId="{DA00A8AB-D5A8-4C9B-824B-A0F358586945}" srcId="{6A993D06-AA99-4F3D-B309-9798F18CDE0C}" destId="{F3F5508C-7E6C-4C20-AD69-3CE5ED2C1A02}" srcOrd="3" destOrd="0" parTransId="{FBE7C894-F885-4778-81B6-2F7D59283A17}" sibTransId="{77ACB143-29F9-4113-9C3B-FDA27F058024}"/>
    <dgm:cxn modelId="{D1E160AC-A5AC-4CD1-BEFC-BC32D2581B88}" type="presOf" srcId="{9A4FBD4F-0A0F-4EB2-B338-B137F0134359}" destId="{4133E269-082B-40CA-BDEE-0073C65D10D8}" srcOrd="0" destOrd="0" presId="urn:microsoft.com/office/officeart/2005/8/layout/target3"/>
    <dgm:cxn modelId="{C3401FC4-3DB9-4471-8443-7ECDDB5EE7B7}" srcId="{D9D549E6-36B2-42FB-93C2-B09E3FB24F75}" destId="{57F95F84-7420-42F8-B62B-F121D51F583E}" srcOrd="0" destOrd="0" parTransId="{6D8EBF3C-E87E-4233-86F7-BBFCD7A7DCED}" sibTransId="{F612B89B-1F52-43B7-91EF-AB7B332BD47B}"/>
    <dgm:cxn modelId="{D7C63FD0-46D7-4EB7-AD39-33EF3DAEECEA}" type="presOf" srcId="{C33FC17C-6104-4096-A10D-43645D8D5BFC}" destId="{C7047BA2-2019-4E65-A76B-4EE5B1055C58}" srcOrd="0" destOrd="1" presId="urn:microsoft.com/office/officeart/2005/8/layout/target3"/>
    <dgm:cxn modelId="{0D9055D0-42C3-4AB7-9C92-A4D0CC9445DF}" type="presOf" srcId="{602704CB-89C9-4D28-9876-EC4325B8CC4C}" destId="{6A5345A5-A76B-4BCF-92AC-A71579632611}" srcOrd="1" destOrd="0" presId="urn:microsoft.com/office/officeart/2005/8/layout/target3"/>
    <dgm:cxn modelId="{4059BCD3-EB88-4571-89E5-1FEB4282CE52}" srcId="{F3F5508C-7E6C-4C20-AD69-3CE5ED2C1A02}" destId="{C33FC17C-6104-4096-A10D-43645D8D5BFC}" srcOrd="1" destOrd="0" parTransId="{CEC145FE-1DF0-4F44-AB4B-3DCEFD34F208}" sibTransId="{598FA458-915F-4140-84B7-BC0F546F2296}"/>
    <dgm:cxn modelId="{9FF1E8D3-048E-40E8-8BCA-251B7809E4F8}" type="presOf" srcId="{D9D549E6-36B2-42FB-93C2-B09E3FB24F75}" destId="{9EA332EC-4F8C-4AEA-9B46-C6A414F7A033}" srcOrd="0" destOrd="0" presId="urn:microsoft.com/office/officeart/2005/8/layout/target3"/>
    <dgm:cxn modelId="{0DEC4FD6-77A8-4BC0-8852-7F2AB683005D}" srcId="{F3F5508C-7E6C-4C20-AD69-3CE5ED2C1A02}" destId="{F5A968C8-5E7E-4683-8EDA-4201CCB60C91}" srcOrd="0" destOrd="0" parTransId="{29E83CAF-BE0F-4B2A-A973-CC74F4B3E5B4}" sibTransId="{D84F08FC-EE44-4C99-841F-D3613A857926}"/>
    <dgm:cxn modelId="{4E9712D7-947C-4744-97EF-16AFF4A4D53E}" srcId="{602704CB-89C9-4D28-9876-EC4325B8CC4C}" destId="{E405AC8B-DB75-4271-95AE-CC58CA46D61A}" srcOrd="1" destOrd="0" parTransId="{AE25F95B-0C08-488A-9852-47597FBC765D}" sibTransId="{A00984A1-CD5A-42C8-B14E-0C401E1692B3}"/>
    <dgm:cxn modelId="{DE5F6DEF-870B-4BBB-A88A-B550E90B433C}" srcId="{6A993D06-AA99-4F3D-B309-9798F18CDE0C}" destId="{46C08378-7670-45FB-A05C-B1B45B12BBE2}" srcOrd="2" destOrd="0" parTransId="{450A703D-68FF-483E-8A1D-EC7BD13FA9F5}" sibTransId="{99DFD126-014D-4EA9-9922-AA45CE62796F}"/>
    <dgm:cxn modelId="{084F98EF-47D5-4368-A0CB-C55D6FE2B61C}" type="presOf" srcId="{E405AC8B-DB75-4271-95AE-CC58CA46D61A}" destId="{E0868841-CA79-48B0-8B24-06E20683B4DC}" srcOrd="0" destOrd="1" presId="urn:microsoft.com/office/officeart/2005/8/layout/target3"/>
    <dgm:cxn modelId="{ADDD8129-512B-414B-9E9E-E2D1BBA407B6}" type="presParOf" srcId="{F47B56F4-E8EA-47BE-9641-1936281C3385}" destId="{913285EF-7CF0-4D03-9C7E-A9EFF915D1E6}" srcOrd="0" destOrd="0" presId="urn:microsoft.com/office/officeart/2005/8/layout/target3"/>
    <dgm:cxn modelId="{21DC1D99-B98B-4724-93C6-340D70C55F2C}" type="presParOf" srcId="{F47B56F4-E8EA-47BE-9641-1936281C3385}" destId="{FC6A5E09-AF97-4448-8CE0-94BE4C46FE32}" srcOrd="1" destOrd="0" presId="urn:microsoft.com/office/officeart/2005/8/layout/target3"/>
    <dgm:cxn modelId="{FA295983-AA73-4F97-BA9A-1F9732F5E4D0}" type="presParOf" srcId="{F47B56F4-E8EA-47BE-9641-1936281C3385}" destId="{F1271936-9E56-4BB3-AA63-1ACD49AF8B48}" srcOrd="2" destOrd="0" presId="urn:microsoft.com/office/officeart/2005/8/layout/target3"/>
    <dgm:cxn modelId="{CF9D1792-9CF8-44F1-837E-982C58BFADF8}" type="presParOf" srcId="{F47B56F4-E8EA-47BE-9641-1936281C3385}" destId="{28B379E2-B7C3-4C08-A5D0-C8D0C2799ECE}" srcOrd="3" destOrd="0" presId="urn:microsoft.com/office/officeart/2005/8/layout/target3"/>
    <dgm:cxn modelId="{C1C62C3D-5617-4297-89CF-D21F5E1B725C}" type="presParOf" srcId="{F47B56F4-E8EA-47BE-9641-1936281C3385}" destId="{BB5965C5-F907-483A-B0A5-414578A21B77}" srcOrd="4" destOrd="0" presId="urn:microsoft.com/office/officeart/2005/8/layout/target3"/>
    <dgm:cxn modelId="{8E6BE6B2-7935-4D7F-B539-1C8EAE6CA237}" type="presParOf" srcId="{F47B56F4-E8EA-47BE-9641-1936281C3385}" destId="{9EA332EC-4F8C-4AEA-9B46-C6A414F7A033}" srcOrd="5" destOrd="0" presId="urn:microsoft.com/office/officeart/2005/8/layout/target3"/>
    <dgm:cxn modelId="{078BD4AD-CB61-4C95-8578-A0C4D826C032}" type="presParOf" srcId="{F47B56F4-E8EA-47BE-9641-1936281C3385}" destId="{5FBBD777-AD2B-442B-8929-54E6F9D5888F}" srcOrd="6" destOrd="0" presId="urn:microsoft.com/office/officeart/2005/8/layout/target3"/>
    <dgm:cxn modelId="{D19C439A-8FEE-4315-A3A2-682512E16255}" type="presParOf" srcId="{F47B56F4-E8EA-47BE-9641-1936281C3385}" destId="{49156CC1-4316-4278-8CEF-4AC787FCE06A}" srcOrd="7" destOrd="0" presId="urn:microsoft.com/office/officeart/2005/8/layout/target3"/>
    <dgm:cxn modelId="{AE79690A-8029-4937-A522-DF80553BBDB4}" type="presParOf" srcId="{F47B56F4-E8EA-47BE-9641-1936281C3385}" destId="{039A6B55-D247-481E-B079-427345A889D5}" srcOrd="8" destOrd="0" presId="urn:microsoft.com/office/officeart/2005/8/layout/target3"/>
    <dgm:cxn modelId="{149C1A56-EFB5-40CB-87AE-BFC6F4846FDF}" type="presParOf" srcId="{F47B56F4-E8EA-47BE-9641-1936281C3385}" destId="{DEAB3DFD-FEAA-4ABE-B222-94C92237C897}" srcOrd="9" destOrd="0" presId="urn:microsoft.com/office/officeart/2005/8/layout/target3"/>
    <dgm:cxn modelId="{5DB4928D-0B22-4C47-AD92-994026130643}" type="presParOf" srcId="{F47B56F4-E8EA-47BE-9641-1936281C3385}" destId="{BECD5256-D636-446C-B5FE-6A37BB73EB67}" srcOrd="10" destOrd="0" presId="urn:microsoft.com/office/officeart/2005/8/layout/target3"/>
    <dgm:cxn modelId="{3E412875-6A94-4CFE-BD2C-F7AE4D293FEC}" type="presParOf" srcId="{F47B56F4-E8EA-47BE-9641-1936281C3385}" destId="{4914F23A-A444-4242-B2A7-9CA012AE34B8}" srcOrd="11" destOrd="0" presId="urn:microsoft.com/office/officeart/2005/8/layout/target3"/>
    <dgm:cxn modelId="{E35C7762-55BC-4473-94CD-7B054775A05C}" type="presParOf" srcId="{F47B56F4-E8EA-47BE-9641-1936281C3385}" destId="{6A5345A5-A76B-4BCF-92AC-A71579632611}" srcOrd="12" destOrd="0" presId="urn:microsoft.com/office/officeart/2005/8/layout/target3"/>
    <dgm:cxn modelId="{30E2A4BE-ACF1-4D94-84F4-12CC3108E38C}" type="presParOf" srcId="{F47B56F4-E8EA-47BE-9641-1936281C3385}" destId="{E0868841-CA79-48B0-8B24-06E20683B4DC}" srcOrd="13" destOrd="0" presId="urn:microsoft.com/office/officeart/2005/8/layout/target3"/>
    <dgm:cxn modelId="{4BF1CCF7-BDB1-48AA-B415-55CA92E3EA04}" type="presParOf" srcId="{F47B56F4-E8EA-47BE-9641-1936281C3385}" destId="{7561E617-5921-409C-AA7D-C655AB87F0E0}" srcOrd="14" destOrd="0" presId="urn:microsoft.com/office/officeart/2005/8/layout/target3"/>
    <dgm:cxn modelId="{CCF2F9A3-22BC-4150-BD54-0398C2E7CBCD}" type="presParOf" srcId="{F47B56F4-E8EA-47BE-9641-1936281C3385}" destId="{4A11FD6C-291E-4C7E-BD4C-D721A5D23244}" srcOrd="15" destOrd="0" presId="urn:microsoft.com/office/officeart/2005/8/layout/target3"/>
    <dgm:cxn modelId="{97D8EDA4-229C-4944-9D62-C426035ACE8C}" type="presParOf" srcId="{F47B56F4-E8EA-47BE-9641-1936281C3385}" destId="{B0FA4860-1BB8-4976-BFE5-0D9011C9B1F9}" srcOrd="16" destOrd="0" presId="urn:microsoft.com/office/officeart/2005/8/layout/target3"/>
    <dgm:cxn modelId="{BC8EC850-3CD6-4EAD-9D3B-A521E58AADF1}" type="presParOf" srcId="{F47B56F4-E8EA-47BE-9641-1936281C3385}" destId="{4133E269-082B-40CA-BDEE-0073C65D10D8}" srcOrd="17" destOrd="0" presId="urn:microsoft.com/office/officeart/2005/8/layout/target3"/>
    <dgm:cxn modelId="{5BE19B2F-0CDF-4A40-BF06-2727C85F3C3C}" type="presParOf" srcId="{F47B56F4-E8EA-47BE-9641-1936281C3385}" destId="{F9A5970F-448C-4C38-8B9C-0A409812C674}" srcOrd="18" destOrd="0" presId="urn:microsoft.com/office/officeart/2005/8/layout/target3"/>
    <dgm:cxn modelId="{20FF48BA-F138-4A63-ADB9-3797EA8E8482}" type="presParOf" srcId="{F47B56F4-E8EA-47BE-9641-1936281C3385}" destId="{C7047BA2-2019-4E65-A76B-4EE5B1055C58}" srcOrd="19" destOrd="0" presId="urn:microsoft.com/office/officeart/2005/8/layout/target3"/>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8.xml><?xml version="1.0" encoding="utf-8"?>
<dgm:dataModel xmlns:dgm="http://schemas.openxmlformats.org/drawingml/2006/diagram" xmlns:a="http://schemas.openxmlformats.org/drawingml/2006/main">
  <dgm:ptLst>
    <dgm:pt modelId="{6A993D06-AA99-4F3D-B309-9798F18CDE0C}" type="doc">
      <dgm:prSet loTypeId="urn:microsoft.com/office/officeart/2009/3/layout/StepUpProcess" loCatId="process" qsTypeId="urn:microsoft.com/office/officeart/2005/8/quickstyle/simple1" qsCatId="simple" csTypeId="urn:microsoft.com/office/officeart/2005/8/colors/colorful1" csCatId="colorful" phldr="1"/>
      <dgm:spPr/>
      <dgm:t>
        <a:bodyPr/>
        <a:lstStyle/>
        <a:p>
          <a:endParaRPr lang="en-US"/>
        </a:p>
      </dgm:t>
    </dgm:pt>
    <dgm:pt modelId="{602704CB-89C9-4D28-9876-EC4325B8CC4C}">
      <dgm:prSet phldrT="[Text]"/>
      <dgm:spPr/>
      <dgm:t>
        <a:bodyPr/>
        <a:lstStyle/>
        <a:p>
          <a:r>
            <a:rPr lang="en-US"/>
            <a:t>Exploration</a:t>
          </a:r>
        </a:p>
      </dgm:t>
    </dgm:pt>
    <dgm:pt modelId="{BE9354C2-3BF1-4D07-9E24-3ADF61646F03}" type="parTrans" cxnId="{A84DC32A-CBF0-48B5-B6D8-57A203FDC8D0}">
      <dgm:prSet/>
      <dgm:spPr/>
      <dgm:t>
        <a:bodyPr/>
        <a:lstStyle/>
        <a:p>
          <a:endParaRPr lang="en-US"/>
        </a:p>
      </dgm:t>
    </dgm:pt>
    <dgm:pt modelId="{6F31C978-BF01-4475-A060-88428C032AC5}" type="sibTrans" cxnId="{A84DC32A-CBF0-48B5-B6D8-57A203FDC8D0}">
      <dgm:prSet/>
      <dgm:spPr/>
      <dgm:t>
        <a:bodyPr/>
        <a:lstStyle/>
        <a:p>
          <a:endParaRPr lang="en-US"/>
        </a:p>
      </dgm:t>
    </dgm:pt>
    <dgm:pt modelId="{141DAF27-9884-45C0-9A7F-F595B3DD1F34}">
      <dgm:prSet phldrT="[Text]"/>
      <dgm:spPr/>
      <dgm:t>
        <a:bodyPr/>
        <a:lstStyle/>
        <a:p>
          <a:r>
            <a:rPr lang="en-US"/>
            <a:t>Promotion</a:t>
          </a:r>
        </a:p>
      </dgm:t>
    </dgm:pt>
    <dgm:pt modelId="{3C19FDC2-6D75-48C0-BE59-CE9093549B71}" type="parTrans" cxnId="{BC876931-F46E-435B-9E6F-D1445CB855AE}">
      <dgm:prSet/>
      <dgm:spPr/>
      <dgm:t>
        <a:bodyPr/>
        <a:lstStyle/>
        <a:p>
          <a:endParaRPr lang="en-US"/>
        </a:p>
      </dgm:t>
    </dgm:pt>
    <dgm:pt modelId="{59D3B008-4701-45F3-9A18-D8A8280474F1}" type="sibTrans" cxnId="{BC876931-F46E-435B-9E6F-D1445CB855AE}">
      <dgm:prSet/>
      <dgm:spPr/>
      <dgm:t>
        <a:bodyPr/>
        <a:lstStyle/>
        <a:p>
          <a:endParaRPr lang="en-US"/>
        </a:p>
      </dgm:t>
    </dgm:pt>
    <dgm:pt modelId="{7C9BBA7F-69BB-4688-B9F5-C424675DADDA}">
      <dgm:prSet phldrT="[Text]"/>
      <dgm:spPr/>
      <dgm:t>
        <a:bodyPr/>
        <a:lstStyle/>
        <a:p>
          <a:r>
            <a:rPr lang="en-US"/>
            <a:t>Preparation</a:t>
          </a:r>
        </a:p>
      </dgm:t>
    </dgm:pt>
    <dgm:pt modelId="{9ADE456D-12C4-43E7-9AD8-8DED8C3E6AF8}" type="parTrans" cxnId="{2EB8A2DC-2816-4888-98E9-63B31CC67BB8}">
      <dgm:prSet/>
      <dgm:spPr/>
      <dgm:t>
        <a:bodyPr/>
        <a:lstStyle/>
        <a:p>
          <a:endParaRPr lang="en-US"/>
        </a:p>
      </dgm:t>
    </dgm:pt>
    <dgm:pt modelId="{0F569CE6-76AB-48E8-BFCA-646B74A41ACF}" type="sibTrans" cxnId="{2EB8A2DC-2816-4888-98E9-63B31CC67BB8}">
      <dgm:prSet/>
      <dgm:spPr/>
      <dgm:t>
        <a:bodyPr/>
        <a:lstStyle/>
        <a:p>
          <a:endParaRPr lang="en-US"/>
        </a:p>
      </dgm:t>
    </dgm:pt>
    <dgm:pt modelId="{5F815A55-7FC3-4FA3-ABF3-2D4390A8360E}">
      <dgm:prSet phldrT="[Text]"/>
      <dgm:spPr/>
      <dgm:t>
        <a:bodyPr/>
        <a:lstStyle/>
        <a:p>
          <a:r>
            <a:rPr lang="en-US"/>
            <a:t>Operationalization</a:t>
          </a:r>
        </a:p>
      </dgm:t>
    </dgm:pt>
    <dgm:pt modelId="{33CD8727-4C15-4604-A51A-27CD4DA6E884}" type="parTrans" cxnId="{B13F8005-673E-4103-8CC7-8240A910B5F3}">
      <dgm:prSet/>
      <dgm:spPr/>
      <dgm:t>
        <a:bodyPr/>
        <a:lstStyle/>
        <a:p>
          <a:endParaRPr lang="en-US"/>
        </a:p>
      </dgm:t>
    </dgm:pt>
    <dgm:pt modelId="{1A51ABF6-8AA8-4B9E-8E13-6A181908A140}" type="sibTrans" cxnId="{B13F8005-673E-4103-8CC7-8240A910B5F3}">
      <dgm:prSet/>
      <dgm:spPr/>
      <dgm:t>
        <a:bodyPr/>
        <a:lstStyle/>
        <a:p>
          <a:endParaRPr lang="en-US"/>
        </a:p>
      </dgm:t>
    </dgm:pt>
    <dgm:pt modelId="{4A234FAF-730A-4DCE-9F8A-FBAEAEE366E0}">
      <dgm:prSet phldrT="[Text]"/>
      <dgm:spPr/>
      <dgm:t>
        <a:bodyPr/>
        <a:lstStyle/>
        <a:p>
          <a:r>
            <a:rPr lang="en-US"/>
            <a:t>Gateway</a:t>
          </a:r>
        </a:p>
      </dgm:t>
    </dgm:pt>
    <dgm:pt modelId="{F095E743-148D-425C-AD4B-EB7D2605FA6A}" type="parTrans" cxnId="{1F15F903-14E4-46F9-B74C-27900464EF21}">
      <dgm:prSet/>
      <dgm:spPr/>
      <dgm:t>
        <a:bodyPr/>
        <a:lstStyle/>
        <a:p>
          <a:endParaRPr lang="en-US"/>
        </a:p>
      </dgm:t>
    </dgm:pt>
    <dgm:pt modelId="{FE4330DB-B572-4DDD-B340-33DD82963E7B}" type="sibTrans" cxnId="{1F15F903-14E4-46F9-B74C-27900464EF21}">
      <dgm:prSet/>
      <dgm:spPr/>
      <dgm:t>
        <a:bodyPr/>
        <a:lstStyle/>
        <a:p>
          <a:endParaRPr lang="en-US"/>
        </a:p>
      </dgm:t>
    </dgm:pt>
    <dgm:pt modelId="{46A13AB2-7A6A-4D92-949C-96598476F708}">
      <dgm:prSet phldrT="[Text]"/>
      <dgm:spPr/>
      <dgm:t>
        <a:bodyPr/>
        <a:lstStyle/>
        <a:p>
          <a:r>
            <a:rPr lang="en-US"/>
            <a:t>Data sources</a:t>
          </a:r>
        </a:p>
      </dgm:t>
    </dgm:pt>
    <dgm:pt modelId="{249854D0-FDAD-43E7-B549-E4F6D73FDC42}" type="parTrans" cxnId="{C8176903-0DCE-4EB3-93BF-013991D79010}">
      <dgm:prSet/>
      <dgm:spPr/>
      <dgm:t>
        <a:bodyPr/>
        <a:lstStyle/>
        <a:p>
          <a:endParaRPr lang="en-US"/>
        </a:p>
      </dgm:t>
    </dgm:pt>
    <dgm:pt modelId="{E64968A1-2330-40E0-8AC1-55B6B12AFDD5}" type="sibTrans" cxnId="{C8176903-0DCE-4EB3-93BF-013991D79010}">
      <dgm:prSet/>
      <dgm:spPr/>
      <dgm:t>
        <a:bodyPr/>
        <a:lstStyle/>
        <a:p>
          <a:endParaRPr lang="en-US"/>
        </a:p>
      </dgm:t>
    </dgm:pt>
    <dgm:pt modelId="{D3C7E271-0B35-4572-A4B6-D834F3C461B8}">
      <dgm:prSet phldrT="[Text]"/>
      <dgm:spPr/>
      <dgm:t>
        <a:bodyPr/>
        <a:lstStyle/>
        <a:p>
          <a:r>
            <a:rPr lang="en-US"/>
            <a:t>Prod workspace</a:t>
          </a:r>
        </a:p>
      </dgm:t>
    </dgm:pt>
    <dgm:pt modelId="{AFD7C7E1-87D5-4713-84FC-7E021BEAC1D7}" type="parTrans" cxnId="{F24C8C72-331C-46AD-B34C-50E6BC5551E2}">
      <dgm:prSet/>
      <dgm:spPr/>
      <dgm:t>
        <a:bodyPr/>
        <a:lstStyle/>
        <a:p>
          <a:endParaRPr lang="en-US"/>
        </a:p>
      </dgm:t>
    </dgm:pt>
    <dgm:pt modelId="{81ADA548-D70B-4DCC-A838-EEB773026924}" type="sibTrans" cxnId="{F24C8C72-331C-46AD-B34C-50E6BC5551E2}">
      <dgm:prSet/>
      <dgm:spPr/>
      <dgm:t>
        <a:bodyPr/>
        <a:lstStyle/>
        <a:p>
          <a:endParaRPr lang="en-US"/>
        </a:p>
      </dgm:t>
    </dgm:pt>
    <dgm:pt modelId="{BF97630A-959B-4336-BC08-0D06E06062F2}">
      <dgm:prSet phldrT="[Text]"/>
      <dgm:spPr/>
      <dgm:t>
        <a:bodyPr/>
        <a:lstStyle/>
        <a:p>
          <a:r>
            <a:rPr lang="en-US"/>
            <a:t>Work with SSBI</a:t>
          </a:r>
        </a:p>
      </dgm:t>
    </dgm:pt>
    <dgm:pt modelId="{5908BA9F-E107-4582-98FF-2FD94CFFD919}" type="sibTrans" cxnId="{512B6542-1ACA-464F-81D4-0BC90C246C38}">
      <dgm:prSet/>
      <dgm:spPr/>
      <dgm:t>
        <a:bodyPr/>
        <a:lstStyle/>
        <a:p>
          <a:endParaRPr lang="en-US"/>
        </a:p>
      </dgm:t>
    </dgm:pt>
    <dgm:pt modelId="{51EAAD93-C15C-4BB5-BDEB-E98FB3CB21B6}" type="parTrans" cxnId="{512B6542-1ACA-464F-81D4-0BC90C246C38}">
      <dgm:prSet/>
      <dgm:spPr/>
      <dgm:t>
        <a:bodyPr/>
        <a:lstStyle/>
        <a:p>
          <a:endParaRPr lang="en-US"/>
        </a:p>
      </dgm:t>
    </dgm:pt>
    <dgm:pt modelId="{CAEF5DFA-3003-4F05-9DFB-992B2619C8C0}">
      <dgm:prSet phldrT="[Text]"/>
      <dgm:spPr/>
      <dgm:t>
        <a:bodyPr/>
        <a:lstStyle/>
        <a:p>
          <a:r>
            <a:rPr lang="en-US"/>
            <a:t>Documentation</a:t>
          </a:r>
        </a:p>
      </dgm:t>
    </dgm:pt>
    <dgm:pt modelId="{6B8FF51A-9C27-4AB3-B231-E9073BF05E82}" type="parTrans" cxnId="{94FAB125-6FEA-4298-A0DF-D064124B53EF}">
      <dgm:prSet/>
      <dgm:spPr/>
      <dgm:t>
        <a:bodyPr/>
        <a:lstStyle/>
        <a:p>
          <a:endParaRPr lang="en-US"/>
        </a:p>
      </dgm:t>
    </dgm:pt>
    <dgm:pt modelId="{2FF9D6D9-F054-4CEB-838A-D7730786A1A4}" type="sibTrans" cxnId="{94FAB125-6FEA-4298-A0DF-D064124B53EF}">
      <dgm:prSet/>
      <dgm:spPr/>
      <dgm:t>
        <a:bodyPr/>
        <a:lstStyle/>
        <a:p>
          <a:endParaRPr lang="en-US"/>
        </a:p>
      </dgm:t>
    </dgm:pt>
    <dgm:pt modelId="{AF5BF1F0-F94A-41C2-9A93-C45EC72532A9}">
      <dgm:prSet phldrT="[Text]"/>
      <dgm:spPr/>
      <dgm:t>
        <a:bodyPr/>
        <a:lstStyle/>
        <a:p>
          <a:r>
            <a:rPr lang="en-US"/>
            <a:t>Ownership</a:t>
          </a:r>
        </a:p>
      </dgm:t>
    </dgm:pt>
    <dgm:pt modelId="{A7F2B521-57F1-4D35-8E19-0393551A46C4}" type="parTrans" cxnId="{7B01A666-D0D2-4E51-8A48-72A3E3FA833A}">
      <dgm:prSet/>
      <dgm:spPr/>
      <dgm:t>
        <a:bodyPr/>
        <a:lstStyle/>
        <a:p>
          <a:endParaRPr lang="en-US"/>
        </a:p>
      </dgm:t>
    </dgm:pt>
    <dgm:pt modelId="{C458BD2E-4E12-44BF-A375-B78F28640BD3}" type="sibTrans" cxnId="{7B01A666-D0D2-4E51-8A48-72A3E3FA833A}">
      <dgm:prSet/>
      <dgm:spPr/>
      <dgm:t>
        <a:bodyPr/>
        <a:lstStyle/>
        <a:p>
          <a:endParaRPr lang="en-US"/>
        </a:p>
      </dgm:t>
    </dgm:pt>
    <dgm:pt modelId="{662F15CC-E95F-46B7-B190-8E452DCA2F60}">
      <dgm:prSet phldrT="[Text]"/>
      <dgm:spPr/>
      <dgm:t>
        <a:bodyPr/>
        <a:lstStyle/>
        <a:p>
          <a:r>
            <a:rPr lang="en-US"/>
            <a:t>Full support</a:t>
          </a:r>
        </a:p>
      </dgm:t>
    </dgm:pt>
    <dgm:pt modelId="{F69BDF01-D7F2-4F8B-BFC2-91ACDC9A2604}" type="parTrans" cxnId="{DC562DB4-D714-4C28-B7B1-B65EB6EE575C}">
      <dgm:prSet/>
      <dgm:spPr/>
      <dgm:t>
        <a:bodyPr/>
        <a:lstStyle/>
        <a:p>
          <a:endParaRPr lang="en-US"/>
        </a:p>
      </dgm:t>
    </dgm:pt>
    <dgm:pt modelId="{F082243F-C7EA-4CC3-BB38-0BC8212E7838}" type="sibTrans" cxnId="{DC562DB4-D714-4C28-B7B1-B65EB6EE575C}">
      <dgm:prSet/>
      <dgm:spPr/>
      <dgm:t>
        <a:bodyPr/>
        <a:lstStyle/>
        <a:p>
          <a:endParaRPr lang="en-US"/>
        </a:p>
      </dgm:t>
    </dgm:pt>
    <dgm:pt modelId="{D5CBDB21-A270-496E-9352-721A4C3E1A2F}">
      <dgm:prSet phldrT="[Text]"/>
      <dgm:spPr/>
      <dgm:t>
        <a:bodyPr/>
        <a:lstStyle/>
        <a:p>
          <a:r>
            <a:rPr lang="en-US"/>
            <a:t>Prove out ideas</a:t>
          </a:r>
        </a:p>
      </dgm:t>
    </dgm:pt>
    <dgm:pt modelId="{343A2B8D-59BA-4F99-9FEC-CA5CA819A958}" type="parTrans" cxnId="{EBAAB863-81C5-4498-A347-0433811CF18A}">
      <dgm:prSet/>
      <dgm:spPr/>
      <dgm:t>
        <a:bodyPr/>
        <a:lstStyle/>
        <a:p>
          <a:endParaRPr lang="en-US"/>
        </a:p>
      </dgm:t>
    </dgm:pt>
    <dgm:pt modelId="{8443B1C1-1272-4C37-98CA-BDF354EAE9E1}" type="sibTrans" cxnId="{EBAAB863-81C5-4498-A347-0433811CF18A}">
      <dgm:prSet/>
      <dgm:spPr/>
      <dgm:t>
        <a:bodyPr/>
        <a:lstStyle/>
        <a:p>
          <a:endParaRPr lang="en-US"/>
        </a:p>
      </dgm:t>
    </dgm:pt>
    <dgm:pt modelId="{BAB3D24F-528C-4FD4-B5F6-3A54DFFD6F08}">
      <dgm:prSet phldrT="[Text]"/>
      <dgm:spPr/>
      <dgm:t>
        <a:bodyPr/>
        <a:lstStyle/>
        <a:p>
          <a:r>
            <a:rPr lang="en-US"/>
            <a:t>Desktop or Excel</a:t>
          </a:r>
        </a:p>
      </dgm:t>
    </dgm:pt>
    <dgm:pt modelId="{FD6C66E6-9741-4019-9CBB-C453A0C15D99}" type="parTrans" cxnId="{58E89B8C-8E3A-4E0C-85E7-7BD9633CFA05}">
      <dgm:prSet/>
      <dgm:spPr/>
      <dgm:t>
        <a:bodyPr/>
        <a:lstStyle/>
        <a:p>
          <a:endParaRPr lang="en-US"/>
        </a:p>
      </dgm:t>
    </dgm:pt>
    <dgm:pt modelId="{9FE1ABE5-DD2E-4A95-ADA8-A89F90DB2059}" type="sibTrans" cxnId="{58E89B8C-8E3A-4E0C-85E7-7BD9633CFA05}">
      <dgm:prSet/>
      <dgm:spPr/>
      <dgm:t>
        <a:bodyPr/>
        <a:lstStyle/>
        <a:p>
          <a:endParaRPr lang="en-US"/>
        </a:p>
      </dgm:t>
    </dgm:pt>
    <dgm:pt modelId="{90E77209-D6B4-40A7-AE94-BBB825C63FA7}">
      <dgm:prSet phldrT="[Text]"/>
      <dgm:spPr/>
      <dgm:t>
        <a:bodyPr/>
        <a:lstStyle/>
        <a:p>
          <a:r>
            <a:rPr lang="en-US"/>
            <a:t>Scheduled refresh</a:t>
          </a:r>
        </a:p>
      </dgm:t>
    </dgm:pt>
    <dgm:pt modelId="{0B4C1210-A9CA-46D8-9F0F-353CAAB15F4D}" type="parTrans" cxnId="{9480D411-F632-40E4-97ED-C5F8C91152D7}">
      <dgm:prSet/>
      <dgm:spPr/>
      <dgm:t>
        <a:bodyPr/>
        <a:lstStyle/>
        <a:p>
          <a:endParaRPr lang="en-US"/>
        </a:p>
      </dgm:t>
    </dgm:pt>
    <dgm:pt modelId="{3C10C280-8642-4949-B322-EA523ADA0286}" type="sibTrans" cxnId="{9480D411-F632-40E4-97ED-C5F8C91152D7}">
      <dgm:prSet/>
      <dgm:spPr/>
      <dgm:t>
        <a:bodyPr/>
        <a:lstStyle/>
        <a:p>
          <a:endParaRPr lang="en-US"/>
        </a:p>
      </dgm:t>
    </dgm:pt>
    <dgm:pt modelId="{157CB20B-DEB2-40B6-931D-D6E4294F47CA}">
      <dgm:prSet phldrT="[Text]"/>
      <dgm:spPr/>
      <dgm:t>
        <a:bodyPr/>
        <a:lstStyle/>
        <a:p>
          <a:r>
            <a:rPr lang="en-US"/>
            <a:t>Theme</a:t>
          </a:r>
        </a:p>
      </dgm:t>
    </dgm:pt>
    <dgm:pt modelId="{89C6E239-D77E-493D-9AFE-4C2CFA32FA9A}" type="parTrans" cxnId="{81487DF4-62EA-4412-BF55-30156BF28D61}">
      <dgm:prSet/>
      <dgm:spPr/>
      <dgm:t>
        <a:bodyPr/>
        <a:lstStyle/>
        <a:p>
          <a:endParaRPr lang="en-US"/>
        </a:p>
      </dgm:t>
    </dgm:pt>
    <dgm:pt modelId="{12EFADC2-9668-4158-8E5B-026A93BDD0B0}" type="sibTrans" cxnId="{81487DF4-62EA-4412-BF55-30156BF28D61}">
      <dgm:prSet/>
      <dgm:spPr/>
      <dgm:t>
        <a:bodyPr/>
        <a:lstStyle/>
        <a:p>
          <a:endParaRPr lang="en-US"/>
        </a:p>
      </dgm:t>
    </dgm:pt>
    <dgm:pt modelId="{E502987D-0C62-4775-84F2-9C971D67E76B}">
      <dgm:prSet phldrT="[Text]"/>
      <dgm:spPr/>
      <dgm:t>
        <a:bodyPr/>
        <a:lstStyle/>
        <a:p>
          <a:r>
            <a:rPr lang="en-US"/>
            <a:t>SLA</a:t>
          </a:r>
        </a:p>
      </dgm:t>
    </dgm:pt>
    <dgm:pt modelId="{284AF138-94E4-46AB-83F9-C13D76D39042}" type="parTrans" cxnId="{D8C21D1D-62A6-4DD6-BAD0-8EF1EC9C8E99}">
      <dgm:prSet/>
      <dgm:spPr/>
      <dgm:t>
        <a:bodyPr/>
        <a:lstStyle/>
        <a:p>
          <a:endParaRPr lang="en-US"/>
        </a:p>
      </dgm:t>
    </dgm:pt>
    <dgm:pt modelId="{2FE46425-A3E2-4982-9043-559A4FFC49F8}" type="sibTrans" cxnId="{D8C21D1D-62A6-4DD6-BAD0-8EF1EC9C8E99}">
      <dgm:prSet/>
      <dgm:spPr/>
      <dgm:t>
        <a:bodyPr/>
        <a:lstStyle/>
        <a:p>
          <a:endParaRPr lang="en-US"/>
        </a:p>
      </dgm:t>
    </dgm:pt>
    <dgm:pt modelId="{C09D8D3F-2F64-46B8-A9AE-F06068D50FAD}" type="pres">
      <dgm:prSet presAssocID="{6A993D06-AA99-4F3D-B309-9798F18CDE0C}" presName="rootnode" presStyleCnt="0">
        <dgm:presLayoutVars>
          <dgm:chMax/>
          <dgm:chPref/>
          <dgm:dir/>
          <dgm:animLvl val="lvl"/>
        </dgm:presLayoutVars>
      </dgm:prSet>
      <dgm:spPr/>
    </dgm:pt>
    <dgm:pt modelId="{5AFE32D8-3E6F-4BB1-BC44-8C0FFC77B432}" type="pres">
      <dgm:prSet presAssocID="{602704CB-89C9-4D28-9876-EC4325B8CC4C}" presName="composite" presStyleCnt="0"/>
      <dgm:spPr/>
    </dgm:pt>
    <dgm:pt modelId="{9B98BC4B-E7B1-4268-9495-5D73CC9C3051}" type="pres">
      <dgm:prSet presAssocID="{602704CB-89C9-4D28-9876-EC4325B8CC4C}" presName="LShape" presStyleLbl="alignNode1" presStyleIdx="0" presStyleCnt="7"/>
      <dgm:spPr/>
    </dgm:pt>
    <dgm:pt modelId="{504845A6-302F-43F6-9CB3-AF9747308E3F}" type="pres">
      <dgm:prSet presAssocID="{602704CB-89C9-4D28-9876-EC4325B8CC4C}" presName="ParentText" presStyleLbl="revTx" presStyleIdx="0" presStyleCnt="4">
        <dgm:presLayoutVars>
          <dgm:chMax val="0"/>
          <dgm:chPref val="0"/>
          <dgm:bulletEnabled val="1"/>
        </dgm:presLayoutVars>
      </dgm:prSet>
      <dgm:spPr/>
    </dgm:pt>
    <dgm:pt modelId="{7892D8E5-7831-49CA-80E3-16F27E5F78B1}" type="pres">
      <dgm:prSet presAssocID="{602704CB-89C9-4D28-9876-EC4325B8CC4C}" presName="Triangle" presStyleLbl="alignNode1" presStyleIdx="1" presStyleCnt="7"/>
      <dgm:spPr/>
    </dgm:pt>
    <dgm:pt modelId="{82A78625-0B45-43DA-A862-56951F08A8EA}" type="pres">
      <dgm:prSet presAssocID="{6F31C978-BF01-4475-A060-88428C032AC5}" presName="sibTrans" presStyleCnt="0"/>
      <dgm:spPr/>
    </dgm:pt>
    <dgm:pt modelId="{E39F83A5-74F9-471B-865F-3503041B2D25}" type="pres">
      <dgm:prSet presAssocID="{6F31C978-BF01-4475-A060-88428C032AC5}" presName="space" presStyleCnt="0"/>
      <dgm:spPr/>
    </dgm:pt>
    <dgm:pt modelId="{FD9F62B4-88A3-4D7C-8303-F28ECA6485FA}" type="pres">
      <dgm:prSet presAssocID="{141DAF27-9884-45C0-9A7F-F595B3DD1F34}" presName="composite" presStyleCnt="0"/>
      <dgm:spPr/>
    </dgm:pt>
    <dgm:pt modelId="{1EC21D07-3AE2-445D-8679-AAE5514D3CAC}" type="pres">
      <dgm:prSet presAssocID="{141DAF27-9884-45C0-9A7F-F595B3DD1F34}" presName="LShape" presStyleLbl="alignNode1" presStyleIdx="2" presStyleCnt="7"/>
      <dgm:spPr/>
    </dgm:pt>
    <dgm:pt modelId="{EFEDE421-90FB-41C5-B5BF-EDC1A5D9C31C}" type="pres">
      <dgm:prSet presAssocID="{141DAF27-9884-45C0-9A7F-F595B3DD1F34}" presName="ParentText" presStyleLbl="revTx" presStyleIdx="1" presStyleCnt="4">
        <dgm:presLayoutVars>
          <dgm:chMax val="0"/>
          <dgm:chPref val="0"/>
          <dgm:bulletEnabled val="1"/>
        </dgm:presLayoutVars>
      </dgm:prSet>
      <dgm:spPr/>
    </dgm:pt>
    <dgm:pt modelId="{186E60F8-3613-42A3-8D7D-987F6AB990A6}" type="pres">
      <dgm:prSet presAssocID="{141DAF27-9884-45C0-9A7F-F595B3DD1F34}" presName="Triangle" presStyleLbl="alignNode1" presStyleIdx="3" presStyleCnt="7"/>
      <dgm:spPr/>
    </dgm:pt>
    <dgm:pt modelId="{DB92C1C8-8A8F-4F0A-B224-3CD491920E25}" type="pres">
      <dgm:prSet presAssocID="{59D3B008-4701-45F3-9A18-D8A8280474F1}" presName="sibTrans" presStyleCnt="0"/>
      <dgm:spPr/>
    </dgm:pt>
    <dgm:pt modelId="{8E4FF814-55AD-42B6-9AC2-E83FFFF1DBD5}" type="pres">
      <dgm:prSet presAssocID="{59D3B008-4701-45F3-9A18-D8A8280474F1}" presName="space" presStyleCnt="0"/>
      <dgm:spPr/>
    </dgm:pt>
    <dgm:pt modelId="{709D3B69-C9AE-4410-B12F-A43B5574F6B1}" type="pres">
      <dgm:prSet presAssocID="{7C9BBA7F-69BB-4688-B9F5-C424675DADDA}" presName="composite" presStyleCnt="0"/>
      <dgm:spPr/>
    </dgm:pt>
    <dgm:pt modelId="{F5DBA1AA-898E-443B-B181-2F96741E6C15}" type="pres">
      <dgm:prSet presAssocID="{7C9BBA7F-69BB-4688-B9F5-C424675DADDA}" presName="LShape" presStyleLbl="alignNode1" presStyleIdx="4" presStyleCnt="7"/>
      <dgm:spPr/>
    </dgm:pt>
    <dgm:pt modelId="{FBF030BD-263B-4E98-916E-530C9C7BE1F9}" type="pres">
      <dgm:prSet presAssocID="{7C9BBA7F-69BB-4688-B9F5-C424675DADDA}" presName="ParentText" presStyleLbl="revTx" presStyleIdx="2" presStyleCnt="4">
        <dgm:presLayoutVars>
          <dgm:chMax val="0"/>
          <dgm:chPref val="0"/>
          <dgm:bulletEnabled val="1"/>
        </dgm:presLayoutVars>
      </dgm:prSet>
      <dgm:spPr/>
    </dgm:pt>
    <dgm:pt modelId="{4A235F80-B814-470E-8989-4207188E13E9}" type="pres">
      <dgm:prSet presAssocID="{7C9BBA7F-69BB-4688-B9F5-C424675DADDA}" presName="Triangle" presStyleLbl="alignNode1" presStyleIdx="5" presStyleCnt="7"/>
      <dgm:spPr/>
    </dgm:pt>
    <dgm:pt modelId="{63715E73-DC28-475D-B1EF-8F14E205150A}" type="pres">
      <dgm:prSet presAssocID="{0F569CE6-76AB-48E8-BFCA-646B74A41ACF}" presName="sibTrans" presStyleCnt="0"/>
      <dgm:spPr/>
    </dgm:pt>
    <dgm:pt modelId="{2A58E278-1766-430D-AC6A-0A7C5F0B4D90}" type="pres">
      <dgm:prSet presAssocID="{0F569CE6-76AB-48E8-BFCA-646B74A41ACF}" presName="space" presStyleCnt="0"/>
      <dgm:spPr/>
    </dgm:pt>
    <dgm:pt modelId="{9F54CD51-4043-4B53-A6F5-52BC626926B1}" type="pres">
      <dgm:prSet presAssocID="{5F815A55-7FC3-4FA3-ABF3-2D4390A8360E}" presName="composite" presStyleCnt="0"/>
      <dgm:spPr/>
    </dgm:pt>
    <dgm:pt modelId="{090BB8F0-AA1B-4AE3-A053-53E3B9E68528}" type="pres">
      <dgm:prSet presAssocID="{5F815A55-7FC3-4FA3-ABF3-2D4390A8360E}" presName="LShape" presStyleLbl="alignNode1" presStyleIdx="6" presStyleCnt="7"/>
      <dgm:spPr/>
    </dgm:pt>
    <dgm:pt modelId="{669F8A5C-6F87-4A8F-9088-B91AF7F36E87}" type="pres">
      <dgm:prSet presAssocID="{5F815A55-7FC3-4FA3-ABF3-2D4390A8360E}" presName="ParentText" presStyleLbl="revTx" presStyleIdx="3" presStyleCnt="4">
        <dgm:presLayoutVars>
          <dgm:chMax val="0"/>
          <dgm:chPref val="0"/>
          <dgm:bulletEnabled val="1"/>
        </dgm:presLayoutVars>
      </dgm:prSet>
      <dgm:spPr/>
    </dgm:pt>
  </dgm:ptLst>
  <dgm:cxnLst>
    <dgm:cxn modelId="{3DCF1502-27F3-4BB7-AFD3-889A3AAAC0E9}" type="presOf" srcId="{D3C7E271-0B35-4572-A4B6-D834F3C461B8}" destId="{669F8A5C-6F87-4A8F-9088-B91AF7F36E87}" srcOrd="0" destOrd="1" presId="urn:microsoft.com/office/officeart/2009/3/layout/StepUpProcess"/>
    <dgm:cxn modelId="{C8176903-0DCE-4EB3-93BF-013991D79010}" srcId="{7C9BBA7F-69BB-4688-B9F5-C424675DADDA}" destId="{46A13AB2-7A6A-4D92-949C-96598476F708}" srcOrd="0" destOrd="0" parTransId="{249854D0-FDAD-43E7-B549-E4F6D73FDC42}" sibTransId="{E64968A1-2330-40E0-8AC1-55B6B12AFDD5}"/>
    <dgm:cxn modelId="{1F15F903-14E4-46F9-B74C-27900464EF21}" srcId="{141DAF27-9884-45C0-9A7F-F595B3DD1F34}" destId="{4A234FAF-730A-4DCE-9F8A-FBAEAEE366E0}" srcOrd="0" destOrd="0" parTransId="{F095E743-148D-425C-AD4B-EB7D2605FA6A}" sibTransId="{FE4330DB-B572-4DDD-B340-33DD82963E7B}"/>
    <dgm:cxn modelId="{B13F8005-673E-4103-8CC7-8240A910B5F3}" srcId="{6A993D06-AA99-4F3D-B309-9798F18CDE0C}" destId="{5F815A55-7FC3-4FA3-ABF3-2D4390A8360E}" srcOrd="3" destOrd="0" parTransId="{33CD8727-4C15-4604-A51A-27CD4DA6E884}" sibTransId="{1A51ABF6-8AA8-4B9E-8E13-6A181908A140}"/>
    <dgm:cxn modelId="{9480D411-F632-40E4-97ED-C5F8C91152D7}" srcId="{141DAF27-9884-45C0-9A7F-F595B3DD1F34}" destId="{90E77209-D6B4-40A7-AE94-BBB825C63FA7}" srcOrd="1" destOrd="0" parTransId="{0B4C1210-A9CA-46D8-9F0F-353CAAB15F4D}" sibTransId="{3C10C280-8642-4949-B322-EA523ADA0286}"/>
    <dgm:cxn modelId="{D8C21D1D-62A6-4DD6-BAD0-8EF1EC9C8E99}" srcId="{5F815A55-7FC3-4FA3-ABF3-2D4390A8360E}" destId="{E502987D-0C62-4775-84F2-9C971D67E76B}" srcOrd="2" destOrd="0" parTransId="{284AF138-94E4-46AB-83F9-C13D76D39042}" sibTransId="{2FE46425-A3E2-4982-9043-559A4FFC49F8}"/>
    <dgm:cxn modelId="{ADB86124-3D31-4230-AB6A-51B35765E797}" type="presOf" srcId="{4A234FAF-730A-4DCE-9F8A-FBAEAEE366E0}" destId="{EFEDE421-90FB-41C5-B5BF-EDC1A5D9C31C}" srcOrd="0" destOrd="1" presId="urn:microsoft.com/office/officeart/2009/3/layout/StepUpProcess"/>
    <dgm:cxn modelId="{94FAB125-6FEA-4298-A0DF-D064124B53EF}" srcId="{7C9BBA7F-69BB-4688-B9F5-C424675DADDA}" destId="{CAEF5DFA-3003-4F05-9DFB-992B2619C8C0}" srcOrd="1" destOrd="0" parTransId="{6B8FF51A-9C27-4AB3-B231-E9073BF05E82}" sibTransId="{2FF9D6D9-F054-4CEB-838A-D7730786A1A4}"/>
    <dgm:cxn modelId="{53EBF628-AD87-4827-ADBB-E98AE6978429}" type="presOf" srcId="{BAB3D24F-528C-4FD4-B5F6-3A54DFFD6F08}" destId="{504845A6-302F-43F6-9CB3-AF9747308E3F}" srcOrd="0" destOrd="3" presId="urn:microsoft.com/office/officeart/2009/3/layout/StepUpProcess"/>
    <dgm:cxn modelId="{A84DC32A-CBF0-48B5-B6D8-57A203FDC8D0}" srcId="{6A993D06-AA99-4F3D-B309-9798F18CDE0C}" destId="{602704CB-89C9-4D28-9876-EC4325B8CC4C}" srcOrd="0" destOrd="0" parTransId="{BE9354C2-3BF1-4D07-9E24-3ADF61646F03}" sibTransId="{6F31C978-BF01-4475-A060-88428C032AC5}"/>
    <dgm:cxn modelId="{BC876931-F46E-435B-9E6F-D1445CB855AE}" srcId="{6A993D06-AA99-4F3D-B309-9798F18CDE0C}" destId="{141DAF27-9884-45C0-9A7F-F595B3DD1F34}" srcOrd="1" destOrd="0" parTransId="{3C19FDC2-6D75-48C0-BE59-CE9093549B71}" sibTransId="{59D3B008-4701-45F3-9A18-D8A8280474F1}"/>
    <dgm:cxn modelId="{3E1E6435-4667-4F71-8A3C-24B140F09CA1}" type="presOf" srcId="{7C9BBA7F-69BB-4688-B9F5-C424675DADDA}" destId="{FBF030BD-263B-4E98-916E-530C9C7BE1F9}" srcOrd="0" destOrd="0" presId="urn:microsoft.com/office/officeart/2009/3/layout/StepUpProcess"/>
    <dgm:cxn modelId="{A5D7783D-C5E0-4200-B404-D5D6F46D6F12}" type="presOf" srcId="{E502987D-0C62-4775-84F2-9C971D67E76B}" destId="{669F8A5C-6F87-4A8F-9088-B91AF7F36E87}" srcOrd="0" destOrd="3" presId="urn:microsoft.com/office/officeart/2009/3/layout/StepUpProcess"/>
    <dgm:cxn modelId="{AF0F8E60-D19C-459B-B197-865B2A4DCDF4}" type="presOf" srcId="{6A993D06-AA99-4F3D-B309-9798F18CDE0C}" destId="{C09D8D3F-2F64-46B8-A9AE-F06068D50FAD}" srcOrd="0" destOrd="0" presId="urn:microsoft.com/office/officeart/2009/3/layout/StepUpProcess"/>
    <dgm:cxn modelId="{512B6542-1ACA-464F-81D4-0BC90C246C38}" srcId="{602704CB-89C9-4D28-9876-EC4325B8CC4C}" destId="{BF97630A-959B-4336-BC08-0D06E06062F2}" srcOrd="0" destOrd="0" parTransId="{51EAAD93-C15C-4BB5-BDEB-E98FB3CB21B6}" sibTransId="{5908BA9F-E107-4582-98FF-2FD94CFFD919}"/>
    <dgm:cxn modelId="{EBAAB863-81C5-4498-A347-0433811CF18A}" srcId="{602704CB-89C9-4D28-9876-EC4325B8CC4C}" destId="{D5CBDB21-A270-496E-9352-721A4C3E1A2F}" srcOrd="1" destOrd="0" parTransId="{343A2B8D-59BA-4F99-9FEC-CA5CA819A958}" sibTransId="{8443B1C1-1272-4C37-98CA-BDF354EAE9E1}"/>
    <dgm:cxn modelId="{7B01A666-D0D2-4E51-8A48-72A3E3FA833A}" srcId="{7C9BBA7F-69BB-4688-B9F5-C424675DADDA}" destId="{AF5BF1F0-F94A-41C2-9A93-C45EC72532A9}" srcOrd="2" destOrd="0" parTransId="{A7F2B521-57F1-4D35-8E19-0393551A46C4}" sibTransId="{C458BD2E-4E12-44BF-A375-B78F28640BD3}"/>
    <dgm:cxn modelId="{30E2154A-25BE-416D-AFF5-321952DF096F}" type="presOf" srcId="{157CB20B-DEB2-40B6-931D-D6E4294F47CA}" destId="{EFEDE421-90FB-41C5-B5BF-EDC1A5D9C31C}" srcOrd="0" destOrd="3" presId="urn:microsoft.com/office/officeart/2009/3/layout/StepUpProcess"/>
    <dgm:cxn modelId="{1572AB6B-CE5D-4EF3-A615-5C45B9A2519A}" type="presOf" srcId="{5F815A55-7FC3-4FA3-ABF3-2D4390A8360E}" destId="{669F8A5C-6F87-4A8F-9088-B91AF7F36E87}" srcOrd="0" destOrd="0" presId="urn:microsoft.com/office/officeart/2009/3/layout/StepUpProcess"/>
    <dgm:cxn modelId="{F24C8C72-331C-46AD-B34C-50E6BC5551E2}" srcId="{5F815A55-7FC3-4FA3-ABF3-2D4390A8360E}" destId="{D3C7E271-0B35-4572-A4B6-D834F3C461B8}" srcOrd="0" destOrd="0" parTransId="{AFD7C7E1-87D5-4713-84FC-7E021BEAC1D7}" sibTransId="{81ADA548-D70B-4DCC-A838-EEB773026924}"/>
    <dgm:cxn modelId="{4E19AC7C-93CF-452F-9C4C-C50FED4C7326}" type="presOf" srcId="{602704CB-89C9-4D28-9876-EC4325B8CC4C}" destId="{504845A6-302F-43F6-9CB3-AF9747308E3F}" srcOrd="0" destOrd="0" presId="urn:microsoft.com/office/officeart/2009/3/layout/StepUpProcess"/>
    <dgm:cxn modelId="{20564285-8D6E-4209-9A50-0AC5FBD75AB4}" type="presOf" srcId="{662F15CC-E95F-46B7-B190-8E452DCA2F60}" destId="{669F8A5C-6F87-4A8F-9088-B91AF7F36E87}" srcOrd="0" destOrd="2" presId="urn:microsoft.com/office/officeart/2009/3/layout/StepUpProcess"/>
    <dgm:cxn modelId="{58E89B8C-8E3A-4E0C-85E7-7BD9633CFA05}" srcId="{602704CB-89C9-4D28-9876-EC4325B8CC4C}" destId="{BAB3D24F-528C-4FD4-B5F6-3A54DFFD6F08}" srcOrd="2" destOrd="0" parTransId="{FD6C66E6-9741-4019-9CBB-C453A0C15D99}" sibTransId="{9FE1ABE5-DD2E-4A95-ADA8-A89F90DB2059}"/>
    <dgm:cxn modelId="{F4994FB2-0CC9-4371-A8FA-F08C5B5858F9}" type="presOf" srcId="{46A13AB2-7A6A-4D92-949C-96598476F708}" destId="{FBF030BD-263B-4E98-916E-530C9C7BE1F9}" srcOrd="0" destOrd="1" presId="urn:microsoft.com/office/officeart/2009/3/layout/StepUpProcess"/>
    <dgm:cxn modelId="{DC562DB4-D714-4C28-B7B1-B65EB6EE575C}" srcId="{5F815A55-7FC3-4FA3-ABF3-2D4390A8360E}" destId="{662F15CC-E95F-46B7-B190-8E452DCA2F60}" srcOrd="1" destOrd="0" parTransId="{F69BDF01-D7F2-4F8B-BFC2-91ACDC9A2604}" sibTransId="{F082243F-C7EA-4CC3-BB38-0BC8212E7838}"/>
    <dgm:cxn modelId="{51333DB8-1BF6-464D-ABD9-53D5863D7665}" type="presOf" srcId="{AF5BF1F0-F94A-41C2-9A93-C45EC72532A9}" destId="{FBF030BD-263B-4E98-916E-530C9C7BE1F9}" srcOrd="0" destOrd="3" presId="urn:microsoft.com/office/officeart/2009/3/layout/StepUpProcess"/>
    <dgm:cxn modelId="{496B2EBE-17A2-4065-B4AD-7595AC404C0A}" type="presOf" srcId="{141DAF27-9884-45C0-9A7F-F595B3DD1F34}" destId="{EFEDE421-90FB-41C5-B5BF-EDC1A5D9C31C}" srcOrd="0" destOrd="0" presId="urn:microsoft.com/office/officeart/2009/3/layout/StepUpProcess"/>
    <dgm:cxn modelId="{E12B83CA-4D35-4836-A5AE-22C92ED502AE}" type="presOf" srcId="{BF97630A-959B-4336-BC08-0D06E06062F2}" destId="{504845A6-302F-43F6-9CB3-AF9747308E3F}" srcOrd="0" destOrd="1" presId="urn:microsoft.com/office/officeart/2009/3/layout/StepUpProcess"/>
    <dgm:cxn modelId="{F364A7CA-9005-44C0-97B4-509D6DA46731}" type="presOf" srcId="{CAEF5DFA-3003-4F05-9DFB-992B2619C8C0}" destId="{FBF030BD-263B-4E98-916E-530C9C7BE1F9}" srcOrd="0" destOrd="2" presId="urn:microsoft.com/office/officeart/2009/3/layout/StepUpProcess"/>
    <dgm:cxn modelId="{2EB8A2DC-2816-4888-98E9-63B31CC67BB8}" srcId="{6A993D06-AA99-4F3D-B309-9798F18CDE0C}" destId="{7C9BBA7F-69BB-4688-B9F5-C424675DADDA}" srcOrd="2" destOrd="0" parTransId="{9ADE456D-12C4-43E7-9AD8-8DED8C3E6AF8}" sibTransId="{0F569CE6-76AB-48E8-BFCA-646B74A41ACF}"/>
    <dgm:cxn modelId="{62DA4EE3-6919-41B2-83EA-9720306184D2}" type="presOf" srcId="{D5CBDB21-A270-496E-9352-721A4C3E1A2F}" destId="{504845A6-302F-43F6-9CB3-AF9747308E3F}" srcOrd="0" destOrd="2" presId="urn:microsoft.com/office/officeart/2009/3/layout/StepUpProcess"/>
    <dgm:cxn modelId="{81487DF4-62EA-4412-BF55-30156BF28D61}" srcId="{141DAF27-9884-45C0-9A7F-F595B3DD1F34}" destId="{157CB20B-DEB2-40B6-931D-D6E4294F47CA}" srcOrd="2" destOrd="0" parTransId="{89C6E239-D77E-493D-9AFE-4C2CFA32FA9A}" sibTransId="{12EFADC2-9668-4158-8E5B-026A93BDD0B0}"/>
    <dgm:cxn modelId="{9A4FBEF8-930D-4A55-A634-76AFB440C98D}" type="presOf" srcId="{90E77209-D6B4-40A7-AE94-BBB825C63FA7}" destId="{EFEDE421-90FB-41C5-B5BF-EDC1A5D9C31C}" srcOrd="0" destOrd="2" presId="urn:microsoft.com/office/officeart/2009/3/layout/StepUpProcess"/>
    <dgm:cxn modelId="{36F77DB4-1C0F-48B1-8CF6-CE378F026CB2}" type="presParOf" srcId="{C09D8D3F-2F64-46B8-A9AE-F06068D50FAD}" destId="{5AFE32D8-3E6F-4BB1-BC44-8C0FFC77B432}" srcOrd="0" destOrd="0" presId="urn:microsoft.com/office/officeart/2009/3/layout/StepUpProcess"/>
    <dgm:cxn modelId="{7AE41F4B-8996-4980-81D5-F2A3221298B5}" type="presParOf" srcId="{5AFE32D8-3E6F-4BB1-BC44-8C0FFC77B432}" destId="{9B98BC4B-E7B1-4268-9495-5D73CC9C3051}" srcOrd="0" destOrd="0" presId="urn:microsoft.com/office/officeart/2009/3/layout/StepUpProcess"/>
    <dgm:cxn modelId="{0219565A-7EBD-4443-AAB5-46FBB32E1CBC}" type="presParOf" srcId="{5AFE32D8-3E6F-4BB1-BC44-8C0FFC77B432}" destId="{504845A6-302F-43F6-9CB3-AF9747308E3F}" srcOrd="1" destOrd="0" presId="urn:microsoft.com/office/officeart/2009/3/layout/StepUpProcess"/>
    <dgm:cxn modelId="{966AA960-3B6F-4191-BCDD-57DC9489C490}" type="presParOf" srcId="{5AFE32D8-3E6F-4BB1-BC44-8C0FFC77B432}" destId="{7892D8E5-7831-49CA-80E3-16F27E5F78B1}" srcOrd="2" destOrd="0" presId="urn:microsoft.com/office/officeart/2009/3/layout/StepUpProcess"/>
    <dgm:cxn modelId="{83078EBA-15A2-4A87-9415-A16148241B34}" type="presParOf" srcId="{C09D8D3F-2F64-46B8-A9AE-F06068D50FAD}" destId="{82A78625-0B45-43DA-A862-56951F08A8EA}" srcOrd="1" destOrd="0" presId="urn:microsoft.com/office/officeart/2009/3/layout/StepUpProcess"/>
    <dgm:cxn modelId="{CC137E2F-EF4D-4978-880E-9D90BE4F483F}" type="presParOf" srcId="{82A78625-0B45-43DA-A862-56951F08A8EA}" destId="{E39F83A5-74F9-471B-865F-3503041B2D25}" srcOrd="0" destOrd="0" presId="urn:microsoft.com/office/officeart/2009/3/layout/StepUpProcess"/>
    <dgm:cxn modelId="{C8ED53E1-5229-49E5-81F6-457081C1B38C}" type="presParOf" srcId="{C09D8D3F-2F64-46B8-A9AE-F06068D50FAD}" destId="{FD9F62B4-88A3-4D7C-8303-F28ECA6485FA}" srcOrd="2" destOrd="0" presId="urn:microsoft.com/office/officeart/2009/3/layout/StepUpProcess"/>
    <dgm:cxn modelId="{66D322F2-FB1C-4BCD-A80C-18BC52B874EF}" type="presParOf" srcId="{FD9F62B4-88A3-4D7C-8303-F28ECA6485FA}" destId="{1EC21D07-3AE2-445D-8679-AAE5514D3CAC}" srcOrd="0" destOrd="0" presId="urn:microsoft.com/office/officeart/2009/3/layout/StepUpProcess"/>
    <dgm:cxn modelId="{1251D2E6-114F-46CC-874B-5B2C4AAD660D}" type="presParOf" srcId="{FD9F62B4-88A3-4D7C-8303-F28ECA6485FA}" destId="{EFEDE421-90FB-41C5-B5BF-EDC1A5D9C31C}" srcOrd="1" destOrd="0" presId="urn:microsoft.com/office/officeart/2009/3/layout/StepUpProcess"/>
    <dgm:cxn modelId="{46102024-C549-465D-A23B-155848DCF8ED}" type="presParOf" srcId="{FD9F62B4-88A3-4D7C-8303-F28ECA6485FA}" destId="{186E60F8-3613-42A3-8D7D-987F6AB990A6}" srcOrd="2" destOrd="0" presId="urn:microsoft.com/office/officeart/2009/3/layout/StepUpProcess"/>
    <dgm:cxn modelId="{5ADD7683-F028-44AA-BA96-E58956810CA9}" type="presParOf" srcId="{C09D8D3F-2F64-46B8-A9AE-F06068D50FAD}" destId="{DB92C1C8-8A8F-4F0A-B224-3CD491920E25}" srcOrd="3" destOrd="0" presId="urn:microsoft.com/office/officeart/2009/3/layout/StepUpProcess"/>
    <dgm:cxn modelId="{A3950E4F-99AF-4B33-9BE5-BBB98664100B}" type="presParOf" srcId="{DB92C1C8-8A8F-4F0A-B224-3CD491920E25}" destId="{8E4FF814-55AD-42B6-9AC2-E83FFFF1DBD5}" srcOrd="0" destOrd="0" presId="urn:microsoft.com/office/officeart/2009/3/layout/StepUpProcess"/>
    <dgm:cxn modelId="{80E1F8EB-D075-49A1-AF46-4E4024FD4F9B}" type="presParOf" srcId="{C09D8D3F-2F64-46B8-A9AE-F06068D50FAD}" destId="{709D3B69-C9AE-4410-B12F-A43B5574F6B1}" srcOrd="4" destOrd="0" presId="urn:microsoft.com/office/officeart/2009/3/layout/StepUpProcess"/>
    <dgm:cxn modelId="{4EE4E5A1-9E4A-4EDC-A6A8-B27094DAAF3B}" type="presParOf" srcId="{709D3B69-C9AE-4410-B12F-A43B5574F6B1}" destId="{F5DBA1AA-898E-443B-B181-2F96741E6C15}" srcOrd="0" destOrd="0" presId="urn:microsoft.com/office/officeart/2009/3/layout/StepUpProcess"/>
    <dgm:cxn modelId="{0BAF1F36-A972-4020-AC58-24BFBA3A5300}" type="presParOf" srcId="{709D3B69-C9AE-4410-B12F-A43B5574F6B1}" destId="{FBF030BD-263B-4E98-916E-530C9C7BE1F9}" srcOrd="1" destOrd="0" presId="urn:microsoft.com/office/officeart/2009/3/layout/StepUpProcess"/>
    <dgm:cxn modelId="{3CA02BA3-8B03-4F31-912C-9C280DF7FF2C}" type="presParOf" srcId="{709D3B69-C9AE-4410-B12F-A43B5574F6B1}" destId="{4A235F80-B814-470E-8989-4207188E13E9}" srcOrd="2" destOrd="0" presId="urn:microsoft.com/office/officeart/2009/3/layout/StepUpProcess"/>
    <dgm:cxn modelId="{8EB36552-FAFD-48E2-989D-CA018957426C}" type="presParOf" srcId="{C09D8D3F-2F64-46B8-A9AE-F06068D50FAD}" destId="{63715E73-DC28-475D-B1EF-8F14E205150A}" srcOrd="5" destOrd="0" presId="urn:microsoft.com/office/officeart/2009/3/layout/StepUpProcess"/>
    <dgm:cxn modelId="{83E66368-2F8D-42AF-AC5B-CA4624D92CC8}" type="presParOf" srcId="{63715E73-DC28-475D-B1EF-8F14E205150A}" destId="{2A58E278-1766-430D-AC6A-0A7C5F0B4D90}" srcOrd="0" destOrd="0" presId="urn:microsoft.com/office/officeart/2009/3/layout/StepUpProcess"/>
    <dgm:cxn modelId="{B90EE83A-AE36-478E-B78F-B3D02BEF0CB2}" type="presParOf" srcId="{C09D8D3F-2F64-46B8-A9AE-F06068D50FAD}" destId="{9F54CD51-4043-4B53-A6F5-52BC626926B1}" srcOrd="6" destOrd="0" presId="urn:microsoft.com/office/officeart/2009/3/layout/StepUpProcess"/>
    <dgm:cxn modelId="{C7D6C34E-E477-418F-8D06-D05B95C5BD4E}" type="presParOf" srcId="{9F54CD51-4043-4B53-A6F5-52BC626926B1}" destId="{090BB8F0-AA1B-4AE3-A053-53E3B9E68528}" srcOrd="0" destOrd="0" presId="urn:microsoft.com/office/officeart/2009/3/layout/StepUpProcess"/>
    <dgm:cxn modelId="{DABA14D1-6B69-461D-A060-4A4720242BF7}" type="presParOf" srcId="{9F54CD51-4043-4B53-A6F5-52BC626926B1}" destId="{669F8A5C-6F87-4A8F-9088-B91AF7F36E87}" srcOrd="1" destOrd="0" presId="urn:microsoft.com/office/officeart/2009/3/layout/StepUpProcess"/>
  </dgm:cxnLst>
  <dgm:bg/>
  <dgm:whole/>
  <dgm:extLst>
    <a:ext uri="http://schemas.microsoft.com/office/drawing/2008/diagram">
      <dsp:dataModelExt xmlns:dsp="http://schemas.microsoft.com/office/drawing/2008/diagram" relId="rId11"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E091AE-D53F-408B-A6C6-547663D5AAC4}">
      <dsp:nvSpPr>
        <dsp:cNvPr id="0" name=""/>
        <dsp:cNvSpPr/>
      </dsp:nvSpPr>
      <dsp:spPr>
        <a:xfrm rot="10800000">
          <a:off x="0" y="0"/>
          <a:ext cx="7105920" cy="1579093"/>
        </a:xfrm>
        <a:prstGeom prst="trapezoid">
          <a:avLst>
            <a:gd name="adj" fmla="val 75000"/>
          </a:avLst>
        </a:prstGeom>
        <a:solidFill>
          <a:schemeClr val="bg1">
            <a:lumMod val="7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880" tIns="55880" rIns="55880" bIns="55880" numCol="1" spcCol="1270" anchor="ctr" anchorCtr="0">
          <a:noAutofit/>
        </a:bodyPr>
        <a:lstStyle/>
        <a:p>
          <a:pPr marL="0" lvl="0" indent="0" algn="ctr" defTabSz="1955800">
            <a:lnSpc>
              <a:spcPct val="90000"/>
            </a:lnSpc>
            <a:spcBef>
              <a:spcPct val="0"/>
            </a:spcBef>
            <a:spcAft>
              <a:spcPct val="35000"/>
            </a:spcAft>
            <a:buNone/>
          </a:pPr>
          <a:r>
            <a:rPr lang="en-US" sz="4400" b="1" kern="1200">
              <a:solidFill>
                <a:schemeClr val="bg1"/>
              </a:solidFill>
              <a:latin typeface="+mn-lt"/>
              <a:cs typeface="Leelawadee" panose="020B0502040204020203" pitchFamily="34" charset="-34"/>
            </a:rPr>
            <a:t>FILTERS/JOINS</a:t>
          </a:r>
        </a:p>
      </dsp:txBody>
      <dsp:txXfrm rot="-10800000">
        <a:off x="1243535" y="0"/>
        <a:ext cx="4618848" cy="1579093"/>
      </dsp:txXfrm>
    </dsp:sp>
    <dsp:sp modelId="{0870BA61-4217-427C-8C7E-4EA239322EAC}">
      <dsp:nvSpPr>
        <dsp:cNvPr id="0" name=""/>
        <dsp:cNvSpPr/>
      </dsp:nvSpPr>
      <dsp:spPr>
        <a:xfrm rot="10800000">
          <a:off x="1184320" y="1579093"/>
          <a:ext cx="4737280" cy="1579093"/>
        </a:xfrm>
        <a:prstGeom prst="trapezoid">
          <a:avLst>
            <a:gd name="adj" fmla="val 75000"/>
          </a:avLst>
        </a:prstGeom>
        <a:solidFill>
          <a:schemeClr val="tx1">
            <a:lumMod val="50000"/>
            <a:lumOff val="5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US" sz="2400" b="1" kern="1200">
              <a:solidFill>
                <a:schemeClr val="bg1"/>
              </a:solidFill>
              <a:latin typeface="+mn-lt"/>
              <a:cs typeface="Leelawadee" panose="020B0502040204020203" pitchFamily="34" charset="-34"/>
            </a:rPr>
            <a:t>TRANSFORMATIONS</a:t>
          </a:r>
        </a:p>
      </dsp:txBody>
      <dsp:txXfrm rot="-10800000">
        <a:off x="2013343" y="1579093"/>
        <a:ext cx="3079232" cy="1579093"/>
      </dsp:txXfrm>
    </dsp:sp>
    <dsp:sp modelId="{3662EC92-002E-4F1B-AE1C-6EF3EC3391A1}">
      <dsp:nvSpPr>
        <dsp:cNvPr id="0" name=""/>
        <dsp:cNvSpPr/>
      </dsp:nvSpPr>
      <dsp:spPr>
        <a:xfrm rot="10800000">
          <a:off x="2368640" y="3158186"/>
          <a:ext cx="2368640" cy="1579093"/>
        </a:xfrm>
        <a:prstGeom prst="trapezoid">
          <a:avLst>
            <a:gd name="adj" fmla="val 75000"/>
          </a:avLst>
        </a:prstGeom>
        <a:solidFill>
          <a:schemeClr val="tx1">
            <a:lumMod val="75000"/>
            <a:lumOff val="2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74320" rIns="20320" bIns="20320" numCol="1" spcCol="1270" anchor="t" anchorCtr="0">
          <a:noAutofit/>
        </a:bodyPr>
        <a:lstStyle/>
        <a:p>
          <a:pPr marL="0" lvl="0" indent="0" algn="ctr" defTabSz="711200">
            <a:lnSpc>
              <a:spcPct val="90000"/>
            </a:lnSpc>
            <a:spcBef>
              <a:spcPct val="0"/>
            </a:spcBef>
            <a:spcAft>
              <a:spcPct val="35000"/>
            </a:spcAft>
            <a:buNone/>
          </a:pPr>
          <a:r>
            <a:rPr lang="en-US" sz="1600" b="1" kern="1200">
              <a:solidFill>
                <a:schemeClr val="bg1"/>
              </a:solidFill>
              <a:latin typeface="+mn-lt"/>
              <a:cs typeface="Leelawadee" panose="020B0502040204020203" pitchFamily="34" charset="-34"/>
            </a:rPr>
            <a:t>COLUMN</a:t>
          </a:r>
        </a:p>
        <a:p>
          <a:pPr marL="0" lvl="0" indent="0" algn="ctr" defTabSz="711200">
            <a:lnSpc>
              <a:spcPct val="90000"/>
            </a:lnSpc>
            <a:spcBef>
              <a:spcPct val="0"/>
            </a:spcBef>
            <a:spcAft>
              <a:spcPct val="35000"/>
            </a:spcAft>
            <a:buNone/>
          </a:pPr>
          <a:r>
            <a:rPr lang="en-US" sz="1600" b="1" kern="1200">
              <a:solidFill>
                <a:schemeClr val="bg1"/>
              </a:solidFill>
              <a:latin typeface="+mn-lt"/>
              <a:cs typeface="Leelawadee" panose="020B0502040204020203" pitchFamily="34" charset="-34"/>
            </a:rPr>
            <a:t>SELECTION</a:t>
          </a:r>
        </a:p>
      </dsp:txBody>
      <dsp:txXfrm rot="-10800000">
        <a:off x="2368640" y="3158186"/>
        <a:ext cx="2368640" cy="157909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E091AE-D53F-408B-A6C6-547663D5AAC4}">
      <dsp:nvSpPr>
        <dsp:cNvPr id="0" name=""/>
        <dsp:cNvSpPr/>
      </dsp:nvSpPr>
      <dsp:spPr>
        <a:xfrm rot="10800000">
          <a:off x="0" y="0"/>
          <a:ext cx="7105013" cy="1578891"/>
        </a:xfrm>
        <a:prstGeom prst="trapezoid">
          <a:avLst>
            <a:gd name="adj" fmla="val 75000"/>
          </a:avLst>
        </a:prstGeom>
        <a:solidFill>
          <a:schemeClr val="bg1">
            <a:lumMod val="7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880" tIns="55880" rIns="55880" bIns="55880" numCol="1" spcCol="1270" anchor="ctr" anchorCtr="0">
          <a:noAutofit/>
        </a:bodyPr>
        <a:lstStyle/>
        <a:p>
          <a:pPr marL="0" lvl="0" indent="0" algn="ctr" defTabSz="1955800">
            <a:lnSpc>
              <a:spcPct val="90000"/>
            </a:lnSpc>
            <a:spcBef>
              <a:spcPct val="0"/>
            </a:spcBef>
            <a:spcAft>
              <a:spcPct val="35000"/>
            </a:spcAft>
            <a:buNone/>
          </a:pPr>
          <a:r>
            <a:rPr lang="en-US" sz="4400" b="1" kern="1200">
              <a:solidFill>
                <a:schemeClr val="bg1"/>
              </a:solidFill>
              <a:latin typeface="Segoe UI Semibold" panose="020B0702040204020203" pitchFamily="34" charset="0"/>
              <a:cs typeface="Segoe UI Semibold" panose="020B0702040204020203" pitchFamily="34" charset="0"/>
            </a:rPr>
            <a:t>Data you have.</a:t>
          </a:r>
        </a:p>
      </dsp:txBody>
      <dsp:txXfrm rot="-10800000">
        <a:off x="1243377" y="0"/>
        <a:ext cx="4618258" cy="1578891"/>
      </dsp:txXfrm>
    </dsp:sp>
    <dsp:sp modelId="{0870BA61-4217-427C-8C7E-4EA239322EAC}">
      <dsp:nvSpPr>
        <dsp:cNvPr id="0" name=""/>
        <dsp:cNvSpPr/>
      </dsp:nvSpPr>
      <dsp:spPr>
        <a:xfrm rot="10800000">
          <a:off x="1184168" y="1578891"/>
          <a:ext cx="4736675" cy="1578891"/>
        </a:xfrm>
        <a:prstGeom prst="trapezoid">
          <a:avLst>
            <a:gd name="adj" fmla="val 75000"/>
          </a:avLst>
        </a:prstGeom>
        <a:solidFill>
          <a:schemeClr val="tx1">
            <a:lumMod val="50000"/>
            <a:lumOff val="5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0" tIns="82550" rIns="82550" bIns="82550" numCol="1" spcCol="1270" anchor="ctr" anchorCtr="0">
          <a:noAutofit/>
        </a:bodyPr>
        <a:lstStyle/>
        <a:p>
          <a:pPr marL="0" lvl="0" indent="0" algn="ctr" defTabSz="2889250">
            <a:lnSpc>
              <a:spcPct val="90000"/>
            </a:lnSpc>
            <a:spcBef>
              <a:spcPct val="0"/>
            </a:spcBef>
            <a:spcAft>
              <a:spcPct val="35000"/>
            </a:spcAft>
            <a:buNone/>
          </a:pPr>
          <a:r>
            <a:rPr lang="en-US" sz="6500" b="1" kern="1200">
              <a:solidFill>
                <a:schemeClr val="tx1">
                  <a:lumMod val="50000"/>
                  <a:lumOff val="50000"/>
                </a:schemeClr>
              </a:solidFill>
              <a:latin typeface="+mj-lt"/>
              <a:cs typeface="Leelawadee" panose="020B0502040204020203" pitchFamily="34" charset="-34"/>
            </a:rPr>
            <a:t>.</a:t>
          </a:r>
        </a:p>
      </dsp:txBody>
      <dsp:txXfrm rot="-10800000">
        <a:off x="2013087" y="1578891"/>
        <a:ext cx="3078838" cy="1578891"/>
      </dsp:txXfrm>
    </dsp:sp>
    <dsp:sp modelId="{3662EC92-002E-4F1B-AE1C-6EF3EC3391A1}">
      <dsp:nvSpPr>
        <dsp:cNvPr id="0" name=""/>
        <dsp:cNvSpPr/>
      </dsp:nvSpPr>
      <dsp:spPr>
        <a:xfrm rot="10800000">
          <a:off x="2368337" y="3157783"/>
          <a:ext cx="2368337" cy="1578891"/>
        </a:xfrm>
        <a:prstGeom prst="trapezoid">
          <a:avLst>
            <a:gd name="adj" fmla="val 75000"/>
          </a:avLst>
        </a:prstGeom>
        <a:solidFill>
          <a:schemeClr val="tx1">
            <a:lumMod val="75000"/>
            <a:lumOff val="2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74320" rIns="20320" bIns="20320" numCol="1" spcCol="1270" anchor="t" anchorCtr="0">
          <a:noAutofit/>
        </a:bodyPr>
        <a:lstStyle/>
        <a:p>
          <a:pPr marL="0" lvl="0" indent="0" algn="ctr" defTabSz="711200">
            <a:lnSpc>
              <a:spcPct val="90000"/>
            </a:lnSpc>
            <a:spcBef>
              <a:spcPct val="0"/>
            </a:spcBef>
            <a:spcAft>
              <a:spcPct val="35000"/>
            </a:spcAft>
            <a:buNone/>
          </a:pPr>
          <a:r>
            <a:rPr lang="en-US" sz="1600" b="1" kern="1200">
              <a:solidFill>
                <a:schemeClr val="tx1">
                  <a:lumMod val="75000"/>
                  <a:lumOff val="25000"/>
                </a:schemeClr>
              </a:solidFill>
              <a:latin typeface="+mj-lt"/>
              <a:cs typeface="Leelawadee" panose="020B0502040204020203" pitchFamily="34" charset="-34"/>
            </a:rPr>
            <a:t>.</a:t>
          </a:r>
        </a:p>
      </dsp:txBody>
      <dsp:txXfrm rot="-10800000">
        <a:off x="2368337" y="3157783"/>
        <a:ext cx="2368337" cy="157889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150B59-0B90-46E8-9768-9BA30A6D62E4}">
      <dsp:nvSpPr>
        <dsp:cNvPr id="0" name=""/>
        <dsp:cNvSpPr/>
      </dsp:nvSpPr>
      <dsp:spPr>
        <a:xfrm>
          <a:off x="10468" y="0"/>
          <a:ext cx="1621818" cy="735949"/>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a:latin typeface="Segoe UI"/>
              <a:cs typeface="Segoe UI"/>
            </a:rPr>
            <a:t>1M</a:t>
          </a:r>
        </a:p>
      </dsp:txBody>
      <dsp:txXfrm>
        <a:off x="32023" y="21555"/>
        <a:ext cx="1578708" cy="692839"/>
      </dsp:txXfrm>
    </dsp:sp>
    <dsp:sp modelId="{7E6DE381-6BBD-430C-83B5-6C15F09BCF6A}">
      <dsp:nvSpPr>
        <dsp:cNvPr id="0" name=""/>
        <dsp:cNvSpPr/>
      </dsp:nvSpPr>
      <dsp:spPr>
        <a:xfrm>
          <a:off x="1794468" y="166868"/>
          <a:ext cx="343825" cy="402211"/>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latin typeface="Segoe UI" panose="020B0502040204020203" pitchFamily="34" charset="0"/>
            <a:cs typeface="Segoe UI" panose="020B0502040204020203" pitchFamily="34" charset="0"/>
          </a:endParaRPr>
        </a:p>
      </dsp:txBody>
      <dsp:txXfrm>
        <a:off x="1794468" y="247310"/>
        <a:ext cx="240678" cy="241327"/>
      </dsp:txXfrm>
    </dsp:sp>
    <dsp:sp modelId="{F38B7CE1-A879-48CC-9DD9-4D17D0D7999C}">
      <dsp:nvSpPr>
        <dsp:cNvPr id="0" name=""/>
        <dsp:cNvSpPr/>
      </dsp:nvSpPr>
      <dsp:spPr>
        <a:xfrm>
          <a:off x="2281014" y="0"/>
          <a:ext cx="1621818" cy="735949"/>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a:solidFill>
                <a:prstClr val="white"/>
              </a:solidFill>
              <a:latin typeface="Segoe UI"/>
              <a:ea typeface="+mn-ea"/>
              <a:cs typeface="Segoe UI"/>
            </a:rPr>
            <a:t>1M</a:t>
          </a:r>
        </a:p>
      </dsp:txBody>
      <dsp:txXfrm>
        <a:off x="2302569" y="21555"/>
        <a:ext cx="1578708" cy="692839"/>
      </dsp:txXfrm>
    </dsp:sp>
    <dsp:sp modelId="{554C59A2-F510-474B-944F-4FEE21DB775D}">
      <dsp:nvSpPr>
        <dsp:cNvPr id="0" name=""/>
        <dsp:cNvSpPr/>
      </dsp:nvSpPr>
      <dsp:spPr>
        <a:xfrm>
          <a:off x="4065015" y="166868"/>
          <a:ext cx="343825" cy="402211"/>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latin typeface="Segoe UI" panose="020B0502040204020203" pitchFamily="34" charset="0"/>
            <a:cs typeface="Segoe UI" panose="020B0502040204020203" pitchFamily="34" charset="0"/>
          </a:endParaRPr>
        </a:p>
      </dsp:txBody>
      <dsp:txXfrm>
        <a:off x="4065015" y="247310"/>
        <a:ext cx="240678" cy="241327"/>
      </dsp:txXfrm>
    </dsp:sp>
    <dsp:sp modelId="{1D3EE6CD-3321-4358-9040-E1B47919D934}">
      <dsp:nvSpPr>
        <dsp:cNvPr id="0" name=""/>
        <dsp:cNvSpPr/>
      </dsp:nvSpPr>
      <dsp:spPr>
        <a:xfrm>
          <a:off x="4551560" y="0"/>
          <a:ext cx="1621818" cy="735949"/>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a:solidFill>
                <a:prstClr val="white"/>
              </a:solidFill>
              <a:latin typeface="Segoe UI"/>
              <a:ea typeface="+mn-ea"/>
              <a:cs typeface="Segoe UI"/>
            </a:rPr>
            <a:t>1M</a:t>
          </a:r>
        </a:p>
      </dsp:txBody>
      <dsp:txXfrm>
        <a:off x="4573115" y="21555"/>
        <a:ext cx="1578708" cy="692839"/>
      </dsp:txXfrm>
    </dsp:sp>
    <dsp:sp modelId="{28F8CDC0-E374-4543-A5AB-985BAA86A247}">
      <dsp:nvSpPr>
        <dsp:cNvPr id="0" name=""/>
        <dsp:cNvSpPr/>
      </dsp:nvSpPr>
      <dsp:spPr>
        <a:xfrm>
          <a:off x="6335561" y="166868"/>
          <a:ext cx="343825" cy="402211"/>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latin typeface="Segoe UI" panose="020B0502040204020203" pitchFamily="34" charset="0"/>
            <a:cs typeface="Segoe UI" panose="020B0502040204020203" pitchFamily="34" charset="0"/>
          </a:endParaRPr>
        </a:p>
      </dsp:txBody>
      <dsp:txXfrm>
        <a:off x="6335561" y="247310"/>
        <a:ext cx="240678" cy="241327"/>
      </dsp:txXfrm>
    </dsp:sp>
    <dsp:sp modelId="{248275CA-6548-4D0B-A163-56AE036BAF82}">
      <dsp:nvSpPr>
        <dsp:cNvPr id="0" name=""/>
        <dsp:cNvSpPr/>
      </dsp:nvSpPr>
      <dsp:spPr>
        <a:xfrm>
          <a:off x="6822106" y="0"/>
          <a:ext cx="1621818" cy="735949"/>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a:latin typeface="Segoe UI"/>
              <a:cs typeface="Segoe UI"/>
            </a:rPr>
            <a:t>…</a:t>
          </a:r>
        </a:p>
      </dsp:txBody>
      <dsp:txXfrm>
        <a:off x="6843661" y="21555"/>
        <a:ext cx="1578708" cy="692839"/>
      </dsp:txXfrm>
    </dsp:sp>
    <dsp:sp modelId="{D2D26390-4359-4FE4-AE8A-1AB2F8EFE066}">
      <dsp:nvSpPr>
        <dsp:cNvPr id="0" name=""/>
        <dsp:cNvSpPr/>
      </dsp:nvSpPr>
      <dsp:spPr>
        <a:xfrm>
          <a:off x="8606107" y="166868"/>
          <a:ext cx="343825" cy="402211"/>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latin typeface="Segoe UI" panose="020B0502040204020203" pitchFamily="34" charset="0"/>
            <a:cs typeface="Segoe UI" panose="020B0502040204020203" pitchFamily="34" charset="0"/>
          </a:endParaRPr>
        </a:p>
      </dsp:txBody>
      <dsp:txXfrm>
        <a:off x="8606107" y="247310"/>
        <a:ext cx="240678" cy="241327"/>
      </dsp:txXfrm>
    </dsp:sp>
    <dsp:sp modelId="{A0B9D9DB-49C0-47E4-A88B-FE8D78B470C6}">
      <dsp:nvSpPr>
        <dsp:cNvPr id="0" name=""/>
        <dsp:cNvSpPr/>
      </dsp:nvSpPr>
      <dsp:spPr>
        <a:xfrm>
          <a:off x="9092652" y="0"/>
          <a:ext cx="1621818" cy="735949"/>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a:latin typeface="Segoe UI"/>
              <a:cs typeface="Segoe UI"/>
            </a:rPr>
            <a:t>Model</a:t>
          </a:r>
        </a:p>
      </dsp:txBody>
      <dsp:txXfrm>
        <a:off x="9114207" y="21555"/>
        <a:ext cx="1578708" cy="69283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C63B464-8759-4E61-9C81-1D46F9C9A4D2}">
      <dsp:nvSpPr>
        <dsp:cNvPr id="0" name=""/>
        <dsp:cNvSpPr/>
      </dsp:nvSpPr>
      <dsp:spPr>
        <a:xfrm>
          <a:off x="584515" y="932245"/>
          <a:ext cx="1448218" cy="1448218"/>
        </a:xfrm>
        <a:prstGeom prst="ellipse">
          <a:avLst/>
        </a:prstGeom>
        <a:solidFill>
          <a:schemeClr val="tx1">
            <a:lumMod val="65000"/>
            <a:lumOff val="35000"/>
          </a:schemeClr>
        </a:solidFill>
        <a:ln>
          <a:noFill/>
        </a:ln>
        <a:effectLst/>
      </dsp:spPr>
      <dsp:style>
        <a:lnRef idx="0">
          <a:scrgbClr r="0" g="0" b="0"/>
        </a:lnRef>
        <a:fillRef idx="1">
          <a:scrgbClr r="0" g="0" b="0"/>
        </a:fillRef>
        <a:effectRef idx="0">
          <a:scrgbClr r="0" g="0" b="0"/>
        </a:effectRef>
        <a:fontRef idx="minor"/>
      </dsp:style>
    </dsp:sp>
    <dsp:sp modelId="{EB3C8009-E2B9-490C-9860-ED58AFD5D528}">
      <dsp:nvSpPr>
        <dsp:cNvPr id="0" name=""/>
        <dsp:cNvSpPr/>
      </dsp:nvSpPr>
      <dsp:spPr>
        <a:xfrm>
          <a:off x="893152" y="1240881"/>
          <a:ext cx="830944" cy="830944"/>
        </a:xfrm>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B2836A5D-E40A-496F-BC32-F824495B8587}">
      <dsp:nvSpPr>
        <dsp:cNvPr id="0" name=""/>
        <dsp:cNvSpPr/>
      </dsp:nvSpPr>
      <dsp:spPr>
        <a:xfrm>
          <a:off x="121560" y="2831547"/>
          <a:ext cx="2374128"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100000"/>
            </a:lnSpc>
            <a:spcBef>
              <a:spcPct val="0"/>
            </a:spcBef>
            <a:spcAft>
              <a:spcPct val="35000"/>
            </a:spcAft>
            <a:buNone/>
            <a:defRPr cap="all"/>
          </a:pPr>
          <a:r>
            <a:rPr lang="en-US" sz="1800" b="1" kern="1200" spc="0" baseline="0">
              <a:gradFill>
                <a:gsLst>
                  <a:gs pos="2917">
                    <a:srgbClr val="505050"/>
                  </a:gs>
                  <a:gs pos="30000">
                    <a:srgbClr val="505050"/>
                  </a:gs>
                </a:gsLst>
                <a:lin ang="5400000" scaled="0"/>
              </a:gradFill>
              <a:latin typeface="Segoe UI"/>
              <a:ea typeface="+mn-ea"/>
              <a:cs typeface="Segoe UI" panose="020B0502040204020203" pitchFamily="34" charset="0"/>
            </a:rPr>
            <a:t>Be careful with calendArauto()</a:t>
          </a:r>
        </a:p>
      </dsp:txBody>
      <dsp:txXfrm>
        <a:off x="121560" y="2831547"/>
        <a:ext cx="2374128" cy="720000"/>
      </dsp:txXfrm>
    </dsp:sp>
    <dsp:sp modelId="{28EED2B0-F1F7-46D6-BF5A-5511EA0674F0}">
      <dsp:nvSpPr>
        <dsp:cNvPr id="0" name=""/>
        <dsp:cNvSpPr/>
      </dsp:nvSpPr>
      <dsp:spPr>
        <a:xfrm>
          <a:off x="3374116" y="932245"/>
          <a:ext cx="1448218" cy="1448218"/>
        </a:xfrm>
        <a:prstGeom prst="ellipse">
          <a:avLst/>
        </a:prstGeom>
        <a:solidFill>
          <a:schemeClr val="tx1">
            <a:lumMod val="65000"/>
            <a:lumOff val="35000"/>
          </a:schemeClr>
        </a:solidFill>
        <a:ln>
          <a:noFill/>
        </a:ln>
        <a:effectLst/>
      </dsp:spPr>
      <dsp:style>
        <a:lnRef idx="0">
          <a:scrgbClr r="0" g="0" b="0"/>
        </a:lnRef>
        <a:fillRef idx="1">
          <a:scrgbClr r="0" g="0" b="0"/>
        </a:fillRef>
        <a:effectRef idx="0">
          <a:scrgbClr r="0" g="0" b="0"/>
        </a:effectRef>
        <a:fontRef idx="minor"/>
      </dsp:style>
    </dsp:sp>
    <dsp:sp modelId="{33F57FEE-B569-4823-99AF-3F2947AE0F78}">
      <dsp:nvSpPr>
        <dsp:cNvPr id="0" name=""/>
        <dsp:cNvSpPr/>
      </dsp:nvSpPr>
      <dsp:spPr>
        <a:xfrm>
          <a:off x="3682752" y="1240881"/>
          <a:ext cx="830944" cy="83094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F5D34D3-B443-42E2-BD65-64AEA40DFAF3}">
      <dsp:nvSpPr>
        <dsp:cNvPr id="0" name=""/>
        <dsp:cNvSpPr/>
      </dsp:nvSpPr>
      <dsp:spPr>
        <a:xfrm>
          <a:off x="2911161" y="2831547"/>
          <a:ext cx="2374128"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100000"/>
            </a:lnSpc>
            <a:spcBef>
              <a:spcPct val="0"/>
            </a:spcBef>
            <a:spcAft>
              <a:spcPct val="35000"/>
            </a:spcAft>
            <a:buNone/>
            <a:defRPr cap="all"/>
          </a:pPr>
          <a:r>
            <a:rPr lang="en-US" sz="1600" b="1" kern="1200" spc="0" baseline="0">
              <a:gradFill>
                <a:gsLst>
                  <a:gs pos="2917">
                    <a:srgbClr val="505050"/>
                  </a:gs>
                  <a:gs pos="30000">
                    <a:srgbClr val="505050"/>
                  </a:gs>
                </a:gsLst>
                <a:lin ang="5400000" scaled="0"/>
              </a:gradFill>
              <a:latin typeface="Segoe UI"/>
              <a:ea typeface="+mn-ea"/>
              <a:cs typeface="Segoe UI" panose="020B0502040204020203" pitchFamily="34" charset="0"/>
            </a:rPr>
            <a:t>Use Date only</a:t>
          </a:r>
        </a:p>
      </dsp:txBody>
      <dsp:txXfrm>
        <a:off x="2911161" y="2831547"/>
        <a:ext cx="2374128" cy="720000"/>
      </dsp:txXfrm>
    </dsp:sp>
    <dsp:sp modelId="{5EB352DD-C631-49D7-80AA-9DD14541AD57}">
      <dsp:nvSpPr>
        <dsp:cNvPr id="0" name=""/>
        <dsp:cNvSpPr/>
      </dsp:nvSpPr>
      <dsp:spPr>
        <a:xfrm>
          <a:off x="6163716" y="932245"/>
          <a:ext cx="1448218" cy="1448218"/>
        </a:xfrm>
        <a:prstGeom prst="ellipse">
          <a:avLst/>
        </a:prstGeom>
        <a:solidFill>
          <a:schemeClr val="tx1">
            <a:lumMod val="65000"/>
            <a:lumOff val="35000"/>
          </a:schemeClr>
        </a:solidFill>
        <a:ln>
          <a:noFill/>
        </a:ln>
        <a:effectLst/>
      </dsp:spPr>
      <dsp:style>
        <a:lnRef idx="0">
          <a:scrgbClr r="0" g="0" b="0"/>
        </a:lnRef>
        <a:fillRef idx="1">
          <a:scrgbClr r="0" g="0" b="0"/>
        </a:fillRef>
        <a:effectRef idx="0">
          <a:scrgbClr r="0" g="0" b="0"/>
        </a:effectRef>
        <a:fontRef idx="minor"/>
      </dsp:style>
    </dsp:sp>
    <dsp:sp modelId="{A81C64E1-C528-4F6A-854A-88B668708A69}">
      <dsp:nvSpPr>
        <dsp:cNvPr id="0" name=""/>
        <dsp:cNvSpPr/>
      </dsp:nvSpPr>
      <dsp:spPr>
        <a:xfrm>
          <a:off x="6472353" y="1240881"/>
          <a:ext cx="830944" cy="83094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FCE2595C-D046-48A0-B5C1-0F6DBFDD8071}">
      <dsp:nvSpPr>
        <dsp:cNvPr id="0" name=""/>
        <dsp:cNvSpPr/>
      </dsp:nvSpPr>
      <dsp:spPr>
        <a:xfrm>
          <a:off x="5700761" y="2831547"/>
          <a:ext cx="2374128"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100000"/>
            </a:lnSpc>
            <a:spcBef>
              <a:spcPct val="0"/>
            </a:spcBef>
            <a:spcAft>
              <a:spcPct val="35000"/>
            </a:spcAft>
            <a:buNone/>
            <a:defRPr cap="all"/>
          </a:pPr>
          <a:r>
            <a:rPr lang="en-US" sz="1600" b="1" kern="1200" spc="0" baseline="0">
              <a:gradFill>
                <a:gsLst>
                  <a:gs pos="2917">
                    <a:srgbClr val="505050"/>
                  </a:gs>
                  <a:gs pos="30000">
                    <a:srgbClr val="505050"/>
                  </a:gs>
                </a:gsLst>
                <a:lin ang="5400000" scaled="0"/>
              </a:gradFill>
              <a:latin typeface="Segoe UI"/>
              <a:ea typeface="+mn-ea"/>
              <a:cs typeface="Segoe UI" panose="020B0502040204020203" pitchFamily="34" charset="0"/>
            </a:rPr>
            <a:t>Split Date/Time</a:t>
          </a:r>
        </a:p>
      </dsp:txBody>
      <dsp:txXfrm>
        <a:off x="5700761" y="2831547"/>
        <a:ext cx="2374128" cy="720000"/>
      </dsp:txXfrm>
    </dsp:sp>
    <dsp:sp modelId="{E1F59C9D-BB26-4C0C-B028-4EB6C1671212}">
      <dsp:nvSpPr>
        <dsp:cNvPr id="0" name=""/>
        <dsp:cNvSpPr/>
      </dsp:nvSpPr>
      <dsp:spPr>
        <a:xfrm>
          <a:off x="8953317" y="932245"/>
          <a:ext cx="1448218" cy="1448218"/>
        </a:xfrm>
        <a:prstGeom prst="ellipse">
          <a:avLst/>
        </a:prstGeom>
        <a:solidFill>
          <a:schemeClr val="tx1">
            <a:lumMod val="65000"/>
            <a:lumOff val="35000"/>
          </a:schemeClr>
        </a:solidFill>
        <a:ln>
          <a:noFill/>
        </a:ln>
        <a:effectLst/>
      </dsp:spPr>
      <dsp:style>
        <a:lnRef idx="0">
          <a:scrgbClr r="0" g="0" b="0"/>
        </a:lnRef>
        <a:fillRef idx="1">
          <a:scrgbClr r="0" g="0" b="0"/>
        </a:fillRef>
        <a:effectRef idx="0">
          <a:scrgbClr r="0" g="0" b="0"/>
        </a:effectRef>
        <a:fontRef idx="minor"/>
      </dsp:style>
    </dsp:sp>
    <dsp:sp modelId="{ACEF1ADC-5E4F-429E-B694-3D67E08DC24A}">
      <dsp:nvSpPr>
        <dsp:cNvPr id="0" name=""/>
        <dsp:cNvSpPr/>
      </dsp:nvSpPr>
      <dsp:spPr>
        <a:xfrm>
          <a:off x="9261953" y="1240881"/>
          <a:ext cx="830944" cy="830944"/>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C7584CF-1385-4033-B162-C63CF6BDF9A7}">
      <dsp:nvSpPr>
        <dsp:cNvPr id="0" name=""/>
        <dsp:cNvSpPr/>
      </dsp:nvSpPr>
      <dsp:spPr>
        <a:xfrm>
          <a:off x="8490362" y="2831547"/>
          <a:ext cx="2374128"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100000"/>
            </a:lnSpc>
            <a:spcBef>
              <a:spcPct val="0"/>
            </a:spcBef>
            <a:spcAft>
              <a:spcPct val="35000"/>
            </a:spcAft>
            <a:buNone/>
            <a:defRPr cap="all"/>
          </a:pPr>
          <a:r>
            <a:rPr lang="en-US" sz="1800" b="1" kern="1200" spc="0" baseline="0">
              <a:gradFill>
                <a:gsLst>
                  <a:gs pos="2917">
                    <a:srgbClr val="505050"/>
                  </a:gs>
                  <a:gs pos="30000">
                    <a:srgbClr val="505050"/>
                  </a:gs>
                </a:gsLst>
                <a:lin ang="5400000" scaled="0"/>
              </a:gradFill>
              <a:latin typeface="Segoe UI"/>
              <a:ea typeface="+mn-ea"/>
              <a:cs typeface="Segoe UI" panose="020B0502040204020203" pitchFamily="34" charset="0"/>
            </a:rPr>
            <a:t>Disable auto-time Intelligence</a:t>
          </a:r>
        </a:p>
      </dsp:txBody>
      <dsp:txXfrm>
        <a:off x="8490362" y="2831547"/>
        <a:ext cx="2374128" cy="72000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3285EF-7CF0-4D03-9C7E-A9EFF915D1E6}">
      <dsp:nvSpPr>
        <dsp:cNvPr id="0" name=""/>
        <dsp:cNvSpPr/>
      </dsp:nvSpPr>
      <dsp:spPr>
        <a:xfrm>
          <a:off x="0" y="0"/>
          <a:ext cx="5906126" cy="5906126"/>
        </a:xfrm>
        <a:prstGeom prst="pie">
          <a:avLst>
            <a:gd name="adj1" fmla="val 5400000"/>
            <a:gd name="adj2" fmla="val 16200000"/>
          </a:avLst>
        </a:prstGeom>
        <a:solidFill>
          <a:srgbClr val="ED7D3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1271936-9E56-4BB3-AA63-1ACD49AF8B48}">
      <dsp:nvSpPr>
        <dsp:cNvPr id="0" name=""/>
        <dsp:cNvSpPr/>
      </dsp:nvSpPr>
      <dsp:spPr>
        <a:xfrm>
          <a:off x="2953063" y="0"/>
          <a:ext cx="8417883" cy="5906126"/>
        </a:xfrm>
        <a:prstGeom prst="rect">
          <a:avLst/>
        </a:prstGeom>
        <a:solidFill>
          <a:schemeClr val="lt1">
            <a:alpha val="9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a:t>End Users</a:t>
          </a:r>
        </a:p>
      </dsp:txBody>
      <dsp:txXfrm>
        <a:off x="2953063" y="0"/>
        <a:ext cx="4208941" cy="1255051"/>
      </dsp:txXfrm>
    </dsp:sp>
    <dsp:sp modelId="{BB5965C5-F907-483A-B0A5-414578A21B77}">
      <dsp:nvSpPr>
        <dsp:cNvPr id="0" name=""/>
        <dsp:cNvSpPr/>
      </dsp:nvSpPr>
      <dsp:spPr>
        <a:xfrm>
          <a:off x="775179" y="1255051"/>
          <a:ext cx="4355767" cy="4355767"/>
        </a:xfrm>
        <a:prstGeom prst="pie">
          <a:avLst>
            <a:gd name="adj1" fmla="val 5400000"/>
            <a:gd name="adj2" fmla="val 16200000"/>
          </a:avLst>
        </a:prstGeom>
        <a:solidFill>
          <a:srgbClr val="A5A5A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EA332EC-4F8C-4AEA-9B46-C6A414F7A033}">
      <dsp:nvSpPr>
        <dsp:cNvPr id="0" name=""/>
        <dsp:cNvSpPr/>
      </dsp:nvSpPr>
      <dsp:spPr>
        <a:xfrm>
          <a:off x="2953063" y="1255051"/>
          <a:ext cx="8417883" cy="4355767"/>
        </a:xfrm>
        <a:prstGeom prst="rect">
          <a:avLst/>
        </a:prstGeom>
        <a:solidFill>
          <a:schemeClr val="lt1">
            <a:alpha val="90000"/>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a:t>Users in Key Departments</a:t>
          </a:r>
        </a:p>
      </dsp:txBody>
      <dsp:txXfrm>
        <a:off x="2953063" y="1255051"/>
        <a:ext cx="4208941" cy="1255051"/>
      </dsp:txXfrm>
    </dsp:sp>
    <dsp:sp modelId="{49156CC1-4316-4278-8CEF-4AC787FCE06A}">
      <dsp:nvSpPr>
        <dsp:cNvPr id="0" name=""/>
        <dsp:cNvSpPr/>
      </dsp:nvSpPr>
      <dsp:spPr>
        <a:xfrm>
          <a:off x="1550358" y="2510103"/>
          <a:ext cx="2805409" cy="2805409"/>
        </a:xfrm>
        <a:prstGeom prst="pie">
          <a:avLst>
            <a:gd name="adj1" fmla="val 5400000"/>
            <a:gd name="adj2" fmla="val 16200000"/>
          </a:avLst>
        </a:prstGeom>
        <a:solidFill>
          <a:srgbClr val="FFC00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39A6B55-D247-481E-B079-427345A889D5}">
      <dsp:nvSpPr>
        <dsp:cNvPr id="0" name=""/>
        <dsp:cNvSpPr/>
      </dsp:nvSpPr>
      <dsp:spPr>
        <a:xfrm>
          <a:off x="2953063" y="2510103"/>
          <a:ext cx="8417883" cy="2805409"/>
        </a:xfrm>
        <a:prstGeom prst="rect">
          <a:avLst/>
        </a:prstGeom>
        <a:solidFill>
          <a:schemeClr val="lt1">
            <a:alpha val="90000"/>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a:t>Power Users</a:t>
          </a:r>
        </a:p>
      </dsp:txBody>
      <dsp:txXfrm>
        <a:off x="2953063" y="2510103"/>
        <a:ext cx="4208941" cy="1255051"/>
      </dsp:txXfrm>
    </dsp:sp>
    <dsp:sp modelId="{BECD5256-D636-446C-B5FE-6A37BB73EB67}">
      <dsp:nvSpPr>
        <dsp:cNvPr id="0" name=""/>
        <dsp:cNvSpPr/>
      </dsp:nvSpPr>
      <dsp:spPr>
        <a:xfrm>
          <a:off x="2325537" y="3765155"/>
          <a:ext cx="1255051" cy="1255051"/>
        </a:xfrm>
        <a:prstGeom prst="pie">
          <a:avLst>
            <a:gd name="adj1" fmla="val 5400000"/>
            <a:gd name="adj2" fmla="val 16200000"/>
          </a:avLst>
        </a:prstGeom>
        <a:solidFill>
          <a:srgbClr val="5B9BD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914F23A-A444-4242-B2A7-9CA012AE34B8}">
      <dsp:nvSpPr>
        <dsp:cNvPr id="0" name=""/>
        <dsp:cNvSpPr/>
      </dsp:nvSpPr>
      <dsp:spPr>
        <a:xfrm>
          <a:off x="2953063" y="3765155"/>
          <a:ext cx="8417883" cy="1255051"/>
        </a:xfrm>
        <a:prstGeom prst="rect">
          <a:avLst/>
        </a:prstGeom>
        <a:solidFill>
          <a:schemeClr val="lt1">
            <a:alpha val="90000"/>
            <a:hueOff val="0"/>
            <a:satOff val="0"/>
            <a:lumOff val="0"/>
            <a:alphaOff val="0"/>
          </a:schemeClr>
        </a:solidFill>
        <a:ln w="1079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a:t>Hardcore IT</a:t>
          </a:r>
        </a:p>
      </dsp:txBody>
      <dsp:txXfrm>
        <a:off x="2953063" y="3765155"/>
        <a:ext cx="4208941" cy="1255051"/>
      </dsp:txXfrm>
    </dsp:sp>
    <dsp:sp modelId="{E0868841-CA79-48B0-8B24-06E20683B4DC}">
      <dsp:nvSpPr>
        <dsp:cNvPr id="0" name=""/>
        <dsp:cNvSpPr/>
      </dsp:nvSpPr>
      <dsp:spPr>
        <a:xfrm>
          <a:off x="7162004" y="0"/>
          <a:ext cx="4208941" cy="1255051"/>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marL="228600" lvl="1" indent="-228600" algn="l" defTabSz="933450">
            <a:lnSpc>
              <a:spcPct val="90000"/>
            </a:lnSpc>
            <a:spcBef>
              <a:spcPct val="0"/>
            </a:spcBef>
            <a:spcAft>
              <a:spcPct val="15000"/>
            </a:spcAft>
            <a:buChar char="•"/>
          </a:pPr>
          <a:r>
            <a:rPr lang="en-US" sz="2100" kern="1200"/>
            <a:t>Any user can work with data</a:t>
          </a:r>
        </a:p>
        <a:p>
          <a:pPr marL="228600" lvl="1" indent="-228600" algn="l" defTabSz="933450">
            <a:lnSpc>
              <a:spcPct val="90000"/>
            </a:lnSpc>
            <a:spcBef>
              <a:spcPct val="0"/>
            </a:spcBef>
            <a:spcAft>
              <a:spcPct val="15000"/>
            </a:spcAft>
            <a:buChar char="•"/>
          </a:pPr>
          <a:r>
            <a:rPr lang="en-US" sz="2100" kern="1200"/>
            <a:t>Curated datasets</a:t>
          </a:r>
        </a:p>
      </dsp:txBody>
      <dsp:txXfrm>
        <a:off x="7162004" y="0"/>
        <a:ext cx="4208941" cy="1255051"/>
      </dsp:txXfrm>
    </dsp:sp>
    <dsp:sp modelId="{4A11FD6C-291E-4C7E-BD4C-D721A5D23244}">
      <dsp:nvSpPr>
        <dsp:cNvPr id="0" name=""/>
        <dsp:cNvSpPr/>
      </dsp:nvSpPr>
      <dsp:spPr>
        <a:xfrm>
          <a:off x="7162004" y="1255051"/>
          <a:ext cx="4208941" cy="1255051"/>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marL="228600" lvl="1" indent="-228600" algn="l" defTabSz="933450">
            <a:lnSpc>
              <a:spcPct val="90000"/>
            </a:lnSpc>
            <a:spcBef>
              <a:spcPct val="0"/>
            </a:spcBef>
            <a:spcAft>
              <a:spcPct val="15000"/>
            </a:spcAft>
            <a:buChar char="•"/>
          </a:pPr>
          <a:r>
            <a:rPr lang="en-US" sz="2100" kern="1200"/>
            <a:t>Any user can work with data</a:t>
          </a:r>
        </a:p>
        <a:p>
          <a:pPr marL="228600" lvl="1" indent="-228600" algn="l" defTabSz="933450">
            <a:lnSpc>
              <a:spcPct val="90000"/>
            </a:lnSpc>
            <a:spcBef>
              <a:spcPct val="0"/>
            </a:spcBef>
            <a:spcAft>
              <a:spcPct val="15000"/>
            </a:spcAft>
            <a:buChar char="•"/>
          </a:pPr>
          <a:r>
            <a:rPr lang="en-US" sz="2100" kern="1200"/>
            <a:t>More data available</a:t>
          </a:r>
        </a:p>
      </dsp:txBody>
      <dsp:txXfrm>
        <a:off x="7162004" y="1255051"/>
        <a:ext cx="4208941" cy="1255051"/>
      </dsp:txXfrm>
    </dsp:sp>
    <dsp:sp modelId="{4133E269-082B-40CA-BDEE-0073C65D10D8}">
      <dsp:nvSpPr>
        <dsp:cNvPr id="0" name=""/>
        <dsp:cNvSpPr/>
      </dsp:nvSpPr>
      <dsp:spPr>
        <a:xfrm>
          <a:off x="7162004" y="2510103"/>
          <a:ext cx="4208941" cy="1255051"/>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marL="228600" lvl="1" indent="-228600" algn="l" defTabSz="933450">
            <a:lnSpc>
              <a:spcPct val="90000"/>
            </a:lnSpc>
            <a:spcBef>
              <a:spcPct val="0"/>
            </a:spcBef>
            <a:spcAft>
              <a:spcPct val="15000"/>
            </a:spcAft>
            <a:buChar char="•"/>
          </a:pPr>
          <a:r>
            <a:rPr lang="en-US" sz="2100" kern="1200"/>
            <a:t>More skills</a:t>
          </a:r>
        </a:p>
        <a:p>
          <a:pPr marL="228600" lvl="1" indent="-228600" algn="l" defTabSz="933450">
            <a:lnSpc>
              <a:spcPct val="90000"/>
            </a:lnSpc>
            <a:spcBef>
              <a:spcPct val="0"/>
            </a:spcBef>
            <a:spcAft>
              <a:spcPct val="15000"/>
            </a:spcAft>
            <a:buChar char="•"/>
          </a:pPr>
          <a:r>
            <a:rPr lang="en-US" sz="2100" kern="1200"/>
            <a:t>More tools</a:t>
          </a:r>
        </a:p>
        <a:p>
          <a:pPr marL="228600" lvl="1" indent="-228600" algn="l" defTabSz="933450">
            <a:lnSpc>
              <a:spcPct val="90000"/>
            </a:lnSpc>
            <a:spcBef>
              <a:spcPct val="0"/>
            </a:spcBef>
            <a:spcAft>
              <a:spcPct val="15000"/>
            </a:spcAft>
            <a:buChar char="•"/>
          </a:pPr>
          <a:r>
            <a:rPr lang="en-US" sz="2100" kern="1200"/>
            <a:t>Better resources</a:t>
          </a:r>
        </a:p>
      </dsp:txBody>
      <dsp:txXfrm>
        <a:off x="7162004" y="2510103"/>
        <a:ext cx="4208941" cy="1255051"/>
      </dsp:txXfrm>
    </dsp:sp>
    <dsp:sp modelId="{C7047BA2-2019-4E65-A76B-4EE5B1055C58}">
      <dsp:nvSpPr>
        <dsp:cNvPr id="0" name=""/>
        <dsp:cNvSpPr/>
      </dsp:nvSpPr>
      <dsp:spPr>
        <a:xfrm>
          <a:off x="7162004" y="3765155"/>
          <a:ext cx="4208941" cy="1255051"/>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marL="228600" lvl="1" indent="-228600" algn="l" defTabSz="933450">
            <a:lnSpc>
              <a:spcPct val="90000"/>
            </a:lnSpc>
            <a:spcBef>
              <a:spcPct val="0"/>
            </a:spcBef>
            <a:spcAft>
              <a:spcPct val="15000"/>
            </a:spcAft>
            <a:buChar char="•"/>
          </a:pPr>
          <a:r>
            <a:rPr lang="en-US" sz="2100" kern="1200"/>
            <a:t>Professional developers</a:t>
          </a:r>
        </a:p>
        <a:p>
          <a:pPr marL="228600" lvl="1" indent="-228600" algn="l" defTabSz="933450">
            <a:lnSpc>
              <a:spcPct val="90000"/>
            </a:lnSpc>
            <a:spcBef>
              <a:spcPct val="0"/>
            </a:spcBef>
            <a:spcAft>
              <a:spcPct val="15000"/>
            </a:spcAft>
            <a:buChar char="•"/>
          </a:pPr>
          <a:r>
            <a:rPr lang="en-US" sz="2100" kern="1200"/>
            <a:t>Traditional owners of BI</a:t>
          </a:r>
        </a:p>
      </dsp:txBody>
      <dsp:txXfrm>
        <a:off x="7162004" y="3765155"/>
        <a:ext cx="4208941" cy="125505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98BC4B-E7B1-4268-9495-5D73CC9C3051}">
      <dsp:nvSpPr>
        <dsp:cNvPr id="0" name=""/>
        <dsp:cNvSpPr/>
      </dsp:nvSpPr>
      <dsp:spPr>
        <a:xfrm rot="5400000">
          <a:off x="470620" y="2843971"/>
          <a:ext cx="1410609" cy="2347221"/>
        </a:xfrm>
        <a:prstGeom prst="corner">
          <a:avLst>
            <a:gd name="adj1" fmla="val 16120"/>
            <a:gd name="adj2" fmla="val 16110"/>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04845A6-302F-43F6-9CB3-AF9747308E3F}">
      <dsp:nvSpPr>
        <dsp:cNvPr id="0" name=""/>
        <dsp:cNvSpPr/>
      </dsp:nvSpPr>
      <dsp:spPr>
        <a:xfrm>
          <a:off x="235154" y="3545284"/>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Exploration</a:t>
          </a:r>
        </a:p>
        <a:p>
          <a:pPr marL="114300" lvl="1" indent="-114300" algn="l" defTabSz="666750">
            <a:lnSpc>
              <a:spcPct val="90000"/>
            </a:lnSpc>
            <a:spcBef>
              <a:spcPct val="0"/>
            </a:spcBef>
            <a:spcAft>
              <a:spcPct val="15000"/>
            </a:spcAft>
            <a:buChar char="•"/>
          </a:pPr>
          <a:r>
            <a:rPr lang="en-US" sz="1500" kern="1200"/>
            <a:t>Work with SSBI</a:t>
          </a:r>
        </a:p>
        <a:p>
          <a:pPr marL="114300" lvl="1" indent="-114300" algn="l" defTabSz="666750">
            <a:lnSpc>
              <a:spcPct val="90000"/>
            </a:lnSpc>
            <a:spcBef>
              <a:spcPct val="0"/>
            </a:spcBef>
            <a:spcAft>
              <a:spcPct val="15000"/>
            </a:spcAft>
            <a:buChar char="•"/>
          </a:pPr>
          <a:r>
            <a:rPr lang="en-US" sz="1500" kern="1200"/>
            <a:t>Prove out ideas</a:t>
          </a:r>
        </a:p>
        <a:p>
          <a:pPr marL="114300" lvl="1" indent="-114300" algn="l" defTabSz="666750">
            <a:lnSpc>
              <a:spcPct val="90000"/>
            </a:lnSpc>
            <a:spcBef>
              <a:spcPct val="0"/>
            </a:spcBef>
            <a:spcAft>
              <a:spcPct val="15000"/>
            </a:spcAft>
            <a:buChar char="•"/>
          </a:pPr>
          <a:r>
            <a:rPr lang="en-US" sz="1500" kern="1200"/>
            <a:t>Desktop or Excel</a:t>
          </a:r>
        </a:p>
      </dsp:txBody>
      <dsp:txXfrm>
        <a:off x="235154" y="3545284"/>
        <a:ext cx="2119085" cy="1857502"/>
      </dsp:txXfrm>
    </dsp:sp>
    <dsp:sp modelId="{7892D8E5-7831-49CA-80E3-16F27E5F78B1}">
      <dsp:nvSpPr>
        <dsp:cNvPr id="0" name=""/>
        <dsp:cNvSpPr/>
      </dsp:nvSpPr>
      <dsp:spPr>
        <a:xfrm>
          <a:off x="1954412" y="2671166"/>
          <a:ext cx="399827" cy="399827"/>
        </a:xfrm>
        <a:prstGeom prst="triangle">
          <a:avLst>
            <a:gd name="adj" fmla="val 100000"/>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EC21D07-3AE2-445D-8679-AAE5514D3CAC}">
      <dsp:nvSpPr>
        <dsp:cNvPr id="0" name=""/>
        <dsp:cNvSpPr/>
      </dsp:nvSpPr>
      <dsp:spPr>
        <a:xfrm rot="5400000">
          <a:off x="3064794" y="2202040"/>
          <a:ext cx="1410609" cy="2347221"/>
        </a:xfrm>
        <a:prstGeom prst="corner">
          <a:avLst>
            <a:gd name="adj1" fmla="val 16120"/>
            <a:gd name="adj2" fmla="val 16110"/>
          </a:avLst>
        </a:prstGeom>
        <a:solidFill>
          <a:schemeClr val="accent4">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FEDE421-90FB-41C5-B5BF-EDC1A5D9C31C}">
      <dsp:nvSpPr>
        <dsp:cNvPr id="0" name=""/>
        <dsp:cNvSpPr/>
      </dsp:nvSpPr>
      <dsp:spPr>
        <a:xfrm>
          <a:off x="2829328" y="2903353"/>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Promotion</a:t>
          </a:r>
        </a:p>
        <a:p>
          <a:pPr marL="114300" lvl="1" indent="-114300" algn="l" defTabSz="666750">
            <a:lnSpc>
              <a:spcPct val="90000"/>
            </a:lnSpc>
            <a:spcBef>
              <a:spcPct val="0"/>
            </a:spcBef>
            <a:spcAft>
              <a:spcPct val="15000"/>
            </a:spcAft>
            <a:buChar char="•"/>
          </a:pPr>
          <a:r>
            <a:rPr lang="en-US" sz="1500" kern="1200"/>
            <a:t>Gateway</a:t>
          </a:r>
        </a:p>
        <a:p>
          <a:pPr marL="114300" lvl="1" indent="-114300" algn="l" defTabSz="666750">
            <a:lnSpc>
              <a:spcPct val="90000"/>
            </a:lnSpc>
            <a:spcBef>
              <a:spcPct val="0"/>
            </a:spcBef>
            <a:spcAft>
              <a:spcPct val="15000"/>
            </a:spcAft>
            <a:buChar char="•"/>
          </a:pPr>
          <a:r>
            <a:rPr lang="en-US" sz="1500" kern="1200"/>
            <a:t>Scheduled refresh</a:t>
          </a:r>
        </a:p>
        <a:p>
          <a:pPr marL="114300" lvl="1" indent="-114300" algn="l" defTabSz="666750">
            <a:lnSpc>
              <a:spcPct val="90000"/>
            </a:lnSpc>
            <a:spcBef>
              <a:spcPct val="0"/>
            </a:spcBef>
            <a:spcAft>
              <a:spcPct val="15000"/>
            </a:spcAft>
            <a:buChar char="•"/>
          </a:pPr>
          <a:r>
            <a:rPr lang="en-US" sz="1500" kern="1200"/>
            <a:t>Theme</a:t>
          </a:r>
        </a:p>
      </dsp:txBody>
      <dsp:txXfrm>
        <a:off x="2829328" y="2903353"/>
        <a:ext cx="2119085" cy="1857502"/>
      </dsp:txXfrm>
    </dsp:sp>
    <dsp:sp modelId="{186E60F8-3613-42A3-8D7D-987F6AB990A6}">
      <dsp:nvSpPr>
        <dsp:cNvPr id="0" name=""/>
        <dsp:cNvSpPr/>
      </dsp:nvSpPr>
      <dsp:spPr>
        <a:xfrm>
          <a:off x="4548586" y="2029235"/>
          <a:ext cx="399827" cy="399827"/>
        </a:xfrm>
        <a:prstGeom prst="triangle">
          <a:avLst>
            <a:gd name="adj" fmla="val 100000"/>
          </a:avLst>
        </a:prstGeom>
        <a:solidFill>
          <a:schemeClr val="accent5">
            <a:hueOff val="0"/>
            <a:satOff val="0"/>
            <a:lumOff val="0"/>
            <a:alphaOff val="0"/>
          </a:schemeClr>
        </a:solidFill>
        <a:ln w="1079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5DBA1AA-898E-443B-B181-2F96741E6C15}">
      <dsp:nvSpPr>
        <dsp:cNvPr id="0" name=""/>
        <dsp:cNvSpPr/>
      </dsp:nvSpPr>
      <dsp:spPr>
        <a:xfrm rot="5400000">
          <a:off x="5658968" y="1560109"/>
          <a:ext cx="1410609" cy="2347221"/>
        </a:xfrm>
        <a:prstGeom prst="corner">
          <a:avLst>
            <a:gd name="adj1" fmla="val 16120"/>
            <a:gd name="adj2" fmla="val 16110"/>
          </a:avLst>
        </a:prstGeom>
        <a:solidFill>
          <a:schemeClr val="accent6">
            <a:hueOff val="0"/>
            <a:satOff val="0"/>
            <a:lumOff val="0"/>
            <a:alphaOff val="0"/>
          </a:schemeClr>
        </a:solidFill>
        <a:ln w="10795"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BF030BD-263B-4E98-916E-530C9C7BE1F9}">
      <dsp:nvSpPr>
        <dsp:cNvPr id="0" name=""/>
        <dsp:cNvSpPr/>
      </dsp:nvSpPr>
      <dsp:spPr>
        <a:xfrm>
          <a:off x="5423502" y="2261422"/>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Preparation</a:t>
          </a:r>
        </a:p>
        <a:p>
          <a:pPr marL="114300" lvl="1" indent="-114300" algn="l" defTabSz="666750">
            <a:lnSpc>
              <a:spcPct val="90000"/>
            </a:lnSpc>
            <a:spcBef>
              <a:spcPct val="0"/>
            </a:spcBef>
            <a:spcAft>
              <a:spcPct val="15000"/>
            </a:spcAft>
            <a:buChar char="•"/>
          </a:pPr>
          <a:r>
            <a:rPr lang="en-US" sz="1500" kern="1200"/>
            <a:t>Data sources</a:t>
          </a:r>
        </a:p>
        <a:p>
          <a:pPr marL="114300" lvl="1" indent="-114300" algn="l" defTabSz="666750">
            <a:lnSpc>
              <a:spcPct val="90000"/>
            </a:lnSpc>
            <a:spcBef>
              <a:spcPct val="0"/>
            </a:spcBef>
            <a:spcAft>
              <a:spcPct val="15000"/>
            </a:spcAft>
            <a:buChar char="•"/>
          </a:pPr>
          <a:r>
            <a:rPr lang="en-US" sz="1500" kern="1200"/>
            <a:t>Documentation</a:t>
          </a:r>
        </a:p>
        <a:p>
          <a:pPr marL="114300" lvl="1" indent="-114300" algn="l" defTabSz="666750">
            <a:lnSpc>
              <a:spcPct val="90000"/>
            </a:lnSpc>
            <a:spcBef>
              <a:spcPct val="0"/>
            </a:spcBef>
            <a:spcAft>
              <a:spcPct val="15000"/>
            </a:spcAft>
            <a:buChar char="•"/>
          </a:pPr>
          <a:r>
            <a:rPr lang="en-US" sz="1500" kern="1200"/>
            <a:t>Ownership</a:t>
          </a:r>
        </a:p>
      </dsp:txBody>
      <dsp:txXfrm>
        <a:off x="5423502" y="2261422"/>
        <a:ext cx="2119085" cy="1857502"/>
      </dsp:txXfrm>
    </dsp:sp>
    <dsp:sp modelId="{4A235F80-B814-470E-8989-4207188E13E9}">
      <dsp:nvSpPr>
        <dsp:cNvPr id="0" name=""/>
        <dsp:cNvSpPr/>
      </dsp:nvSpPr>
      <dsp:spPr>
        <a:xfrm>
          <a:off x="7142760" y="1387304"/>
          <a:ext cx="399827" cy="399827"/>
        </a:xfrm>
        <a:prstGeom prst="triangle">
          <a:avLst>
            <a:gd name="adj" fmla="val 100000"/>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90BB8F0-AA1B-4AE3-A053-53E3B9E68528}">
      <dsp:nvSpPr>
        <dsp:cNvPr id="0" name=""/>
        <dsp:cNvSpPr/>
      </dsp:nvSpPr>
      <dsp:spPr>
        <a:xfrm rot="5400000">
          <a:off x="8253142" y="918178"/>
          <a:ext cx="1410609" cy="2347221"/>
        </a:xfrm>
        <a:prstGeom prst="corner">
          <a:avLst>
            <a:gd name="adj1" fmla="val 16120"/>
            <a:gd name="adj2" fmla="val 16110"/>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69F8A5C-6F87-4A8F-9088-B91AF7F36E87}">
      <dsp:nvSpPr>
        <dsp:cNvPr id="0" name=""/>
        <dsp:cNvSpPr/>
      </dsp:nvSpPr>
      <dsp:spPr>
        <a:xfrm>
          <a:off x="8017677" y="1619491"/>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Operationalization</a:t>
          </a:r>
        </a:p>
        <a:p>
          <a:pPr marL="114300" lvl="1" indent="-114300" algn="l" defTabSz="666750">
            <a:lnSpc>
              <a:spcPct val="90000"/>
            </a:lnSpc>
            <a:spcBef>
              <a:spcPct val="0"/>
            </a:spcBef>
            <a:spcAft>
              <a:spcPct val="15000"/>
            </a:spcAft>
            <a:buChar char="•"/>
          </a:pPr>
          <a:r>
            <a:rPr lang="en-US" sz="1500" kern="1200"/>
            <a:t>Prod workspace</a:t>
          </a:r>
        </a:p>
        <a:p>
          <a:pPr marL="114300" lvl="1" indent="-114300" algn="l" defTabSz="666750">
            <a:lnSpc>
              <a:spcPct val="90000"/>
            </a:lnSpc>
            <a:spcBef>
              <a:spcPct val="0"/>
            </a:spcBef>
            <a:spcAft>
              <a:spcPct val="15000"/>
            </a:spcAft>
            <a:buChar char="•"/>
          </a:pPr>
          <a:r>
            <a:rPr lang="en-US" sz="1500" kern="1200"/>
            <a:t>Full support</a:t>
          </a:r>
        </a:p>
        <a:p>
          <a:pPr marL="114300" lvl="1" indent="-114300" algn="l" defTabSz="666750">
            <a:lnSpc>
              <a:spcPct val="90000"/>
            </a:lnSpc>
            <a:spcBef>
              <a:spcPct val="0"/>
            </a:spcBef>
            <a:spcAft>
              <a:spcPct val="15000"/>
            </a:spcAft>
            <a:buChar char="•"/>
          </a:pPr>
          <a:r>
            <a:rPr lang="en-US" sz="1500" kern="1200"/>
            <a:t>SLA</a:t>
          </a:r>
        </a:p>
      </dsp:txBody>
      <dsp:txXfrm>
        <a:off x="8017677" y="1619491"/>
        <a:ext cx="2119085" cy="185750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3285EF-7CF0-4D03-9C7E-A9EFF915D1E6}">
      <dsp:nvSpPr>
        <dsp:cNvPr id="0" name=""/>
        <dsp:cNvSpPr/>
      </dsp:nvSpPr>
      <dsp:spPr>
        <a:xfrm>
          <a:off x="0" y="0"/>
          <a:ext cx="2182419" cy="2182419"/>
        </a:xfrm>
        <a:prstGeom prst="pie">
          <a:avLst>
            <a:gd name="adj1" fmla="val 5400000"/>
            <a:gd name="adj2" fmla="val 16200000"/>
          </a:avLst>
        </a:prstGeom>
        <a:solidFill>
          <a:srgbClr val="ED7D3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1271936-9E56-4BB3-AA63-1ACD49AF8B48}">
      <dsp:nvSpPr>
        <dsp:cNvPr id="0" name=""/>
        <dsp:cNvSpPr/>
      </dsp:nvSpPr>
      <dsp:spPr>
        <a:xfrm>
          <a:off x="1091209" y="0"/>
          <a:ext cx="3110558" cy="2182419"/>
        </a:xfrm>
        <a:prstGeom prst="rect">
          <a:avLst/>
        </a:prstGeom>
        <a:solidFill>
          <a:schemeClr val="lt1">
            <a:alpha val="9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End Users</a:t>
          </a:r>
        </a:p>
      </dsp:txBody>
      <dsp:txXfrm>
        <a:off x="1091209" y="0"/>
        <a:ext cx="1555279" cy="463764"/>
      </dsp:txXfrm>
    </dsp:sp>
    <dsp:sp modelId="{BB5965C5-F907-483A-B0A5-414578A21B77}">
      <dsp:nvSpPr>
        <dsp:cNvPr id="0" name=""/>
        <dsp:cNvSpPr/>
      </dsp:nvSpPr>
      <dsp:spPr>
        <a:xfrm>
          <a:off x="286442" y="463764"/>
          <a:ext cx="1609534" cy="1609534"/>
        </a:xfrm>
        <a:prstGeom prst="pie">
          <a:avLst>
            <a:gd name="adj1" fmla="val 5400000"/>
            <a:gd name="adj2" fmla="val 16200000"/>
          </a:avLst>
        </a:prstGeom>
        <a:solidFill>
          <a:srgbClr val="A5A5A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EA332EC-4F8C-4AEA-9B46-C6A414F7A033}">
      <dsp:nvSpPr>
        <dsp:cNvPr id="0" name=""/>
        <dsp:cNvSpPr/>
      </dsp:nvSpPr>
      <dsp:spPr>
        <a:xfrm>
          <a:off x="1091209" y="463764"/>
          <a:ext cx="3110558" cy="1609534"/>
        </a:xfrm>
        <a:prstGeom prst="rect">
          <a:avLst/>
        </a:prstGeom>
        <a:solidFill>
          <a:schemeClr val="lt1">
            <a:alpha val="90000"/>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Users in Key Departments</a:t>
          </a:r>
        </a:p>
      </dsp:txBody>
      <dsp:txXfrm>
        <a:off x="1091209" y="463764"/>
        <a:ext cx="1555279" cy="463764"/>
      </dsp:txXfrm>
    </dsp:sp>
    <dsp:sp modelId="{49156CC1-4316-4278-8CEF-4AC787FCE06A}">
      <dsp:nvSpPr>
        <dsp:cNvPr id="0" name=""/>
        <dsp:cNvSpPr/>
      </dsp:nvSpPr>
      <dsp:spPr>
        <a:xfrm>
          <a:off x="572884" y="927528"/>
          <a:ext cx="1036649" cy="1036649"/>
        </a:xfrm>
        <a:prstGeom prst="pie">
          <a:avLst>
            <a:gd name="adj1" fmla="val 5400000"/>
            <a:gd name="adj2" fmla="val 16200000"/>
          </a:avLst>
        </a:prstGeom>
        <a:solidFill>
          <a:srgbClr val="FFC00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39A6B55-D247-481E-B079-427345A889D5}">
      <dsp:nvSpPr>
        <dsp:cNvPr id="0" name=""/>
        <dsp:cNvSpPr/>
      </dsp:nvSpPr>
      <dsp:spPr>
        <a:xfrm>
          <a:off x="1091209" y="927528"/>
          <a:ext cx="3110558" cy="1036649"/>
        </a:xfrm>
        <a:prstGeom prst="rect">
          <a:avLst/>
        </a:prstGeom>
        <a:solidFill>
          <a:schemeClr val="lt1">
            <a:alpha val="90000"/>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Power Users</a:t>
          </a:r>
        </a:p>
      </dsp:txBody>
      <dsp:txXfrm>
        <a:off x="1091209" y="927528"/>
        <a:ext cx="1555279" cy="463764"/>
      </dsp:txXfrm>
    </dsp:sp>
    <dsp:sp modelId="{BECD5256-D636-446C-B5FE-6A37BB73EB67}">
      <dsp:nvSpPr>
        <dsp:cNvPr id="0" name=""/>
        <dsp:cNvSpPr/>
      </dsp:nvSpPr>
      <dsp:spPr>
        <a:xfrm>
          <a:off x="859327" y="1391292"/>
          <a:ext cx="463764" cy="463764"/>
        </a:xfrm>
        <a:prstGeom prst="pie">
          <a:avLst>
            <a:gd name="adj1" fmla="val 5400000"/>
            <a:gd name="adj2" fmla="val 16200000"/>
          </a:avLst>
        </a:prstGeom>
        <a:solidFill>
          <a:srgbClr val="5B9BD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914F23A-A444-4242-B2A7-9CA012AE34B8}">
      <dsp:nvSpPr>
        <dsp:cNvPr id="0" name=""/>
        <dsp:cNvSpPr/>
      </dsp:nvSpPr>
      <dsp:spPr>
        <a:xfrm>
          <a:off x="1091209" y="1391292"/>
          <a:ext cx="3110558" cy="463764"/>
        </a:xfrm>
        <a:prstGeom prst="rect">
          <a:avLst/>
        </a:prstGeom>
        <a:solidFill>
          <a:schemeClr val="lt1">
            <a:alpha val="90000"/>
            <a:hueOff val="0"/>
            <a:satOff val="0"/>
            <a:lumOff val="0"/>
            <a:alphaOff val="0"/>
          </a:schemeClr>
        </a:solidFill>
        <a:ln w="1079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Hardcore IT</a:t>
          </a:r>
        </a:p>
      </dsp:txBody>
      <dsp:txXfrm>
        <a:off x="1091209" y="1391292"/>
        <a:ext cx="1555279" cy="463764"/>
      </dsp:txXfrm>
    </dsp:sp>
    <dsp:sp modelId="{E0868841-CA79-48B0-8B24-06E20683B4DC}">
      <dsp:nvSpPr>
        <dsp:cNvPr id="0" name=""/>
        <dsp:cNvSpPr/>
      </dsp:nvSpPr>
      <dsp:spPr>
        <a:xfrm>
          <a:off x="2646488" y="0"/>
          <a:ext cx="1555279" cy="463764"/>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57150" lvl="1" indent="-57150" algn="l" defTabSz="311150">
            <a:lnSpc>
              <a:spcPct val="90000"/>
            </a:lnSpc>
            <a:spcBef>
              <a:spcPct val="0"/>
            </a:spcBef>
            <a:spcAft>
              <a:spcPct val="15000"/>
            </a:spcAft>
            <a:buChar char="•"/>
          </a:pPr>
          <a:r>
            <a:rPr lang="en-US" sz="700" kern="1200"/>
            <a:t>Any user can work with data</a:t>
          </a:r>
        </a:p>
        <a:p>
          <a:pPr marL="57150" lvl="1" indent="-57150" algn="l" defTabSz="311150">
            <a:lnSpc>
              <a:spcPct val="90000"/>
            </a:lnSpc>
            <a:spcBef>
              <a:spcPct val="0"/>
            </a:spcBef>
            <a:spcAft>
              <a:spcPct val="15000"/>
            </a:spcAft>
            <a:buChar char="•"/>
          </a:pPr>
          <a:r>
            <a:rPr lang="en-US" sz="700" kern="1200"/>
            <a:t>Curated datasets</a:t>
          </a:r>
        </a:p>
      </dsp:txBody>
      <dsp:txXfrm>
        <a:off x="2646488" y="0"/>
        <a:ext cx="1555279" cy="463764"/>
      </dsp:txXfrm>
    </dsp:sp>
    <dsp:sp modelId="{4A11FD6C-291E-4C7E-BD4C-D721A5D23244}">
      <dsp:nvSpPr>
        <dsp:cNvPr id="0" name=""/>
        <dsp:cNvSpPr/>
      </dsp:nvSpPr>
      <dsp:spPr>
        <a:xfrm>
          <a:off x="2646488" y="463764"/>
          <a:ext cx="1555279" cy="463764"/>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57150" lvl="1" indent="-57150" algn="l" defTabSz="311150">
            <a:lnSpc>
              <a:spcPct val="90000"/>
            </a:lnSpc>
            <a:spcBef>
              <a:spcPct val="0"/>
            </a:spcBef>
            <a:spcAft>
              <a:spcPct val="15000"/>
            </a:spcAft>
            <a:buChar char="•"/>
          </a:pPr>
          <a:r>
            <a:rPr lang="en-US" sz="700" kern="1200"/>
            <a:t>Any user can work with data</a:t>
          </a:r>
        </a:p>
        <a:p>
          <a:pPr marL="57150" lvl="1" indent="-57150" algn="l" defTabSz="311150">
            <a:lnSpc>
              <a:spcPct val="90000"/>
            </a:lnSpc>
            <a:spcBef>
              <a:spcPct val="0"/>
            </a:spcBef>
            <a:spcAft>
              <a:spcPct val="15000"/>
            </a:spcAft>
            <a:buChar char="•"/>
          </a:pPr>
          <a:r>
            <a:rPr lang="en-US" sz="700" kern="1200"/>
            <a:t>More data available</a:t>
          </a:r>
        </a:p>
      </dsp:txBody>
      <dsp:txXfrm>
        <a:off x="2646488" y="463764"/>
        <a:ext cx="1555279" cy="463764"/>
      </dsp:txXfrm>
    </dsp:sp>
    <dsp:sp modelId="{4133E269-082B-40CA-BDEE-0073C65D10D8}">
      <dsp:nvSpPr>
        <dsp:cNvPr id="0" name=""/>
        <dsp:cNvSpPr/>
      </dsp:nvSpPr>
      <dsp:spPr>
        <a:xfrm>
          <a:off x="2646488" y="927528"/>
          <a:ext cx="1555279" cy="463764"/>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57150" lvl="1" indent="-57150" algn="l" defTabSz="311150">
            <a:lnSpc>
              <a:spcPct val="90000"/>
            </a:lnSpc>
            <a:spcBef>
              <a:spcPct val="0"/>
            </a:spcBef>
            <a:spcAft>
              <a:spcPct val="15000"/>
            </a:spcAft>
            <a:buChar char="•"/>
          </a:pPr>
          <a:r>
            <a:rPr lang="en-US" sz="700" kern="1200"/>
            <a:t>More skills</a:t>
          </a:r>
        </a:p>
        <a:p>
          <a:pPr marL="57150" lvl="1" indent="-57150" algn="l" defTabSz="311150">
            <a:lnSpc>
              <a:spcPct val="90000"/>
            </a:lnSpc>
            <a:spcBef>
              <a:spcPct val="0"/>
            </a:spcBef>
            <a:spcAft>
              <a:spcPct val="15000"/>
            </a:spcAft>
            <a:buChar char="•"/>
          </a:pPr>
          <a:r>
            <a:rPr lang="en-US" sz="700" kern="1200"/>
            <a:t>More tools</a:t>
          </a:r>
        </a:p>
        <a:p>
          <a:pPr marL="57150" lvl="1" indent="-57150" algn="l" defTabSz="311150">
            <a:lnSpc>
              <a:spcPct val="90000"/>
            </a:lnSpc>
            <a:spcBef>
              <a:spcPct val="0"/>
            </a:spcBef>
            <a:spcAft>
              <a:spcPct val="15000"/>
            </a:spcAft>
            <a:buChar char="•"/>
          </a:pPr>
          <a:r>
            <a:rPr lang="en-US" sz="700" kern="1200"/>
            <a:t>Better resources</a:t>
          </a:r>
        </a:p>
      </dsp:txBody>
      <dsp:txXfrm>
        <a:off x="2646488" y="927528"/>
        <a:ext cx="1555279" cy="463764"/>
      </dsp:txXfrm>
    </dsp:sp>
    <dsp:sp modelId="{C7047BA2-2019-4E65-A76B-4EE5B1055C58}">
      <dsp:nvSpPr>
        <dsp:cNvPr id="0" name=""/>
        <dsp:cNvSpPr/>
      </dsp:nvSpPr>
      <dsp:spPr>
        <a:xfrm>
          <a:off x="2646488" y="1391292"/>
          <a:ext cx="1555279" cy="463764"/>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57150" lvl="1" indent="-57150" algn="l" defTabSz="311150">
            <a:lnSpc>
              <a:spcPct val="90000"/>
            </a:lnSpc>
            <a:spcBef>
              <a:spcPct val="0"/>
            </a:spcBef>
            <a:spcAft>
              <a:spcPct val="15000"/>
            </a:spcAft>
            <a:buChar char="•"/>
          </a:pPr>
          <a:r>
            <a:rPr lang="en-US" sz="700" kern="1200"/>
            <a:t>Professional developers</a:t>
          </a:r>
        </a:p>
        <a:p>
          <a:pPr marL="57150" lvl="1" indent="-57150" algn="l" defTabSz="311150">
            <a:lnSpc>
              <a:spcPct val="90000"/>
            </a:lnSpc>
            <a:spcBef>
              <a:spcPct val="0"/>
            </a:spcBef>
            <a:spcAft>
              <a:spcPct val="15000"/>
            </a:spcAft>
            <a:buChar char="•"/>
          </a:pPr>
          <a:r>
            <a:rPr lang="en-US" sz="700" kern="1200"/>
            <a:t>Traditional owners of BI</a:t>
          </a:r>
        </a:p>
      </dsp:txBody>
      <dsp:txXfrm>
        <a:off x="2646488" y="1391292"/>
        <a:ext cx="1555279" cy="463764"/>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98BC4B-E7B1-4268-9495-5D73CC9C3051}">
      <dsp:nvSpPr>
        <dsp:cNvPr id="0" name=""/>
        <dsp:cNvSpPr/>
      </dsp:nvSpPr>
      <dsp:spPr>
        <a:xfrm rot="5400000">
          <a:off x="470620" y="2843971"/>
          <a:ext cx="1410609" cy="2347221"/>
        </a:xfrm>
        <a:prstGeom prst="corner">
          <a:avLst>
            <a:gd name="adj1" fmla="val 16120"/>
            <a:gd name="adj2" fmla="val 16110"/>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04845A6-302F-43F6-9CB3-AF9747308E3F}">
      <dsp:nvSpPr>
        <dsp:cNvPr id="0" name=""/>
        <dsp:cNvSpPr/>
      </dsp:nvSpPr>
      <dsp:spPr>
        <a:xfrm>
          <a:off x="235154" y="3545284"/>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Exploration</a:t>
          </a:r>
        </a:p>
        <a:p>
          <a:pPr marL="114300" lvl="1" indent="-114300" algn="l" defTabSz="666750">
            <a:lnSpc>
              <a:spcPct val="90000"/>
            </a:lnSpc>
            <a:spcBef>
              <a:spcPct val="0"/>
            </a:spcBef>
            <a:spcAft>
              <a:spcPct val="15000"/>
            </a:spcAft>
            <a:buChar char="•"/>
          </a:pPr>
          <a:r>
            <a:rPr lang="en-US" sz="1500" kern="1200"/>
            <a:t>Work with SSBI</a:t>
          </a:r>
        </a:p>
        <a:p>
          <a:pPr marL="114300" lvl="1" indent="-114300" algn="l" defTabSz="666750">
            <a:lnSpc>
              <a:spcPct val="90000"/>
            </a:lnSpc>
            <a:spcBef>
              <a:spcPct val="0"/>
            </a:spcBef>
            <a:spcAft>
              <a:spcPct val="15000"/>
            </a:spcAft>
            <a:buChar char="•"/>
          </a:pPr>
          <a:r>
            <a:rPr lang="en-US" sz="1500" kern="1200"/>
            <a:t>Prove out ideas</a:t>
          </a:r>
        </a:p>
        <a:p>
          <a:pPr marL="114300" lvl="1" indent="-114300" algn="l" defTabSz="666750">
            <a:lnSpc>
              <a:spcPct val="90000"/>
            </a:lnSpc>
            <a:spcBef>
              <a:spcPct val="0"/>
            </a:spcBef>
            <a:spcAft>
              <a:spcPct val="15000"/>
            </a:spcAft>
            <a:buChar char="•"/>
          </a:pPr>
          <a:r>
            <a:rPr lang="en-US" sz="1500" kern="1200"/>
            <a:t>Desktop or Excel</a:t>
          </a:r>
        </a:p>
      </dsp:txBody>
      <dsp:txXfrm>
        <a:off x="235154" y="3545284"/>
        <a:ext cx="2119085" cy="1857502"/>
      </dsp:txXfrm>
    </dsp:sp>
    <dsp:sp modelId="{7892D8E5-7831-49CA-80E3-16F27E5F78B1}">
      <dsp:nvSpPr>
        <dsp:cNvPr id="0" name=""/>
        <dsp:cNvSpPr/>
      </dsp:nvSpPr>
      <dsp:spPr>
        <a:xfrm>
          <a:off x="1954412" y="2671166"/>
          <a:ext cx="399827" cy="399827"/>
        </a:xfrm>
        <a:prstGeom prst="triangle">
          <a:avLst>
            <a:gd name="adj" fmla="val 100000"/>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EC21D07-3AE2-445D-8679-AAE5514D3CAC}">
      <dsp:nvSpPr>
        <dsp:cNvPr id="0" name=""/>
        <dsp:cNvSpPr/>
      </dsp:nvSpPr>
      <dsp:spPr>
        <a:xfrm rot="5400000">
          <a:off x="3064794" y="2202040"/>
          <a:ext cx="1410609" cy="2347221"/>
        </a:xfrm>
        <a:prstGeom prst="corner">
          <a:avLst>
            <a:gd name="adj1" fmla="val 16120"/>
            <a:gd name="adj2" fmla="val 16110"/>
          </a:avLst>
        </a:prstGeom>
        <a:solidFill>
          <a:schemeClr val="accent4">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FEDE421-90FB-41C5-B5BF-EDC1A5D9C31C}">
      <dsp:nvSpPr>
        <dsp:cNvPr id="0" name=""/>
        <dsp:cNvSpPr/>
      </dsp:nvSpPr>
      <dsp:spPr>
        <a:xfrm>
          <a:off x="2829328" y="2903353"/>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Promotion</a:t>
          </a:r>
        </a:p>
        <a:p>
          <a:pPr marL="114300" lvl="1" indent="-114300" algn="l" defTabSz="666750">
            <a:lnSpc>
              <a:spcPct val="90000"/>
            </a:lnSpc>
            <a:spcBef>
              <a:spcPct val="0"/>
            </a:spcBef>
            <a:spcAft>
              <a:spcPct val="15000"/>
            </a:spcAft>
            <a:buChar char="•"/>
          </a:pPr>
          <a:r>
            <a:rPr lang="en-US" sz="1500" kern="1200"/>
            <a:t>Gateway</a:t>
          </a:r>
        </a:p>
        <a:p>
          <a:pPr marL="114300" lvl="1" indent="-114300" algn="l" defTabSz="666750">
            <a:lnSpc>
              <a:spcPct val="90000"/>
            </a:lnSpc>
            <a:spcBef>
              <a:spcPct val="0"/>
            </a:spcBef>
            <a:spcAft>
              <a:spcPct val="15000"/>
            </a:spcAft>
            <a:buChar char="•"/>
          </a:pPr>
          <a:r>
            <a:rPr lang="en-US" sz="1500" kern="1200"/>
            <a:t>Scheduled refresh</a:t>
          </a:r>
        </a:p>
        <a:p>
          <a:pPr marL="114300" lvl="1" indent="-114300" algn="l" defTabSz="666750">
            <a:lnSpc>
              <a:spcPct val="90000"/>
            </a:lnSpc>
            <a:spcBef>
              <a:spcPct val="0"/>
            </a:spcBef>
            <a:spcAft>
              <a:spcPct val="15000"/>
            </a:spcAft>
            <a:buChar char="•"/>
          </a:pPr>
          <a:r>
            <a:rPr lang="en-US" sz="1500" kern="1200"/>
            <a:t>Theme</a:t>
          </a:r>
        </a:p>
      </dsp:txBody>
      <dsp:txXfrm>
        <a:off x="2829328" y="2903353"/>
        <a:ext cx="2119085" cy="1857502"/>
      </dsp:txXfrm>
    </dsp:sp>
    <dsp:sp modelId="{186E60F8-3613-42A3-8D7D-987F6AB990A6}">
      <dsp:nvSpPr>
        <dsp:cNvPr id="0" name=""/>
        <dsp:cNvSpPr/>
      </dsp:nvSpPr>
      <dsp:spPr>
        <a:xfrm>
          <a:off x="4548586" y="2029235"/>
          <a:ext cx="399827" cy="399827"/>
        </a:xfrm>
        <a:prstGeom prst="triangle">
          <a:avLst>
            <a:gd name="adj" fmla="val 100000"/>
          </a:avLst>
        </a:prstGeom>
        <a:solidFill>
          <a:schemeClr val="accent5">
            <a:hueOff val="0"/>
            <a:satOff val="0"/>
            <a:lumOff val="0"/>
            <a:alphaOff val="0"/>
          </a:schemeClr>
        </a:solidFill>
        <a:ln w="1079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5DBA1AA-898E-443B-B181-2F96741E6C15}">
      <dsp:nvSpPr>
        <dsp:cNvPr id="0" name=""/>
        <dsp:cNvSpPr/>
      </dsp:nvSpPr>
      <dsp:spPr>
        <a:xfrm rot="5400000">
          <a:off x="5658968" y="1560109"/>
          <a:ext cx="1410609" cy="2347221"/>
        </a:xfrm>
        <a:prstGeom prst="corner">
          <a:avLst>
            <a:gd name="adj1" fmla="val 16120"/>
            <a:gd name="adj2" fmla="val 16110"/>
          </a:avLst>
        </a:prstGeom>
        <a:solidFill>
          <a:schemeClr val="accent6">
            <a:hueOff val="0"/>
            <a:satOff val="0"/>
            <a:lumOff val="0"/>
            <a:alphaOff val="0"/>
          </a:schemeClr>
        </a:solidFill>
        <a:ln w="10795"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BF030BD-263B-4E98-916E-530C9C7BE1F9}">
      <dsp:nvSpPr>
        <dsp:cNvPr id="0" name=""/>
        <dsp:cNvSpPr/>
      </dsp:nvSpPr>
      <dsp:spPr>
        <a:xfrm>
          <a:off x="5423502" y="2261422"/>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Preparation</a:t>
          </a:r>
        </a:p>
        <a:p>
          <a:pPr marL="114300" lvl="1" indent="-114300" algn="l" defTabSz="666750">
            <a:lnSpc>
              <a:spcPct val="90000"/>
            </a:lnSpc>
            <a:spcBef>
              <a:spcPct val="0"/>
            </a:spcBef>
            <a:spcAft>
              <a:spcPct val="15000"/>
            </a:spcAft>
            <a:buChar char="•"/>
          </a:pPr>
          <a:r>
            <a:rPr lang="en-US" sz="1500" kern="1200"/>
            <a:t>Data sources</a:t>
          </a:r>
        </a:p>
        <a:p>
          <a:pPr marL="114300" lvl="1" indent="-114300" algn="l" defTabSz="666750">
            <a:lnSpc>
              <a:spcPct val="90000"/>
            </a:lnSpc>
            <a:spcBef>
              <a:spcPct val="0"/>
            </a:spcBef>
            <a:spcAft>
              <a:spcPct val="15000"/>
            </a:spcAft>
            <a:buChar char="•"/>
          </a:pPr>
          <a:r>
            <a:rPr lang="en-US" sz="1500" kern="1200"/>
            <a:t>Documentation</a:t>
          </a:r>
        </a:p>
        <a:p>
          <a:pPr marL="114300" lvl="1" indent="-114300" algn="l" defTabSz="666750">
            <a:lnSpc>
              <a:spcPct val="90000"/>
            </a:lnSpc>
            <a:spcBef>
              <a:spcPct val="0"/>
            </a:spcBef>
            <a:spcAft>
              <a:spcPct val="15000"/>
            </a:spcAft>
            <a:buChar char="•"/>
          </a:pPr>
          <a:r>
            <a:rPr lang="en-US" sz="1500" kern="1200"/>
            <a:t>Ownership</a:t>
          </a:r>
        </a:p>
      </dsp:txBody>
      <dsp:txXfrm>
        <a:off x="5423502" y="2261422"/>
        <a:ext cx="2119085" cy="1857502"/>
      </dsp:txXfrm>
    </dsp:sp>
    <dsp:sp modelId="{4A235F80-B814-470E-8989-4207188E13E9}">
      <dsp:nvSpPr>
        <dsp:cNvPr id="0" name=""/>
        <dsp:cNvSpPr/>
      </dsp:nvSpPr>
      <dsp:spPr>
        <a:xfrm>
          <a:off x="7142760" y="1387304"/>
          <a:ext cx="399827" cy="399827"/>
        </a:xfrm>
        <a:prstGeom prst="triangle">
          <a:avLst>
            <a:gd name="adj" fmla="val 100000"/>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90BB8F0-AA1B-4AE3-A053-53E3B9E68528}">
      <dsp:nvSpPr>
        <dsp:cNvPr id="0" name=""/>
        <dsp:cNvSpPr/>
      </dsp:nvSpPr>
      <dsp:spPr>
        <a:xfrm rot="5400000">
          <a:off x="8253142" y="918178"/>
          <a:ext cx="1410609" cy="2347221"/>
        </a:xfrm>
        <a:prstGeom prst="corner">
          <a:avLst>
            <a:gd name="adj1" fmla="val 16120"/>
            <a:gd name="adj2" fmla="val 16110"/>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69F8A5C-6F87-4A8F-9088-B91AF7F36E87}">
      <dsp:nvSpPr>
        <dsp:cNvPr id="0" name=""/>
        <dsp:cNvSpPr/>
      </dsp:nvSpPr>
      <dsp:spPr>
        <a:xfrm>
          <a:off x="8017677" y="1619491"/>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Operationalization</a:t>
          </a:r>
        </a:p>
        <a:p>
          <a:pPr marL="114300" lvl="1" indent="-114300" algn="l" defTabSz="666750">
            <a:lnSpc>
              <a:spcPct val="90000"/>
            </a:lnSpc>
            <a:spcBef>
              <a:spcPct val="0"/>
            </a:spcBef>
            <a:spcAft>
              <a:spcPct val="15000"/>
            </a:spcAft>
            <a:buChar char="•"/>
          </a:pPr>
          <a:r>
            <a:rPr lang="en-US" sz="1500" kern="1200"/>
            <a:t>Prod workspace</a:t>
          </a:r>
        </a:p>
        <a:p>
          <a:pPr marL="114300" lvl="1" indent="-114300" algn="l" defTabSz="666750">
            <a:lnSpc>
              <a:spcPct val="90000"/>
            </a:lnSpc>
            <a:spcBef>
              <a:spcPct val="0"/>
            </a:spcBef>
            <a:spcAft>
              <a:spcPct val="15000"/>
            </a:spcAft>
            <a:buChar char="•"/>
          </a:pPr>
          <a:r>
            <a:rPr lang="en-US" sz="1500" kern="1200"/>
            <a:t>Full support</a:t>
          </a:r>
        </a:p>
        <a:p>
          <a:pPr marL="114300" lvl="1" indent="-114300" algn="l" defTabSz="666750">
            <a:lnSpc>
              <a:spcPct val="90000"/>
            </a:lnSpc>
            <a:spcBef>
              <a:spcPct val="0"/>
            </a:spcBef>
            <a:spcAft>
              <a:spcPct val="15000"/>
            </a:spcAft>
            <a:buChar char="•"/>
          </a:pPr>
          <a:r>
            <a:rPr lang="en-US" sz="1500" kern="1200"/>
            <a:t>SLA</a:t>
          </a:r>
        </a:p>
      </dsp:txBody>
      <dsp:txXfrm>
        <a:off x="8017677" y="1619491"/>
        <a:ext cx="2119085" cy="1857502"/>
      </dsp:txXfrm>
    </dsp:sp>
  </dsp:spTree>
</dsp:drawing>
</file>

<file path=ppt/diagrams/layout1.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layout5.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9/16/2022 12:00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2"/>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9/16/2022 11:59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6/2022 11: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318089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6/2022 11:5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22192404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6/2022 11: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907133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6/2022 11:5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24805154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6/2022 11:5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8</a:t>
            </a:fld>
            <a:endParaRPr lang="en-US"/>
          </a:p>
        </p:txBody>
      </p:sp>
    </p:spTree>
    <p:extLst>
      <p:ext uri="{BB962C8B-B14F-4D97-AF65-F5344CB8AC3E}">
        <p14:creationId xmlns:p14="http://schemas.microsoft.com/office/powerpoint/2010/main" val="8196459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6/2022 11:5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9</a:t>
            </a:fld>
            <a:endParaRPr lang="en-US"/>
          </a:p>
        </p:txBody>
      </p:sp>
    </p:spTree>
    <p:extLst>
      <p:ext uri="{BB962C8B-B14F-4D97-AF65-F5344CB8AC3E}">
        <p14:creationId xmlns:p14="http://schemas.microsoft.com/office/powerpoint/2010/main" val="12569049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6/2022 11:5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0</a:t>
            </a:fld>
            <a:endParaRPr lang="en-US"/>
          </a:p>
        </p:txBody>
      </p:sp>
    </p:spTree>
    <p:extLst>
      <p:ext uri="{BB962C8B-B14F-4D97-AF65-F5344CB8AC3E}">
        <p14:creationId xmlns:p14="http://schemas.microsoft.com/office/powerpoint/2010/main" val="32712168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6/2022 11:5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36726696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6/2022 11: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668732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6/2022 11:5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33956744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6/2022 11:5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17607244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6/2022 11: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44658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6/2022 11:5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8</a:t>
            </a:fld>
            <a:endParaRPr lang="en-US"/>
          </a:p>
        </p:txBody>
      </p:sp>
    </p:spTree>
    <p:extLst>
      <p:ext uri="{BB962C8B-B14F-4D97-AF65-F5344CB8AC3E}">
        <p14:creationId xmlns:p14="http://schemas.microsoft.com/office/powerpoint/2010/main" val="164021624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6/2022 11: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661392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6/2022 11:5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2</a:t>
            </a:fld>
            <a:endParaRPr lang="en-US"/>
          </a:p>
        </p:txBody>
      </p:sp>
    </p:spTree>
    <p:extLst>
      <p:ext uri="{BB962C8B-B14F-4D97-AF65-F5344CB8AC3E}">
        <p14:creationId xmlns:p14="http://schemas.microsoft.com/office/powerpoint/2010/main" val="4683747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6/2022 11:5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6</a:t>
            </a:fld>
            <a:endParaRPr lang="en-US"/>
          </a:p>
        </p:txBody>
      </p:sp>
    </p:spTree>
    <p:extLst>
      <p:ext uri="{BB962C8B-B14F-4D97-AF65-F5344CB8AC3E}">
        <p14:creationId xmlns:p14="http://schemas.microsoft.com/office/powerpoint/2010/main" val="33910235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6/2022 11: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2203882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6/2022 11: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2476993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6/2022 11: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560964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6/2022 11:5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0</a:t>
            </a:fld>
            <a:endParaRPr lang="en-US"/>
          </a:p>
        </p:txBody>
      </p:sp>
    </p:spTree>
    <p:extLst>
      <p:ext uri="{BB962C8B-B14F-4D97-AF65-F5344CB8AC3E}">
        <p14:creationId xmlns:p14="http://schemas.microsoft.com/office/powerpoint/2010/main" val="226615594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6/2022 11:5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1</a:t>
            </a:fld>
            <a:endParaRPr lang="en-US"/>
          </a:p>
        </p:txBody>
      </p:sp>
    </p:spTree>
    <p:extLst>
      <p:ext uri="{BB962C8B-B14F-4D97-AF65-F5344CB8AC3E}">
        <p14:creationId xmlns:p14="http://schemas.microsoft.com/office/powerpoint/2010/main" val="226338762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6/2022 11: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97495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6878256-368D-4B68-97C3-0D0BD40CE838}" type="slidenum">
              <a:rPr lang="en-US" smtClean="0"/>
              <a:t>6</a:t>
            </a:fld>
            <a:endParaRPr lang="en-US"/>
          </a:p>
        </p:txBody>
      </p:sp>
    </p:spTree>
    <p:extLst>
      <p:ext uri="{BB962C8B-B14F-4D97-AF65-F5344CB8AC3E}">
        <p14:creationId xmlns:p14="http://schemas.microsoft.com/office/powerpoint/2010/main" val="257005106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52D50E-39C6-464E-BFC7-A8B9B61906D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389073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70235">
              <a:buNone/>
            </a:pPr>
            <a:r>
              <a:rPr lang="en-US" sz="1000">
                <a:gradFill>
                  <a:gsLst>
                    <a:gs pos="1250">
                      <a:srgbClr val="000000"/>
                    </a:gs>
                    <a:gs pos="100000">
                      <a:srgbClr val="000000"/>
                    </a:gs>
                  </a:gsLst>
                  <a:lin ang="5400000" scaled="0"/>
                </a:gradFill>
                <a:latin typeface="Segoe UI Semibold" panose="020B0702040204020203" pitchFamily="34" charset="0"/>
                <a:cs typeface="Segoe UI Semibold" panose="020B0702040204020203" pitchFamily="34" charset="0"/>
              </a:rPr>
              <a:t>Composite Models</a:t>
            </a:r>
          </a:p>
          <a:p>
            <a:pPr marL="0" indent="0" defTabSz="970235">
              <a:buNone/>
            </a:pPr>
            <a:r>
              <a:rPr lang="en-US" sz="900">
                <a:gradFill>
                  <a:gsLst>
                    <a:gs pos="1250">
                      <a:srgbClr val="000000"/>
                    </a:gs>
                    <a:gs pos="100000">
                      <a:srgbClr val="000000"/>
                    </a:gs>
                  </a:gsLst>
                  <a:lin ang="5400000" scaled="0"/>
                </a:gradFill>
                <a:latin typeface="Segoe UI"/>
              </a:rPr>
              <a:t>Allows you to blend direct query and import to optimize queries.</a:t>
            </a:r>
          </a:p>
          <a:p>
            <a:pPr marL="0" indent="0" defTabSz="970235">
              <a:buNone/>
            </a:pPr>
            <a:endParaRPr lang="en-US" sz="900">
              <a:gradFill>
                <a:gsLst>
                  <a:gs pos="1250">
                    <a:srgbClr val="000000"/>
                  </a:gs>
                  <a:gs pos="100000">
                    <a:srgbClr val="000000"/>
                  </a:gs>
                </a:gsLst>
                <a:lin ang="5400000" scaled="0"/>
              </a:gradFill>
              <a:latin typeface="Segoe UI"/>
            </a:endParaRPr>
          </a:p>
          <a:p>
            <a:pPr marL="0" indent="0" defTabSz="970235">
              <a:buNone/>
            </a:pPr>
            <a:r>
              <a:rPr lang="en-US" sz="1000">
                <a:gradFill>
                  <a:gsLst>
                    <a:gs pos="1250">
                      <a:srgbClr val="000000"/>
                    </a:gs>
                    <a:gs pos="100000">
                      <a:srgbClr val="000000"/>
                    </a:gs>
                  </a:gsLst>
                  <a:lin ang="5400000" scaled="0"/>
                </a:gradFill>
                <a:latin typeface="Segoe UI Semibold" panose="020B0702040204020203" pitchFamily="34" charset="0"/>
                <a:cs typeface="Segoe UI Semibold" panose="020B0702040204020203" pitchFamily="34" charset="0"/>
              </a:rPr>
              <a:t>Aggregates</a:t>
            </a:r>
          </a:p>
          <a:p>
            <a:pPr marL="0" indent="0" defTabSz="970235">
              <a:buNone/>
            </a:pPr>
            <a:r>
              <a:rPr lang="en-US" sz="900">
                <a:gradFill>
                  <a:gsLst>
                    <a:gs pos="1250">
                      <a:srgbClr val="000000"/>
                    </a:gs>
                    <a:gs pos="100000">
                      <a:srgbClr val="000000"/>
                    </a:gs>
                  </a:gsLst>
                  <a:lin ang="5400000" scaled="0"/>
                </a:gradFill>
                <a:latin typeface="Segoe UI"/>
              </a:rPr>
              <a:t>Instant answers over petabyte scale data.</a:t>
            </a:r>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16/2022 11:59 AM</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130516678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6/2022 11:5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1</a:t>
            </a:fld>
            <a:endParaRPr lang="en-US"/>
          </a:p>
        </p:txBody>
      </p:sp>
    </p:spTree>
    <p:extLst>
      <p:ext uri="{BB962C8B-B14F-4D97-AF65-F5344CB8AC3E}">
        <p14:creationId xmlns:p14="http://schemas.microsoft.com/office/powerpoint/2010/main" val="326942668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6/2022 11: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2805044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6/2022 11: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8598014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6/2022 11: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4105817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6/2022 11: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6993044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6/2022 11:5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8</a:t>
            </a:fld>
            <a:endParaRPr lang="en-US"/>
          </a:p>
        </p:txBody>
      </p:sp>
    </p:spTree>
    <p:extLst>
      <p:ext uri="{BB962C8B-B14F-4D97-AF65-F5344CB8AC3E}">
        <p14:creationId xmlns:p14="http://schemas.microsoft.com/office/powerpoint/2010/main" val="168506022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6/2022 11:5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9</a:t>
            </a:fld>
            <a:endParaRPr lang="en-US"/>
          </a:p>
        </p:txBody>
      </p:sp>
    </p:spTree>
    <p:extLst>
      <p:ext uri="{BB962C8B-B14F-4D97-AF65-F5344CB8AC3E}">
        <p14:creationId xmlns:p14="http://schemas.microsoft.com/office/powerpoint/2010/main" val="32948805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6/2022 11: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377634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sz="882" kern="1200">
              <a:solidFill>
                <a:schemeClr val="tx1"/>
              </a:solidFill>
              <a:effectLst/>
              <a:latin typeface="Segoe UI" panose="020B0502040204020203" pitchFamily="34" charset="0"/>
              <a:ea typeface="+mn-ea"/>
              <a:cs typeface="+mn-cs"/>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6/2022 11: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4186868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6/2022 11: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9607456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6/2022 11: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5185005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6/2022 11: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2149287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6/2022 11: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2418370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6/2022 11: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6532902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6/2022 11: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8564570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6/2022 11: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5427473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6/2022 11: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8671124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6/2022 11:5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96</a:t>
            </a:fld>
            <a:endParaRPr lang="en-US"/>
          </a:p>
        </p:txBody>
      </p:sp>
    </p:spTree>
    <p:extLst>
      <p:ext uri="{BB962C8B-B14F-4D97-AF65-F5344CB8AC3E}">
        <p14:creationId xmlns:p14="http://schemas.microsoft.com/office/powerpoint/2010/main" val="278834925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6/2022 11: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198982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6/2022 11:59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888861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6/2022 11:5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00</a:t>
            </a:fld>
            <a:endParaRPr lang="en-US"/>
          </a:p>
        </p:txBody>
      </p:sp>
    </p:spTree>
    <p:extLst>
      <p:ext uri="{BB962C8B-B14F-4D97-AF65-F5344CB8AC3E}">
        <p14:creationId xmlns:p14="http://schemas.microsoft.com/office/powerpoint/2010/main" val="174943864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6/2022 11: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4102796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6/2022 11: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5469241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lter – in many cases on time</a:t>
            </a:r>
          </a:p>
          <a:p>
            <a:r>
              <a:rPr lang="en-US" dirty="0"/>
              <a:t>Group – optional, can be product categories</a:t>
            </a:r>
          </a:p>
          <a:p>
            <a:r>
              <a:rPr lang="en-US" dirty="0"/>
              <a:t>Summarize – total sales, quantity, margin. Notice that slicer visuals don’t summarize data</a:t>
            </a:r>
            <a:endParaRPr lang="en-DK" dirty="0"/>
          </a:p>
          <a:p>
            <a:endParaRPr lang="en-DK"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6/2022 11:5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10</a:t>
            </a:fld>
            <a:endParaRPr lang="en-US"/>
          </a:p>
        </p:txBody>
      </p:sp>
    </p:spTree>
    <p:extLst>
      <p:ext uri="{BB962C8B-B14F-4D97-AF65-F5344CB8AC3E}">
        <p14:creationId xmlns:p14="http://schemas.microsoft.com/office/powerpoint/2010/main" val="372978247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6/2022 11:5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15</a:t>
            </a:fld>
            <a:endParaRPr lang="en-US"/>
          </a:p>
        </p:txBody>
      </p:sp>
    </p:spTree>
    <p:extLst>
      <p:ext uri="{BB962C8B-B14F-4D97-AF65-F5344CB8AC3E}">
        <p14:creationId xmlns:p14="http://schemas.microsoft.com/office/powerpoint/2010/main" val="178711768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6/2022 11: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8166470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n’t use line chart</a:t>
            </a:r>
          </a:p>
          <a:p>
            <a:r>
              <a:rPr lang="en-US" dirty="0"/>
              <a:t>Use bar chart</a:t>
            </a:r>
            <a:endParaRPr lang="en-DK" dirty="0"/>
          </a:p>
          <a:p>
            <a:endParaRPr lang="en-DK"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6/2022 11:5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17</a:t>
            </a:fld>
            <a:endParaRPr lang="en-US"/>
          </a:p>
        </p:txBody>
      </p:sp>
    </p:spTree>
    <p:extLst>
      <p:ext uri="{BB962C8B-B14F-4D97-AF65-F5344CB8AC3E}">
        <p14:creationId xmlns:p14="http://schemas.microsoft.com/office/powerpoint/2010/main" val="86634283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6/2022 11: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2742157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solidFill>
                  <a:schemeClr val="bg1"/>
                </a:solidFill>
                <a:highlight>
                  <a:srgbClr val="B64DD3"/>
                </a:highlight>
                <a:latin typeface="Nexa Heavy" panose="02000000000000000000" pitchFamily="2" charset="0"/>
                <a:cs typeface="Segoe UI Semibold" panose="020B0702040204020203" pitchFamily="34" charset="0"/>
              </a:rPr>
              <a:t>We have now explored which components that can be used in a report, now it is time to build the report</a:t>
            </a:r>
          </a:p>
          <a:p>
            <a:endParaRPr lang="en-DK" dirty="0"/>
          </a:p>
          <a:p>
            <a:endParaRPr lang="en-DK"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6/2022 11:5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26</a:t>
            </a:fld>
            <a:endParaRPr lang="en-US"/>
          </a:p>
        </p:txBody>
      </p:sp>
    </p:spTree>
    <p:extLst>
      <p:ext uri="{BB962C8B-B14F-4D97-AF65-F5344CB8AC3E}">
        <p14:creationId xmlns:p14="http://schemas.microsoft.com/office/powerpoint/2010/main" val="71807505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6/2022 11: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050308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52D50E-39C6-464E-BFC7-A8B9B61906D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458407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from https://www.albion-swords.com/NEXTGEN%20HAND%20AND%20A%20HALF%20SWORDS.html</a:t>
            </a:r>
          </a:p>
          <a:p>
            <a:endParaRPr lang="en-US"/>
          </a:p>
          <a:p>
            <a:r>
              <a:rPr lang="en-US"/>
              <a:t>https://www.albion-swords.com/images/Albion%20Swords%20Listings/Talhoffer.jpg</a:t>
            </a:r>
          </a:p>
          <a:p>
            <a:endParaRPr lang="en-US"/>
          </a:p>
          <a:p>
            <a:r>
              <a:rPr lang="en-US"/>
              <a:t>Buy one of these.</a:t>
            </a:r>
          </a:p>
          <a:p>
            <a:endParaRPr lang="en-US"/>
          </a:p>
          <a:p>
            <a:r>
              <a:rPr lang="en-US"/>
              <a:t>If you don’t want one, buy ME one of these. </a:t>
            </a:r>
          </a:p>
          <a:p>
            <a:endParaRPr lang="en-US"/>
          </a:p>
        </p:txBody>
      </p:sp>
      <p:sp>
        <p:nvSpPr>
          <p:cNvPr id="4" name="Slide Number Placeholder 3"/>
          <p:cNvSpPr>
            <a:spLocks noGrp="1"/>
          </p:cNvSpPr>
          <p:nvPr>
            <p:ph type="sldNum" sz="quarter" idx="5"/>
          </p:nvPr>
        </p:nvSpPr>
        <p:spPr/>
        <p:txBody>
          <a:bodyPr/>
          <a:lstStyle/>
          <a:p>
            <a:fld id="{DD81A89D-8738-4ED5-BF6E-F438F4965D3F}" type="slidenum">
              <a:rPr lang="en-US" smtClean="0"/>
              <a:t>177</a:t>
            </a:fld>
            <a:endParaRPr lang="en-US"/>
          </a:p>
        </p:txBody>
      </p:sp>
    </p:spTree>
    <p:extLst>
      <p:ext uri="{BB962C8B-B14F-4D97-AF65-F5344CB8AC3E}">
        <p14:creationId xmlns:p14="http://schemas.microsoft.com/office/powerpoint/2010/main" val="395325908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Definition from https://www.merriam-webster.com/dictionary/double-edged%20sword</a:t>
            </a:r>
          </a:p>
          <a:p>
            <a:endParaRPr lang="en-GB"/>
          </a:p>
          <a:p>
            <a:r>
              <a:rPr lang="en-GB"/>
              <a:t>Image from https://www.albion-swords.com/images/Albion%20Swords%20Listings/Talhoffer.jpg</a:t>
            </a:r>
          </a:p>
        </p:txBody>
      </p:sp>
      <p:sp>
        <p:nvSpPr>
          <p:cNvPr id="4" name="Slide Number Placeholder 3"/>
          <p:cNvSpPr>
            <a:spLocks noGrp="1"/>
          </p:cNvSpPr>
          <p:nvPr>
            <p:ph type="sldNum" sz="quarter" idx="10"/>
          </p:nvPr>
        </p:nvSpPr>
        <p:spPr/>
        <p:txBody>
          <a:bodyPr/>
          <a:lstStyle/>
          <a:p>
            <a:fld id="{DD81A89D-8738-4ED5-BF6E-F438F4965D3F}" type="slidenum">
              <a:rPr lang="en-US" smtClean="0"/>
              <a:t>178</a:t>
            </a:fld>
            <a:endParaRPr lang="en-US"/>
          </a:p>
        </p:txBody>
      </p:sp>
    </p:spTree>
    <p:extLst>
      <p:ext uri="{BB962C8B-B14F-4D97-AF65-F5344CB8AC3E}">
        <p14:creationId xmlns:p14="http://schemas.microsoft.com/office/powerpoint/2010/main" val="290066350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youtube.com/watch?v=DsWyGKgLPiI </a:t>
            </a:r>
          </a:p>
        </p:txBody>
      </p:sp>
      <p:sp>
        <p:nvSpPr>
          <p:cNvPr id="4" name="Slide Number Placeholder 3"/>
          <p:cNvSpPr>
            <a:spLocks noGrp="1"/>
          </p:cNvSpPr>
          <p:nvPr>
            <p:ph type="sldNum" sz="quarter" idx="5"/>
          </p:nvPr>
        </p:nvSpPr>
        <p:spPr/>
        <p:txBody>
          <a:bodyPr/>
          <a:lstStyle/>
          <a:p>
            <a:fld id="{DD81A89D-8738-4ED5-BF6E-F438F4965D3F}" type="slidenum">
              <a:rPr lang="en-US" smtClean="0"/>
              <a:t>179</a:t>
            </a:fld>
            <a:endParaRPr lang="en-US"/>
          </a:p>
        </p:txBody>
      </p:sp>
    </p:spTree>
    <p:extLst>
      <p:ext uri="{BB962C8B-B14F-4D97-AF65-F5344CB8AC3E}">
        <p14:creationId xmlns:p14="http://schemas.microsoft.com/office/powerpoint/2010/main" val="182412109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youtube.com/watch?v=whMaMc-xq-g</a:t>
            </a:r>
          </a:p>
        </p:txBody>
      </p:sp>
      <p:sp>
        <p:nvSpPr>
          <p:cNvPr id="4" name="Slide Number Placeholder 3"/>
          <p:cNvSpPr>
            <a:spLocks noGrp="1"/>
          </p:cNvSpPr>
          <p:nvPr>
            <p:ph type="sldNum" sz="quarter" idx="5"/>
          </p:nvPr>
        </p:nvSpPr>
        <p:spPr/>
        <p:txBody>
          <a:bodyPr/>
          <a:lstStyle/>
          <a:p>
            <a:fld id="{DD81A89D-8738-4ED5-BF6E-F438F4965D3F}" type="slidenum">
              <a:rPr lang="en-US" smtClean="0"/>
              <a:t>180</a:t>
            </a:fld>
            <a:endParaRPr lang="en-US"/>
          </a:p>
        </p:txBody>
      </p:sp>
    </p:spTree>
    <p:extLst>
      <p:ext uri="{BB962C8B-B14F-4D97-AF65-F5344CB8AC3E}">
        <p14:creationId xmlns:p14="http://schemas.microsoft.com/office/powerpoint/2010/main" val="65558009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youtube.com/watch?v=EmZORTeNN4s</a:t>
            </a:r>
          </a:p>
        </p:txBody>
      </p:sp>
      <p:sp>
        <p:nvSpPr>
          <p:cNvPr id="4" name="Slide Number Placeholder 3"/>
          <p:cNvSpPr>
            <a:spLocks noGrp="1"/>
          </p:cNvSpPr>
          <p:nvPr>
            <p:ph type="sldNum" sz="quarter" idx="5"/>
          </p:nvPr>
        </p:nvSpPr>
        <p:spPr/>
        <p:txBody>
          <a:bodyPr/>
          <a:lstStyle/>
          <a:p>
            <a:fld id="{DD81A89D-8738-4ED5-BF6E-F438F4965D3F}" type="slidenum">
              <a:rPr lang="en-US" smtClean="0"/>
              <a:t>181</a:t>
            </a:fld>
            <a:endParaRPr lang="en-US"/>
          </a:p>
        </p:txBody>
      </p:sp>
    </p:spTree>
    <p:extLst>
      <p:ext uri="{BB962C8B-B14F-4D97-AF65-F5344CB8AC3E}">
        <p14:creationId xmlns:p14="http://schemas.microsoft.com/office/powerpoint/2010/main" val="347647766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Image from https://www.albion-swords.com/images/Albion%20Swords%20Listings/Talhoffer.jpg</a:t>
            </a:r>
          </a:p>
        </p:txBody>
      </p:sp>
      <p:sp>
        <p:nvSpPr>
          <p:cNvPr id="4" name="Slide Number Placeholder 3"/>
          <p:cNvSpPr>
            <a:spLocks noGrp="1"/>
          </p:cNvSpPr>
          <p:nvPr>
            <p:ph type="sldNum" sz="quarter" idx="10"/>
          </p:nvPr>
        </p:nvSpPr>
        <p:spPr/>
        <p:txBody>
          <a:bodyPr/>
          <a:lstStyle/>
          <a:p>
            <a:fld id="{DD81A89D-8738-4ED5-BF6E-F438F4965D3F}" type="slidenum">
              <a:rPr lang="en-US" smtClean="0"/>
              <a:t>182</a:t>
            </a:fld>
            <a:endParaRPr lang="en-US"/>
          </a:p>
        </p:txBody>
      </p:sp>
    </p:spTree>
    <p:extLst>
      <p:ext uri="{BB962C8B-B14F-4D97-AF65-F5344CB8AC3E}">
        <p14:creationId xmlns:p14="http://schemas.microsoft.com/office/powerpoint/2010/main" val="339991232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097530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from https://www.albion-swords.com/images/Albion%20Swords%20Listings/Talhoffer.jpg</a:t>
            </a:r>
          </a:p>
        </p:txBody>
      </p:sp>
      <p:sp>
        <p:nvSpPr>
          <p:cNvPr id="4" name="Slide Number Placeholder 3"/>
          <p:cNvSpPr>
            <a:spLocks noGrp="1"/>
          </p:cNvSpPr>
          <p:nvPr>
            <p:ph type="sldNum" sz="quarter" idx="5"/>
          </p:nvPr>
        </p:nvSpPr>
        <p:spPr/>
        <p:txBody>
          <a:bodyPr/>
          <a:lstStyle/>
          <a:p>
            <a:fld id="{DD81A89D-8738-4ED5-BF6E-F438F4965D3F}" type="slidenum">
              <a:rPr lang="en-US" smtClean="0"/>
              <a:t>184</a:t>
            </a:fld>
            <a:endParaRPr lang="en-US"/>
          </a:p>
        </p:txBody>
      </p:sp>
    </p:spTree>
    <p:extLst>
      <p:ext uri="{BB962C8B-B14F-4D97-AF65-F5344CB8AC3E}">
        <p14:creationId xmlns:p14="http://schemas.microsoft.com/office/powerpoint/2010/main" val="72817027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from https://www.albion-swords.com/NEXTGEN%20HAND%20AND%20A%20HALF%20SWORDS.html</a:t>
            </a:r>
          </a:p>
          <a:p>
            <a:endParaRPr lang="en-US"/>
          </a:p>
          <a:p>
            <a:r>
              <a:rPr lang="en-US"/>
              <a:t>https://www.albion-swords.com/images/Albion%20Swords%20Listings/Talhoffer.jpg</a:t>
            </a:r>
          </a:p>
          <a:p>
            <a:endParaRPr lang="en-US"/>
          </a:p>
          <a:p>
            <a:r>
              <a:rPr lang="en-US"/>
              <a:t>Buy one of these.</a:t>
            </a:r>
          </a:p>
          <a:p>
            <a:endParaRPr lang="en-US"/>
          </a:p>
          <a:p>
            <a:r>
              <a:rPr lang="en-US"/>
              <a:t>If you don’t want one, buy ME one of these. </a:t>
            </a:r>
          </a:p>
          <a:p>
            <a:endParaRPr lang="en-US"/>
          </a:p>
        </p:txBody>
      </p:sp>
      <p:sp>
        <p:nvSpPr>
          <p:cNvPr id="4" name="Slide Number Placeholder 3"/>
          <p:cNvSpPr>
            <a:spLocks noGrp="1"/>
          </p:cNvSpPr>
          <p:nvPr>
            <p:ph type="sldNum" sz="quarter" idx="5"/>
          </p:nvPr>
        </p:nvSpPr>
        <p:spPr/>
        <p:txBody>
          <a:bodyPr/>
          <a:lstStyle/>
          <a:p>
            <a:fld id="{DD81A89D-8738-4ED5-BF6E-F438F4965D3F}" type="slidenum">
              <a:rPr lang="en-US" smtClean="0"/>
              <a:t>185</a:t>
            </a:fld>
            <a:endParaRPr lang="en-US"/>
          </a:p>
        </p:txBody>
      </p:sp>
    </p:spTree>
    <p:extLst>
      <p:ext uri="{BB962C8B-B14F-4D97-AF65-F5344CB8AC3E}">
        <p14:creationId xmlns:p14="http://schemas.microsoft.com/office/powerpoint/2010/main" val="311517607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10"/>
          </p:nvPr>
        </p:nvSpPr>
        <p:spPr/>
        <p:txBody>
          <a:bodyPr/>
          <a:lstStyle/>
          <a:p>
            <a:fld id="{AEB2D09C-E420-4905-8E74-B16C64801357}" type="slidenum">
              <a:rPr lang="en-US" smtClean="0"/>
              <a:t>186</a:t>
            </a:fld>
            <a:endParaRPr lang="en-US"/>
          </a:p>
        </p:txBody>
      </p:sp>
    </p:spTree>
    <p:extLst>
      <p:ext uri="{BB962C8B-B14F-4D97-AF65-F5344CB8AC3E}">
        <p14:creationId xmlns:p14="http://schemas.microsoft.com/office/powerpoint/2010/main" val="23524220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6/2022 11: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5070282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10"/>
          </p:nvPr>
        </p:nvSpPr>
        <p:spPr/>
        <p:txBody>
          <a:bodyPr/>
          <a:lstStyle/>
          <a:p>
            <a:fld id="{AEB2D09C-E420-4905-8E74-B16C64801357}" type="slidenum">
              <a:rPr lang="en-US" smtClean="0"/>
              <a:t>187</a:t>
            </a:fld>
            <a:endParaRPr lang="en-US"/>
          </a:p>
        </p:txBody>
      </p:sp>
    </p:spTree>
    <p:extLst>
      <p:ext uri="{BB962C8B-B14F-4D97-AF65-F5344CB8AC3E}">
        <p14:creationId xmlns:p14="http://schemas.microsoft.com/office/powerpoint/2010/main" val="223399653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10"/>
          </p:nvPr>
        </p:nvSpPr>
        <p:spPr/>
        <p:txBody>
          <a:bodyPr/>
          <a:lstStyle/>
          <a:p>
            <a:fld id="{AEB2D09C-E420-4905-8E74-B16C64801357}" type="slidenum">
              <a:rPr lang="en-US" smtClean="0"/>
              <a:t>188</a:t>
            </a:fld>
            <a:endParaRPr lang="en-US"/>
          </a:p>
        </p:txBody>
      </p:sp>
    </p:spTree>
    <p:extLst>
      <p:ext uri="{BB962C8B-B14F-4D97-AF65-F5344CB8AC3E}">
        <p14:creationId xmlns:p14="http://schemas.microsoft.com/office/powerpoint/2010/main" val="3019149384"/>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lvl="0">
              <a:defRPr/>
            </a:pPr>
            <a:endParaRPr lang="en-US">
              <a:cs typeface="Segoe UI Light" panose="020B0502040204020203" pitchFamily="34" charset="0"/>
            </a:endParaRPr>
          </a:p>
        </p:txBody>
      </p:sp>
      <p:sp>
        <p:nvSpPr>
          <p:cNvPr id="8" name="Header Placeholder 3"/>
          <p:cNvSpPr>
            <a:spLocks noGrp="1"/>
          </p:cNvSpPr>
          <p:nvPr>
            <p:ph type="hdr" sz="quarter"/>
          </p:nvPr>
        </p:nvSpPr>
        <p:spPr>
          <a:xfrm>
            <a:off x="279400" y="215107"/>
            <a:ext cx="3536950" cy="457200"/>
          </a:xfr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Power BI Governance and Deployment Overview</a:t>
            </a:r>
          </a:p>
        </p:txBody>
      </p:sp>
      <p:sp>
        <p:nvSpPr>
          <p:cNvPr id="9" name="Footer Placeholder 4"/>
          <p:cNvSpPr>
            <a:spLocks noGrp="1"/>
          </p:cNvSpPr>
          <p:nvPr>
            <p:ph type="ftr" sz="quarter" idx="4"/>
          </p:nvPr>
        </p:nvSpPr>
        <p:spPr>
          <a:xfrm>
            <a:off x="0" y="8686800"/>
            <a:ext cx="5920740" cy="355964"/>
          </a:xfrm>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Tree>
    <p:extLst>
      <p:ext uri="{BB962C8B-B14F-4D97-AF65-F5344CB8AC3E}">
        <p14:creationId xmlns:p14="http://schemas.microsoft.com/office/powerpoint/2010/main" val="1097060064"/>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from https://www.albion-swords.com/NEXTGEN%20HAND%20AND%20A%20HALF%20SWORDS.html</a:t>
            </a:r>
          </a:p>
          <a:p>
            <a:endParaRPr lang="en-US"/>
          </a:p>
          <a:p>
            <a:r>
              <a:rPr lang="en-US"/>
              <a:t>https://www.albion-swords.com/images/Albion%20Swords%20Listings/Talhoffer.jpg</a:t>
            </a:r>
          </a:p>
          <a:p>
            <a:endParaRPr lang="en-US"/>
          </a:p>
          <a:p>
            <a:r>
              <a:rPr lang="en-US"/>
              <a:t>Buy one of these.</a:t>
            </a:r>
          </a:p>
          <a:p>
            <a:endParaRPr lang="en-US"/>
          </a:p>
          <a:p>
            <a:r>
              <a:rPr lang="en-US"/>
              <a:t>If you don’t want one, buy ME one of these. </a:t>
            </a:r>
          </a:p>
          <a:p>
            <a:endParaRPr lang="en-US"/>
          </a:p>
        </p:txBody>
      </p:sp>
      <p:sp>
        <p:nvSpPr>
          <p:cNvPr id="4" name="Slide Number Placeholder 3"/>
          <p:cNvSpPr>
            <a:spLocks noGrp="1"/>
          </p:cNvSpPr>
          <p:nvPr>
            <p:ph type="sldNum" sz="quarter" idx="5"/>
          </p:nvPr>
        </p:nvSpPr>
        <p:spPr/>
        <p:txBody>
          <a:bodyPr/>
          <a:lstStyle/>
          <a:p>
            <a:fld id="{DD81A89D-8738-4ED5-BF6E-F438F4965D3F}" type="slidenum">
              <a:rPr lang="en-US" smtClean="0"/>
              <a:t>192</a:t>
            </a:fld>
            <a:endParaRPr lang="en-US"/>
          </a:p>
        </p:txBody>
      </p:sp>
    </p:spTree>
    <p:extLst>
      <p:ext uri="{BB962C8B-B14F-4D97-AF65-F5344CB8AC3E}">
        <p14:creationId xmlns:p14="http://schemas.microsoft.com/office/powerpoint/2010/main" val="580845525"/>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E6A3605-7A28-403B-8AF8-3C2A1E66453A}" type="slidenum">
              <a:rPr lang="en-US" smtClean="0"/>
              <a:t>197</a:t>
            </a:fld>
            <a:endParaRPr lang="en-US"/>
          </a:p>
        </p:txBody>
      </p:sp>
    </p:spTree>
    <p:extLst>
      <p:ext uri="{BB962C8B-B14F-4D97-AF65-F5344CB8AC3E}">
        <p14:creationId xmlns:p14="http://schemas.microsoft.com/office/powerpoint/2010/main" val="2861580203"/>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docs.microsoft.com/en-us/power-bi/guidance/powerbi-adoption-roadmap-overview </a:t>
            </a:r>
          </a:p>
        </p:txBody>
      </p:sp>
      <p:sp>
        <p:nvSpPr>
          <p:cNvPr id="4" name="Slide Number Placeholder 3"/>
          <p:cNvSpPr>
            <a:spLocks noGrp="1"/>
          </p:cNvSpPr>
          <p:nvPr>
            <p:ph type="sldNum" sz="quarter" idx="5"/>
          </p:nvPr>
        </p:nvSpPr>
        <p:spPr/>
        <p:txBody>
          <a:bodyPr/>
          <a:lstStyle/>
          <a:p>
            <a:fld id="{7E6A3605-7A28-403B-8AF8-3C2A1E66453A}" type="slidenum">
              <a:rPr lang="en-US" smtClean="0"/>
              <a:t>198</a:t>
            </a:fld>
            <a:endParaRPr lang="en-US"/>
          </a:p>
        </p:txBody>
      </p:sp>
    </p:spTree>
    <p:extLst>
      <p:ext uri="{BB962C8B-B14F-4D97-AF65-F5344CB8AC3E}">
        <p14:creationId xmlns:p14="http://schemas.microsoft.com/office/powerpoint/2010/main" val="2316686930"/>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docs.microsoft.com/en-us/power-bi/guidance/powerbi-implementation-planning-introduction</a:t>
            </a:r>
          </a:p>
        </p:txBody>
      </p:sp>
      <p:sp>
        <p:nvSpPr>
          <p:cNvPr id="4" name="Slide Number Placeholder 3"/>
          <p:cNvSpPr>
            <a:spLocks noGrp="1"/>
          </p:cNvSpPr>
          <p:nvPr>
            <p:ph type="sldNum" sz="quarter" idx="5"/>
          </p:nvPr>
        </p:nvSpPr>
        <p:spPr/>
        <p:txBody>
          <a:bodyPr/>
          <a:lstStyle/>
          <a:p>
            <a:fld id="{7E6A3605-7A28-403B-8AF8-3C2A1E66453A}" type="slidenum">
              <a:rPr lang="en-US" smtClean="0"/>
              <a:t>199</a:t>
            </a:fld>
            <a:endParaRPr lang="en-US"/>
          </a:p>
        </p:txBody>
      </p:sp>
    </p:spTree>
    <p:extLst>
      <p:ext uri="{BB962C8B-B14F-4D97-AF65-F5344CB8AC3E}">
        <p14:creationId xmlns:p14="http://schemas.microsoft.com/office/powerpoint/2010/main" val="2224374942"/>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londonlongsword.com/</a:t>
            </a:r>
          </a:p>
        </p:txBody>
      </p:sp>
      <p:sp>
        <p:nvSpPr>
          <p:cNvPr id="4" name="Slide Number Placeholder 3"/>
          <p:cNvSpPr>
            <a:spLocks noGrp="1"/>
          </p:cNvSpPr>
          <p:nvPr>
            <p:ph type="sldNum" sz="quarter" idx="5"/>
          </p:nvPr>
        </p:nvSpPr>
        <p:spPr/>
        <p:txBody>
          <a:bodyPr/>
          <a:lstStyle/>
          <a:p>
            <a:fld id="{DD81A89D-8738-4ED5-BF6E-F438F4965D3F}" type="slidenum">
              <a:rPr lang="en-US" smtClean="0"/>
              <a:t>200</a:t>
            </a:fld>
            <a:endParaRPr lang="en-US"/>
          </a:p>
        </p:txBody>
      </p:sp>
    </p:spTree>
    <p:extLst>
      <p:ext uri="{BB962C8B-B14F-4D97-AF65-F5344CB8AC3E}">
        <p14:creationId xmlns:p14="http://schemas.microsoft.com/office/powerpoint/2010/main" val="139683373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285336-84EC-43B9-8390-35875FE633B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8042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878256-368D-4B68-97C3-0D0BD40CE8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31957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6/2022 11:5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4</a:t>
            </a:fld>
            <a:endParaRPr lang="en-US"/>
          </a:p>
        </p:txBody>
      </p:sp>
    </p:spTree>
    <p:extLst>
      <p:ext uri="{BB962C8B-B14F-4D97-AF65-F5344CB8AC3E}">
        <p14:creationId xmlns:p14="http://schemas.microsoft.com/office/powerpoint/2010/main" val="285738275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6.sv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8.sv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image" Target="../media/image42.jpeg"/><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image" Target="../media/image47.png"/><Relationship Id="rId1" Type="http://schemas.openxmlformats.org/officeDocument/2006/relationships/slideMaster" Target="../slideMasters/slideMaster5.xml"/><Relationship Id="rId4" Type="http://schemas.openxmlformats.org/officeDocument/2006/relationships/image" Target="../media/image49.png"/></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Master" Target="../slideMasters/slideMaster5.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5.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48.emf"/><Relationship Id="rId1" Type="http://schemas.openxmlformats.org/officeDocument/2006/relationships/slideMaster" Target="../slideMasters/slideMaster6.xml"/><Relationship Id="rId4" Type="http://schemas.openxmlformats.org/officeDocument/2006/relationships/image" Target="../media/image52.png"/></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Master" Target="../slideMasters/slideMaster6.xml"/><Relationship Id="rId4" Type="http://schemas.openxmlformats.org/officeDocument/2006/relationships/image" Target="../media/image55.jpe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Master" Target="../slideMasters/slideMaster6.xml"/><Relationship Id="rId4" Type="http://schemas.openxmlformats.org/officeDocument/2006/relationships/image" Target="../media/image55.jpeg"/></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Master" Target="../slideMasters/slideMaster6.xml"/><Relationship Id="rId4" Type="http://schemas.openxmlformats.org/officeDocument/2006/relationships/image" Target="../media/image55.jpeg"/></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6.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6.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6.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6.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6.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6.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6.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59.jpeg"/><Relationship Id="rId1" Type="http://schemas.openxmlformats.org/officeDocument/2006/relationships/slideMaster" Target="../slideMasters/slideMaster7.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60.jpeg"/><Relationship Id="rId1" Type="http://schemas.openxmlformats.org/officeDocument/2006/relationships/slideMaster" Target="../slideMasters/slideMaster7.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61.png"/><Relationship Id="rId1" Type="http://schemas.openxmlformats.org/officeDocument/2006/relationships/slideMaster" Target="../slideMasters/slideMaster7.xml"/><Relationship Id="rId4" Type="http://schemas.openxmlformats.org/officeDocument/2006/relationships/image" Target="../media/image23.emf"/></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62.jpeg"/><Relationship Id="rId1" Type="http://schemas.openxmlformats.org/officeDocument/2006/relationships/slideMaster" Target="../slideMasters/slideMaster7.xml"/></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9.jpeg"/><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30.jpeg"/><Relationship Id="rId1" Type="http://schemas.openxmlformats.org/officeDocument/2006/relationships/slideMaster" Target="../slideMasters/slideMaster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7.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4.jpeg"/><Relationship Id="rId1" Type="http://schemas.openxmlformats.org/officeDocument/2006/relationships/slideMaster" Target="../slideMasters/slideMaster8.xml"/><Relationship Id="rId4" Type="http://schemas.openxmlformats.org/officeDocument/2006/relationships/image" Target="../media/image6.svg"/></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4.jpeg"/><Relationship Id="rId1" Type="http://schemas.openxmlformats.org/officeDocument/2006/relationships/slideMaster" Target="../slideMasters/slideMaster8.xml"/><Relationship Id="rId4" Type="http://schemas.openxmlformats.org/officeDocument/2006/relationships/image" Target="../media/image8.svg"/></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8.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8.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5.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Master" Target="../slideMasters/slideMaster8.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9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5.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image" Target="../media/image67.jpeg"/><Relationship Id="rId1" Type="http://schemas.openxmlformats.org/officeDocument/2006/relationships/slideMaster" Target="../slideMasters/slideMaster9.xml"/></Relationships>
</file>

<file path=ppt/slideLayouts/_rels/slideLayout396.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image" Target="../media/image68.jpeg"/><Relationship Id="rId1" Type="http://schemas.openxmlformats.org/officeDocument/2006/relationships/slideMaster" Target="../slideMasters/slideMaster9.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9.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9.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9.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9.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3.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48.emf"/><Relationship Id="rId1" Type="http://schemas.openxmlformats.org/officeDocument/2006/relationships/slideMaster" Target="../slideMasters/slideMaster9.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Master" Target="../slideMasters/slideMaster9.xml"/><Relationship Id="rId4" Type="http://schemas.openxmlformats.org/officeDocument/2006/relationships/image" Target="../media/image73.png"/></Relationships>
</file>

<file path=ppt/slideLayouts/_rels/slideLayout4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0.xml"/><Relationship Id="rId4" Type="http://schemas.openxmlformats.org/officeDocument/2006/relationships/image" Target="../media/image6.svg"/></Relationships>
</file>

<file path=ppt/slideLayouts/_rels/slideLayout4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jpeg"/><Relationship Id="rId1" Type="http://schemas.openxmlformats.org/officeDocument/2006/relationships/slideMaster" Target="../slideMasters/slideMaster10.xml"/><Relationship Id="rId4" Type="http://schemas.openxmlformats.org/officeDocument/2006/relationships/image" Target="../media/image8.svg"/></Relationships>
</file>

<file path=ppt/slideLayouts/_rels/slideLayout41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1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0.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0.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0.xml"/></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0.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6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8.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0.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7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0.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8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8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490.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Master" Target="../slideMasters/slideMaster11.xml"/><Relationship Id="rId4" Type="http://schemas.openxmlformats.org/officeDocument/2006/relationships/image" Target="../media/image50.emf"/></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2.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Master" Target="../slideMasters/slideMaster11.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Master" Target="../slideMasters/slideMaster11.xml"/></Relationships>
</file>

<file path=ppt/slideLayouts/_rels/slideLayout495.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23.xml"/><Relationship Id="rId4" Type="http://schemas.openxmlformats.org/officeDocument/2006/relationships/slide" Target="../slides/slide22.xml"/></Relationships>
</file>

<file path=ppt/slideLayouts/_rels/slideLayout496.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3.xml"/></Relationships>
</file>

<file path=ppt/slideLayouts/_rels/slideLayout497.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23.xml"/><Relationship Id="rId4" Type="http://schemas.openxmlformats.org/officeDocument/2006/relationships/slide" Target="../slides/slide22.xml"/></Relationships>
</file>

<file path=ppt/slideLayouts/_rels/slideLayout498.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3.xml"/></Relationships>
</file>

<file path=ppt/slideLayouts/_rels/slideLayout499.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500.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3.xml"/></Relationships>
</file>

<file path=ppt/slideLayouts/_rels/slideLayout501.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3.xml"/></Relationships>
</file>

<file path=ppt/slideLayouts/_rels/slideLayout502.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22.xml"/><Relationship Id="rId4" Type="http://schemas.openxmlformats.org/officeDocument/2006/relationships/slide" Target="../slides/slide54.xml"/></Relationships>
</file>

<file path=ppt/slideLayouts/_rels/slideLayout503.xml.rels><?xml version="1.0" encoding="UTF-8" standalone="yes"?>
<Relationships xmlns="http://schemas.openxmlformats.org/package/2006/relationships"><Relationship Id="rId3" Type="http://schemas.openxmlformats.org/officeDocument/2006/relationships/slide" Target="../slides/slide54.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2.xml"/></Relationships>
</file>

<file path=ppt/slideLayouts/_rels/slideLayout504.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54.xml"/></Relationships>
</file>

<file path=ppt/slideLayouts/_rels/slideLayout505.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54.xml"/><Relationship Id="rId4" Type="http://schemas.openxmlformats.org/officeDocument/2006/relationships/slide" Target="../slides/slide22.xml"/></Relationships>
</file>

<file path=ppt/slideLayouts/_rels/slideLayout506.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54.xml"/></Relationships>
</file>

<file path=ppt/slideLayouts/_rels/slideLayout507.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54.xml"/><Relationship Id="rId4" Type="http://schemas.openxmlformats.org/officeDocument/2006/relationships/slide" Target="../slides/slide22.xml"/></Relationships>
</file>

<file path=ppt/slideLayouts/_rels/slideLayout508.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54.xml"/></Relationships>
</file>

<file path=ppt/slideLayouts/_rels/slideLayout509.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5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0.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98.xml"/><Relationship Id="rId4" Type="http://schemas.openxmlformats.org/officeDocument/2006/relationships/slide" Target="../slides/slide22.xml"/></Relationships>
</file>

<file path=ppt/slideLayouts/_rels/slideLayout511.xml.rels><?xml version="1.0" encoding="UTF-8" standalone="yes"?>
<Relationships xmlns="http://schemas.openxmlformats.org/package/2006/relationships"><Relationship Id="rId3" Type="http://schemas.openxmlformats.org/officeDocument/2006/relationships/slide" Target="../slides/slide98.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2.xml"/></Relationships>
</file>

<file path=ppt/slideLayouts/_rels/slideLayout512.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8.xml"/></Relationships>
</file>

<file path=ppt/slideLayouts/_rels/slideLayout513.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98.xml"/><Relationship Id="rId4" Type="http://schemas.openxmlformats.org/officeDocument/2006/relationships/slide" Target="../slides/slide22.xml"/></Relationships>
</file>

<file path=ppt/slideLayouts/_rels/slideLayout514.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8.xml"/></Relationships>
</file>

<file path=ppt/slideLayouts/_rels/slideLayout515.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8.xml"/></Relationships>
</file>

<file path=ppt/slideLayouts/_rels/slideLayout516.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98.xml"/><Relationship Id="rId4" Type="http://schemas.openxmlformats.org/officeDocument/2006/relationships/slide" Target="../slides/slide22.xml"/></Relationships>
</file>

<file path=ppt/slideLayouts/_rels/slideLayout517.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8.xml"/></Relationships>
</file>

<file path=ppt/slideLayouts/_rels/slideLayout518.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98.xml"/><Relationship Id="rId4" Type="http://schemas.openxmlformats.org/officeDocument/2006/relationships/slide" Target="../slides/slide22.xml"/></Relationships>
</file>

<file path=ppt/slideLayouts/_rels/slideLayout519.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0.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8.xml"/></Relationships>
</file>

<file path=ppt/slideLayouts/_rels/slideLayout521.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98.xml"/><Relationship Id="rId4" Type="http://schemas.openxmlformats.org/officeDocument/2006/relationships/slide" Target="../slides/slide22.xml"/></Relationships>
</file>

<file path=ppt/slideLayouts/_rels/slideLayout522.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8.xml"/></Relationships>
</file>

<file path=ppt/slideLayouts/_rels/slideLayout523.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8.xml"/></Relationships>
</file>

<file path=ppt/slideLayouts/_rels/slideLayout524.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98.xml"/><Relationship Id="rId4" Type="http://schemas.openxmlformats.org/officeDocument/2006/relationships/slide" Target="../slides/slide22.xml"/></Relationships>
</file>

<file path=ppt/slideLayouts/_rels/slideLayout525.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8.xml"/></Relationships>
</file>

<file path=ppt/slideLayouts/_rels/slideLayout526.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8.xml"/></Relationships>
</file>

<file path=ppt/slideLayouts/_rels/slideLayout527.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98.xml"/><Relationship Id="rId4" Type="http://schemas.openxmlformats.org/officeDocument/2006/relationships/slide" Target="../slides/slide22.xml"/></Relationships>
</file>

<file path=ppt/slideLayouts/_rels/slideLayout528.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8.xml"/></Relationships>
</file>

<file path=ppt/slideLayouts/_rels/slideLayout529.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98.xml"/><Relationship Id="rId4" Type="http://schemas.openxmlformats.org/officeDocument/2006/relationships/slide" Target="../slides/slide2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530.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8.xml"/></Relationships>
</file>

<file path=ppt/slideLayouts/_rels/slideLayout531.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Master" Target="../slideMasters/slideMaster11.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3.emf"/><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2.xml"/><Relationship Id="rId4" Type="http://schemas.openxmlformats.org/officeDocument/2006/relationships/image" Target="../media/image23.emf"/></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8.jpe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9.jpe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a:srcRect l="32559" r="10791"/>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41293619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1959252"/>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1794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5" y="1212852"/>
            <a:ext cx="11885683" cy="2443746"/>
          </a:xfrm>
          <a:prstGeom prst="rect">
            <a:avLst/>
          </a:prstGeom>
        </p:spPr>
        <p:txBody>
          <a:bodyPr/>
          <a:lstStyle>
            <a:lvl1pPr marL="290372" indent="-290372">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24" indent="-280853">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596" indent="-290372">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086" indent="-2284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574" indent="-22849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244574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2_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07" y="2674314"/>
            <a:ext cx="11226954" cy="1737340"/>
          </a:xfrm>
        </p:spPr>
        <p:txBody>
          <a:bodyPr anchor="ctr"/>
          <a:lstStyle>
            <a:lvl1pPr>
              <a:defRPr sz="5996">
                <a:solidFill>
                  <a:schemeClr val="tx2"/>
                </a:solidFill>
              </a:defRPr>
            </a:lvl1pPr>
          </a:lstStyle>
          <a:p>
            <a:r>
              <a:rPr lang="en-US"/>
              <a:t>Thank you</a:t>
            </a:r>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80382" y="492479"/>
            <a:ext cx="1250285" cy="266701"/>
          </a:xfrm>
          <a:prstGeom prst="rect">
            <a:avLst/>
          </a:prstGeom>
        </p:spPr>
      </p:pic>
    </p:spTree>
    <p:extLst>
      <p:ext uri="{BB962C8B-B14F-4D97-AF65-F5344CB8AC3E}">
        <p14:creationId xmlns:p14="http://schemas.microsoft.com/office/powerpoint/2010/main" val="3620877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1_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459230" y="3145043"/>
            <a:ext cx="3288506" cy="704445"/>
          </a:xfrm>
          <a:prstGeom prst="rect">
            <a:avLst/>
          </a:prstGeom>
        </p:spPr>
      </p:pic>
    </p:spTree>
    <p:extLst>
      <p:ext uri="{BB962C8B-B14F-4D97-AF65-F5344CB8AC3E}">
        <p14:creationId xmlns:p14="http://schemas.microsoft.com/office/powerpoint/2010/main" val="304306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3"/>
            <a:ext cx="10055529" cy="2751698"/>
          </a:xfrm>
          <a:noFill/>
        </p:spPr>
        <p:txBody>
          <a:bodyPr tIns="91440" bIns="91440" anchor="t" anchorCtr="0"/>
          <a:lstStyle>
            <a:lvl1pPr>
              <a:defRPr sz="7195"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06" y="3954466"/>
            <a:ext cx="10057117" cy="1829593"/>
          </a:xfrm>
          <a:noFill/>
        </p:spPr>
        <p:txBody>
          <a:bodyPr lIns="182880" tIns="146304" rIns="182880" bIns="146304">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1832168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12747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cSld name="Business Updat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0" y="1"/>
            <a:ext cx="11239464" cy="743644"/>
          </a:xfrm>
        </p:spPr>
        <p:txBody>
          <a:bodyPr lIns="365760" tIns="91440">
            <a:noAutofit/>
          </a:bodyPr>
          <a:lstStyle/>
          <a:p>
            <a:r>
              <a:rPr lang="en-US"/>
              <a:t>Click to edit Master title style</a:t>
            </a:r>
          </a:p>
        </p:txBody>
      </p:sp>
    </p:spTree>
    <p:extLst>
      <p:ext uri="{BB962C8B-B14F-4D97-AF65-F5344CB8AC3E}">
        <p14:creationId xmlns:p14="http://schemas.microsoft.com/office/powerpoint/2010/main" val="1299371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cSld name="1_Executive Summary - Title only ">
    <p:spTree>
      <p:nvGrpSpPr>
        <p:cNvPr id="1" name=""/>
        <p:cNvGrpSpPr/>
        <p:nvPr/>
      </p:nvGrpSpPr>
      <p:grpSpPr>
        <a:xfrm>
          <a:off x="0" y="0"/>
          <a:ext cx="0" cy="0"/>
          <a:chOff x="0" y="0"/>
          <a:chExt cx="0" cy="0"/>
        </a:xfrm>
      </p:grpSpPr>
      <p:sp>
        <p:nvSpPr>
          <p:cNvPr id="2" name="Title 1"/>
          <p:cNvSpPr>
            <a:spLocks noGrp="1"/>
          </p:cNvSpPr>
          <p:nvPr>
            <p:ph type="title"/>
          </p:nvPr>
        </p:nvSpPr>
        <p:spPr>
          <a:xfrm>
            <a:off x="3267614" y="186523"/>
            <a:ext cx="6418986" cy="432205"/>
          </a:xfrm>
        </p:spPr>
        <p:txBody>
          <a:bodyPr/>
          <a:lstStyle>
            <a:lvl1pPr>
              <a:defRPr sz="2244"/>
            </a:lvl1pPr>
          </a:lstStyle>
          <a:p>
            <a:r>
              <a:rPr lang="en-US"/>
              <a:t>Click to edit Master title style</a:t>
            </a:r>
          </a:p>
        </p:txBody>
      </p:sp>
      <p:sp>
        <p:nvSpPr>
          <p:cNvPr id="8" name="Slide Number Placeholder 7"/>
          <p:cNvSpPr>
            <a:spLocks noGrp="1"/>
          </p:cNvSpPr>
          <p:nvPr>
            <p:ph type="sldNum" sz="quarter" idx="11"/>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2280853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76" userDrawn="1">
          <p15:clr>
            <a:srgbClr val="F26B43"/>
          </p15:clr>
        </p15:guide>
        <p15:guide id="2" orient="horz" pos="120" userDrawn="1">
          <p15:clr>
            <a:srgbClr val="F26B43"/>
          </p15:clr>
        </p15:guide>
        <p15:guide id="3" pos="2470" userDrawn="1">
          <p15:clr>
            <a:srgbClr val="F26B43"/>
          </p15:clr>
        </p15:guide>
        <p15:guide id="4" orient="horz" pos="2336" userDrawn="1">
          <p15:clr>
            <a:srgbClr val="F26B43"/>
          </p15:clr>
        </p15:guide>
        <p15:guide id="5" pos="4798" userDrawn="1">
          <p15:clr>
            <a:srgbClr val="F26B43"/>
          </p15:clr>
        </p15:guide>
        <p15:guide id="6" pos="4918" userDrawn="1">
          <p15:clr>
            <a:srgbClr val="F26B43"/>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cSld name="1_Business Update Slide Template">
    <p:spTree>
      <p:nvGrpSpPr>
        <p:cNvPr id="1" name=""/>
        <p:cNvGrpSpPr/>
        <p:nvPr/>
      </p:nvGrpSpPr>
      <p:grpSpPr>
        <a:xfrm>
          <a:off x="0" y="0"/>
          <a:ext cx="0" cy="0"/>
          <a:chOff x="0" y="0"/>
          <a:chExt cx="0" cy="0"/>
        </a:xfrm>
      </p:grpSpPr>
      <p:sp>
        <p:nvSpPr>
          <p:cNvPr id="6" name="Title 5"/>
          <p:cNvSpPr>
            <a:spLocks noGrp="1"/>
          </p:cNvSpPr>
          <p:nvPr>
            <p:ph type="title"/>
          </p:nvPr>
        </p:nvSpPr>
        <p:spPr>
          <a:xfrm>
            <a:off x="0" y="4"/>
            <a:ext cx="11888047" cy="917575"/>
          </a:xfrm>
        </p:spPr>
        <p:txBody>
          <a:bodyPr/>
          <a:lstStyle>
            <a:lvl1pPr algn="l" defTabSz="932112" rtl="0" eaLnBrk="1" latinLnBrk="0" hangingPunct="1">
              <a:lnSpc>
                <a:spcPct val="90000"/>
              </a:lnSpc>
              <a:spcBef>
                <a:spcPct val="0"/>
              </a:spcBef>
              <a:buNone/>
              <a:defRPr lang="en-US" sz="4080"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
        <p:nvSpPr>
          <p:cNvPr id="7" name="Slide Number Placeholder 1"/>
          <p:cNvSpPr>
            <a:spLocks noGrp="1"/>
          </p:cNvSpPr>
          <p:nvPr>
            <p:ph type="sldNum" sz="quarter" idx="11"/>
          </p:nvPr>
        </p:nvSpPr>
        <p:spPr>
          <a:xfrm>
            <a:off x="11843907" y="6615655"/>
            <a:ext cx="590982"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3045291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36464" cy="508524"/>
          </a:xfrm>
          <a:noFill/>
        </p:spPr>
        <p:txBody>
          <a:bodyPr wrap="square" lIns="0" tIns="0" rIns="0" bIns="0" anchor="t" anchorCtr="0">
            <a:spAutoFit/>
          </a:bodyPr>
          <a:lstStyle>
            <a:lvl1pPr algn="l" defTabSz="951026"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004425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4"/>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51806250"/>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6" y="3093607"/>
            <a:ext cx="6528316" cy="508524"/>
          </a:xfrm>
          <a:noFill/>
        </p:spPr>
        <p:txBody>
          <a:bodyPr wrap="square" lIns="0" tIns="0" rIns="0" bIns="0" anchor="b" anchorCtr="0">
            <a:spAutoFit/>
          </a:bodyPr>
          <a:lstStyle>
            <a:lvl1pPr algn="l" defTabSz="951026"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6" y="4056500"/>
            <a:ext cx="6528316" cy="282513"/>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p:nvGrpSpPr>
        <p:grpSpPr bwMode="ltGray">
          <a:xfrm>
            <a:off x="6380751" y="-22272"/>
            <a:ext cx="6050265" cy="7027210"/>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Tree>
    <p:extLst>
      <p:ext uri="{BB962C8B-B14F-4D97-AF65-F5344CB8AC3E}">
        <p14:creationId xmlns:p14="http://schemas.microsoft.com/office/powerpoint/2010/main" val="1685866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593623" y="6565904"/>
            <a:ext cx="566666" cy="136525"/>
          </a:xfrm>
          <a:prstGeom prst="rect">
            <a:avLst/>
          </a:prstGeom>
        </p:spPr>
        <p:txBody>
          <a:bodyPr/>
          <a:lstStyle>
            <a:lvl1pPr>
              <a:defRPr>
                <a:solidFill>
                  <a:srgbClr val="000000"/>
                </a:solidFill>
              </a:defRPr>
            </a:lvl1pPr>
          </a:lstStyle>
          <a:p>
            <a:fld id="{76D761AB-54AF-45CE-9E72-4C36C05BC2E6}" type="slidenum">
              <a:rPr lang="en-US" smtClean="0"/>
              <a:t>‹#›</a:t>
            </a:fld>
            <a:endParaRPr lang="en-US"/>
          </a:p>
        </p:txBody>
      </p:sp>
      <p:sp>
        <p:nvSpPr>
          <p:cNvPr id="5" name="TextBox 4"/>
          <p:cNvSpPr txBox="1"/>
          <p:nvPr/>
        </p:nvSpPr>
        <p:spPr>
          <a:xfrm>
            <a:off x="8935666" y="6547380"/>
            <a:ext cx="2657958" cy="186521"/>
          </a:xfrm>
          <a:prstGeom prst="rect">
            <a:avLst/>
          </a:prstGeom>
          <a:noFill/>
        </p:spPr>
        <p:txBody>
          <a:bodyPr wrap="none" lIns="186444" tIns="149156" rIns="186444" bIns="149156" rtlCol="0" anchor="ctr">
            <a:noAutofit/>
          </a:bodyPr>
          <a:lstStyle/>
          <a:p>
            <a:pPr algn="r">
              <a:lnSpc>
                <a:spcPct val="90000"/>
              </a:lnSpc>
              <a:spcAft>
                <a:spcPts val="612"/>
              </a:spcAft>
            </a:pPr>
            <a:r>
              <a:rPr lang="en-US" sz="898">
                <a:solidFill>
                  <a:schemeClr val="tx2"/>
                </a:solidFill>
              </a:rPr>
              <a:t>Microsoft Confidential</a:t>
            </a:r>
          </a:p>
        </p:txBody>
      </p:sp>
    </p:spTree>
    <p:extLst>
      <p:ext uri="{BB962C8B-B14F-4D97-AF65-F5344CB8AC3E}">
        <p14:creationId xmlns:p14="http://schemas.microsoft.com/office/powerpoint/2010/main" val="18940740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442604"/>
          </a:xfrm>
        </p:spPr>
        <p:txBody>
          <a:bodyPr tIns="64008"/>
          <a:lstStyle>
            <a:lvl1pPr>
              <a:defRPr sz="2448"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63500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F6B730-4257-42FC-8019-4562DF1151A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B847992-3D78-45F8-8160-A55871805AE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8DC160E-CD34-4ED5-A58B-032C1543F95D}"/>
              </a:ext>
            </a:extLst>
          </p:cNvPr>
          <p:cNvSpPr>
            <a:spLocks noGrp="1"/>
          </p:cNvSpPr>
          <p:nvPr>
            <p:ph type="dt" sz="half" idx="10"/>
          </p:nvPr>
        </p:nvSpPr>
        <p:spPr/>
        <p:txBody>
          <a:bodyPr/>
          <a:lstStyle/>
          <a:p>
            <a:fld id="{B78697B4-9FBF-48C6-A914-184B8B099A45}" type="datetimeFigureOut">
              <a:rPr lang="en-US" smtClean="0"/>
              <a:t>9/16/2022</a:t>
            </a:fld>
            <a:endParaRPr lang="en-US"/>
          </a:p>
        </p:txBody>
      </p:sp>
      <p:sp>
        <p:nvSpPr>
          <p:cNvPr id="5" name="Footer Placeholder 4">
            <a:extLst>
              <a:ext uri="{FF2B5EF4-FFF2-40B4-BE49-F238E27FC236}">
                <a16:creationId xmlns:a16="http://schemas.microsoft.com/office/drawing/2014/main" id="{093ADEA7-5B8A-4775-8E57-D7CA1EB20F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0F4656-65A0-4F10-A08A-FB5465C442A1}"/>
              </a:ext>
            </a:extLst>
          </p:cNvPr>
          <p:cNvSpPr>
            <a:spLocks noGrp="1"/>
          </p:cNvSpPr>
          <p:nvPr>
            <p:ph type="sldNum" sz="quarter" idx="12"/>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796620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1_Title Slide_Illustration">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9"/>
            <a:ext cx="7315136" cy="1828786"/>
          </a:xfrm>
          <a:noFill/>
        </p:spPr>
        <p:txBody>
          <a:bodyPr lIns="146304" tIns="91440" rIns="146304" bIns="91440" anchor="t" anchorCtr="0"/>
          <a:lstStyle>
            <a:lvl1pPr>
              <a:defRPr sz="4694" spc="-87"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4" y="3955786"/>
            <a:ext cx="7315137" cy="1828007"/>
          </a:xfrm>
          <a:noFill/>
        </p:spPr>
        <p:txBody>
          <a:bodyPr lIns="146304" tIns="109728" rIns="146304" bIns="109728">
            <a:noAutofit/>
          </a:bodyPr>
          <a:lstStyle>
            <a:lvl1pPr marL="0" indent="0">
              <a:spcBef>
                <a:spcPts val="0"/>
              </a:spcBef>
              <a:buNone/>
              <a:defRPr sz="2780"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invGray">
          <a:xfrm>
            <a:off x="457580" y="6120853"/>
            <a:ext cx="1828800" cy="393896"/>
          </a:xfrm>
          <a:prstGeom prst="rect">
            <a:avLst/>
          </a:prstGeom>
        </p:spPr>
      </p:pic>
    </p:spTree>
    <p:extLst>
      <p:ext uri="{BB962C8B-B14F-4D97-AF65-F5344CB8AC3E}">
        <p14:creationId xmlns:p14="http://schemas.microsoft.com/office/powerpoint/2010/main" val="2833646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cSld name="Title without Subtitle">
    <p:spTree>
      <p:nvGrpSpPr>
        <p:cNvPr id="1" name=""/>
        <p:cNvGrpSpPr/>
        <p:nvPr/>
      </p:nvGrpSpPr>
      <p:grpSpPr>
        <a:xfrm>
          <a:off x="0" y="0"/>
          <a:ext cx="0" cy="0"/>
          <a:chOff x="0" y="0"/>
          <a:chExt cx="0" cy="0"/>
        </a:xfrm>
      </p:grpSpPr>
      <p:sp>
        <p:nvSpPr>
          <p:cNvPr id="6" name="Title 5"/>
          <p:cNvSpPr>
            <a:spLocks noGrp="1"/>
          </p:cNvSpPr>
          <p:nvPr>
            <p:ph type="title"/>
          </p:nvPr>
        </p:nvSpPr>
        <p:spPr>
          <a:xfrm>
            <a:off x="0" y="2"/>
            <a:ext cx="11889564" cy="917575"/>
          </a:xfrm>
        </p:spPr>
        <p:txBody>
          <a:bodyPr/>
          <a:lstStyle>
            <a:lvl1pPr>
              <a:lnSpc>
                <a:spcPct val="100000"/>
              </a:lnSpc>
              <a:defRPr sz="3672">
                <a:solidFill>
                  <a:srgbClr val="002060"/>
                </a:solidFill>
              </a:defRPr>
            </a:lvl1pPr>
          </a:lstStyle>
          <a:p>
            <a:r>
              <a:rPr lang="en-US"/>
              <a:t>Click to edit Master title style</a:t>
            </a:r>
          </a:p>
        </p:txBody>
      </p:sp>
      <p:sp>
        <p:nvSpPr>
          <p:cNvPr id="7" name="Slide Number Placeholder 1"/>
          <p:cNvSpPr>
            <a:spLocks noGrp="1"/>
          </p:cNvSpPr>
          <p:nvPr>
            <p:ph type="sldNum" sz="quarter" idx="11"/>
          </p:nvPr>
        </p:nvSpPr>
        <p:spPr>
          <a:xfrm>
            <a:off x="11845418" y="6615655"/>
            <a:ext cx="591057"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267977678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cSld name="1_Title without Subtitle">
    <p:spTree>
      <p:nvGrpSpPr>
        <p:cNvPr id="1" name=""/>
        <p:cNvGrpSpPr/>
        <p:nvPr/>
      </p:nvGrpSpPr>
      <p:grpSpPr>
        <a:xfrm>
          <a:off x="0" y="0"/>
          <a:ext cx="0" cy="0"/>
          <a:chOff x="0" y="0"/>
          <a:chExt cx="0" cy="0"/>
        </a:xfrm>
      </p:grpSpPr>
      <p:sp>
        <p:nvSpPr>
          <p:cNvPr id="6" name="Title 5"/>
          <p:cNvSpPr>
            <a:spLocks noGrp="1"/>
          </p:cNvSpPr>
          <p:nvPr>
            <p:ph type="title"/>
          </p:nvPr>
        </p:nvSpPr>
        <p:spPr>
          <a:xfrm>
            <a:off x="0" y="2"/>
            <a:ext cx="11889564" cy="917575"/>
          </a:xfrm>
        </p:spPr>
        <p:txBody>
          <a:bodyPr/>
          <a:lstStyle>
            <a:lvl1pPr>
              <a:lnSpc>
                <a:spcPct val="100000"/>
              </a:lnSpc>
              <a:defRPr sz="3672">
                <a:solidFill>
                  <a:srgbClr val="002060"/>
                </a:solidFill>
              </a:defRPr>
            </a:lvl1pPr>
          </a:lstStyle>
          <a:p>
            <a:r>
              <a:rPr lang="en-US"/>
              <a:t>Click to edit Master title style</a:t>
            </a:r>
          </a:p>
        </p:txBody>
      </p:sp>
      <p:sp>
        <p:nvSpPr>
          <p:cNvPr id="7" name="Slide Number Placeholder 1"/>
          <p:cNvSpPr>
            <a:spLocks noGrp="1"/>
          </p:cNvSpPr>
          <p:nvPr>
            <p:ph type="sldNum" sz="quarter" idx="11"/>
          </p:nvPr>
        </p:nvSpPr>
        <p:spPr>
          <a:xfrm>
            <a:off x="11845418" y="6615655"/>
            <a:ext cx="591057"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3020619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cSld name="2_Business Update Slide Template">
    <p:spTree>
      <p:nvGrpSpPr>
        <p:cNvPr id="1" name=""/>
        <p:cNvGrpSpPr/>
        <p:nvPr/>
      </p:nvGrpSpPr>
      <p:grpSpPr>
        <a:xfrm>
          <a:off x="0" y="0"/>
          <a:ext cx="0" cy="0"/>
          <a:chOff x="0" y="0"/>
          <a:chExt cx="0" cy="0"/>
        </a:xfrm>
      </p:grpSpPr>
      <p:sp>
        <p:nvSpPr>
          <p:cNvPr id="6" name="Title 5"/>
          <p:cNvSpPr>
            <a:spLocks noGrp="1"/>
          </p:cNvSpPr>
          <p:nvPr>
            <p:ph type="title"/>
          </p:nvPr>
        </p:nvSpPr>
        <p:spPr>
          <a:xfrm>
            <a:off x="0" y="3"/>
            <a:ext cx="11888047" cy="378871"/>
          </a:xfrm>
        </p:spPr>
        <p:txBody>
          <a:bodyPr/>
          <a:lstStyle>
            <a:lvl1pPr algn="l" defTabSz="932112" rtl="0" eaLnBrk="1" latinLnBrk="0" hangingPunct="1">
              <a:lnSpc>
                <a:spcPct val="90000"/>
              </a:lnSpc>
              <a:spcBef>
                <a:spcPct val="0"/>
              </a:spcBef>
              <a:buNone/>
              <a:defRPr lang="en-US" sz="2040"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
        <p:nvSpPr>
          <p:cNvPr id="7" name="Slide Number Placeholder 1"/>
          <p:cNvSpPr>
            <a:spLocks noGrp="1"/>
          </p:cNvSpPr>
          <p:nvPr>
            <p:ph type="sldNum" sz="quarter" idx="11"/>
          </p:nvPr>
        </p:nvSpPr>
        <p:spPr>
          <a:xfrm>
            <a:off x="11843907" y="6615655"/>
            <a:ext cx="590982"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3726757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6169232"/>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98DB59-9B40-4CDF-A0B5-4461863E2A66}"/>
              </a:ext>
            </a:extLst>
          </p:cNvPr>
          <p:cNvSpPr>
            <a:spLocks noGrp="1"/>
          </p:cNvSpPr>
          <p:nvPr>
            <p:ph type="ctrTitle"/>
          </p:nvPr>
        </p:nvSpPr>
        <p:spPr>
          <a:xfrm>
            <a:off x="1554361" y="1144707"/>
            <a:ext cx="9326166" cy="2435131"/>
          </a:xfrm>
        </p:spPr>
        <p:txBody>
          <a:bodyPr anchor="b"/>
          <a:lstStyle>
            <a:lvl1pPr algn="ctr">
              <a:defRPr sz="6116"/>
            </a:lvl1pPr>
          </a:lstStyle>
          <a:p>
            <a:r>
              <a:rPr lang="en-US"/>
              <a:t>Click to edit Master title style</a:t>
            </a:r>
          </a:p>
        </p:txBody>
      </p:sp>
      <p:sp>
        <p:nvSpPr>
          <p:cNvPr id="3" name="Subtitle 2">
            <a:extLst>
              <a:ext uri="{FF2B5EF4-FFF2-40B4-BE49-F238E27FC236}">
                <a16:creationId xmlns:a16="http://schemas.microsoft.com/office/drawing/2014/main" id="{7E515631-B59E-4572-9B2E-AC300FF00523}"/>
              </a:ext>
            </a:extLst>
          </p:cNvPr>
          <p:cNvSpPr>
            <a:spLocks noGrp="1"/>
          </p:cNvSpPr>
          <p:nvPr>
            <p:ph type="subTitle" idx="1"/>
          </p:nvPr>
        </p:nvSpPr>
        <p:spPr>
          <a:xfrm>
            <a:off x="1554361" y="3673746"/>
            <a:ext cx="9326166" cy="523733"/>
          </a:xfrm>
        </p:spPr>
        <p:txBody>
          <a:bodyPr/>
          <a:lstStyle>
            <a:lvl1pPr marL="0" indent="0" algn="ctr">
              <a:buNone/>
              <a:defRPr sz="2448"/>
            </a:lvl1pPr>
            <a:lvl2pPr marL="466162" indent="0" algn="ctr">
              <a:buNone/>
              <a:defRPr sz="2040"/>
            </a:lvl2pPr>
            <a:lvl3pPr marL="932325" indent="0" algn="ctr">
              <a:buNone/>
              <a:defRPr sz="1836"/>
            </a:lvl3pPr>
            <a:lvl4pPr marL="1398487" indent="0" algn="ctr">
              <a:buNone/>
              <a:defRPr sz="1632"/>
            </a:lvl4pPr>
            <a:lvl5pPr marL="1864649" indent="0" algn="ctr">
              <a:buNone/>
              <a:defRPr sz="1632"/>
            </a:lvl5pPr>
            <a:lvl6pPr marL="2330811" indent="0" algn="ctr">
              <a:buNone/>
              <a:defRPr sz="1632"/>
            </a:lvl6pPr>
            <a:lvl7pPr marL="2796973" indent="0" algn="ctr">
              <a:buNone/>
              <a:defRPr sz="1632"/>
            </a:lvl7pPr>
            <a:lvl8pPr marL="3263135" indent="0" algn="ctr">
              <a:buNone/>
              <a:defRPr sz="1632"/>
            </a:lvl8pPr>
            <a:lvl9pPr marL="3729296"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213B4169-FC91-4248-B72D-4118EDD73468}"/>
              </a:ext>
            </a:extLst>
          </p:cNvPr>
          <p:cNvSpPr>
            <a:spLocks noGrp="1"/>
          </p:cNvSpPr>
          <p:nvPr>
            <p:ph type="dt" sz="half" idx="10"/>
          </p:nvPr>
        </p:nvSpPr>
        <p:spPr/>
        <p:txBody>
          <a:bodyPr/>
          <a:lstStyle/>
          <a:p>
            <a:fld id="{B78697B4-9FBF-48C6-A914-184B8B099A45}" type="datetimeFigureOut">
              <a:rPr lang="en-US" smtClean="0"/>
              <a:t>9/16/2022</a:t>
            </a:fld>
            <a:endParaRPr lang="en-US"/>
          </a:p>
        </p:txBody>
      </p:sp>
      <p:sp>
        <p:nvSpPr>
          <p:cNvPr id="5" name="Footer Placeholder 4">
            <a:extLst>
              <a:ext uri="{FF2B5EF4-FFF2-40B4-BE49-F238E27FC236}">
                <a16:creationId xmlns:a16="http://schemas.microsoft.com/office/drawing/2014/main" id="{57E40227-32BE-4DCB-B01D-1792CB992F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0BAFDC2-27F0-4BCC-91B2-76730AE6568F}"/>
              </a:ext>
            </a:extLst>
          </p:cNvPr>
          <p:cNvSpPr>
            <a:spLocks noGrp="1"/>
          </p:cNvSpPr>
          <p:nvPr>
            <p:ph type="sldNum" sz="quarter" idx="12"/>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31085319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0371452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a:srcRect l="32559" r="10791"/>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4033128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a:srcRect l="32559" r="10791"/>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2292437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60"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354520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5407661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7136672"/>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1552281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70"/>
            <a:ext cx="5315592"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70"/>
            <a:ext cx="5323687"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163171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guide id="4" pos="3660" userDrawn="1">
          <p15:clr>
            <a:srgbClr val="5ACBF0"/>
          </p15:clr>
        </p15:guide>
        <p15:guide id="5" pos="4022" userDrawn="1">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2"/>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700145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guide id="4" pos="3656" userDrawn="1">
          <p15:clr>
            <a:srgbClr val="5ACBF0"/>
          </p15:clr>
        </p15:guide>
        <p15:guide id="5" pos="4022" userDrawn="1">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02681413"/>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29038999"/>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39058"/>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34682925"/>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4"/>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46032300"/>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38039705"/>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39058"/>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81563040"/>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2209914719"/>
      </p:ext>
    </p:extLst>
  </p:cSld>
  <p:clrMapOvr>
    <a:masterClrMapping/>
  </p:clrMapOvr>
  <p:transition>
    <p:fade/>
  </p:transition>
  <p:extLst>
    <p:ext uri="{DCECCB84-F9BA-43D5-87BE-67443E8EF086}">
      <p15:sldGuideLst xmlns:p15="http://schemas.microsoft.com/office/powerpoint/2012/main">
        <p15:guide id="1" orient="horz" pos="2304" userDrawn="1">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612681923"/>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1702238831"/>
      </p:ext>
    </p:extLst>
  </p:cSld>
  <p:clrMapOvr>
    <a:masterClrMapping/>
  </p:clrMapOvr>
  <p:transition>
    <p:fade/>
  </p:transition>
  <p:extLst>
    <p:ext uri="{DCECCB84-F9BA-43D5-87BE-67443E8EF086}">
      <p15:sldGuideLst xmlns:p15="http://schemas.microsoft.com/office/powerpoint/2012/main">
        <p15:guide id="7" pos="4103" userDrawn="1">
          <p15:clr>
            <a:srgbClr val="5ACBF0"/>
          </p15:clr>
        </p15:guide>
        <p15:guide id="8" orient="horz" pos="2160" userDrawn="1">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6"/>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94062941"/>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1"/>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86962260"/>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89044434"/>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59346290"/>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3321751131"/>
      </p:ext>
    </p:extLst>
  </p:cSld>
  <p:clrMapOvr>
    <a:masterClrMapping/>
  </p:clrMapOvr>
  <p:transition>
    <p:fade/>
  </p:transition>
  <p:extLst>
    <p:ext uri="{DCECCB84-F9BA-43D5-87BE-67443E8EF086}">
      <p15:sldGuideLst xmlns:p15="http://schemas.microsoft.com/office/powerpoint/2012/main">
        <p15:guide id="1" orient="horz" pos="2304" userDrawn="1">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32768261"/>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5" y="2355796"/>
            <a:ext cx="3245419" cy="4038043"/>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4" y="2355794"/>
            <a:ext cx="7399396" cy="4038044"/>
          </a:xfrm>
        </p:spPr>
        <p:txBody>
          <a:bodyPr anchor="t">
            <a:noAutofit/>
          </a:bodyPr>
          <a:lstStyle>
            <a:lvl1pPr marL="0" indent="0">
              <a:spcAft>
                <a:spcPts val="816"/>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4"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2501918"/>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1272" userDrawn="1">
          <p15:clr>
            <a:srgbClr val="5ACBF0"/>
          </p15:clr>
        </p15:guide>
        <p15:guide id="30" pos="2376" userDrawn="1">
          <p15:clr>
            <a:srgbClr val="5ACBF0"/>
          </p15:clr>
        </p15:guide>
        <p15:guide id="32" orient="horz" pos="1455" userDrawn="1">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4" y="3213099"/>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5"/>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466591099"/>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5ACBF0"/>
          </p15:clr>
        </p15:guide>
        <p15:guide id="30" pos="2376" userDrawn="1">
          <p15:clr>
            <a:srgbClr val="5ACBF0"/>
          </p15:clr>
        </p15:guide>
        <p15:guide id="31" pos="3113" userDrawn="1">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35633545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99982" y="3053049"/>
            <a:ext cx="11238030" cy="565027"/>
          </a:xfrm>
        </p:spPr>
        <p:txBody>
          <a:bodyPr/>
          <a:lstStyle/>
          <a:p>
            <a:r>
              <a:rPr lang="en-US"/>
              <a:t>Click to edit Master title style</a:t>
            </a:r>
          </a:p>
        </p:txBody>
      </p:sp>
    </p:spTree>
    <p:extLst>
      <p:ext uri="{BB962C8B-B14F-4D97-AF65-F5344CB8AC3E}">
        <p14:creationId xmlns:p14="http://schemas.microsoft.com/office/powerpoint/2010/main" val="37954977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462754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lstStyle/>
          <a:p>
            <a:r>
              <a:rPr lang="en-US"/>
              <a:t>Click to edit Master title style</a:t>
            </a:r>
          </a:p>
        </p:txBody>
      </p:sp>
    </p:spTree>
    <p:extLst>
      <p:ext uri="{BB962C8B-B14F-4D97-AF65-F5344CB8AC3E}">
        <p14:creationId xmlns:p14="http://schemas.microsoft.com/office/powerpoint/2010/main" val="10466706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3857187"/>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350901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8009733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3838485020"/>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8973387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56"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flip="none" rotWithShape="1">
                  <a:gsLst>
                    <a:gs pos="82000">
                      <a:schemeClr val="bg1"/>
                    </a:gs>
                    <a:gs pos="0">
                      <a:schemeClr val="bg1"/>
                    </a:gs>
                  </a:gsLst>
                  <a:lin ang="2700000" scaled="1"/>
                  <a:tileRect/>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2146704844"/>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56"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a:gsLst>
                    <a:gs pos="100000">
                      <a:schemeClr val="tx1"/>
                    </a:gs>
                    <a:gs pos="0">
                      <a:schemeClr val="tx1"/>
                    </a:gs>
                  </a:gsLst>
                  <a:lin ang="5400000" scaled="0"/>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3201177942"/>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954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23892"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27739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40257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2552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38125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259226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240942" y="1465289"/>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3286800"/>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35924247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964812" y="509181"/>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217445" y="745099"/>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99983" y="1866103"/>
            <a:ext cx="4492932" cy="1130053"/>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32803374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240942" y="1465289"/>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4174027"/>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950286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0"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95839" y="1465289"/>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419494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96876" y="2480215"/>
            <a:ext cx="4243405" cy="1017048"/>
          </a:xfrm>
          <a:noFill/>
        </p:spPr>
        <p:txBody>
          <a:bodyPr wrap="square"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96876" y="3951630"/>
            <a:ext cx="4243405"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745557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734650" y="1705789"/>
            <a:ext cx="6009158" cy="3582949"/>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935790" y="1920351"/>
            <a:ext cx="5606879" cy="3153825"/>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95839" y="1705788"/>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29025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3971970329"/>
      </p:ext>
    </p:extLst>
  </p:cSld>
  <p:clrMapOvr>
    <a:masterClrMapping/>
  </p:clrMapOvr>
  <p:transition>
    <p:fade/>
  </p:transition>
  <p:extLst>
    <p:ext uri="{DCECCB84-F9BA-43D5-87BE-67443E8EF086}">
      <p15:sldGuideLst xmlns:p15="http://schemas.microsoft.com/office/powerpoint/2012/main">
        <p15:guide id="7" pos="4103" userDrawn="1">
          <p15:clr>
            <a:srgbClr val="5ACBF0"/>
          </p15:clr>
        </p15:guide>
        <p15:guide id="8" orient="horz" pos="2160" userDrawn="1">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53414" indent="0">
              <a:buNone/>
              <a:defRPr sz="2448">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96181" indent="0">
              <a:buNone/>
              <a:defRPr sz="204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30690"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71805"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2503999"/>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6032985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8709247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8759631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3432451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2"/>
            </a:solidFill>
          </a:ln>
        </p:spPr>
        <p:txBody>
          <a:bodyPr wrap="square" lIns="182880" tIns="182880" rIns="182880" bIns="182880" anchor="t" anchorCtr="0">
            <a:noAutofit/>
          </a:bodyPr>
          <a:lstStyle>
            <a:lvl1pPr marL="0" indent="0">
              <a:buNone/>
              <a:defRPr sz="1122">
                <a:gradFill flip="none" rotWithShape="1">
                  <a:gsLst>
                    <a:gs pos="82000">
                      <a:schemeClr val="accent1"/>
                    </a:gs>
                    <a:gs pos="0">
                      <a:schemeClr val="accent1"/>
                    </a:gs>
                  </a:gsLst>
                  <a:lin ang="2700000" scaled="1"/>
                  <a:tileRect/>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2"/>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flip="none" rotWithShape="1">
                  <a:gsLst>
                    <a:gs pos="82000">
                      <a:schemeClr val="accent1"/>
                    </a:gs>
                    <a:gs pos="0">
                      <a:schemeClr val="accent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282216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3" name="Graphic 2" descr="Microsoft Flow logo">
            <a:extLst>
              <a:ext uri="{FF2B5EF4-FFF2-40B4-BE49-F238E27FC236}">
                <a16:creationId xmlns:a16="http://schemas.microsoft.com/office/drawing/2014/main" id="{85DA7259-7117-4C57-B5D0-B2AF54CD36B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09969" y="610341"/>
            <a:ext cx="633218" cy="432694"/>
          </a:xfrm>
          <a:prstGeom prst="rect">
            <a:avLst/>
          </a:prstGeom>
        </p:spPr>
      </p:pic>
    </p:spTree>
    <p:extLst>
      <p:ext uri="{BB962C8B-B14F-4D97-AF65-F5344CB8AC3E}">
        <p14:creationId xmlns:p14="http://schemas.microsoft.com/office/powerpoint/2010/main" val="13182392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9633946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9822841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7266188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6"/>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14975584"/>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261274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3"/>
            </a:solidFill>
          </a:ln>
        </p:spPr>
        <p:txBody>
          <a:bodyPr wrap="square" lIns="182880" tIns="182880" rIns="182880" bIns="182880" anchor="t" anchorCtr="0">
            <a:noAutofit/>
          </a:bodyPr>
          <a:lstStyle>
            <a:lvl1pPr marL="0" indent="0">
              <a:buNone/>
              <a:defRPr sz="1122">
                <a:gradFill>
                  <a:gsLst>
                    <a:gs pos="82000">
                      <a:schemeClr val="accent3"/>
                    </a:gs>
                    <a:gs pos="0">
                      <a:schemeClr val="accent3"/>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3"/>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3"/>
                    </a:gs>
                    <a:gs pos="0">
                      <a:schemeClr val="accent3"/>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4529460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grpSp>
        <p:nvGrpSpPr>
          <p:cNvPr id="60" name="Group 12">
            <a:extLst>
              <a:ext uri="{FF2B5EF4-FFF2-40B4-BE49-F238E27FC236}">
                <a16:creationId xmlns:a16="http://schemas.microsoft.com/office/drawing/2014/main" id="{0E0E57C0-7376-4944-9DCE-005185421347}"/>
              </a:ext>
            </a:extLst>
          </p:cNvPr>
          <p:cNvGrpSpPr>
            <a:grpSpLocks noChangeAspect="1"/>
          </p:cNvGrpSpPr>
          <p:nvPr userDrawn="1"/>
        </p:nvGrpSpPr>
        <p:grpSpPr bwMode="auto">
          <a:xfrm>
            <a:off x="610421" y="605113"/>
            <a:ext cx="641213" cy="487118"/>
            <a:chOff x="4543" y="2176"/>
            <a:chExt cx="258" cy="196"/>
          </a:xfrm>
          <a:solidFill>
            <a:schemeClr val="tx1"/>
          </a:solidFill>
        </p:grpSpPr>
        <p:sp>
          <p:nvSpPr>
            <p:cNvPr id="61" name="Freeform 13">
              <a:extLst>
                <a:ext uri="{FF2B5EF4-FFF2-40B4-BE49-F238E27FC236}">
                  <a16:creationId xmlns:a16="http://schemas.microsoft.com/office/drawing/2014/main" id="{0FAF9751-0C2B-4181-B0AC-15CA1A9D43EC}"/>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2" name="Freeform 14">
              <a:extLst>
                <a:ext uri="{FF2B5EF4-FFF2-40B4-BE49-F238E27FC236}">
                  <a16:creationId xmlns:a16="http://schemas.microsoft.com/office/drawing/2014/main" id="{6641E717-EED8-4EF2-A4F7-7983712AD2B1}"/>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3" name="Freeform 15">
              <a:extLst>
                <a:ext uri="{FF2B5EF4-FFF2-40B4-BE49-F238E27FC236}">
                  <a16:creationId xmlns:a16="http://schemas.microsoft.com/office/drawing/2014/main" id="{17D3AA76-A13A-49B0-813F-4A379399E317}"/>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4" name="Freeform 16">
              <a:extLst>
                <a:ext uri="{FF2B5EF4-FFF2-40B4-BE49-F238E27FC236}">
                  <a16:creationId xmlns:a16="http://schemas.microsoft.com/office/drawing/2014/main" id="{02F5E2E1-F2A4-4C05-B836-EFAEDB0A32AB}"/>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5" name="Freeform 17">
              <a:extLst>
                <a:ext uri="{FF2B5EF4-FFF2-40B4-BE49-F238E27FC236}">
                  <a16:creationId xmlns:a16="http://schemas.microsoft.com/office/drawing/2014/main" id="{C00683F1-8475-44C7-A3C3-BFE332B4E634}"/>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grpSp>
    </p:spTree>
    <p:extLst>
      <p:ext uri="{BB962C8B-B14F-4D97-AF65-F5344CB8AC3E}">
        <p14:creationId xmlns:p14="http://schemas.microsoft.com/office/powerpoint/2010/main" val="29429598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0724864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8457315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4023280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5917365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rgbClr val="6A4B16"/>
            </a:solidFill>
          </a:ln>
        </p:spPr>
        <p:txBody>
          <a:bodyPr wrap="square" lIns="182880" tIns="182880" rIns="182880" bIns="182880" anchor="t" anchorCtr="0">
            <a:noAutofit/>
          </a:bodyPr>
          <a:lstStyle>
            <a:lvl1pPr marL="0" indent="0">
              <a:buNone/>
              <a:defRPr sz="1122">
                <a:gradFill>
                  <a:gsLst>
                    <a:gs pos="82000">
                      <a:srgbClr val="6A4B16"/>
                    </a:gs>
                    <a:gs pos="0">
                      <a:srgbClr val="6A4B1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rgbClr val="6A4B1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rgbClr val="6A4B16"/>
                    </a:gs>
                    <a:gs pos="0">
                      <a:srgbClr val="6A4B1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20915798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D59D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6" name="Power Apps 1" descr="Power Apps">
            <a:extLst>
              <a:ext uri="{FF2B5EF4-FFF2-40B4-BE49-F238E27FC236}">
                <a16:creationId xmlns:a16="http://schemas.microsoft.com/office/drawing/2014/main" id="{3CDD38F3-4197-44AB-9F9D-E38249A8490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3732" y="489333"/>
            <a:ext cx="716706" cy="716695"/>
          </a:xfrm>
          <a:prstGeom prst="rect">
            <a:avLst/>
          </a:prstGeom>
        </p:spPr>
      </p:pic>
    </p:spTree>
    <p:extLst>
      <p:ext uri="{BB962C8B-B14F-4D97-AF65-F5344CB8AC3E}">
        <p14:creationId xmlns:p14="http://schemas.microsoft.com/office/powerpoint/2010/main" val="35048503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3591503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1"/>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62205001"/>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913755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5109525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1778073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5"/>
            </a:solidFill>
          </a:ln>
        </p:spPr>
        <p:txBody>
          <a:bodyPr wrap="square" lIns="182880" tIns="182880" rIns="182880" bIns="182880" anchor="t" anchorCtr="0">
            <a:noAutofit/>
          </a:bodyPr>
          <a:lstStyle>
            <a:lvl1pPr marL="0" indent="0">
              <a:buNone/>
              <a:defRPr sz="1122">
                <a:gradFill>
                  <a:gsLst>
                    <a:gs pos="82000">
                      <a:schemeClr val="accent5"/>
                    </a:gs>
                    <a:gs pos="0">
                      <a:schemeClr val="accent5"/>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5"/>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5"/>
                    </a:gs>
                    <a:gs pos="0">
                      <a:schemeClr val="accent5"/>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731576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13" name="Graphic 12">
            <a:extLst>
              <a:ext uri="{FF2B5EF4-FFF2-40B4-BE49-F238E27FC236}">
                <a16:creationId xmlns:a16="http://schemas.microsoft.com/office/drawing/2014/main" id="{1A457A6F-4F3B-4634-AE7D-D23DC9778F9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2978" y="462966"/>
            <a:ext cx="690136" cy="690126"/>
          </a:xfrm>
          <a:prstGeom prst="rect">
            <a:avLst/>
          </a:prstGeom>
        </p:spPr>
      </p:pic>
    </p:spTree>
    <p:extLst>
      <p:ext uri="{BB962C8B-B14F-4D97-AF65-F5344CB8AC3E}">
        <p14:creationId xmlns:p14="http://schemas.microsoft.com/office/powerpoint/2010/main" val="35029028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643816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882890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043309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4488431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6"/>
            </a:solidFill>
          </a:ln>
        </p:spPr>
        <p:txBody>
          <a:bodyPr wrap="square" lIns="182880" tIns="182880" rIns="182880" bIns="182880" anchor="t" anchorCtr="0">
            <a:noAutofit/>
          </a:bodyPr>
          <a:lstStyle>
            <a:lvl1pPr marL="0" indent="0">
              <a:buNone/>
              <a:defRPr sz="1122">
                <a:gradFill>
                  <a:gsLst>
                    <a:gs pos="82000">
                      <a:schemeClr val="accent6"/>
                    </a:gs>
                    <a:gs pos="0">
                      <a:schemeClr val="accent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6"/>
                    </a:gs>
                    <a:gs pos="0">
                      <a:schemeClr val="accent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7803312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78950296"/>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gradFill>
                  <a:gsLst>
                    <a:gs pos="50000">
                      <a:schemeClr val="tx1"/>
                    </a:gs>
                    <a:gs pos="100000">
                      <a:schemeClr val="tx1"/>
                    </a:gs>
                  </a:gsLst>
                  <a:lin ang="10800000" scaled="1"/>
                </a:gradFill>
                <a:latin typeface="+mn-lt"/>
              </a:defRPr>
            </a:lvl1pPr>
            <a:lvl2pPr>
              <a:defRPr sz="2856">
                <a:gradFill>
                  <a:gsLst>
                    <a:gs pos="50000">
                      <a:schemeClr val="tx1"/>
                    </a:gs>
                    <a:gs pos="100000">
                      <a:schemeClr val="tx1"/>
                    </a:gs>
                  </a:gsLst>
                  <a:lin ang="10800000" scaled="1"/>
                </a:gradFill>
                <a:latin typeface="+mn-lt"/>
              </a:defRPr>
            </a:lvl2pPr>
            <a:lvl3pPr>
              <a:defRPr sz="2448">
                <a:gradFill>
                  <a:gsLst>
                    <a:gs pos="50000">
                      <a:schemeClr val="tx1"/>
                    </a:gs>
                    <a:gs pos="100000">
                      <a:schemeClr val="tx1"/>
                    </a:gs>
                  </a:gsLst>
                  <a:lin ang="10800000" scaled="1"/>
                </a:gradFill>
                <a:latin typeface="+mn-lt"/>
              </a:defRPr>
            </a:lvl3pPr>
            <a:lvl4pPr>
              <a:defRPr sz="2040">
                <a:gradFill>
                  <a:gsLst>
                    <a:gs pos="50000">
                      <a:schemeClr val="tx1"/>
                    </a:gs>
                    <a:gs pos="100000">
                      <a:schemeClr val="tx1"/>
                    </a:gs>
                  </a:gsLst>
                  <a:lin ang="10800000" scaled="1"/>
                </a:gradFill>
                <a:latin typeface="+mn-lt"/>
              </a:defRPr>
            </a:lvl4pPr>
            <a:lvl5pPr>
              <a:defRPr sz="1836">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3071681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99982" y="2932237"/>
            <a:ext cx="4241959" cy="1130053"/>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988574" y="-10717"/>
            <a:ext cx="5453216" cy="5854669"/>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5350437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8588566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1211264"/>
            <a:ext cx="9142769" cy="1828800"/>
          </a:xfrm>
          <a:noFill/>
        </p:spPr>
        <p:txBody>
          <a:bodyPr lIns="146304" tIns="91440" rIns="146304" bIns="91440" anchor="b" anchorCtr="0"/>
          <a:lstStyle>
            <a:lvl1pPr>
              <a:defRPr sz="5399" spc="-100" baseline="0">
                <a:solidFill>
                  <a:schemeClr val="tx1"/>
                </a:solidFill>
              </a:defRPr>
            </a:lvl1pPr>
          </a:lstStyle>
          <a:p>
            <a:r>
              <a:rPr lang="en-US"/>
              <a:t>Event name</a:t>
            </a:r>
          </a:p>
        </p:txBody>
      </p:sp>
      <p:sp>
        <p:nvSpPr>
          <p:cNvPr id="5" name="Text Placeholder 4"/>
          <p:cNvSpPr>
            <a:spLocks noGrp="1"/>
          </p:cNvSpPr>
          <p:nvPr>
            <p:ph type="body" sz="quarter" idx="12" hasCustomPrompt="1"/>
          </p:nvPr>
        </p:nvSpPr>
        <p:spPr>
          <a:xfrm>
            <a:off x="274667" y="3040064"/>
            <a:ext cx="9142770" cy="730183"/>
          </a:xfrm>
          <a:noFill/>
        </p:spPr>
        <p:txBody>
          <a:bodyPr lIns="164592" tIns="109728" rIns="164592" bIns="109728">
            <a:noAutofit/>
          </a:bodyPr>
          <a:lstStyle>
            <a:lvl1pPr marL="0" indent="0">
              <a:spcBef>
                <a:spcPts val="0"/>
              </a:spcBef>
              <a:buNone/>
              <a:defRPr sz="3200" spc="0" baseline="0">
                <a:solidFill>
                  <a:schemeClr val="tx1"/>
                </a:solidFill>
                <a:latin typeface="+mn-lt"/>
              </a:defRPr>
            </a:lvl1pPr>
          </a:lstStyle>
          <a:p>
            <a:pPr lvl="0"/>
            <a:r>
              <a:rPr lang="en-US"/>
              <a:t>Date</a:t>
            </a:r>
          </a:p>
        </p:txBody>
      </p:sp>
      <p:sp>
        <p:nvSpPr>
          <p:cNvPr id="3" name="Text Placeholder 2"/>
          <p:cNvSpPr>
            <a:spLocks noGrp="1"/>
          </p:cNvSpPr>
          <p:nvPr>
            <p:ph type="body" sz="quarter" idx="13" hasCustomPrompt="1"/>
          </p:nvPr>
        </p:nvSpPr>
        <p:spPr>
          <a:xfrm>
            <a:off x="274604" y="3770246"/>
            <a:ext cx="9142833" cy="461665"/>
          </a:xfrm>
        </p:spPr>
        <p:txBody>
          <a:bodyPr/>
          <a:lstStyle>
            <a:lvl1pPr marL="0" indent="0">
              <a:buNone/>
              <a:defRPr lang="en-US" sz="2000" kern="1200" spc="0" baseline="0" dirty="0" smtClean="0">
                <a:solidFill>
                  <a:schemeClr val="tx1"/>
                </a:soli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11" name="Picture 10"/>
          <p:cNvPicPr>
            <a:picLocks noChangeAspect="1"/>
          </p:cNvPicPr>
          <p:nvPr userDrawn="1"/>
        </p:nvPicPr>
        <p:blipFill>
          <a:blip r:embed="rId2"/>
          <a:stretch>
            <a:fillRect/>
          </a:stretch>
        </p:blipFill>
        <p:spPr bwMode="black">
          <a:xfrm>
            <a:off x="457142" y="479425"/>
            <a:ext cx="1483229" cy="310896"/>
          </a:xfrm>
          <a:prstGeom prst="rect">
            <a:avLst/>
          </a:prstGeom>
        </p:spPr>
      </p:pic>
    </p:spTree>
    <p:extLst>
      <p:ext uri="{BB962C8B-B14F-4D97-AF65-F5344CB8AC3E}">
        <p14:creationId xmlns:p14="http://schemas.microsoft.com/office/powerpoint/2010/main" val="26116146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10" name="Picture 2" descr="Graphs on tablet PC">
            <a:extLst>
              <a:ext uri="{FF2B5EF4-FFF2-40B4-BE49-F238E27FC236}">
                <a16:creationId xmlns:a16="http://schemas.microsoft.com/office/drawing/2014/main" id="{1A79E1DB-1E1B-4849-ACB0-4095F628CB1F}"/>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33384" r="1"/>
          <a:stretch/>
        </p:blipFill>
        <p:spPr bwMode="auto">
          <a:xfrm>
            <a:off x="882" y="-2726"/>
            <a:ext cx="12433124" cy="6999974"/>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userDrawn="1"/>
        </p:nvSpPr>
        <p:spPr bwMode="auto">
          <a:xfrm>
            <a:off x="274667" y="2119177"/>
            <a:ext cx="6399983" cy="3657600"/>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sp>
        <p:nvSpPr>
          <p:cNvPr id="9" name="Title 1"/>
          <p:cNvSpPr>
            <a:spLocks noGrp="1"/>
          </p:cNvSpPr>
          <p:nvPr>
            <p:ph type="title" hasCustomPrompt="1"/>
          </p:nvPr>
        </p:nvSpPr>
        <p:spPr bwMode="auto">
          <a:xfrm>
            <a:off x="274667" y="2119177"/>
            <a:ext cx="6399919" cy="1828800"/>
          </a:xfrm>
          <a:noFill/>
        </p:spPr>
        <p:txBody>
          <a:bodyPr lIns="146304" tIns="91440" rIns="146304" bIns="91440" anchor="t" anchorCtr="0"/>
          <a:lstStyle>
            <a:lvl1pPr>
              <a:defRPr sz="4800" spc="-100"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15" y="3954463"/>
            <a:ext cx="6401571" cy="664797"/>
          </a:xfrm>
        </p:spPr>
        <p:txBody>
          <a:bodyPr wrap="square" lIns="164592" tIns="109728" rIns="164592" bIns="109728">
            <a:spAutoFit/>
          </a:bodyPr>
          <a:lstStyle>
            <a:lvl1pPr marL="0" indent="0">
              <a:spcBef>
                <a:spcPts val="0"/>
              </a:spcBef>
              <a:buNone/>
              <a:defRPr sz="3200">
                <a:solidFill>
                  <a:schemeClr val="tx1"/>
                </a:solidFill>
                <a:latin typeface="+mn-lt"/>
              </a:defRPr>
            </a:lvl1pPr>
          </a:lstStyle>
          <a:p>
            <a:pPr lvl="0"/>
            <a:r>
              <a:rPr lang="en-US"/>
              <a:t>Speaker name</a:t>
            </a:r>
          </a:p>
        </p:txBody>
      </p:sp>
      <p:pic>
        <p:nvPicPr>
          <p:cNvPr id="8" name="Picture 7"/>
          <p:cNvPicPr>
            <a:picLocks noChangeAspect="1"/>
          </p:cNvPicPr>
          <p:nvPr userDrawn="1"/>
        </p:nvPicPr>
        <p:blipFill>
          <a:blip r:embed="rId3"/>
          <a:stretch>
            <a:fillRect/>
          </a:stretch>
        </p:blipFill>
        <p:spPr>
          <a:xfrm>
            <a:off x="460630" y="479425"/>
            <a:ext cx="1451658" cy="311304"/>
          </a:xfrm>
          <a:prstGeom prst="rect">
            <a:avLst/>
          </a:prstGeom>
        </p:spPr>
      </p:pic>
    </p:spTree>
    <p:extLst>
      <p:ext uri="{BB962C8B-B14F-4D97-AF65-F5344CB8AC3E}">
        <p14:creationId xmlns:p14="http://schemas.microsoft.com/office/powerpoint/2010/main" val="81186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9" spc="-100" baseline="0">
                <a:solidFill>
                  <a:schemeClr val="tx1"/>
                </a:solidFill>
              </a:defRPr>
            </a:lvl1pPr>
          </a:lstStyle>
          <a:p>
            <a:r>
              <a:rPr lang="en-US"/>
              <a:t>Presentation title</a:t>
            </a:r>
          </a:p>
        </p:txBody>
      </p:sp>
      <p:sp>
        <p:nvSpPr>
          <p:cNvPr id="5" name="Text Placeholder 4"/>
          <p:cNvSpPr>
            <a:spLocks noGrp="1"/>
          </p:cNvSpPr>
          <p:nvPr>
            <p:ph type="body" sz="quarter" idx="12" hasCustomPrompt="1"/>
          </p:nvPr>
        </p:nvSpPr>
        <p:spPr>
          <a:xfrm>
            <a:off x="274666" y="3955787"/>
            <a:ext cx="7314204" cy="1828007"/>
          </a:xfrm>
          <a:noFill/>
        </p:spPr>
        <p:txBody>
          <a:bodyPr lIns="164592" tIns="109728" rIns="164592" bIns="109728">
            <a:noAutofit/>
          </a:bodyPr>
          <a:lstStyle>
            <a:lvl1pPr marL="0" indent="0">
              <a:spcBef>
                <a:spcPts val="0"/>
              </a:spcBef>
              <a:buNone/>
              <a:defRPr sz="3200" spc="0" baseline="0">
                <a:solidFill>
                  <a:schemeClr val="tx1"/>
                </a:solidFill>
                <a:latin typeface="+mn-lt"/>
              </a:defRPr>
            </a:lvl1pPr>
          </a:lstStyle>
          <a:p>
            <a:pPr lvl="0"/>
            <a:r>
              <a:rPr lang="en-US"/>
              <a:t>Speaker name</a:t>
            </a:r>
          </a:p>
        </p:txBody>
      </p:sp>
      <p:pic>
        <p:nvPicPr>
          <p:cNvPr id="11" name="Picture 10"/>
          <p:cNvPicPr>
            <a:picLocks noChangeAspect="1"/>
          </p:cNvPicPr>
          <p:nvPr userDrawn="1"/>
        </p:nvPicPr>
        <p:blipFill>
          <a:blip r:embed="rId2"/>
          <a:stretch>
            <a:fillRect/>
          </a:stretch>
        </p:blipFill>
        <p:spPr bwMode="black">
          <a:xfrm>
            <a:off x="457142" y="479425"/>
            <a:ext cx="1483229" cy="310896"/>
          </a:xfrm>
          <a:prstGeom prst="rect">
            <a:avLst/>
          </a:prstGeom>
        </p:spPr>
      </p:pic>
    </p:spTree>
    <p:extLst>
      <p:ext uri="{BB962C8B-B14F-4D97-AF65-F5344CB8AC3E}">
        <p14:creationId xmlns:p14="http://schemas.microsoft.com/office/powerpoint/2010/main" val="22394951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667" y="2119179"/>
            <a:ext cx="4937130" cy="1835285"/>
          </a:xfrm>
          <a:noFill/>
        </p:spPr>
        <p:txBody>
          <a:bodyPr lIns="146304" tIns="91440" rIns="146304" bIns="91440" anchor="t" anchorCtr="0"/>
          <a:lstStyle>
            <a:lvl1pPr>
              <a:defRPr sz="4800" spc="-100"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15" y="3954463"/>
            <a:ext cx="4937130" cy="731528"/>
          </a:xfrm>
        </p:spPr>
        <p:txBody>
          <a:bodyPr lIns="164592" tIns="109728" rIns="164592" bIns="109728">
            <a:noAutofit/>
          </a:bodyPr>
          <a:lstStyle>
            <a:lvl1pPr marL="0" indent="0">
              <a:spcBef>
                <a:spcPts val="0"/>
              </a:spcBef>
              <a:buNone/>
              <a:defRPr lang="en-US" sz="3200" kern="1200" spc="0" baseline="0" dirty="0">
                <a:solidFill>
                  <a:schemeClr val="tx1"/>
                </a:solidFill>
                <a:latin typeface="+mn-lt"/>
                <a:ea typeface="+mn-ea"/>
                <a:cs typeface="+mn-cs"/>
              </a:defRPr>
            </a:lvl1pPr>
          </a:lstStyle>
          <a:p>
            <a:pPr marL="0" marR="0" lvl="0" indent="0" algn="l" defTabSz="932649"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12" name="Picture 11"/>
          <p:cNvPicPr>
            <a:picLocks noChangeAspect="1"/>
          </p:cNvPicPr>
          <p:nvPr userDrawn="1"/>
        </p:nvPicPr>
        <p:blipFill>
          <a:blip r:embed="rId2"/>
          <a:stretch>
            <a:fillRect/>
          </a:stretch>
        </p:blipFill>
        <p:spPr bwMode="black">
          <a:xfrm>
            <a:off x="457142" y="479425"/>
            <a:ext cx="1483229" cy="310896"/>
          </a:xfrm>
          <a:prstGeom prst="rect">
            <a:avLst/>
          </a:prstGeom>
        </p:spPr>
      </p:pic>
      <p:pic>
        <p:nvPicPr>
          <p:cNvPr id="7" name="Picture 6"/>
          <p:cNvPicPr>
            <a:picLocks noChangeAspect="1"/>
          </p:cNvPicPr>
          <p:nvPr userDrawn="1"/>
        </p:nvPicPr>
        <p:blipFill rotWithShape="1">
          <a:blip r:embed="rId3"/>
          <a:srcRect l="36954" t="21189" r="15525" b="7567"/>
          <a:stretch/>
        </p:blipFill>
        <p:spPr>
          <a:xfrm>
            <a:off x="5439669" y="0"/>
            <a:ext cx="6995219" cy="6995517"/>
          </a:xfrm>
          <a:prstGeom prst="rect">
            <a:avLst/>
          </a:prstGeom>
        </p:spPr>
      </p:pic>
    </p:spTree>
    <p:extLst>
      <p:ext uri="{BB962C8B-B14F-4D97-AF65-F5344CB8AC3E}">
        <p14:creationId xmlns:p14="http://schemas.microsoft.com/office/powerpoint/2010/main" val="4849113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userDrawn="1">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3" y="1212850"/>
            <a:ext cx="11887270" cy="2308324"/>
          </a:xfrm>
        </p:spPr>
        <p:txBody>
          <a:bodyPr>
            <a:spAutoFit/>
          </a:bodyPr>
          <a:lstStyle>
            <a:lvl1pPr marL="0" indent="0">
              <a:buNone/>
              <a:defRPr/>
            </a:lvl1pPr>
            <a:lvl2pPr marL="228577" indent="0">
              <a:buNone/>
              <a:defRPr/>
            </a:lvl2pPr>
            <a:lvl3pPr marL="457154" indent="0">
              <a:buNone/>
              <a:defRPr/>
            </a:lvl3pPr>
            <a:lvl4pPr marL="685731" indent="0">
              <a:buNone/>
              <a:defRPr/>
            </a:lvl4pPr>
            <a:lvl5pPr marL="91430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8126372"/>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667" y="1211288"/>
            <a:ext cx="1188727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49307605"/>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74604" y="1211287"/>
            <a:ext cx="5485699" cy="2157514"/>
          </a:xfrm>
        </p:spPr>
        <p:txBody>
          <a:bodyPr wrap="square">
            <a:spAutoFit/>
          </a:bodyPr>
          <a:lstStyle>
            <a:lvl1pPr marL="0" indent="0">
              <a:spcBef>
                <a:spcPts val="1224"/>
              </a:spcBef>
              <a:buClr>
                <a:schemeClr val="tx1"/>
              </a:buClr>
              <a:buFont typeface="Wingdings" panose="05000000000000000000" pitchFamily="2" charset="2"/>
              <a:buNone/>
              <a:defRPr sz="3000" b="0">
                <a:solidFill>
                  <a:schemeClr val="tx1"/>
                </a:solidFill>
                <a:latin typeface="+mn-lt"/>
              </a:defRPr>
            </a:lvl1pPr>
            <a:lvl2pPr marL="255562" indent="0">
              <a:buFont typeface="Wingdings" panose="05000000000000000000" pitchFamily="2" charset="2"/>
              <a:buNone/>
              <a:defRPr sz="2400" b="0">
                <a:solidFill>
                  <a:schemeClr val="tx1"/>
                </a:solidFill>
              </a:defRPr>
            </a:lvl2pPr>
            <a:lvl3pPr marL="450805" indent="0">
              <a:buFont typeface="Wingdings" panose="05000000000000000000" pitchFamily="2" charset="2"/>
              <a:buNone/>
              <a:tabLst/>
              <a:defRPr sz="2200" b="0">
                <a:solidFill>
                  <a:schemeClr val="tx1"/>
                </a:solidFill>
              </a:defRPr>
            </a:lvl3pPr>
            <a:lvl4pPr marL="652397" indent="0">
              <a:buFont typeface="Wingdings" panose="05000000000000000000" pitchFamily="2" charset="2"/>
              <a:buNone/>
              <a:defRPr sz="2200" b="0">
                <a:solidFill>
                  <a:schemeClr val="tx1"/>
                </a:solidFill>
              </a:defRPr>
            </a:lvl4pPr>
            <a:lvl5pPr marL="853990" indent="0">
              <a:buFont typeface="Wingdings" panose="05000000000000000000" pitchFamily="2" charset="2"/>
              <a:buNone/>
              <a:tabLst/>
              <a:defRPr sz="2200"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1288"/>
            <a:ext cx="5485699" cy="2462213"/>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solidFill>
                  <a:schemeClr val="tx1"/>
                </a:solidFill>
                <a:latin typeface="+mn-lt"/>
                <a:ea typeface="+mn-ea"/>
                <a:cs typeface="+mn-cs"/>
              </a:defRPr>
            </a:lvl1pPr>
            <a:lvl2pPr marL="255562" indent="0">
              <a:buFont typeface="Arial" panose="020B0604020202020204" pitchFamily="34" charset="0"/>
              <a:buNone/>
              <a:defRPr lang="en-US" sz="2400" b="0" kern="1200" spc="0" baseline="0" dirty="0">
                <a:solidFill>
                  <a:schemeClr val="tx1"/>
                </a:solidFill>
                <a:latin typeface="+mn-lt"/>
                <a:ea typeface="+mn-ea"/>
                <a:cs typeface="+mn-cs"/>
              </a:defRPr>
            </a:lvl2pPr>
            <a:lvl3pPr marL="450805" indent="0">
              <a:buFont typeface="Arial" panose="020B0604020202020204" pitchFamily="34" charset="0"/>
              <a:buNone/>
              <a:tabLst/>
              <a:defRPr lang="en-US" sz="2200" b="0" kern="1200" spc="0" baseline="0" dirty="0">
                <a:solidFill>
                  <a:schemeClr val="tx1"/>
                </a:solidFill>
                <a:latin typeface="+mn-lt"/>
                <a:ea typeface="+mn-ea"/>
                <a:cs typeface="+mn-cs"/>
              </a:defRPr>
            </a:lvl3pPr>
            <a:lvl4pPr marL="652397" indent="0">
              <a:buFont typeface="Arial" panose="020B0604020202020204" pitchFamily="34" charset="0"/>
              <a:buNone/>
              <a:defRPr lang="en-US" sz="2200" b="0" kern="1200" spc="0" baseline="0" dirty="0">
                <a:solidFill>
                  <a:schemeClr val="tx1"/>
                </a:solidFill>
                <a:latin typeface="+mn-lt"/>
                <a:ea typeface="+mn-ea"/>
                <a:cs typeface="+mn-cs"/>
              </a:defRPr>
            </a:lvl4pPr>
            <a:lvl5pPr marL="853990" indent="0">
              <a:buFont typeface="Arial" panose="020B0604020202020204" pitchFamily="34" charset="0"/>
              <a:buNone/>
              <a:tabLst/>
              <a:defRPr lang="en-US" sz="2200" b="0" kern="1200" spc="0" baseline="0" dirty="0">
                <a:solidFill>
                  <a:schemeClr val="tx1"/>
                </a:solidFill>
                <a:latin typeface="+mn-lt"/>
                <a:ea typeface="+mn-ea"/>
                <a:cs typeface="+mn-cs"/>
              </a:defRPr>
            </a:lvl5pPr>
          </a:lstStyle>
          <a:p>
            <a:pPr marL="514299" marR="0" lvl="0" indent="-514299" algn="l" defTabSz="932649" rtl="0" eaLnBrk="1" fontAlgn="auto" latinLnBrk="0" hangingPunct="1">
              <a:lnSpc>
                <a:spcPct val="90000"/>
              </a:lnSpc>
              <a:spcBef>
                <a:spcPts val="1224"/>
              </a:spcBef>
              <a:spcAft>
                <a:spcPts val="0"/>
              </a:spcAft>
              <a:buClr>
                <a:schemeClr val="tx1"/>
              </a:buClr>
              <a:buSzPct val="90000"/>
              <a:tabLst/>
            </a:pPr>
            <a:r>
              <a:rPr lang="en-US"/>
              <a:t>Edit Master text styles</a:t>
            </a:r>
          </a:p>
          <a:p>
            <a:pPr marL="514299" marR="0" lvl="1" indent="-514299" algn="l" defTabSz="932649" rtl="0" eaLnBrk="1" fontAlgn="auto" latinLnBrk="0" hangingPunct="1">
              <a:lnSpc>
                <a:spcPct val="90000"/>
              </a:lnSpc>
              <a:spcBef>
                <a:spcPts val="1224"/>
              </a:spcBef>
              <a:spcAft>
                <a:spcPts val="0"/>
              </a:spcAft>
              <a:buClr>
                <a:schemeClr val="tx1"/>
              </a:buClr>
              <a:buSzPct val="90000"/>
              <a:tabLst/>
            </a:pPr>
            <a:r>
              <a:rPr lang="en-US"/>
              <a:t>Second level</a:t>
            </a:r>
          </a:p>
          <a:p>
            <a:pPr marL="514299" marR="0" lvl="2" indent="-514299" algn="l" defTabSz="932649" rtl="0" eaLnBrk="1" fontAlgn="auto" latinLnBrk="0" hangingPunct="1">
              <a:lnSpc>
                <a:spcPct val="90000"/>
              </a:lnSpc>
              <a:spcBef>
                <a:spcPts val="1224"/>
              </a:spcBef>
              <a:spcAft>
                <a:spcPts val="0"/>
              </a:spcAft>
              <a:buClr>
                <a:schemeClr val="tx1"/>
              </a:buClr>
              <a:buSzPct val="90000"/>
              <a:tabLst/>
            </a:pPr>
            <a:r>
              <a:rPr lang="en-US"/>
              <a:t>Third level</a:t>
            </a:r>
          </a:p>
          <a:p>
            <a:pPr marL="514299" marR="0" lvl="3" indent="-514299" algn="l" defTabSz="932649" rtl="0" eaLnBrk="1" fontAlgn="auto" latinLnBrk="0" hangingPunct="1">
              <a:lnSpc>
                <a:spcPct val="90000"/>
              </a:lnSpc>
              <a:spcBef>
                <a:spcPts val="1224"/>
              </a:spcBef>
              <a:spcAft>
                <a:spcPts val="0"/>
              </a:spcAft>
              <a:buClr>
                <a:schemeClr val="tx1"/>
              </a:buClr>
              <a:buSzPct val="90000"/>
              <a:tabLst/>
            </a:pPr>
            <a:r>
              <a:rPr lang="en-US"/>
              <a:t>Fourth level</a:t>
            </a:r>
          </a:p>
          <a:p>
            <a:pPr marL="514299" marR="0" lvl="4" indent="-514299" algn="l" defTabSz="932649"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41464794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a:srcRect l="32559" r="10791"/>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3896336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60"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18020309"/>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74604" y="1211287"/>
            <a:ext cx="5485699" cy="2157514"/>
          </a:xfrm>
        </p:spPr>
        <p:txBody>
          <a:bodyPr wrap="square">
            <a:spAutoFit/>
          </a:bodyPr>
          <a:lstStyle>
            <a:lvl1pPr marL="231752" indent="-231752">
              <a:spcBef>
                <a:spcPts val="1224"/>
              </a:spcBef>
              <a:buClr>
                <a:schemeClr val="tx1"/>
              </a:buClr>
              <a:buFont typeface="Wingdings" panose="05000000000000000000" pitchFamily="2" charset="2"/>
              <a:buChar char=""/>
              <a:defRPr sz="3000" b="0">
                <a:solidFill>
                  <a:schemeClr val="tx1"/>
                </a:solidFill>
                <a:latin typeface="+mn-lt"/>
              </a:defRPr>
            </a:lvl1pPr>
            <a:lvl2pPr marL="426995" indent="-171433">
              <a:buFont typeface="Wingdings" panose="05000000000000000000" pitchFamily="2" charset="2"/>
              <a:buChar char=""/>
              <a:defRPr sz="2400" b="0">
                <a:solidFill>
                  <a:schemeClr val="tx1"/>
                </a:solidFill>
              </a:defRPr>
            </a:lvl2pPr>
            <a:lvl3pPr marL="639699" indent="-188894">
              <a:buFont typeface="Wingdings" panose="05000000000000000000" pitchFamily="2" charset="2"/>
              <a:buChar char=""/>
              <a:tabLst/>
              <a:defRPr sz="2200" b="0">
                <a:solidFill>
                  <a:schemeClr val="tx1"/>
                </a:solidFill>
              </a:defRPr>
            </a:lvl3pPr>
            <a:lvl4pPr marL="828592" indent="-176195">
              <a:buFont typeface="Wingdings" panose="05000000000000000000" pitchFamily="2" charset="2"/>
              <a:buChar char=""/>
              <a:defRPr sz="2200" b="0">
                <a:solidFill>
                  <a:schemeClr val="tx1"/>
                </a:solidFill>
              </a:defRPr>
            </a:lvl4pPr>
            <a:lvl5pPr marL="1023836" indent="-169846">
              <a:buFont typeface="Wingdings" panose="05000000000000000000" pitchFamily="2" charset="2"/>
              <a:buChar char=""/>
              <a:tabLst/>
              <a:defRPr sz="2200"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1288"/>
            <a:ext cx="5485699" cy="2462213"/>
          </a:xfrm>
        </p:spPr>
        <p:txBody>
          <a:bodyPr wrap="square">
            <a:spAutoFit/>
          </a:bodyPr>
          <a:lstStyle>
            <a:lvl1pPr marL="287309" indent="-287309">
              <a:spcBef>
                <a:spcPts val="1224"/>
              </a:spcBef>
              <a:buClr>
                <a:schemeClr val="tx1"/>
              </a:buClr>
              <a:buFont typeface="Arial" pitchFamily="34" charset="0"/>
              <a:buChar char="•"/>
              <a:defRPr lang="en-US" sz="3000" b="0" kern="1200" spc="0" baseline="0" dirty="0">
                <a:solidFill>
                  <a:schemeClr val="tx1"/>
                </a:solidFill>
                <a:latin typeface="+mn-lt"/>
                <a:ea typeface="+mn-ea"/>
                <a:cs typeface="+mn-cs"/>
              </a:defRPr>
            </a:lvl1pPr>
            <a:lvl2pPr marL="598428" indent="-342866">
              <a:defRPr lang="en-US" sz="2400" b="0" kern="1200" spc="0" baseline="0" dirty="0">
                <a:solidFill>
                  <a:schemeClr val="tx1"/>
                </a:solidFill>
                <a:latin typeface="+mn-lt"/>
                <a:ea typeface="+mn-ea"/>
                <a:cs typeface="+mn-cs"/>
              </a:defRPr>
            </a:lvl2pPr>
            <a:lvl3pPr marL="793671" indent="-342866">
              <a:tabLst/>
              <a:defRPr lang="en-US" sz="2200" b="0" kern="1200" spc="0" baseline="0" dirty="0">
                <a:solidFill>
                  <a:schemeClr val="tx1"/>
                </a:solidFill>
                <a:latin typeface="+mn-lt"/>
                <a:ea typeface="+mn-ea"/>
                <a:cs typeface="+mn-cs"/>
              </a:defRPr>
            </a:lvl3pPr>
            <a:lvl4pPr marL="995262" indent="-342866">
              <a:defRPr lang="en-US" sz="2200" b="0" kern="1200" spc="0" baseline="0" dirty="0">
                <a:solidFill>
                  <a:schemeClr val="tx1"/>
                </a:solidFill>
                <a:latin typeface="+mn-lt"/>
                <a:ea typeface="+mn-ea"/>
                <a:cs typeface="+mn-cs"/>
              </a:defRPr>
            </a:lvl4pPr>
            <a:lvl5pPr marL="1196855" indent="-342866">
              <a:tabLst/>
              <a:defRPr lang="en-US" sz="2200" b="0" kern="1200" spc="0" baseline="0" dirty="0">
                <a:solidFill>
                  <a:schemeClr val="tx1"/>
                </a:solidFill>
                <a:latin typeface="+mn-lt"/>
                <a:ea typeface="+mn-ea"/>
                <a:cs typeface="+mn-cs"/>
              </a:defRPr>
            </a:lvl5pPr>
          </a:lstStyle>
          <a:p>
            <a:pPr marL="231752" marR="0" lvl="0"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52" marR="0" lvl="1"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52" marR="0" lvl="2"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52" marR="0" lvl="3"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52" marR="0" lvl="4"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486955407"/>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76402166"/>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77"/>
            <a:ext cx="10055529" cy="1181862"/>
          </a:xfrm>
          <a:noFill/>
        </p:spPr>
        <p:txBody>
          <a:bodyPr tIns="91440" bIns="91440" anchor="t" anchorCtr="0">
            <a:spAutoFit/>
          </a:bodyPr>
          <a:lstStyle>
            <a:lvl1pPr>
              <a:defRPr sz="7199" spc="-100" baseline="0">
                <a:solidFill>
                  <a:schemeClr val="tx1"/>
                </a:solidFill>
              </a:defRPr>
            </a:lvl1pPr>
          </a:lstStyle>
          <a:p>
            <a:r>
              <a:rPr lang="en-US"/>
              <a:t>Demo title</a:t>
            </a:r>
          </a:p>
        </p:txBody>
      </p:sp>
      <p:sp>
        <p:nvSpPr>
          <p:cNvPr id="5" name="Text Placeholder 4"/>
          <p:cNvSpPr>
            <a:spLocks noGrp="1"/>
          </p:cNvSpPr>
          <p:nvPr>
            <p:ph type="body" sz="quarter" idx="12" hasCustomPrompt="1"/>
          </p:nvPr>
        </p:nvSpPr>
        <p:spPr>
          <a:xfrm>
            <a:off x="274604" y="3954463"/>
            <a:ext cx="10057117" cy="738664"/>
          </a:xfrm>
          <a:noFill/>
        </p:spPr>
        <p:txBody>
          <a:bodyPr lIns="182880" tIns="146304" rIns="182880" bIns="146304">
            <a:spAutoFit/>
          </a:bodyPr>
          <a:lstStyle>
            <a:lvl1pPr marL="0" indent="0">
              <a:spcBef>
                <a:spcPts val="0"/>
              </a:spcBef>
              <a:buNone/>
              <a:defRPr sz="3200" spc="0" baseline="0">
                <a:solidFill>
                  <a:schemeClr val="tx1"/>
                </a:solidFill>
                <a:latin typeface="+mj-lt"/>
              </a:defRPr>
            </a:lvl1pPr>
          </a:lstStyle>
          <a:p>
            <a:pPr lvl="0"/>
            <a:r>
              <a:rPr lang="en-US"/>
              <a:t>Speaker Name</a:t>
            </a:r>
          </a:p>
        </p:txBody>
      </p:sp>
    </p:spTree>
    <p:extLst>
      <p:ext uri="{BB962C8B-B14F-4D97-AF65-F5344CB8AC3E}">
        <p14:creationId xmlns:p14="http://schemas.microsoft.com/office/powerpoint/2010/main" val="2245637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77"/>
            <a:ext cx="10055529" cy="1181862"/>
          </a:xfrm>
          <a:noFill/>
        </p:spPr>
        <p:txBody>
          <a:bodyPr tIns="91440" bIns="91440" anchor="t" anchorCtr="0">
            <a:spAutoFit/>
          </a:bodyPr>
          <a:lstStyle>
            <a:lvl1pPr>
              <a:defRPr lang="en-US" sz="7199" b="0" kern="1200" cap="none" spc="-100" baseline="0" dirty="0">
                <a:ln w="3175">
                  <a:noFill/>
                </a:ln>
                <a:solidFill>
                  <a:schemeClr val="tx1"/>
                </a:soli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262828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solidFill>
                  <a:schemeClr val="tx1"/>
                </a:solidFill>
              </a:defRPr>
            </a:lvl1pPr>
          </a:lstStyle>
          <a:p>
            <a:r>
              <a:rPr lang="en-US"/>
              <a:t>Section title</a:t>
            </a:r>
          </a:p>
        </p:txBody>
      </p:sp>
    </p:spTree>
    <p:extLst>
      <p:ext uri="{BB962C8B-B14F-4D97-AF65-F5344CB8AC3E}">
        <p14:creationId xmlns:p14="http://schemas.microsoft.com/office/powerpoint/2010/main" val="3452302727"/>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solidFill>
                  <a:schemeClr val="tx1"/>
                </a:solidFill>
              </a:defRPr>
            </a:lvl1pPr>
          </a:lstStyle>
          <a:p>
            <a:r>
              <a:rPr lang="en-US"/>
              <a:t>Section title</a:t>
            </a:r>
          </a:p>
        </p:txBody>
      </p:sp>
    </p:spTree>
    <p:extLst>
      <p:ext uri="{BB962C8B-B14F-4D97-AF65-F5344CB8AC3E}">
        <p14:creationId xmlns:p14="http://schemas.microsoft.com/office/powerpoint/2010/main" val="30357690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740133"/>
            <a:ext cx="4891416" cy="1514261"/>
          </a:xfrm>
        </p:spPr>
        <p:txBody>
          <a:bodyPr wrap="square" anchor="ctr">
            <a:spAutoFit/>
          </a:bodyPr>
          <a:lstStyle>
            <a:lvl1pPr>
              <a:defRPr sz="4800" baseline="0">
                <a:solidFill>
                  <a:schemeClr val="tx1"/>
                </a:solidFill>
              </a:defRPr>
            </a:lvl1pPr>
          </a:lstStyle>
          <a:p>
            <a:r>
              <a:rPr lang="en-US"/>
              <a:t>Square photo layout</a:t>
            </a:r>
          </a:p>
        </p:txBody>
      </p:sp>
      <p:sp>
        <p:nvSpPr>
          <p:cNvPr id="7" name="Picture Placeholder 4"/>
          <p:cNvSpPr>
            <a:spLocks noGrp="1" noChangeAspect="1"/>
          </p:cNvSpPr>
          <p:nvPr>
            <p:ph type="pic" sz="quarter" idx="10"/>
          </p:nvPr>
        </p:nvSpPr>
        <p:spPr bwMode="ltGray">
          <a:xfrm>
            <a:off x="5440621" y="1"/>
            <a:ext cx="6994267"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722554292"/>
      </p:ext>
    </p:extLst>
  </p:cSld>
  <p:clrMapOvr>
    <a:masterClrMapping/>
  </p:clrMapOvr>
  <p:transition>
    <p:fade/>
  </p:transition>
  <p:extLst>
    <p:ext uri="{DCECCB84-F9BA-43D5-87BE-67443E8EF086}">
      <p15:sldGuideLst xmlns:p15="http://schemas.microsoft.com/office/powerpoint/2012/main">
        <p15:guide id="1" pos="3427" userDrawn="1">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3574055"/>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22777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a:t>Slide for developer code</a:t>
            </a:r>
          </a:p>
        </p:txBody>
      </p:sp>
      <p:sp>
        <p:nvSpPr>
          <p:cNvPr id="5" name="Text Placeholder 4"/>
          <p:cNvSpPr>
            <a:spLocks noGrp="1"/>
          </p:cNvSpPr>
          <p:nvPr>
            <p:ph type="body" sz="quarter" idx="10"/>
          </p:nvPr>
        </p:nvSpPr>
        <p:spPr>
          <a:xfrm>
            <a:off x="274603" y="1221157"/>
            <a:ext cx="11885682" cy="2266774"/>
          </a:xfrm>
        </p:spPr>
        <p:txBody>
          <a:bodyPr/>
          <a:lstStyle>
            <a:lvl1pPr marL="0" indent="0">
              <a:buNone/>
              <a:defRPr sz="3300">
                <a:solidFill>
                  <a:schemeClr val="tx1"/>
                </a:solidFill>
                <a:latin typeface="Consolas" panose="020B0609020204030204" pitchFamily="49" charset="0"/>
                <a:cs typeface="Consolas" panose="020B0609020204030204" pitchFamily="49" charset="0"/>
              </a:defRPr>
            </a:lvl1pPr>
            <a:lvl2pPr marL="346518" indent="0">
              <a:buNone/>
              <a:defRPr>
                <a:solidFill>
                  <a:schemeClr val="tx1"/>
                </a:solidFill>
                <a:latin typeface="Consolas" panose="020B0609020204030204" pitchFamily="49" charset="0"/>
                <a:cs typeface="Consolas" panose="020B0609020204030204" pitchFamily="49" charset="0"/>
              </a:defRPr>
            </a:lvl2pPr>
            <a:lvl3pPr marL="584549" indent="0">
              <a:buNone/>
              <a:defRPr>
                <a:solidFill>
                  <a:schemeClr val="tx1"/>
                </a:solidFill>
                <a:latin typeface="Consolas" panose="020B0609020204030204" pitchFamily="49" charset="0"/>
                <a:cs typeface="Consolas" panose="020B0609020204030204" pitchFamily="49" charset="0"/>
              </a:defRPr>
            </a:lvl3pPr>
            <a:lvl4pPr marL="814482" indent="0">
              <a:buNone/>
              <a:defRPr>
                <a:solidFill>
                  <a:schemeClr val="tx1"/>
                </a:solidFill>
                <a:latin typeface="Consolas" panose="020B0609020204030204" pitchFamily="49" charset="0"/>
                <a:cs typeface="Consolas" panose="020B0609020204030204" pitchFamily="49" charset="0"/>
              </a:defRPr>
            </a:lvl4pPr>
            <a:lvl5pPr marL="1050892" indent="0">
              <a:buNone/>
              <a:defRPr>
                <a:solidFill>
                  <a:schemeClr val="tx1"/>
                </a:soli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127696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02624308"/>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4" y="6220609"/>
            <a:ext cx="4571417" cy="477054"/>
          </a:xfrm>
          <a:prstGeom prst="rect">
            <a:avLst/>
          </a:prstGeom>
          <a:noFill/>
          <a:ln w="12700">
            <a:noFill/>
            <a:miter lim="800000"/>
            <a:headEnd type="none" w="sm" len="sm"/>
            <a:tailEnd type="none" w="sm" len="sm"/>
          </a:ln>
          <a:effectLst/>
        </p:spPr>
        <p:txBody>
          <a:bodyPr vert="horz" wrap="square" lIns="182857" tIns="182857" rIns="182857" bIns="182857" numCol="1" anchor="t" anchorCtr="0" compatLnSpc="1">
            <a:prstTxWarp prst="textNoShape">
              <a:avLst/>
            </a:prstTxWarp>
            <a:spAutoFit/>
          </a:bodyPr>
          <a:lstStyle/>
          <a:p>
            <a:pPr defTabSz="932197" eaLnBrk="0" hangingPunct="0"/>
            <a:r>
              <a:rPr lang="en-US" sz="700">
                <a:solidFill>
                  <a:schemeClr val="tx1"/>
                </a:soli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142" y="479425"/>
            <a:ext cx="1483229" cy="310896"/>
          </a:xfrm>
          <a:prstGeom prst="rect">
            <a:avLst/>
          </a:prstGeom>
        </p:spPr>
      </p:pic>
    </p:spTree>
    <p:extLst>
      <p:ext uri="{BB962C8B-B14F-4D97-AF65-F5344CB8AC3E}">
        <p14:creationId xmlns:p14="http://schemas.microsoft.com/office/powerpoint/2010/main" val="31184495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0"/>
            <a:ext cx="11885683" cy="2443746"/>
          </a:xfrm>
          <a:prstGeom prst="rect">
            <a:avLst/>
          </a:prstGeom>
        </p:spPr>
        <p:txBody>
          <a:bodyPr/>
          <a:lstStyle>
            <a:lvl1pPr marL="290484" indent="-290484">
              <a:buClr>
                <a:schemeClr val="tx1"/>
              </a:buClr>
              <a:buSzPct val="90000"/>
              <a:buFont typeface="Arial" pitchFamily="34" charset="0"/>
              <a:buChar char="•"/>
              <a:defRPr sz="3600">
                <a:solidFill>
                  <a:schemeClr val="tx1"/>
                </a:solidFill>
                <a:latin typeface="Segoe UI" pitchFamily="34" charset="0"/>
                <a:ea typeface="Segoe UI" pitchFamily="34" charset="0"/>
                <a:cs typeface="Segoe UI" pitchFamily="34" charset="0"/>
              </a:defRPr>
            </a:lvl1pPr>
            <a:lvl2pPr marL="571443" indent="-280960">
              <a:buClr>
                <a:schemeClr val="tx1"/>
              </a:buClr>
              <a:buSzPct val="90000"/>
              <a:buFont typeface="Arial" pitchFamily="34" charset="0"/>
              <a:buChar char="•"/>
              <a:defRPr sz="3200">
                <a:solidFill>
                  <a:schemeClr val="tx1"/>
                </a:solidFill>
                <a:latin typeface="Segoe UI" pitchFamily="34" charset="0"/>
                <a:ea typeface="Segoe UI" pitchFamily="34" charset="0"/>
                <a:cs typeface="Segoe UI" pitchFamily="34" charset="0"/>
              </a:defRPr>
            </a:lvl2pPr>
            <a:lvl3pPr marL="861927" indent="-290484">
              <a:buClr>
                <a:schemeClr val="tx1"/>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3pPr>
            <a:lvl4pPr marL="1090504" indent="-228577">
              <a:buClr>
                <a:schemeClr val="tx1"/>
              </a:buClr>
              <a:buSzPct val="90000"/>
              <a:buFont typeface="Arial" pitchFamily="34" charset="0"/>
              <a:buChar char="•"/>
              <a:defRPr sz="2400">
                <a:solidFill>
                  <a:schemeClr val="tx1"/>
                </a:solidFill>
                <a:latin typeface="Segoe UI" pitchFamily="34" charset="0"/>
                <a:ea typeface="Segoe UI" pitchFamily="34" charset="0"/>
                <a:cs typeface="Segoe UI" pitchFamily="34" charset="0"/>
              </a:defRPr>
            </a:lvl4pPr>
            <a:lvl5pPr marL="1319081" indent="-228577">
              <a:buClr>
                <a:schemeClr val="tx1"/>
              </a:buClr>
              <a:buSzPct val="90000"/>
              <a:buFont typeface="Arial" pitchFamily="34" charset="0"/>
              <a:buChar char="•"/>
              <a:defRPr sz="2000">
                <a:solidFill>
                  <a:schemeClr val="tx1"/>
                </a:soli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solidFill>
                  <a:schemeClr val="bg1"/>
                </a:soli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2254039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6738433"/>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1"/>
          </p:nvPr>
        </p:nvSpPr>
        <p:spPr>
          <a:xfrm>
            <a:off x="274638" y="1230227"/>
            <a:ext cx="9220200" cy="627864"/>
          </a:xfrm>
        </p:spPr>
        <p:txBody>
          <a:bodyPr anchor="ctr"/>
          <a:lstStyle>
            <a:lvl1pPr marL="0" indent="0">
              <a:buNone/>
              <a:defRPr lang="en-US" sz="3199" b="0" kern="1200" cap="none" spc="-102" baseline="0" dirty="0" smtClean="0">
                <a:ln w="3175">
                  <a:noFill/>
                </a:ln>
                <a:solidFill>
                  <a:schemeClr val="tx2"/>
                </a:solidFill>
                <a:effectLst/>
                <a:latin typeface="+mj-lt"/>
                <a:ea typeface="+mn-ea"/>
                <a:cs typeface="Segoe UI" pitchFamily="34" charset="0"/>
              </a:defRPr>
            </a:lvl1pPr>
            <a:lvl2pPr>
              <a:defRPr lang="en-US" sz="3199" b="0" kern="1200" cap="none" spc="-102" baseline="0" dirty="0" smtClean="0">
                <a:ln w="3175">
                  <a:noFill/>
                </a:ln>
                <a:solidFill>
                  <a:schemeClr val="tx2"/>
                </a:solidFill>
                <a:effectLst/>
                <a:latin typeface="+mj-lt"/>
                <a:ea typeface="+mn-ea"/>
                <a:cs typeface="Segoe UI" pitchFamily="34" charset="0"/>
              </a:defRPr>
            </a:lvl2pPr>
            <a:lvl3pPr>
              <a:defRPr lang="en-US" sz="3199" b="0" kern="1200" cap="none" spc="-102" baseline="0" dirty="0" smtClean="0">
                <a:ln w="3175">
                  <a:noFill/>
                </a:ln>
                <a:solidFill>
                  <a:schemeClr val="tx2"/>
                </a:solidFill>
                <a:effectLst/>
                <a:latin typeface="+mj-lt"/>
                <a:ea typeface="+mn-ea"/>
                <a:cs typeface="Segoe UI" pitchFamily="34" charset="0"/>
              </a:defRPr>
            </a:lvl3pPr>
            <a:lvl4pPr>
              <a:defRPr lang="en-US" sz="3199" b="0" kern="1200" cap="none" spc="-102" baseline="0" dirty="0" smtClean="0">
                <a:ln w="3175">
                  <a:noFill/>
                </a:ln>
                <a:solidFill>
                  <a:schemeClr val="tx2"/>
                </a:solidFill>
                <a:effectLst/>
                <a:latin typeface="+mj-lt"/>
                <a:ea typeface="+mn-ea"/>
                <a:cs typeface="Segoe UI" pitchFamily="34" charset="0"/>
              </a:defRPr>
            </a:lvl4pPr>
            <a:lvl5pPr>
              <a:defRPr lang="en-US" sz="3199" b="0" kern="1200" cap="none" spc="-102" baseline="0" dirty="0" smtClean="0">
                <a:ln w="3175">
                  <a:noFill/>
                </a:ln>
                <a:solidFill>
                  <a:schemeClr val="tx2"/>
                </a:solidFill>
                <a:effectLst/>
                <a:latin typeface="+mj-lt"/>
                <a:ea typeface="+mn-ea"/>
                <a:cs typeface="Segoe UI" pitchFamily="34" charset="0"/>
              </a:defRPr>
            </a:lvl5pPr>
          </a:lstStyle>
          <a:p>
            <a:pPr lvl="0"/>
            <a:r>
              <a:rPr lang="en-US"/>
              <a:t>Edit Master text styles</a:t>
            </a:r>
          </a:p>
        </p:txBody>
      </p:sp>
    </p:spTree>
    <p:extLst>
      <p:ext uri="{BB962C8B-B14F-4D97-AF65-F5344CB8AC3E}">
        <p14:creationId xmlns:p14="http://schemas.microsoft.com/office/powerpoint/2010/main" val="1326171365"/>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AF1209-AA88-426A-B2A6-18922B450E1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024D2E4-7C20-4F08-9430-65136A52D78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8C85F09-9ABB-4B2D-A6A4-B78BE97F95A0}"/>
              </a:ext>
            </a:extLst>
          </p:cNvPr>
          <p:cNvSpPr>
            <a:spLocks noGrp="1"/>
          </p:cNvSpPr>
          <p:nvPr>
            <p:ph type="dt" sz="half" idx="10"/>
          </p:nvPr>
        </p:nvSpPr>
        <p:spPr/>
        <p:txBody>
          <a:bodyPr/>
          <a:lstStyle/>
          <a:p>
            <a:fld id="{08196F66-244E-4CB9-9EE4-5B2DF787687C}" type="datetimeFigureOut">
              <a:rPr lang="en-US" smtClean="0"/>
              <a:t>9/16/2022</a:t>
            </a:fld>
            <a:endParaRPr lang="en-US"/>
          </a:p>
        </p:txBody>
      </p:sp>
      <p:sp>
        <p:nvSpPr>
          <p:cNvPr id="5" name="Footer Placeholder 4">
            <a:extLst>
              <a:ext uri="{FF2B5EF4-FFF2-40B4-BE49-F238E27FC236}">
                <a16:creationId xmlns:a16="http://schemas.microsoft.com/office/drawing/2014/main" id="{D7E3513F-22B9-48B2-BDC4-19B1CC8BFB4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B6B3347-3DDC-4978-A887-2981A2CF8800}"/>
              </a:ext>
            </a:extLst>
          </p:cNvPr>
          <p:cNvSpPr>
            <a:spLocks noGrp="1"/>
          </p:cNvSpPr>
          <p:nvPr>
            <p:ph type="sldNum" sz="quarter" idx="12"/>
          </p:nvPr>
        </p:nvSpPr>
        <p:spPr/>
        <p:txBody>
          <a:bodyPr/>
          <a:lstStyle/>
          <a:p>
            <a:fld id="{C8C0A4B9-D21A-4ABC-A932-CD3A18E133BD}" type="slidenum">
              <a:rPr lang="en-US" smtClean="0"/>
              <a:t>‹#›</a:t>
            </a:fld>
            <a:endParaRPr lang="en-US"/>
          </a:p>
        </p:txBody>
      </p:sp>
    </p:spTree>
    <p:extLst>
      <p:ext uri="{BB962C8B-B14F-4D97-AF65-F5344CB8AC3E}">
        <p14:creationId xmlns:p14="http://schemas.microsoft.com/office/powerpoint/2010/main" val="989702987"/>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1_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22403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4" name="Picture 3" descr="Empower event illustration dark">
            <a:extLst>
              <a:ext uri="{FF2B5EF4-FFF2-40B4-BE49-F238E27FC236}">
                <a16:creationId xmlns:a16="http://schemas.microsoft.com/office/drawing/2014/main" id="{04CFBF15-3BE4-4E4D-9FB3-40E1CB24B563}"/>
              </a:ext>
            </a:extLst>
          </p:cNvPr>
          <p:cNvPicPr>
            <a:picLocks noChangeAspect="1"/>
          </p:cNvPicPr>
          <p:nvPr userDrawn="1"/>
        </p:nvPicPr>
        <p:blipFill>
          <a:blip r:embed="rId2"/>
          <a:stretch>
            <a:fillRect/>
          </a:stretch>
        </p:blipFill>
        <p:spPr bwMode="auto">
          <a:xfrm>
            <a:off x="0" y="1"/>
            <a:ext cx="12434888" cy="6994524"/>
          </a:xfrm>
          <a:prstGeom prst="rect">
            <a:avLst/>
          </a:prstGeom>
        </p:spPr>
      </p:pic>
      <p:pic>
        <p:nvPicPr>
          <p:cNvPr id="3" name="MS logo white - EMF" descr="Microsoft logo white text version">
            <a:extLst>
              <a:ext uri="{FF2B5EF4-FFF2-40B4-BE49-F238E27FC236}">
                <a16:creationId xmlns:a16="http://schemas.microsoft.com/office/drawing/2014/main" id="{A0263815-BFDD-470B-8D0A-54991A418EAA}"/>
              </a:ext>
            </a:extLst>
          </p:cNvPr>
          <p:cNvPicPr>
            <a:picLocks noChangeAspect="1"/>
          </p:cNvPicPr>
          <p:nvPr userDrawn="1"/>
        </p:nvPicPr>
        <p:blipFill>
          <a:blip r:embed="rId3"/>
          <a:stretch>
            <a:fillRect/>
          </a:stretch>
        </p:blipFill>
        <p:spPr bwMode="white">
          <a:xfrm>
            <a:off x="595840" y="597451"/>
            <a:ext cx="1393463" cy="298433"/>
          </a:xfrm>
          <a:prstGeom prst="rect">
            <a:avLst/>
          </a:prstGeom>
        </p:spPr>
      </p:pic>
      <p:pic>
        <p:nvPicPr>
          <p:cNvPr id="6" name="Picture 5" descr="Microsoft Business Applications Summit Logo, white stacked version">
            <a:extLst>
              <a:ext uri="{FF2B5EF4-FFF2-40B4-BE49-F238E27FC236}">
                <a16:creationId xmlns:a16="http://schemas.microsoft.com/office/drawing/2014/main" id="{951D0228-52CC-4B90-9A6C-D8AD14EE00D8}"/>
              </a:ext>
            </a:extLst>
          </p:cNvPr>
          <p:cNvPicPr>
            <a:picLocks noChangeAspect="1"/>
          </p:cNvPicPr>
          <p:nvPr userDrawn="1"/>
        </p:nvPicPr>
        <p:blipFill>
          <a:blip r:embed="rId4"/>
          <a:stretch>
            <a:fillRect/>
          </a:stretch>
        </p:blipFill>
        <p:spPr>
          <a:xfrm>
            <a:off x="170625" y="1338798"/>
            <a:ext cx="6229879" cy="2131424"/>
          </a:xfrm>
          <a:prstGeom prst="rect">
            <a:avLst/>
          </a:prstGeom>
        </p:spPr>
      </p:pic>
    </p:spTree>
    <p:extLst>
      <p:ext uri="{BB962C8B-B14F-4D97-AF65-F5344CB8AC3E}">
        <p14:creationId xmlns:p14="http://schemas.microsoft.com/office/powerpoint/2010/main" val="1081112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Slide ">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CEB907E8-8DF2-4BB3-87C9-9C2130FCB0FB}"/>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Tree>
    <p:extLst>
      <p:ext uri="{BB962C8B-B14F-4D97-AF65-F5344CB8AC3E}">
        <p14:creationId xmlns:p14="http://schemas.microsoft.com/office/powerpoint/2010/main" val="39980628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69"/>
            <a:ext cx="11238355"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718588543"/>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6656991"/>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5" y="2355796"/>
            <a:ext cx="3245419" cy="4038043"/>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4" y="2355794"/>
            <a:ext cx="7399396" cy="4038044"/>
          </a:xfrm>
        </p:spPr>
        <p:txBody>
          <a:bodyPr anchor="t">
            <a:noAutofit/>
          </a:bodyPr>
          <a:lstStyle>
            <a:lvl1pPr marL="0" indent="0">
              <a:spcAft>
                <a:spcPts val="816"/>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4"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9450275"/>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1272" userDrawn="1">
          <p15:clr>
            <a:srgbClr val="5ACBF0"/>
          </p15:clr>
        </p15:guide>
        <p15:guide id="30" pos="2376" userDrawn="1">
          <p15:clr>
            <a:srgbClr val="5ACBF0"/>
          </p15:clr>
        </p15:guide>
        <p15:guide id="32" orient="horz" pos="1455" userDrawn="1">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69"/>
            <a:ext cx="5315592"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69"/>
            <a:ext cx="5323687"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01381399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guide id="4" pos="3660" userDrawn="1">
          <p15:clr>
            <a:srgbClr val="5ACBF0"/>
          </p15:clr>
        </p15:guide>
        <p15:guide id="5" pos="4022" userDrawn="1">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2"/>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894058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guide id="4" pos="3656" userDrawn="1">
          <p15:clr>
            <a:srgbClr val="5ACBF0"/>
          </p15:clr>
        </p15:guide>
        <p15:guide id="5" pos="4022" userDrawn="1">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4455236"/>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722953895"/>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4"/>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155150877"/>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469062765"/>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39058"/>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87854424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689250375"/>
      </p:ext>
    </p:extLst>
  </p:cSld>
  <p:clrMapOvr>
    <a:masterClrMapping/>
  </p:clrMapOvr>
  <p:transition>
    <p:fade/>
  </p:transition>
  <p:extLst>
    <p:ext uri="{DCECCB84-F9BA-43D5-87BE-67443E8EF086}">
      <p15:sldGuideLst xmlns:p15="http://schemas.microsoft.com/office/powerpoint/2012/main">
        <p15:guide id="1" orient="horz" pos="2304" userDrawn="1">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084440704"/>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977800796"/>
      </p:ext>
    </p:extLst>
  </p:cSld>
  <p:clrMapOvr>
    <a:masterClrMapping/>
  </p:clrMapOvr>
  <p:transition>
    <p:fade/>
  </p:transition>
  <p:extLst>
    <p:ext uri="{DCECCB84-F9BA-43D5-87BE-67443E8EF086}">
      <p15:sldGuideLst xmlns:p15="http://schemas.microsoft.com/office/powerpoint/2012/main">
        <p15:guide id="7" pos="4103" userDrawn="1">
          <p15:clr>
            <a:srgbClr val="5ACBF0"/>
          </p15:clr>
        </p15:guide>
        <p15:guide id="8" orient="horz" pos="2160" userDrawn="1">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4" y="3213099"/>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5"/>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4125842481"/>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5ACBF0"/>
          </p15:clr>
        </p15:guide>
        <p15:guide id="30" pos="2376" userDrawn="1">
          <p15:clr>
            <a:srgbClr val="5ACBF0"/>
          </p15:clr>
        </p15:guide>
        <p15:guide id="31" pos="3113" userDrawn="1">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6"/>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4280198453"/>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1"/>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561304928"/>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695435481"/>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620950015"/>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991584688"/>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5" y="2355796"/>
            <a:ext cx="3245419" cy="565091"/>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4" y="2355795"/>
            <a:ext cx="7399396" cy="439479"/>
          </a:xfrm>
        </p:spPr>
        <p:txBody>
          <a:bodyPr anchor="t"/>
          <a:lstStyle>
            <a:lvl1pPr marL="0" indent="0">
              <a:spcAft>
                <a:spcPts val="816"/>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4"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2037010"/>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1272" userDrawn="1">
          <p15:clr>
            <a:srgbClr val="5ACBF0"/>
          </p15:clr>
        </p15:guide>
        <p15:guide id="30" pos="2376" userDrawn="1">
          <p15:clr>
            <a:srgbClr val="5ACBF0"/>
          </p15:clr>
        </p15:guide>
        <p15:guide id="32" orient="horz" pos="1455" userDrawn="1">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4" y="3213099"/>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5"/>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209739265"/>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5ACBF0"/>
          </p15:clr>
        </p15:guide>
        <p15:guide id="30" pos="2376" userDrawn="1">
          <p15:clr>
            <a:srgbClr val="5ACBF0"/>
          </p15:clr>
        </p15:guide>
        <p15:guide id="31" pos="3113" userDrawn="1">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045588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259726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520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36548900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6769169"/>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447135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solidFill>
                  <a:schemeClr val="tx1"/>
                </a:solidFill>
                <a:latin typeface="Consolas" panose="020B0609020204030204" pitchFamily="49" charset="0"/>
                <a:cs typeface="Consolas" panose="020B0609020204030204" pitchFamily="49" charset="0"/>
              </a:defRPr>
            </a:lvl1pPr>
            <a:lvl2pPr marL="353414" indent="0">
              <a:buNone/>
              <a:defRPr sz="2448">
                <a:solidFill>
                  <a:schemeClr val="tx1"/>
                </a:solidFill>
                <a:latin typeface="Consolas" panose="020B0609020204030204" pitchFamily="49" charset="0"/>
                <a:cs typeface="Consolas" panose="020B0609020204030204" pitchFamily="49" charset="0"/>
              </a:defRPr>
            </a:lvl2pPr>
            <a:lvl3pPr marL="596181" indent="0">
              <a:buNone/>
              <a:defRPr sz="2040">
                <a:solidFill>
                  <a:schemeClr val="tx1"/>
                </a:solidFill>
                <a:latin typeface="Consolas" panose="020B0609020204030204" pitchFamily="49" charset="0"/>
                <a:cs typeface="Consolas" panose="020B0609020204030204" pitchFamily="49" charset="0"/>
              </a:defRPr>
            </a:lvl3pPr>
            <a:lvl4pPr marL="830690" indent="0">
              <a:buNone/>
              <a:defRPr sz="1836">
                <a:solidFill>
                  <a:schemeClr val="tx1"/>
                </a:solidFill>
                <a:latin typeface="Consolas" panose="020B0609020204030204" pitchFamily="49" charset="0"/>
                <a:cs typeface="Consolas" panose="020B0609020204030204" pitchFamily="49" charset="0"/>
              </a:defRPr>
            </a:lvl4pPr>
            <a:lvl5pPr marL="1071805" indent="0">
              <a:buNone/>
              <a:defRPr sz="1836">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3147105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solidFill>
                  <a:schemeClr val="tx1"/>
                </a:soli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2E58060-2934-4397-A05C-A91635D3C6EB}"/>
              </a:ext>
            </a:extLst>
          </p:cNvPr>
          <p:cNvPicPr>
            <a:picLocks noChangeAspect="1"/>
          </p:cNvPicPr>
          <p:nvPr userDrawn="1"/>
        </p:nvPicPr>
        <p:blipFill>
          <a:blip r:embed="rId2"/>
          <a:stretch>
            <a:fillRect/>
          </a:stretch>
        </p:blipFill>
        <p:spPr bwMode="black">
          <a:xfrm>
            <a:off x="595838" y="597451"/>
            <a:ext cx="1393662" cy="298433"/>
          </a:xfrm>
          <a:prstGeom prst="rect">
            <a:avLst/>
          </a:prstGeom>
        </p:spPr>
      </p:pic>
    </p:spTree>
    <p:extLst>
      <p:ext uri="{BB962C8B-B14F-4D97-AF65-F5344CB8AC3E}">
        <p14:creationId xmlns:p14="http://schemas.microsoft.com/office/powerpoint/2010/main" val="26165057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solidFill>
                  <a:schemeClr val="tx1"/>
                </a:solidFill>
                <a:latin typeface="+mn-lt"/>
              </a:defRPr>
            </a:lvl1pPr>
            <a:lvl2pPr>
              <a:defRPr sz="2856">
                <a:solidFill>
                  <a:schemeClr val="tx1"/>
                </a:solidFill>
                <a:latin typeface="+mn-lt"/>
              </a:defRPr>
            </a:lvl2pPr>
            <a:lvl3pPr>
              <a:defRPr sz="2448">
                <a:solidFill>
                  <a:schemeClr val="tx1"/>
                </a:solidFill>
                <a:latin typeface="+mn-lt"/>
              </a:defRPr>
            </a:lvl3pPr>
            <a:lvl4pPr>
              <a:defRPr sz="2040">
                <a:solidFill>
                  <a:schemeClr val="tx1"/>
                </a:solidFill>
                <a:latin typeface="+mn-lt"/>
              </a:defRPr>
            </a:lvl4pPr>
            <a:lvl5pPr>
              <a:defRPr sz="1836">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675054164"/>
      </p:ext>
    </p:extLst>
  </p:cSld>
  <p:clrMapOvr>
    <a:masterClrMapping/>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A9CB22-EF0F-4F3E-887F-5787D0518E5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03ECC8E-5D6F-4638-ACE5-D26E1E12AFA5}"/>
              </a:ext>
            </a:extLst>
          </p:cNvPr>
          <p:cNvSpPr>
            <a:spLocks noGrp="1"/>
          </p:cNvSpPr>
          <p:nvPr>
            <p:ph sz="half" idx="1"/>
          </p:nvPr>
        </p:nvSpPr>
        <p:spPr>
          <a:xfrm>
            <a:off x="855008" y="1861968"/>
            <a:ext cx="5285502"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FEFD6E7-5D3C-4FF9-9331-3CFC0BA0D044}"/>
              </a:ext>
            </a:extLst>
          </p:cNvPr>
          <p:cNvSpPr>
            <a:spLocks noGrp="1"/>
          </p:cNvSpPr>
          <p:nvPr>
            <p:ph sz="half" idx="2"/>
          </p:nvPr>
        </p:nvSpPr>
        <p:spPr>
          <a:xfrm>
            <a:off x="6295965" y="1861968"/>
            <a:ext cx="5285502"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D0AB64B-CF4D-41E6-94A3-55AE03037D2E}"/>
              </a:ext>
            </a:extLst>
          </p:cNvPr>
          <p:cNvSpPr>
            <a:spLocks noGrp="1"/>
          </p:cNvSpPr>
          <p:nvPr>
            <p:ph type="dt" sz="half" idx="10"/>
          </p:nvPr>
        </p:nvSpPr>
        <p:spPr/>
        <p:txBody>
          <a:bodyPr/>
          <a:lstStyle/>
          <a:p>
            <a:fld id="{873183E6-BE94-4C2A-B19F-9655DB4A94F6}" type="datetimeFigureOut">
              <a:rPr lang="en-US" smtClean="0"/>
              <a:t>9/16/2022</a:t>
            </a:fld>
            <a:endParaRPr lang="en-US"/>
          </a:p>
        </p:txBody>
      </p:sp>
      <p:sp>
        <p:nvSpPr>
          <p:cNvPr id="6" name="Footer Placeholder 5">
            <a:extLst>
              <a:ext uri="{FF2B5EF4-FFF2-40B4-BE49-F238E27FC236}">
                <a16:creationId xmlns:a16="http://schemas.microsoft.com/office/drawing/2014/main" id="{3E605446-F1A5-4CE7-A5C7-BC0724B9F7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87D3722-2905-4780-9522-D032CE250545}"/>
              </a:ext>
            </a:extLst>
          </p:cNvPr>
          <p:cNvSpPr>
            <a:spLocks noGrp="1"/>
          </p:cNvSpPr>
          <p:nvPr>
            <p:ph type="sldNum" sz="quarter" idx="12"/>
          </p:nvPr>
        </p:nvSpPr>
        <p:spPr/>
        <p:txBody>
          <a:bodyPr/>
          <a:lstStyle/>
          <a:p>
            <a:fld id="{146DF749-0D45-4262-9ADF-4D2C9FED14F0}" type="slidenum">
              <a:rPr lang="en-US" smtClean="0"/>
              <a:t>‹#›</a:t>
            </a:fld>
            <a:endParaRPr lang="en-US"/>
          </a:p>
        </p:txBody>
      </p:sp>
    </p:spTree>
    <p:extLst>
      <p:ext uri="{BB962C8B-B14F-4D97-AF65-F5344CB8AC3E}">
        <p14:creationId xmlns:p14="http://schemas.microsoft.com/office/powerpoint/2010/main" val="2550825652"/>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69"/>
            <a:ext cx="11238355"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27481420"/>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cSld name="2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502246"/>
          </a:xfrm>
        </p:spPr>
        <p:txBody>
          <a:bodyPr wrap="square" lIns="0" tIns="0" rIns="0" bIns="0">
            <a:spAutoFit/>
          </a:bodyPr>
          <a:lstStyle>
            <a:lvl1pPr>
              <a:lnSpc>
                <a:spcPct val="100000"/>
              </a:lnSpc>
              <a:defRPr sz="3264" strike="noStrike">
                <a:gradFill>
                  <a:gsLst>
                    <a:gs pos="83000">
                      <a:schemeClr val="tx1"/>
                    </a:gs>
                    <a:gs pos="99000">
                      <a:schemeClr val="tx1"/>
                    </a:gs>
                  </a:gsLst>
                  <a:lin ang="5400000" scaled="1"/>
                </a:gradFill>
              </a:defRPr>
            </a:lvl1pPr>
          </a:lstStyle>
          <a:p>
            <a:r>
              <a:rPr lang="en-US"/>
              <a:t>Title</a:t>
            </a:r>
          </a:p>
        </p:txBody>
      </p:sp>
    </p:spTree>
    <p:extLst>
      <p:ext uri="{BB962C8B-B14F-4D97-AF65-F5344CB8AC3E}">
        <p14:creationId xmlns:p14="http://schemas.microsoft.com/office/powerpoint/2010/main" val="1826707217"/>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1_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95840" y="597451"/>
            <a:ext cx="1393463" cy="298433"/>
          </a:xfrm>
          <a:prstGeom prst="rect">
            <a:avLst/>
          </a:prstGeom>
        </p:spPr>
      </p:pic>
    </p:spTree>
    <p:extLst>
      <p:ext uri="{BB962C8B-B14F-4D97-AF65-F5344CB8AC3E}">
        <p14:creationId xmlns:p14="http://schemas.microsoft.com/office/powerpoint/2010/main" val="355550637"/>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95840" y="597451"/>
            <a:ext cx="1393463" cy="298433"/>
          </a:xfrm>
          <a:prstGeom prst="rect">
            <a:avLst/>
          </a:prstGeom>
        </p:spPr>
      </p:pic>
    </p:spTree>
    <p:extLst>
      <p:ext uri="{BB962C8B-B14F-4D97-AF65-F5344CB8AC3E}">
        <p14:creationId xmlns:p14="http://schemas.microsoft.com/office/powerpoint/2010/main" val="2519351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99982" y="3053049"/>
            <a:ext cx="11238030" cy="565027"/>
          </a:xfrm>
        </p:spPr>
        <p:txBody>
          <a:bodyPr/>
          <a:lstStyle/>
          <a:p>
            <a:r>
              <a:rPr lang="en-US"/>
              <a:t>Click to edit Master title style</a:t>
            </a:r>
          </a:p>
        </p:txBody>
      </p:sp>
    </p:spTree>
    <p:extLst>
      <p:ext uri="{BB962C8B-B14F-4D97-AF65-F5344CB8AC3E}">
        <p14:creationId xmlns:p14="http://schemas.microsoft.com/office/powerpoint/2010/main" val="41499558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1_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094226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white">
          <a:xfrm>
            <a:off x="595840" y="597451"/>
            <a:ext cx="1393463" cy="298433"/>
          </a:xfrm>
          <a:prstGeom prst="rect">
            <a:avLst/>
          </a:prstGeom>
        </p:spPr>
      </p:pic>
      <p:pic>
        <p:nvPicPr>
          <p:cNvPr id="5" name="Picture 4" descr="Microsoft Inspire event logo">
            <a:extLst>
              <a:ext uri="{FF2B5EF4-FFF2-40B4-BE49-F238E27FC236}">
                <a16:creationId xmlns:a16="http://schemas.microsoft.com/office/drawing/2014/main" id="{5075F494-EE98-49E1-963C-01F96E9051E3}"/>
              </a:ext>
            </a:extLst>
          </p:cNvPr>
          <p:cNvPicPr>
            <a:picLocks noChangeAspect="1"/>
          </p:cNvPicPr>
          <p:nvPr userDrawn="1"/>
        </p:nvPicPr>
        <p:blipFill>
          <a:blip r:embed="rId3"/>
          <a:stretch>
            <a:fillRect/>
          </a:stretch>
        </p:blipFill>
        <p:spPr>
          <a:xfrm>
            <a:off x="611383" y="2971426"/>
            <a:ext cx="2844504" cy="1436209"/>
          </a:xfrm>
          <a:prstGeom prst="rect">
            <a:avLst/>
          </a:prstGeom>
        </p:spPr>
      </p:pic>
      <p:pic>
        <p:nvPicPr>
          <p:cNvPr id="6" name="Picture 5">
            <a:extLst>
              <a:ext uri="{FF2B5EF4-FFF2-40B4-BE49-F238E27FC236}">
                <a16:creationId xmlns:a16="http://schemas.microsoft.com/office/drawing/2014/main" id="{0476A41B-A343-456C-84AD-A9DB8690EDEA}"/>
              </a:ext>
              <a:ext uri="{C183D7F6-B498-43B3-948B-1728B52AA6E4}">
                <adec:decorative xmlns:adec="http://schemas.microsoft.com/office/drawing/2017/decorative" val="1"/>
              </a:ext>
            </a:extLst>
          </p:cNvPr>
          <p:cNvPicPr>
            <a:picLocks noChangeAspect="1"/>
          </p:cNvPicPr>
          <p:nvPr userDrawn="1"/>
        </p:nvPicPr>
        <p:blipFill rotWithShape="1">
          <a:blip r:embed="rId4"/>
          <a:srcRect t="4112" r="7055" b="32576"/>
          <a:stretch/>
        </p:blipFill>
        <p:spPr>
          <a:xfrm>
            <a:off x="5588860" y="1"/>
            <a:ext cx="6846029" cy="6994525"/>
          </a:xfrm>
          <a:prstGeom prst="rect">
            <a:avLst/>
          </a:prstGeom>
        </p:spPr>
      </p:pic>
    </p:spTree>
    <p:extLst>
      <p:ext uri="{BB962C8B-B14F-4D97-AF65-F5344CB8AC3E}">
        <p14:creationId xmlns:p14="http://schemas.microsoft.com/office/powerpoint/2010/main" val="41039174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FBAE4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443205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69"/>
            <a:ext cx="11238355"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3203973"/>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901432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69"/>
            <a:ext cx="5315592"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69"/>
            <a:ext cx="5323687"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3991656"/>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mn-lt"/>
                <a:cs typeface="Segoe UI" panose="020B0502040204020203" pitchFamily="34" charset="0"/>
              </a:defRPr>
            </a:lvl1pPr>
            <a:lvl2pPr marL="260648" indent="0">
              <a:buFont typeface="Wingdings" panose="05000000000000000000" pitchFamily="2" charset="2"/>
              <a:buNone/>
              <a:defRPr sz="2040" b="0">
                <a:latin typeface="+mn-lt"/>
              </a:defRPr>
            </a:lvl2pPr>
            <a:lvl3pPr marL="459776" indent="0">
              <a:buFont typeface="Wingdings" panose="05000000000000000000" pitchFamily="2" charset="2"/>
              <a:buNone/>
              <a:tabLst/>
              <a:defRPr sz="1632" b="0">
                <a:latin typeface="+mn-lt"/>
              </a:defRPr>
            </a:lvl3pPr>
            <a:lvl4pPr marL="665379" indent="0">
              <a:buFont typeface="Wingdings" panose="05000000000000000000" pitchFamily="2" charset="2"/>
              <a:buNone/>
              <a:defRPr sz="1428" b="0">
                <a:latin typeface="+mn-lt"/>
              </a:defRPr>
            </a:lvl4pPr>
            <a:lvl5pPr marL="870984" indent="0">
              <a:buFont typeface="Wingdings" panose="05000000000000000000" pitchFamily="2" charset="2"/>
              <a:buNone/>
              <a:tabLst/>
              <a:defRPr sz="1428"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mn-lt"/>
                <a:cs typeface="Segoe UI" panose="020B0502040204020203" pitchFamily="34" charset="0"/>
              </a:defRPr>
            </a:lvl1pPr>
            <a:lvl2pPr marL="260648" indent="0">
              <a:buFont typeface="Wingdings" panose="05000000000000000000" pitchFamily="2" charset="2"/>
              <a:buNone/>
              <a:defRPr sz="2040" b="0">
                <a:latin typeface="+mn-lt"/>
              </a:defRPr>
            </a:lvl2pPr>
            <a:lvl3pPr marL="459776" indent="0">
              <a:buFont typeface="Wingdings" panose="05000000000000000000" pitchFamily="2" charset="2"/>
              <a:buNone/>
              <a:tabLst/>
              <a:defRPr sz="1632" b="0">
                <a:latin typeface="+mn-lt"/>
              </a:defRPr>
            </a:lvl3pPr>
            <a:lvl4pPr marL="665379" indent="0">
              <a:buFont typeface="Wingdings" panose="05000000000000000000" pitchFamily="2" charset="2"/>
              <a:buNone/>
              <a:defRPr sz="1428" b="0">
                <a:latin typeface="+mn-lt"/>
              </a:defRPr>
            </a:lvl4pPr>
            <a:lvl5pPr marL="870984" indent="0">
              <a:buFont typeface="Wingdings" panose="05000000000000000000" pitchFamily="2" charset="2"/>
              <a:buNone/>
              <a:tabLst/>
              <a:defRPr sz="1428"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8534895"/>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03822784"/>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2434189"/>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4"/>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Edit Master text styles</a:t>
            </a:r>
          </a:p>
        </p:txBody>
      </p:sp>
      <p:pic>
        <p:nvPicPr>
          <p:cNvPr id="7" name="Picture 6">
            <a:extLst>
              <a:ext uri="{FF2B5EF4-FFF2-40B4-BE49-F238E27FC236}">
                <a16:creationId xmlns:a16="http://schemas.microsoft.com/office/drawing/2014/main" id="{C36EA944-550A-417D-A035-8AA8EF21416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49307" y="5269662"/>
            <a:ext cx="1429273" cy="1434546"/>
          </a:xfrm>
          <a:prstGeom prst="rect">
            <a:avLst/>
          </a:prstGeom>
        </p:spPr>
      </p:pic>
      <p:pic>
        <p:nvPicPr>
          <p:cNvPr id="8" name="Picture 7">
            <a:extLst>
              <a:ext uri="{FF2B5EF4-FFF2-40B4-BE49-F238E27FC236}">
                <a16:creationId xmlns:a16="http://schemas.microsoft.com/office/drawing/2014/main" id="{E7D5DEA1-8060-4C82-8357-8D83C33570B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5709" y="296239"/>
            <a:ext cx="1434566" cy="1434546"/>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88298942-55B4-469B-A6F1-D0C9D4EF142D}"/>
              </a:ext>
            </a:extLst>
          </p:cNvPr>
          <p:cNvSpPr>
            <a:spLocks noGrp="1" noChangeAspect="1"/>
          </p:cNvSpPr>
          <p:nvPr>
            <p:ph type="pic" sz="quarter" idx="11" hasCustomPrompt="1"/>
          </p:nvPr>
        </p:nvSpPr>
        <p:spPr bwMode="gray">
          <a:xfrm>
            <a:off x="6032378" y="575119"/>
            <a:ext cx="5838180"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46659093"/>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3000" userDrawn="1">
          <p15:clr>
            <a:srgbClr val="5ACBF0"/>
          </p15:clr>
        </p15:guide>
        <p15:guide id="12" pos="3543" userDrawn="1">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082726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20E299E8-8FC4-4186-85AF-20CED654631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49307" y="5269662"/>
            <a:ext cx="1429273" cy="1434546"/>
          </a:xfrm>
          <a:prstGeom prst="rect">
            <a:avLst/>
          </a:prstGeom>
        </p:spPr>
      </p:pic>
      <p:pic>
        <p:nvPicPr>
          <p:cNvPr id="7" name="Picture 6">
            <a:extLst>
              <a:ext uri="{FF2B5EF4-FFF2-40B4-BE49-F238E27FC236}">
                <a16:creationId xmlns:a16="http://schemas.microsoft.com/office/drawing/2014/main" id="{65AD4D8A-D525-4E6D-B1E6-4FE172367667}"/>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5709" y="296239"/>
            <a:ext cx="1434566" cy="1434546"/>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F914427A-37A4-44C8-A9C3-7DCC03AF0475}"/>
              </a:ext>
            </a:extLst>
          </p:cNvPr>
          <p:cNvSpPr>
            <a:spLocks noGrp="1" noChangeAspect="1"/>
          </p:cNvSpPr>
          <p:nvPr>
            <p:ph type="pic" sz="quarter" idx="11" hasCustomPrompt="1"/>
          </p:nvPr>
        </p:nvSpPr>
        <p:spPr bwMode="gray">
          <a:xfrm>
            <a:off x="6032378" y="575119"/>
            <a:ext cx="5838180"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04730615"/>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5" orient="horz" pos="2160" userDrawn="1">
          <p15:clr>
            <a:srgbClr val="FBAE4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56180"/>
            <a:ext cx="4246062" cy="878959"/>
          </a:xfrm>
        </p:spPr>
        <p:txBody>
          <a:bodyPr anchor="t"/>
          <a:lstStyle>
            <a:lvl1pPr>
              <a:defRPr sz="2856"/>
            </a:lvl1pPr>
          </a:lstStyle>
          <a:p>
            <a:r>
              <a:rPr lang="en-US"/>
              <a:t>Square photo layout with smaller text</a:t>
            </a:r>
          </a:p>
        </p:txBody>
      </p:sp>
      <p:pic>
        <p:nvPicPr>
          <p:cNvPr id="6" name="Picture 5">
            <a:extLst>
              <a:ext uri="{FF2B5EF4-FFF2-40B4-BE49-F238E27FC236}">
                <a16:creationId xmlns:a16="http://schemas.microsoft.com/office/drawing/2014/main" id="{74B3188A-254F-414A-BEA3-F69376596C9E}"/>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49307" y="5269662"/>
            <a:ext cx="1429273" cy="1434546"/>
          </a:xfrm>
          <a:prstGeom prst="rect">
            <a:avLst/>
          </a:prstGeom>
        </p:spPr>
      </p:pic>
      <p:pic>
        <p:nvPicPr>
          <p:cNvPr id="7" name="Picture 6">
            <a:extLst>
              <a:ext uri="{FF2B5EF4-FFF2-40B4-BE49-F238E27FC236}">
                <a16:creationId xmlns:a16="http://schemas.microsoft.com/office/drawing/2014/main" id="{AB3E7ED4-D6BE-4715-B767-1DF5BCFCB61C}"/>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5709" y="296239"/>
            <a:ext cx="1434566" cy="1434546"/>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0A481962-6118-4A6A-AF3A-946F2EEBB647}"/>
              </a:ext>
            </a:extLst>
          </p:cNvPr>
          <p:cNvSpPr>
            <a:spLocks noGrp="1" noChangeAspect="1"/>
          </p:cNvSpPr>
          <p:nvPr>
            <p:ph type="pic" sz="quarter" idx="11" hasCustomPrompt="1"/>
          </p:nvPr>
        </p:nvSpPr>
        <p:spPr bwMode="gray">
          <a:xfrm>
            <a:off x="6032378" y="575119"/>
            <a:ext cx="5838180"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43435766"/>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738183" y="298434"/>
            <a:ext cx="6397749" cy="6397659"/>
          </a:xfrm>
          <a:blipFill>
            <a:blip r:embed="rId2"/>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22169647"/>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5" orient="horz" pos="2160" userDrawn="1">
          <p15:clr>
            <a:srgbClr val="FBAE4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6"/>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1"/>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16075866"/>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1"/>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71150850"/>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5"/>
            <a:ext cx="5474459" cy="313932"/>
          </a:xfrm>
        </p:spPr>
        <p:txBody>
          <a:bodyPr/>
          <a:lstStyle>
            <a:lvl1pPr marL="0" indent="0" algn="ctr">
              <a:spcBef>
                <a:spcPts val="0"/>
              </a:spcBef>
              <a:buNone/>
              <a:defRPr sz="204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19"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5"/>
            <a:ext cx="5474459" cy="313932"/>
          </a:xfrm>
        </p:spPr>
        <p:txBody>
          <a:bodyPr/>
          <a:lstStyle>
            <a:lvl1pPr marL="0" indent="0" algn="ctr">
              <a:spcBef>
                <a:spcPts val="0"/>
              </a:spcBef>
              <a:buNone/>
              <a:defRPr sz="204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71199678"/>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5"/>
            <a:ext cx="3544267" cy="313932"/>
          </a:xfrm>
        </p:spPr>
        <p:txBody>
          <a:bodyPr/>
          <a:lstStyle>
            <a:lvl1pPr marL="0" indent="0" algn="ctr">
              <a:spcBef>
                <a:spcPts val="0"/>
              </a:spcBef>
              <a:buNone/>
              <a:defRPr sz="204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2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5"/>
            <a:ext cx="3544267" cy="313932"/>
          </a:xfrm>
        </p:spPr>
        <p:txBody>
          <a:bodyPr/>
          <a:lstStyle>
            <a:lvl1pPr marL="0" indent="0" algn="ctr">
              <a:spcBef>
                <a:spcPts val="0"/>
              </a:spcBef>
              <a:buNone/>
              <a:defRPr sz="204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445473"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5"/>
            <a:ext cx="3544267" cy="313932"/>
          </a:xfrm>
        </p:spPr>
        <p:txBody>
          <a:bodyPr/>
          <a:lstStyle>
            <a:lvl1pPr marL="0" indent="0" algn="ctr">
              <a:spcBef>
                <a:spcPts val="0"/>
              </a:spcBef>
              <a:buNone/>
              <a:defRPr sz="204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34955558"/>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6"/>
            <a:ext cx="2583348" cy="313932"/>
          </a:xfrm>
        </p:spPr>
        <p:txBody>
          <a:bodyPr/>
          <a:lstStyle>
            <a:lvl1pPr marL="0" indent="0" algn="ctr">
              <a:spcBef>
                <a:spcPts val="0"/>
              </a:spcBef>
              <a:buNone/>
              <a:defRPr sz="204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18"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313932"/>
          </a:xfrm>
        </p:spPr>
        <p:txBody>
          <a:bodyPr/>
          <a:lstStyle>
            <a:lvl1pPr marL="0" indent="0" algn="ctr">
              <a:spcBef>
                <a:spcPts val="0"/>
              </a:spcBef>
              <a:buNone/>
              <a:defRPr sz="204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819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313932"/>
          </a:xfrm>
        </p:spPr>
        <p:txBody>
          <a:bodyPr/>
          <a:lstStyle>
            <a:lvl1pPr marL="0" indent="0" algn="ctr">
              <a:spcBef>
                <a:spcPts val="0"/>
              </a:spcBef>
              <a:buNone/>
              <a:defRPr sz="204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96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6"/>
            <a:ext cx="2583348" cy="313932"/>
          </a:xfrm>
        </p:spPr>
        <p:txBody>
          <a:bodyPr/>
          <a:lstStyle>
            <a:lvl1pPr marL="0" indent="0" algn="ctr">
              <a:spcBef>
                <a:spcPts val="0"/>
              </a:spcBef>
              <a:buNone/>
              <a:defRPr sz="204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257322"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58174087"/>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276973" y="2057881"/>
            <a:ext cx="3563697" cy="313932"/>
          </a:xfrm>
        </p:spPr>
        <p:txBody>
          <a:bodyPr/>
          <a:lstStyle>
            <a:lvl1pPr marL="0" indent="0">
              <a:buFontTx/>
              <a:buNone/>
              <a:defRPr sz="204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94218" y="1465289"/>
            <a:ext cx="7397788" cy="4928550"/>
          </a:xfrm>
          <a:blipFill>
            <a:blip r:embed="rId2"/>
            <a:stretch>
              <a:fillRect/>
            </a:stretch>
          </a:blipFill>
        </p:spPr>
        <p:txBody>
          <a:bodyPr bIns="1005840" anchor="ctr">
            <a:noAutofit/>
          </a:bodyPr>
          <a:lstStyle>
            <a:lvl1pPr marL="0" indent="0" algn="ctr">
              <a:buNone/>
              <a:defRPr sz="102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789364887"/>
      </p:ext>
    </p:extLst>
  </p:cSld>
  <p:clrMapOvr>
    <a:masterClrMapping/>
  </p:clrMapOvr>
  <p:transition>
    <p:fade/>
  </p:transition>
  <p:extLst>
    <p:ext uri="{DCECCB84-F9BA-43D5-87BE-67443E8EF086}">
      <p15:sldGuideLst xmlns:p15="http://schemas.microsoft.com/office/powerpoint/2012/main">
        <p15:guide id="20" pos="4935" userDrawn="1">
          <p15:clr>
            <a:srgbClr val="5ACBF0"/>
          </p15:clr>
        </p15:guide>
        <p15:guide id="21" pos="5110" userDrawn="1">
          <p15:clr>
            <a:srgbClr val="5ACBF0"/>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95838" y="2351745"/>
            <a:ext cx="3538064" cy="1130181"/>
          </a:xfrm>
        </p:spPr>
        <p:txBody>
          <a:bodyPr/>
          <a:lstStyle>
            <a:lvl1pPr>
              <a:defRPr sz="3672">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738663" y="2495753"/>
            <a:ext cx="7099868" cy="376706"/>
          </a:xfrm>
        </p:spPr>
        <p:txBody>
          <a:bodyPr/>
          <a:lstStyle>
            <a:lvl1pPr marL="0" indent="0">
              <a:spcAft>
                <a:spcPts val="1224"/>
              </a:spcAft>
              <a:buNone/>
              <a:defRPr sz="2448"/>
            </a:lvl1pPr>
            <a:lvl2pPr marL="233126" indent="0">
              <a:buNone/>
              <a:defRPr/>
            </a:lvl2pPr>
          </a:lstStyle>
          <a:p>
            <a:pPr lvl="0"/>
            <a:r>
              <a:rPr lang="en-US"/>
              <a:t>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99983" y="2057880"/>
            <a:ext cx="3546600"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740801" y="2057880"/>
            <a:ext cx="709986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7023356"/>
      </p:ext>
    </p:extLst>
  </p:cSld>
  <p:clrMapOvr>
    <a:masterClrMapping/>
  </p:clrMapOvr>
  <p:transition>
    <p:fade/>
  </p:transition>
  <p:extLst>
    <p:ext uri="{DCECCB84-F9BA-43D5-87BE-67443E8EF086}">
      <p15:sldGuideLst xmlns:p15="http://schemas.microsoft.com/office/powerpoint/2012/main">
        <p15:guide id="12" pos="2561" userDrawn="1">
          <p15:clr>
            <a:srgbClr val="5ACBF0"/>
          </p15:clr>
        </p15:guide>
        <p15:guide id="13" pos="2744" userDrawn="1">
          <p15:clr>
            <a:srgbClr val="5ACBF0"/>
          </p15:clr>
        </p15:guide>
        <p15:guide id="28" orient="horz" pos="905" userDrawn="1">
          <p15:clr>
            <a:srgbClr val="5ACBF0"/>
          </p15:clr>
        </p15:guide>
        <p15:guide id="29" orient="horz" pos="1271" userDrawn="1">
          <p15:clr>
            <a:srgbClr val="5ACBF0"/>
          </p15:clr>
        </p15:guide>
        <p15:guide id="32" orient="horz" pos="1728" userDrawn="1">
          <p15:clr>
            <a:srgbClr val="FBAE40"/>
          </p15:clr>
        </p15:guide>
        <p15:guide id="33" pos="2928" userDrawn="1">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lstStyle/>
          <a:p>
            <a:r>
              <a:rPr lang="en-US"/>
              <a:t>Click to edit Master title style</a:t>
            </a:r>
          </a:p>
        </p:txBody>
      </p:sp>
    </p:spTree>
    <p:extLst>
      <p:ext uri="{BB962C8B-B14F-4D97-AF65-F5344CB8AC3E}">
        <p14:creationId xmlns:p14="http://schemas.microsoft.com/office/powerpoint/2010/main" val="29708215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1"/>
            <a:ext cx="4442882"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l" defTabSz="950933"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99982" y="3213099"/>
            <a:ext cx="3247062" cy="565091"/>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6696" y="3275905"/>
            <a:ext cx="6802531" cy="439479"/>
          </a:xfrm>
        </p:spPr>
        <p:txBody>
          <a:bodyPr anchor="ctr" anchorCtr="0"/>
          <a:lstStyle>
            <a:lvl1pPr marL="0" indent="0">
              <a:spcAft>
                <a:spcPts val="1224"/>
              </a:spcAft>
              <a:buNone/>
              <a:defRPr sz="2856"/>
            </a:lvl1pPr>
            <a:lvl2pPr marL="233126" indent="0">
              <a:buNone/>
              <a:defRPr/>
            </a:lvl2pPr>
          </a:lstStyle>
          <a:p>
            <a:pPr lvl="0"/>
            <a:r>
              <a:rPr lang="en-US"/>
              <a:t>Edit Master text styles</a:t>
            </a:r>
          </a:p>
        </p:txBody>
      </p:sp>
    </p:spTree>
    <p:extLst>
      <p:ext uri="{BB962C8B-B14F-4D97-AF65-F5344CB8AC3E}">
        <p14:creationId xmlns:p14="http://schemas.microsoft.com/office/powerpoint/2010/main" val="1475316205"/>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14" pos="3110" userDrawn="1">
          <p15:clr>
            <a:srgbClr val="5ACBF0"/>
          </p15:clr>
        </p15:guide>
        <p15:guide id="29" orient="horz" pos="2160" userDrawn="1">
          <p15:clr>
            <a:srgbClr val="FDE53C"/>
          </p15:clr>
        </p15:guide>
        <p15:guide id="30" pos="2376" userDrawn="1">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1"/>
            <a:ext cx="4442882"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l" defTabSz="950933"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99982" y="3213099"/>
            <a:ext cx="3247062" cy="565091"/>
          </a:xfrm>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6696" y="3275905"/>
            <a:ext cx="6802531" cy="439479"/>
          </a:xfrm>
        </p:spPr>
        <p:txBody>
          <a:bodyPr anchor="ctr" anchorCtr="0"/>
          <a:lstStyle>
            <a:lvl1pPr marL="0" indent="0">
              <a:spcAft>
                <a:spcPts val="1224"/>
              </a:spcAft>
              <a:buNone/>
              <a:defRPr sz="2856"/>
            </a:lvl1pPr>
            <a:lvl2pPr marL="233126" indent="0">
              <a:buNone/>
              <a:defRPr/>
            </a:lvl2pPr>
          </a:lstStyle>
          <a:p>
            <a:pPr lvl="0"/>
            <a:r>
              <a:rPr lang="en-US"/>
              <a:t>Edit Master text styles</a:t>
            </a:r>
          </a:p>
        </p:txBody>
      </p:sp>
    </p:spTree>
    <p:extLst>
      <p:ext uri="{BB962C8B-B14F-4D97-AF65-F5344CB8AC3E}">
        <p14:creationId xmlns:p14="http://schemas.microsoft.com/office/powerpoint/2010/main" val="701213483"/>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14" pos="3110" userDrawn="1">
          <p15:clr>
            <a:srgbClr val="5ACBF0"/>
          </p15:clr>
        </p15:guide>
        <p15:guide id="29" orient="horz" pos="2160" userDrawn="1">
          <p15:clr>
            <a:srgbClr val="FDE53C"/>
          </p15:clr>
        </p15:guide>
        <p15:guide id="30" pos="2376" userDrawn="1">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4" y="3213099"/>
            <a:ext cx="3245419" cy="565091"/>
          </a:xfrm>
        </p:spPr>
        <p:txBody>
          <a:bodyPr anchor="ctr"/>
          <a:lstStyle>
            <a:lvl1pPr>
              <a:defRPr/>
            </a:lvl1pPr>
          </a:lstStyle>
          <a:p>
            <a:r>
              <a:rPr lang="en-US"/>
              <a:t>Titl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5"/>
            <a:ext cx="6800329" cy="439479"/>
          </a:xfrm>
        </p:spPr>
        <p:txBody>
          <a:bodyPr anchor="ctr"/>
          <a:lstStyle>
            <a:lvl1pPr marL="0" indent="0">
              <a:buNone/>
              <a:defRPr/>
            </a:lvl1pPr>
          </a:lstStyle>
          <a:p>
            <a:pPr lvl="0"/>
            <a:r>
              <a:rPr lang="en-US"/>
              <a:t>Edit Master text styles</a:t>
            </a:r>
          </a:p>
        </p:txBody>
      </p:sp>
    </p:spTree>
    <p:extLst>
      <p:ext uri="{BB962C8B-B14F-4D97-AF65-F5344CB8AC3E}">
        <p14:creationId xmlns:p14="http://schemas.microsoft.com/office/powerpoint/2010/main" val="2245519562"/>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FDE53C"/>
          </p15:clr>
        </p15:guide>
        <p15:guide id="30" pos="2376" userDrawn="1">
          <p15:clr>
            <a:srgbClr val="5ACBF0"/>
          </p15:clr>
        </p15:guide>
        <p15:guide id="31" pos="3113" userDrawn="1">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0447666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12267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720529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guide id="4" orient="horz" pos="2505" userDrawn="1">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13494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0762107"/>
      </p:ext>
    </p:extLst>
  </p:cSld>
  <p:clrMapOvr>
    <a:masterClrMapping/>
  </p:clrMapOvr>
  <p:transition>
    <p:fade/>
  </p:transition>
  <p:extLst>
    <p:ext uri="{DCECCB84-F9BA-43D5-87BE-67443E8EF086}">
      <p15:sldGuideLst xmlns:p15="http://schemas.microsoft.com/office/powerpoint/2012/main">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159307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14"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18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690"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805"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7209087"/>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8749250"/>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50748" rtl="0" eaLnBrk="0" fontAlgn="auto" latinLnBrk="0" hangingPunct="0">
              <a:lnSpc>
                <a:spcPct val="100000"/>
              </a:lnSpc>
              <a:spcBef>
                <a:spcPts val="0"/>
              </a:spcBef>
              <a:spcAft>
                <a:spcPts val="0"/>
              </a:spcAft>
              <a:buClrTx/>
              <a:buSzTx/>
              <a:buFontTx/>
              <a:buNone/>
              <a:tabLst/>
              <a:defRPr/>
            </a:pPr>
            <a:r>
              <a:rPr kumimoji="0" lang="en-US" sz="714"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2622502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221639933"/>
      </p:ext>
    </p:extLst>
  </p:cSld>
  <p:clrMapOvr>
    <a:masterClrMapping/>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1334949"/>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4" userDrawn="1">
          <p15:clr>
            <a:srgbClr val="5ACBF0"/>
          </p15:clr>
        </p15:guide>
        <p15:guide id="3" orient="horz" pos="288" userDrawn="1">
          <p15:clr>
            <a:srgbClr val="5ACBF0"/>
          </p15:clr>
        </p15:guide>
        <p15:guide id="4" orient="horz" pos="768" userDrawn="1">
          <p15:clr>
            <a:srgbClr val="FBAE40"/>
          </p15:clr>
        </p15:guide>
        <p15:guide id="5" orient="horz" pos="3552" userDrawn="1">
          <p15:clr>
            <a:srgbClr val="FBAE4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Table of contents_new">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4" y="6363076"/>
            <a:ext cx="12434889" cy="631450"/>
          </a:xfrm>
          <a:prstGeom prst="rect">
            <a:avLst/>
          </a:prstGeom>
          <a:solidFill>
            <a:srgbClr val="FFFF99"/>
          </a:solidFill>
        </p:spPr>
        <p:txBody>
          <a:bodyPr wrap="square" lIns="128019" tIns="64010" rIns="128019" bIns="64010" anchor="ctr" anchorCtr="0">
            <a:noAutofit/>
          </a:bodyPr>
          <a:lstStyle>
            <a:lvl1pPr algn="r">
              <a:buFont typeface="Arial" pitchFamily="34" charset="0"/>
              <a:buNone/>
              <a:defRPr sz="2400" spc="-4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8" name="Text Placeholder 3">
            <a:extLst>
              <a:ext uri="{FF2B5EF4-FFF2-40B4-BE49-F238E27FC236}">
                <a16:creationId xmlns:a16="http://schemas.microsoft.com/office/drawing/2014/main" id="{8A791B4E-320F-4771-8692-E9D2DCE98A74}"/>
              </a:ext>
            </a:extLst>
          </p:cNvPr>
          <p:cNvSpPr>
            <a:spLocks noGrp="1"/>
          </p:cNvSpPr>
          <p:nvPr>
            <p:ph type="body" sz="quarter" idx="10" hasCustomPrompt="1"/>
          </p:nvPr>
        </p:nvSpPr>
        <p:spPr>
          <a:xfrm>
            <a:off x="434919" y="1203327"/>
            <a:ext cx="11565684" cy="249299"/>
          </a:xfrm>
        </p:spPr>
        <p:txBody>
          <a:bodyPr wrap="square" lIns="0" tIns="0" rIns="0" bIns="0">
            <a:spAutoFit/>
          </a:bodyPr>
          <a:lstStyle>
            <a:lvl1pPr marL="0" indent="0">
              <a:lnSpc>
                <a:spcPct val="90000"/>
              </a:lnSpc>
              <a:spcBef>
                <a:spcPts val="0"/>
              </a:spcBef>
              <a:spcAft>
                <a:spcPts val="1299"/>
              </a:spcAft>
              <a:buClr>
                <a:schemeClr val="tx1"/>
              </a:buClr>
              <a:buFont typeface="Arial" panose="020B0604020202020204" pitchFamily="34" charset="0"/>
              <a:buNone/>
              <a:defRPr sz="1800" b="0" i="0">
                <a:solidFill>
                  <a:schemeClr val="tx1"/>
                </a:solidFill>
                <a:latin typeface="+mn-lt"/>
              </a:defRPr>
            </a:lvl1pPr>
            <a:lvl2pPr marL="571333" indent="-342800">
              <a:lnSpc>
                <a:spcPct val="90000"/>
              </a:lnSpc>
              <a:spcBef>
                <a:spcPts val="0"/>
              </a:spcBef>
              <a:spcAft>
                <a:spcPts val="1299"/>
              </a:spcAft>
              <a:buClr>
                <a:schemeClr val="tx1"/>
              </a:buClr>
              <a:buFont typeface="Arial" panose="020B0604020202020204" pitchFamily="34" charset="0"/>
              <a:buChar char="•"/>
              <a:defRPr sz="2000">
                <a:solidFill>
                  <a:schemeClr val="tx1"/>
                </a:solidFill>
              </a:defRPr>
            </a:lvl2pPr>
            <a:lvl3pPr marL="799866" indent="-342800">
              <a:spcBef>
                <a:spcPts val="0"/>
              </a:spcBef>
              <a:spcAft>
                <a:spcPts val="1299"/>
              </a:spcAft>
              <a:buClr>
                <a:schemeClr val="tx1"/>
              </a:buClr>
              <a:buFont typeface="Arial" panose="020B0604020202020204" pitchFamily="34" charset="0"/>
              <a:buChar char="•"/>
              <a:defRPr sz="2000">
                <a:solidFill>
                  <a:schemeClr val="tx1"/>
                </a:solidFill>
              </a:defRPr>
            </a:lvl3pPr>
            <a:lvl4pPr marL="685600" indent="0">
              <a:spcBef>
                <a:spcPts val="0"/>
              </a:spcBef>
              <a:spcAft>
                <a:spcPts val="1299"/>
              </a:spcAft>
              <a:buNone/>
              <a:defRPr sz="2000"/>
            </a:lvl4pPr>
            <a:lvl5pPr marL="914133" indent="0">
              <a:buNone/>
              <a:defRPr/>
            </a:lvl5pPr>
          </a:lstStyle>
          <a:p>
            <a:pPr lvl="0"/>
            <a:r>
              <a:rPr lang="en-US"/>
              <a:t>First level Segoe UI 26pt</a:t>
            </a:r>
          </a:p>
        </p:txBody>
      </p:sp>
      <p:sp>
        <p:nvSpPr>
          <p:cNvPr id="9" name="Title Placeholder 1">
            <a:extLst>
              <a:ext uri="{FF2B5EF4-FFF2-40B4-BE49-F238E27FC236}">
                <a16:creationId xmlns:a16="http://schemas.microsoft.com/office/drawing/2014/main" id="{5F6AC65F-B7AA-4FC8-AD2C-630F8A7DD63E}"/>
              </a:ext>
            </a:extLst>
          </p:cNvPr>
          <p:cNvSpPr>
            <a:spLocks noGrp="1"/>
          </p:cNvSpPr>
          <p:nvPr>
            <p:ph type="title" hasCustomPrompt="1"/>
          </p:nvPr>
        </p:nvSpPr>
        <p:spPr>
          <a:xfrm>
            <a:off x="434920" y="449266"/>
            <a:ext cx="11561874" cy="754061"/>
          </a:xfrm>
          <a:prstGeom prst="rect">
            <a:avLst/>
          </a:prstGeom>
        </p:spPr>
        <p:txBody>
          <a:bodyPr vert="horz" wrap="square" lIns="0" tIns="164592" rIns="0" bIns="0" rtlCol="0" anchor="t">
            <a:noAutofit/>
          </a:bodyPr>
          <a:lstStyle>
            <a:lvl1pPr>
              <a:defRPr>
                <a:solidFill>
                  <a:schemeClr val="tx1"/>
                </a:solidFill>
              </a:defRPr>
            </a:lvl1pPr>
          </a:lstStyle>
          <a:p>
            <a:r>
              <a:rPr lang="en-US"/>
              <a:t>Contents</a:t>
            </a:r>
          </a:p>
        </p:txBody>
      </p:sp>
    </p:spTree>
    <p:extLst>
      <p:ext uri="{BB962C8B-B14F-4D97-AF65-F5344CB8AC3E}">
        <p14:creationId xmlns:p14="http://schemas.microsoft.com/office/powerpoint/2010/main" val="11570816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Title Slide Photo_Option">
    <p:bg>
      <p:bgPr>
        <a:solidFill>
          <a:schemeClr val="accent1"/>
        </a:solidFill>
        <a:effectLst/>
      </p:bgPr>
    </p:bg>
    <p:spTree>
      <p:nvGrpSpPr>
        <p:cNvPr id="1" name=""/>
        <p:cNvGrpSpPr/>
        <p:nvPr/>
      </p:nvGrpSpPr>
      <p:grpSpPr>
        <a:xfrm>
          <a:off x="0" y="0"/>
          <a:ext cx="0" cy="0"/>
          <a:chOff x="0" y="0"/>
          <a:chExt cx="0" cy="0"/>
        </a:xfrm>
      </p:grpSpPr>
      <p:pic>
        <p:nvPicPr>
          <p:cNvPr id="8" name="Picture 7" descr="A person sitting at a table in front of a window&#10;&#10;Description generated with very high confidence">
            <a:extLst>
              <a:ext uri="{FF2B5EF4-FFF2-40B4-BE49-F238E27FC236}">
                <a16:creationId xmlns:a16="http://schemas.microsoft.com/office/drawing/2014/main" id="{1E41053F-B32C-441E-B6CA-E290CC32798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216605" y="0"/>
            <a:ext cx="6219870" cy="6994525"/>
          </a:xfrm>
          <a:prstGeom prst="rect">
            <a:avLst/>
          </a:prstGeom>
        </p:spPr>
      </p:pic>
      <p:sp>
        <p:nvSpPr>
          <p:cNvPr id="9" name="Title 1"/>
          <p:cNvSpPr>
            <a:spLocks noGrp="1"/>
          </p:cNvSpPr>
          <p:nvPr>
            <p:ph type="title" hasCustomPrompt="1"/>
          </p:nvPr>
        </p:nvSpPr>
        <p:spPr bwMode="auto">
          <a:xfrm>
            <a:off x="274705" y="2119152"/>
            <a:ext cx="594202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3" y="4005415"/>
            <a:ext cx="5943555" cy="729343"/>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4" y="479429"/>
            <a:ext cx="1681413" cy="360979"/>
            <a:chOff x="457200" y="1643393"/>
            <a:chExt cx="4492753" cy="964540"/>
          </a:xfrm>
        </p:grpSpPr>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444376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1_Title Slide Photo_Option">
    <p:bg>
      <p:bgPr>
        <a:solidFill>
          <a:schemeClr val="accent4"/>
        </a:solidFill>
        <a:effectLst/>
      </p:bgPr>
    </p:bg>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2E1F76AA-CDD1-44F4-9536-C14930AFC752}"/>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218038" y="0"/>
            <a:ext cx="6218439" cy="6994525"/>
          </a:xfrm>
          <a:custGeom>
            <a:avLst/>
            <a:gdLst>
              <a:gd name="connsiteX0" fmla="*/ 1175854 w 6096198"/>
              <a:gd name="connsiteY0" fmla="*/ 0 h 6858000"/>
              <a:gd name="connsiteX1" fmla="*/ 6096198 w 6096198"/>
              <a:gd name="connsiteY1" fmla="*/ 0 h 6858000"/>
              <a:gd name="connsiteX2" fmla="*/ 6096198 w 6096198"/>
              <a:gd name="connsiteY2" fmla="*/ 6858000 h 6858000"/>
              <a:gd name="connsiteX3" fmla="*/ 2764454 w 6096198"/>
              <a:gd name="connsiteY3" fmla="*/ 6858000 h 6858000"/>
              <a:gd name="connsiteX4" fmla="*/ 2764454 w 6096198"/>
              <a:gd name="connsiteY4" fmla="*/ 4572000 h 6858000"/>
              <a:gd name="connsiteX5" fmla="*/ 0 w 6096198"/>
              <a:gd name="connsiteY5" fmla="*/ 4572000 h 6858000"/>
              <a:gd name="connsiteX6" fmla="*/ 0 w 6096198"/>
              <a:gd name="connsiteY6" fmla="*/ 2286000 h 6858000"/>
              <a:gd name="connsiteX7" fmla="*/ 1175854 w 6096198"/>
              <a:gd name="connsiteY7" fmla="*/ 2286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6198" h="6858000">
                <a:moveTo>
                  <a:pt x="1175854" y="0"/>
                </a:moveTo>
                <a:lnTo>
                  <a:pt x="6096198" y="0"/>
                </a:lnTo>
                <a:lnTo>
                  <a:pt x="6096198" y="6858000"/>
                </a:lnTo>
                <a:lnTo>
                  <a:pt x="2764454" y="6858000"/>
                </a:lnTo>
                <a:lnTo>
                  <a:pt x="2764454" y="4572000"/>
                </a:lnTo>
                <a:lnTo>
                  <a:pt x="0" y="4572000"/>
                </a:lnTo>
                <a:lnTo>
                  <a:pt x="0" y="2286000"/>
                </a:lnTo>
                <a:lnTo>
                  <a:pt x="1175854" y="2286000"/>
                </a:lnTo>
                <a:close/>
              </a:path>
            </a:pathLst>
          </a:custGeom>
        </p:spPr>
      </p:pic>
      <p:sp>
        <p:nvSpPr>
          <p:cNvPr id="9" name="Title 1"/>
          <p:cNvSpPr>
            <a:spLocks noGrp="1"/>
          </p:cNvSpPr>
          <p:nvPr>
            <p:ph type="title" hasCustomPrompt="1"/>
          </p:nvPr>
        </p:nvSpPr>
        <p:spPr bwMode="auto">
          <a:xfrm>
            <a:off x="274705" y="2119152"/>
            <a:ext cx="594345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4507583"/>
            <a:ext cx="5944986" cy="1828800"/>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4" y="479429"/>
            <a:ext cx="1681413" cy="360979"/>
            <a:chOff x="457200" y="1643393"/>
            <a:chExt cx="4492753" cy="964540"/>
          </a:xfrm>
        </p:grpSpPr>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4112664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2_Title Slide Photo_Optio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5" y="2119152"/>
            <a:ext cx="594345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4507583"/>
            <a:ext cx="5944986" cy="1828800"/>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4" y="479429"/>
            <a:ext cx="1681413" cy="360979"/>
            <a:chOff x="457200" y="1643393"/>
            <a:chExt cx="4492753" cy="964540"/>
          </a:xfrm>
        </p:grpSpPr>
        <p:pic>
          <p:nvPicPr>
            <p:cNvPr id="10" name="Picture 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pic>
        <p:nvPicPr>
          <p:cNvPr id="25" name="Picture 24">
            <a:extLst>
              <a:ext uri="{FF2B5EF4-FFF2-40B4-BE49-F238E27FC236}">
                <a16:creationId xmlns:a16="http://schemas.microsoft.com/office/drawing/2014/main" id="{3C283639-F09A-41BC-9DDD-7E0B25240136}"/>
              </a:ext>
            </a:extLst>
          </p:cNvPr>
          <p:cNvPicPr/>
          <p:nvPr/>
        </p:nvPicPr>
        <p:blipFill>
          <a:blip r:embed="rId3">
            <a:extLst>
              <a:ext uri="{28A0092B-C50C-407E-A947-70E740481C1C}">
                <a14:useLocalDpi xmlns:a14="http://schemas.microsoft.com/office/drawing/2010/main"/>
              </a:ext>
            </a:extLst>
          </a:blip>
          <a:stretch>
            <a:fillRect/>
          </a:stretch>
        </p:blipFill>
        <p:spPr>
          <a:xfrm>
            <a:off x="6242156" y="2014678"/>
            <a:ext cx="6194321" cy="4979850"/>
          </a:xfrm>
          <a:prstGeom prst="rect">
            <a:avLst/>
          </a:prstGeom>
        </p:spPr>
      </p:pic>
    </p:spTree>
    <p:extLst>
      <p:ext uri="{BB962C8B-B14F-4D97-AF65-F5344CB8AC3E}">
        <p14:creationId xmlns:p14="http://schemas.microsoft.com/office/powerpoint/2010/main" val="13841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F115D58-298D-4443-80DD-8AF54EA8AC56}"/>
              </a:ext>
            </a:extLst>
          </p:cNvPr>
          <p:cNvGrpSpPr/>
          <p:nvPr/>
        </p:nvGrpSpPr>
        <p:grpSpPr>
          <a:xfrm>
            <a:off x="0" y="-1"/>
            <a:ext cx="12434888" cy="6994526"/>
            <a:chOff x="2464435" y="1386244"/>
            <a:chExt cx="7263130" cy="4085511"/>
          </a:xfrm>
        </p:grpSpPr>
        <p:pic>
          <p:nvPicPr>
            <p:cNvPr id="17" name="Picture 16">
              <a:extLst>
                <a:ext uri="{FF2B5EF4-FFF2-40B4-BE49-F238E27FC236}">
                  <a16:creationId xmlns:a16="http://schemas.microsoft.com/office/drawing/2014/main" id="{E77F7EAE-8B43-411E-B1EC-BE46C27F5B5F}"/>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2464435" y="1386244"/>
              <a:ext cx="7263130" cy="4085511"/>
            </a:xfrm>
            <a:prstGeom prst="rect">
              <a:avLst/>
            </a:prstGeom>
          </p:spPr>
        </p:pic>
        <p:sp>
          <p:nvSpPr>
            <p:cNvPr id="18" name="Shape 35215">
              <a:extLst>
                <a:ext uri="{FF2B5EF4-FFF2-40B4-BE49-F238E27FC236}">
                  <a16:creationId xmlns:a16="http://schemas.microsoft.com/office/drawing/2014/main" id="{798A76F4-82BD-4466-9152-A8C60B3B910D}"/>
                </a:ext>
              </a:extLst>
            </p:cNvPr>
            <p:cNvSpPr/>
            <p:nvPr userDrawn="1"/>
          </p:nvSpPr>
          <p:spPr>
            <a:xfrm>
              <a:off x="5287645" y="3689350"/>
              <a:ext cx="431165" cy="619125"/>
            </a:xfrm>
            <a:custGeom>
              <a:avLst/>
              <a:gdLst/>
              <a:ahLst/>
              <a:cxnLst/>
              <a:rect l="0" t="0" r="0" b="0"/>
              <a:pathLst>
                <a:path w="431711" h="619620">
                  <a:moveTo>
                    <a:pt x="0" y="0"/>
                  </a:moveTo>
                  <a:lnTo>
                    <a:pt x="431711" y="0"/>
                  </a:lnTo>
                  <a:lnTo>
                    <a:pt x="431711" y="619620"/>
                  </a:lnTo>
                  <a:lnTo>
                    <a:pt x="0" y="619620"/>
                  </a:lnTo>
                  <a:lnTo>
                    <a:pt x="0" y="0"/>
                  </a:lnTo>
                </a:path>
              </a:pathLst>
            </a:custGeom>
            <a:ln w="0" cap="flat">
              <a:miter lim="127000"/>
            </a:ln>
          </p:spPr>
          <p:style>
            <a:lnRef idx="0">
              <a:srgbClr val="000000">
                <a:alpha val="0"/>
              </a:srgbClr>
            </a:lnRef>
            <a:fillRef idx="1">
              <a:srgbClr val="FFFEFD"/>
            </a:fillRef>
            <a:effectRef idx="0">
              <a:scrgbClr r="0" g="0" b="0"/>
            </a:effectRef>
            <a:fontRef idx="none"/>
          </p:style>
          <p:txBody>
            <a:bodyPr/>
            <a:lstStyle/>
            <a:p>
              <a:endParaRPr lang="en-IN" sz="1836"/>
            </a:p>
          </p:txBody>
        </p:sp>
        <p:sp>
          <p:nvSpPr>
            <p:cNvPr id="19" name="Shape 35216">
              <a:extLst>
                <a:ext uri="{FF2B5EF4-FFF2-40B4-BE49-F238E27FC236}">
                  <a16:creationId xmlns:a16="http://schemas.microsoft.com/office/drawing/2014/main" id="{0AFDE6B5-E873-47E7-9BA0-9478AEAD01D5}"/>
                </a:ext>
              </a:extLst>
            </p:cNvPr>
            <p:cNvSpPr/>
            <p:nvPr userDrawn="1"/>
          </p:nvSpPr>
          <p:spPr>
            <a:xfrm>
              <a:off x="5883275" y="2644140"/>
              <a:ext cx="431165" cy="1664335"/>
            </a:xfrm>
            <a:custGeom>
              <a:avLst/>
              <a:gdLst/>
              <a:ahLst/>
              <a:cxnLst/>
              <a:rect l="0" t="0" r="0" b="0"/>
              <a:pathLst>
                <a:path w="431724" h="1664462">
                  <a:moveTo>
                    <a:pt x="0" y="0"/>
                  </a:moveTo>
                  <a:lnTo>
                    <a:pt x="431724" y="0"/>
                  </a:lnTo>
                  <a:lnTo>
                    <a:pt x="431724" y="1664462"/>
                  </a:lnTo>
                  <a:lnTo>
                    <a:pt x="0" y="1664462"/>
                  </a:lnTo>
                  <a:lnTo>
                    <a:pt x="0" y="0"/>
                  </a:lnTo>
                </a:path>
              </a:pathLst>
            </a:custGeom>
            <a:ln w="0" cap="flat">
              <a:miter lim="127000"/>
            </a:ln>
          </p:spPr>
          <p:style>
            <a:lnRef idx="0">
              <a:srgbClr val="000000">
                <a:alpha val="0"/>
              </a:srgbClr>
            </a:lnRef>
            <a:fillRef idx="1">
              <a:srgbClr val="FFFEFD"/>
            </a:fillRef>
            <a:effectRef idx="0">
              <a:scrgbClr r="0" g="0" b="0"/>
            </a:effectRef>
            <a:fontRef idx="none"/>
          </p:style>
          <p:txBody>
            <a:bodyPr/>
            <a:lstStyle/>
            <a:p>
              <a:endParaRPr lang="en-IN" sz="1836"/>
            </a:p>
          </p:txBody>
        </p:sp>
        <p:sp>
          <p:nvSpPr>
            <p:cNvPr id="20" name="Shape 35217">
              <a:extLst>
                <a:ext uri="{FF2B5EF4-FFF2-40B4-BE49-F238E27FC236}">
                  <a16:creationId xmlns:a16="http://schemas.microsoft.com/office/drawing/2014/main" id="{ABFD828A-2C6B-4120-B466-74A88E385C3B}"/>
                </a:ext>
              </a:extLst>
            </p:cNvPr>
            <p:cNvSpPr/>
            <p:nvPr userDrawn="1"/>
          </p:nvSpPr>
          <p:spPr>
            <a:xfrm>
              <a:off x="6478270" y="3088005"/>
              <a:ext cx="431165" cy="1220470"/>
            </a:xfrm>
            <a:custGeom>
              <a:avLst/>
              <a:gdLst/>
              <a:ahLst/>
              <a:cxnLst/>
              <a:rect l="0" t="0" r="0" b="0"/>
              <a:pathLst>
                <a:path w="431711" h="1221016">
                  <a:moveTo>
                    <a:pt x="0" y="0"/>
                  </a:moveTo>
                  <a:lnTo>
                    <a:pt x="431711" y="0"/>
                  </a:lnTo>
                  <a:lnTo>
                    <a:pt x="431711" y="1221016"/>
                  </a:lnTo>
                  <a:lnTo>
                    <a:pt x="0" y="1221016"/>
                  </a:lnTo>
                  <a:lnTo>
                    <a:pt x="0" y="0"/>
                  </a:lnTo>
                </a:path>
              </a:pathLst>
            </a:custGeom>
            <a:ln w="0" cap="flat">
              <a:miter lim="127000"/>
            </a:ln>
          </p:spPr>
          <p:style>
            <a:lnRef idx="0">
              <a:srgbClr val="000000">
                <a:alpha val="0"/>
              </a:srgbClr>
            </a:lnRef>
            <a:fillRef idx="1">
              <a:srgbClr val="30E5D0"/>
            </a:fillRef>
            <a:effectRef idx="0">
              <a:scrgbClr r="0" g="0" b="0"/>
            </a:effectRef>
            <a:fontRef idx="none"/>
          </p:style>
          <p:txBody>
            <a:bodyPr/>
            <a:lstStyle/>
            <a:p>
              <a:endParaRPr lang="en-IN" sz="1836"/>
            </a:p>
          </p:txBody>
        </p:sp>
      </p:grpSp>
      <p:pic>
        <p:nvPicPr>
          <p:cNvPr id="3" name="Picture 2" descr="A person standing in a room&#10;&#10;Description generated with very high confidence">
            <a:extLst>
              <a:ext uri="{FF2B5EF4-FFF2-40B4-BE49-F238E27FC236}">
                <a16:creationId xmlns:a16="http://schemas.microsoft.com/office/drawing/2014/main" id="{FCC97122-ED31-4F71-9D70-7A65376F606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1"/>
            <a:ext cx="12434888" cy="6994525"/>
          </a:xfrm>
          <a:prstGeom prst="rect">
            <a:avLst/>
          </a:prstGeom>
        </p:spPr>
      </p:pic>
      <p:sp>
        <p:nvSpPr>
          <p:cNvPr id="22" name="Rectangle 21">
            <a:extLst>
              <a:ext uri="{FF2B5EF4-FFF2-40B4-BE49-F238E27FC236}">
                <a16:creationId xmlns:a16="http://schemas.microsoft.com/office/drawing/2014/main" id="{04271D14-BA93-45F3-9FC7-20DBC6E74DEB}"/>
              </a:ext>
            </a:extLst>
          </p:cNvPr>
          <p:cNvSpPr/>
          <p:nvPr/>
        </p:nvSpPr>
        <p:spPr bwMode="auto">
          <a:xfrm>
            <a:off x="0" y="1"/>
            <a:ext cx="12434888" cy="6994525"/>
          </a:xfrm>
          <a:prstGeom prst="rect">
            <a:avLst/>
          </a:prstGeom>
          <a:gradFill flip="none" rotWithShape="1">
            <a:gsLst>
              <a:gs pos="100000">
                <a:schemeClr val="bg1">
                  <a:alpha val="60000"/>
                </a:schemeClr>
              </a:gs>
              <a:gs pos="0">
                <a:schemeClr val="bg1">
                  <a:alpha val="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4" tIns="149156" rIns="186444" bIns="149156" numCol="1" spcCol="0" rtlCol="0" fromWordArt="0" anchor="t" anchorCtr="0" forceAA="0" compatLnSpc="1">
            <a:prstTxWarp prst="textNoShape">
              <a:avLst/>
            </a:prstTxWarp>
            <a:noAutofit/>
          </a:bodyPr>
          <a:lstStyle/>
          <a:p>
            <a:pPr algn="ctr" defTabSz="95056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08" y="4931538"/>
            <a:ext cx="3898066"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667" y="1383765"/>
            <a:ext cx="4625272" cy="2420665"/>
          </a:xfrm>
          <a:noFill/>
        </p:spPr>
        <p:txBody>
          <a:bodyPr lIns="146304" tIns="91440" rIns="146304" bIns="91440" anchor="b" anchorCtr="0"/>
          <a:lstStyle>
            <a:lvl1pPr>
              <a:defRPr sz="4896" spc="-100" baseline="0">
                <a:solidFill>
                  <a:schemeClr val="tx2"/>
                </a:solidFill>
              </a:defRPr>
            </a:lvl1pPr>
          </a:lstStyle>
          <a:p>
            <a:r>
              <a:rPr lang="en-US"/>
              <a:t>Presentation title</a:t>
            </a:r>
          </a:p>
        </p:txBody>
      </p:sp>
      <p:grpSp>
        <p:nvGrpSpPr>
          <p:cNvPr id="14" name="Group 13">
            <a:extLst>
              <a:ext uri="{FF2B5EF4-FFF2-40B4-BE49-F238E27FC236}">
                <a16:creationId xmlns:a16="http://schemas.microsoft.com/office/drawing/2014/main" id="{B96F9D5E-5C6B-4641-83C6-68869A27714C}"/>
              </a:ext>
            </a:extLst>
          </p:cNvPr>
          <p:cNvGrpSpPr>
            <a:grpSpLocks noChangeAspect="1"/>
          </p:cNvGrpSpPr>
          <p:nvPr/>
        </p:nvGrpSpPr>
        <p:grpSpPr bwMode="gray">
          <a:xfrm>
            <a:off x="457146" y="479430"/>
            <a:ext cx="1681198" cy="360979"/>
            <a:chOff x="457200" y="1643393"/>
            <a:chExt cx="4492753" cy="964540"/>
          </a:xfrm>
        </p:grpSpPr>
        <p:pic>
          <p:nvPicPr>
            <p:cNvPr id="15" name="Picture 14">
              <a:extLst>
                <a:ext uri="{FF2B5EF4-FFF2-40B4-BE49-F238E27FC236}">
                  <a16:creationId xmlns:a16="http://schemas.microsoft.com/office/drawing/2014/main" id="{DFC7A27F-5447-47F2-8C77-F6BB87421C6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6" name="Freeform 12">
              <a:extLst>
                <a:ext uri="{FF2B5EF4-FFF2-40B4-BE49-F238E27FC236}">
                  <a16:creationId xmlns:a16="http://schemas.microsoft.com/office/drawing/2014/main" id="{BB2240CB-396F-4DCD-866E-48CBF8350D35}"/>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grpSp>
        <p:nvGrpSpPr>
          <p:cNvPr id="62" name="Group 61">
            <a:extLst>
              <a:ext uri="{FF2B5EF4-FFF2-40B4-BE49-F238E27FC236}">
                <a16:creationId xmlns:a16="http://schemas.microsoft.com/office/drawing/2014/main" id="{7A0EBE5E-32DC-44EB-BF58-F9CA0C094B00}"/>
              </a:ext>
            </a:extLst>
          </p:cNvPr>
          <p:cNvGrpSpPr/>
          <p:nvPr/>
        </p:nvGrpSpPr>
        <p:grpSpPr>
          <a:xfrm>
            <a:off x="4451075" y="1995064"/>
            <a:ext cx="3532738" cy="3004398"/>
            <a:chOff x="4922669" y="2543477"/>
            <a:chExt cx="2544932" cy="2423332"/>
          </a:xfrm>
        </p:grpSpPr>
        <p:sp>
          <p:nvSpPr>
            <p:cNvPr id="55" name="Rectangle 5">
              <a:extLst>
                <a:ext uri="{FF2B5EF4-FFF2-40B4-BE49-F238E27FC236}">
                  <a16:creationId xmlns:a16="http://schemas.microsoft.com/office/drawing/2014/main" id="{9976F3F5-A0DB-4029-BC15-2FC88D68A5FA}"/>
                </a:ext>
              </a:extLst>
            </p:cNvPr>
            <p:cNvSpPr>
              <a:spLocks noChangeArrowheads="1"/>
            </p:cNvSpPr>
            <p:nvPr userDrawn="1"/>
          </p:nvSpPr>
          <p:spPr bwMode="auto">
            <a:xfrm>
              <a:off x="4922669" y="4106189"/>
              <a:ext cx="472654" cy="86062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56" name="Rectangle 6">
              <a:extLst>
                <a:ext uri="{FF2B5EF4-FFF2-40B4-BE49-F238E27FC236}">
                  <a16:creationId xmlns:a16="http://schemas.microsoft.com/office/drawing/2014/main" id="{FD19BE52-096E-47D3-AF70-90210BB56D65}"/>
                </a:ext>
              </a:extLst>
            </p:cNvPr>
            <p:cNvSpPr>
              <a:spLocks noChangeArrowheads="1"/>
            </p:cNvSpPr>
            <p:nvPr userDrawn="1"/>
          </p:nvSpPr>
          <p:spPr bwMode="auto">
            <a:xfrm>
              <a:off x="5613433" y="3585280"/>
              <a:ext cx="472654" cy="138152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57" name="Rectangle 7">
              <a:extLst>
                <a:ext uri="{FF2B5EF4-FFF2-40B4-BE49-F238E27FC236}">
                  <a16:creationId xmlns:a16="http://schemas.microsoft.com/office/drawing/2014/main" id="{ED3270C9-18EE-48AB-ABBF-AED0F6FE5F10}"/>
                </a:ext>
              </a:extLst>
            </p:cNvPr>
            <p:cNvSpPr>
              <a:spLocks noChangeArrowheads="1"/>
            </p:cNvSpPr>
            <p:nvPr userDrawn="1"/>
          </p:nvSpPr>
          <p:spPr bwMode="auto">
            <a:xfrm>
              <a:off x="6994947" y="2543477"/>
              <a:ext cx="472654" cy="2423332"/>
            </a:xfrm>
            <a:prstGeom prst="rect">
              <a:avLst/>
            </a:prstGeom>
            <a:solidFill>
              <a:schemeClr val="accent2"/>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50568" fontAlgn="base">
                <a:lnSpc>
                  <a:spcPct val="90000"/>
                </a:lnSpc>
                <a:spcBef>
                  <a:spcPct val="0"/>
                </a:spcBef>
                <a:spcAft>
                  <a:spcPct val="0"/>
                </a:spcAft>
              </a:pPr>
              <a:endParaRPr lang="en-US" sz="2448">
                <a:gradFill>
                  <a:gsLst>
                    <a:gs pos="0">
                      <a:srgbClr val="FFFFFF"/>
                    </a:gs>
                    <a:gs pos="100000">
                      <a:srgbClr val="FFFFFF"/>
                    </a:gs>
                  </a:gsLst>
                  <a:lin ang="5400000" scaled="0"/>
                </a:gradFill>
                <a:cs typeface="Segoe UI" pitchFamily="34" charset="0"/>
              </a:endParaRPr>
            </a:p>
          </p:txBody>
        </p:sp>
        <p:sp>
          <p:nvSpPr>
            <p:cNvPr id="58" name="Freeform 8">
              <a:extLst>
                <a:ext uri="{FF2B5EF4-FFF2-40B4-BE49-F238E27FC236}">
                  <a16:creationId xmlns:a16="http://schemas.microsoft.com/office/drawing/2014/main" id="{6563EBA9-F5CA-4E7C-A601-BA632950169F}"/>
                </a:ext>
              </a:extLst>
            </p:cNvPr>
            <p:cNvSpPr>
              <a:spLocks/>
            </p:cNvSpPr>
            <p:nvPr userDrawn="1"/>
          </p:nvSpPr>
          <p:spPr bwMode="auto">
            <a:xfrm>
              <a:off x="6304197" y="3064386"/>
              <a:ext cx="472654" cy="1902423"/>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Tree>
    <p:extLst>
      <p:ext uri="{BB962C8B-B14F-4D97-AF65-F5344CB8AC3E}">
        <p14:creationId xmlns:p14="http://schemas.microsoft.com/office/powerpoint/2010/main" val="2752492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pic>
        <p:nvPicPr>
          <p:cNvPr id="7" name="Picture 6" descr="A large ship in the water&#10;&#10;Description generated with high confidence">
            <a:extLst>
              <a:ext uri="{FF2B5EF4-FFF2-40B4-BE49-F238E27FC236}">
                <a16:creationId xmlns:a16="http://schemas.microsoft.com/office/drawing/2014/main" id="{34B3D0B0-D426-4989-BEC9-F7FE8B5D8AC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flipH="1">
            <a:off x="0" y="0"/>
            <a:ext cx="12436475" cy="6994525"/>
          </a:xfrm>
          <a:prstGeom prst="rect">
            <a:avLst/>
          </a:prstGeom>
        </p:spPr>
      </p:pic>
      <p:sp>
        <p:nvSpPr>
          <p:cNvPr id="5" name="Text Placeholder 4"/>
          <p:cNvSpPr>
            <a:spLocks noGrp="1"/>
          </p:cNvSpPr>
          <p:nvPr>
            <p:ph type="body" sz="quarter" idx="12" hasCustomPrompt="1"/>
          </p:nvPr>
        </p:nvSpPr>
        <p:spPr>
          <a:xfrm>
            <a:off x="276540" y="4931537"/>
            <a:ext cx="7465490"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702" y="1383764"/>
            <a:ext cx="7467328" cy="2420665"/>
          </a:xfrm>
          <a:noFill/>
        </p:spPr>
        <p:txBody>
          <a:bodyPr lIns="146304" tIns="91440" rIns="146304" bIns="91440" anchor="b" anchorCtr="0"/>
          <a:lstStyle>
            <a:lvl1pPr>
              <a:defRPr sz="4896" spc="-100" baseline="0">
                <a:solidFill>
                  <a:schemeClr val="tx2"/>
                </a:solidFill>
              </a:defRPr>
            </a:lvl1pPr>
          </a:lstStyle>
          <a:p>
            <a:r>
              <a:rPr lang="en-US"/>
              <a:t>Presentation title</a:t>
            </a:r>
          </a:p>
        </p:txBody>
      </p:sp>
      <p:grpSp>
        <p:nvGrpSpPr>
          <p:cNvPr id="17" name="Group 16">
            <a:extLst>
              <a:ext uri="{FF2B5EF4-FFF2-40B4-BE49-F238E27FC236}">
                <a16:creationId xmlns:a16="http://schemas.microsoft.com/office/drawing/2014/main" id="{0E0B2B9E-2428-4BDE-BACC-52BB85E1F520}"/>
              </a:ext>
            </a:extLst>
          </p:cNvPr>
          <p:cNvGrpSpPr>
            <a:grpSpLocks noChangeAspect="1"/>
          </p:cNvGrpSpPr>
          <p:nvPr/>
        </p:nvGrpSpPr>
        <p:grpSpPr bwMode="gray">
          <a:xfrm>
            <a:off x="457204" y="479429"/>
            <a:ext cx="1681413" cy="360979"/>
            <a:chOff x="457200" y="1643393"/>
            <a:chExt cx="4492753" cy="964540"/>
          </a:xfrm>
        </p:grpSpPr>
        <p:pic>
          <p:nvPicPr>
            <p:cNvPr id="18" name="Picture 17">
              <a:extLst>
                <a:ext uri="{FF2B5EF4-FFF2-40B4-BE49-F238E27FC236}">
                  <a16:creationId xmlns:a16="http://schemas.microsoft.com/office/drawing/2014/main" id="{24D5215C-133D-4950-AD0D-20DDE01D740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9" name="Freeform 12">
              <a:extLst>
                <a:ext uri="{FF2B5EF4-FFF2-40B4-BE49-F238E27FC236}">
                  <a16:creationId xmlns:a16="http://schemas.microsoft.com/office/drawing/2014/main" id="{4CFC362B-B32D-44C2-82FD-945EBAD98440}"/>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344345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18" name="Picture 17" descr="A picture containing sky, outdoor, outdoor object, windmill&#10;&#10;Description generated with very high confidence">
            <a:extLst>
              <a:ext uri="{FF2B5EF4-FFF2-40B4-BE49-F238E27FC236}">
                <a16:creationId xmlns:a16="http://schemas.microsoft.com/office/drawing/2014/main" id="{CBB3404F-107E-4EAF-8265-AB28F425957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1"/>
            <a:ext cx="12434888" cy="6994525"/>
          </a:xfrm>
          <a:prstGeom prst="rect">
            <a:avLst/>
          </a:prstGeom>
        </p:spPr>
      </p:pic>
      <p:sp>
        <p:nvSpPr>
          <p:cNvPr id="5" name="Text Placeholder 4"/>
          <p:cNvSpPr>
            <a:spLocks noGrp="1"/>
          </p:cNvSpPr>
          <p:nvPr>
            <p:ph type="body" sz="quarter" idx="12" hasCustomPrompt="1"/>
          </p:nvPr>
        </p:nvSpPr>
        <p:spPr>
          <a:xfrm>
            <a:off x="276505" y="4040625"/>
            <a:ext cx="9787983"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667" y="1383766"/>
            <a:ext cx="9789821" cy="2113498"/>
          </a:xfrm>
          <a:noFill/>
        </p:spPr>
        <p:txBody>
          <a:bodyPr lIns="146304" tIns="91440" rIns="146304" bIns="91440" anchor="b" anchorCtr="0"/>
          <a:lstStyle>
            <a:lvl1pPr>
              <a:defRPr sz="5504" spc="-100" baseline="0">
                <a:solidFill>
                  <a:schemeClr val="tx2"/>
                </a:solidFill>
              </a:defRPr>
            </a:lvl1pPr>
          </a:lstStyle>
          <a:p>
            <a:r>
              <a:rPr lang="en-US"/>
              <a:t>Presentation title</a:t>
            </a:r>
          </a:p>
        </p:txBody>
      </p:sp>
      <p:grpSp>
        <p:nvGrpSpPr>
          <p:cNvPr id="19" name="Group 18">
            <a:extLst>
              <a:ext uri="{FF2B5EF4-FFF2-40B4-BE49-F238E27FC236}">
                <a16:creationId xmlns:a16="http://schemas.microsoft.com/office/drawing/2014/main" id="{4DC4FAD8-7FE2-4EE1-9BCE-AE6087EFB633}"/>
              </a:ext>
            </a:extLst>
          </p:cNvPr>
          <p:cNvGrpSpPr>
            <a:grpSpLocks noChangeAspect="1"/>
          </p:cNvGrpSpPr>
          <p:nvPr/>
        </p:nvGrpSpPr>
        <p:grpSpPr bwMode="gray">
          <a:xfrm>
            <a:off x="457146" y="479430"/>
            <a:ext cx="1681198" cy="360979"/>
            <a:chOff x="457200" y="1643393"/>
            <a:chExt cx="4492753" cy="964540"/>
          </a:xfrm>
        </p:grpSpPr>
        <p:pic>
          <p:nvPicPr>
            <p:cNvPr id="20" name="Picture 19">
              <a:extLst>
                <a:ext uri="{FF2B5EF4-FFF2-40B4-BE49-F238E27FC236}">
                  <a16:creationId xmlns:a16="http://schemas.microsoft.com/office/drawing/2014/main" id="{97EB9441-898F-440B-BC6E-90D3172E545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21" name="Freeform 12">
              <a:extLst>
                <a:ext uri="{FF2B5EF4-FFF2-40B4-BE49-F238E27FC236}">
                  <a16:creationId xmlns:a16="http://schemas.microsoft.com/office/drawing/2014/main" id="{7EF0F8BF-B0DD-4EE9-AEC1-83E63465718B}"/>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375779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143516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pic>
        <p:nvPicPr>
          <p:cNvPr id="12" name="Picture 11" descr="A picture containing indoor, table, coffee, sitting&#10;&#10;Description generated with very high confidence">
            <a:extLst>
              <a:ext uri="{FF2B5EF4-FFF2-40B4-BE49-F238E27FC236}">
                <a16:creationId xmlns:a16="http://schemas.microsoft.com/office/drawing/2014/main" id="{CBE7EA23-A1AA-4AFC-B358-C7448BBDEA9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3009" y="0"/>
            <a:ext cx="12469487" cy="6994525"/>
          </a:xfrm>
          <a:prstGeom prst="rect">
            <a:avLst/>
          </a:prstGeom>
        </p:spPr>
      </p:pic>
      <p:sp>
        <p:nvSpPr>
          <p:cNvPr id="5" name="Text Placeholder 4"/>
          <p:cNvSpPr>
            <a:spLocks noGrp="1"/>
          </p:cNvSpPr>
          <p:nvPr>
            <p:ph type="body" sz="quarter" idx="12" hasCustomPrompt="1"/>
          </p:nvPr>
        </p:nvSpPr>
        <p:spPr>
          <a:xfrm>
            <a:off x="276543" y="4931537"/>
            <a:ext cx="3898563" cy="1077419"/>
          </a:xfrm>
          <a:noFill/>
        </p:spPr>
        <p:txBody>
          <a:bodyPr lIns="146304" tIns="109728" rIns="146304" bIns="109728">
            <a:noAutofit/>
          </a:bodyPr>
          <a:lstStyle>
            <a:lvl1pPr marL="0" indent="0">
              <a:spcBef>
                <a:spcPts val="0"/>
              </a:spcBef>
              <a:buNone/>
              <a:defRPr sz="3264" spc="0" baseline="0">
                <a:solidFill>
                  <a:schemeClr val="bg1"/>
                </a:solidFill>
                <a:latin typeface="+mn-lt"/>
              </a:defRPr>
            </a:lvl1pPr>
          </a:lstStyle>
          <a:p>
            <a:pPr lvl="0"/>
            <a:r>
              <a:rPr lang="en-US"/>
              <a:t>Speaker Name</a:t>
            </a:r>
          </a:p>
        </p:txBody>
      </p:sp>
      <p:sp>
        <p:nvSpPr>
          <p:cNvPr id="9" name="Title 1"/>
          <p:cNvSpPr>
            <a:spLocks noGrp="1"/>
          </p:cNvSpPr>
          <p:nvPr>
            <p:ph type="title" hasCustomPrompt="1"/>
          </p:nvPr>
        </p:nvSpPr>
        <p:spPr>
          <a:xfrm>
            <a:off x="274702" y="1383767"/>
            <a:ext cx="5943535" cy="1772739"/>
          </a:xfrm>
          <a:noFill/>
        </p:spPr>
        <p:txBody>
          <a:bodyPr lIns="146304" tIns="91440" rIns="146304" bIns="91440" anchor="b" anchorCtr="0"/>
          <a:lstStyle>
            <a:lvl1pPr>
              <a:defRPr sz="4896" spc="-100" baseline="0">
                <a:solidFill>
                  <a:schemeClr val="bg1"/>
                </a:solidFill>
              </a:defRPr>
            </a:lvl1pPr>
          </a:lstStyle>
          <a:p>
            <a:r>
              <a:rPr lang="en-US"/>
              <a:t>Presentation title</a:t>
            </a:r>
          </a:p>
        </p:txBody>
      </p:sp>
      <p:grpSp>
        <p:nvGrpSpPr>
          <p:cNvPr id="18" name="Group 17">
            <a:extLst>
              <a:ext uri="{FF2B5EF4-FFF2-40B4-BE49-F238E27FC236}">
                <a16:creationId xmlns:a16="http://schemas.microsoft.com/office/drawing/2014/main" id="{E27FEA8D-93FA-4FC5-9E2F-0A6C04AE26F7}"/>
              </a:ext>
            </a:extLst>
          </p:cNvPr>
          <p:cNvGrpSpPr>
            <a:grpSpLocks noChangeAspect="1"/>
          </p:cNvGrpSpPr>
          <p:nvPr/>
        </p:nvGrpSpPr>
        <p:grpSpPr bwMode="gray">
          <a:xfrm>
            <a:off x="457204" y="479429"/>
            <a:ext cx="1681413" cy="360979"/>
            <a:chOff x="457200" y="1643393"/>
            <a:chExt cx="4492753" cy="964540"/>
          </a:xfrm>
        </p:grpSpPr>
        <p:pic>
          <p:nvPicPr>
            <p:cNvPr id="19" name="Picture 18">
              <a:extLst>
                <a:ext uri="{FF2B5EF4-FFF2-40B4-BE49-F238E27FC236}">
                  <a16:creationId xmlns:a16="http://schemas.microsoft.com/office/drawing/2014/main" id="{81E226AD-3940-489E-B79D-7E83BAC197C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20" name="Freeform 12">
              <a:extLst>
                <a:ext uri="{FF2B5EF4-FFF2-40B4-BE49-F238E27FC236}">
                  <a16:creationId xmlns:a16="http://schemas.microsoft.com/office/drawing/2014/main" id="{1DF353B1-30C6-4304-93F4-E8EFC1C5BC8D}"/>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4097948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7" y="1212854"/>
            <a:ext cx="11885683" cy="2025170"/>
          </a:xfrm>
        </p:spPr>
        <p:txBody>
          <a:bodyPr/>
          <a:lstStyle>
            <a:lvl1pPr marL="0" indent="0">
              <a:buNone/>
              <a:defRPr>
                <a:gradFill>
                  <a:gsLst>
                    <a:gs pos="1250">
                      <a:schemeClr val="tx2"/>
                    </a:gs>
                    <a:gs pos="99000">
                      <a:schemeClr val="tx2"/>
                    </a:gs>
                  </a:gsLst>
                  <a:lin ang="5400000" scaled="0"/>
                </a:gradFill>
              </a:defRPr>
            </a:lvl1pPr>
            <a:lvl2pPr marL="349554" indent="-349554">
              <a:buFont typeface="Arial" panose="020B0604020202020204" pitchFamily="34" charset="0"/>
              <a:buChar char="•"/>
              <a:defRPr sz="2000"/>
            </a:lvl2pPr>
            <a:lvl3pPr marL="228402" indent="0">
              <a:buNone/>
              <a:defRPr/>
            </a:lvl3pPr>
            <a:lvl4pPr marL="456803" indent="0">
              <a:buNone/>
              <a:defRPr/>
            </a:lvl4pPr>
            <a:lvl5pPr marL="68520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5688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6" y="1212853"/>
            <a:ext cx="11885683"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446" indent="0">
              <a:buNone/>
              <a:defRPr/>
            </a:lvl3pPr>
            <a:lvl4pPr marL="456891" indent="0">
              <a:buNone/>
              <a:defRPr/>
            </a:lvl4pPr>
            <a:lvl5pPr marL="6853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126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3"/>
            <a:ext cx="11887200" cy="2025170"/>
          </a:xfrm>
        </p:spPr>
        <p:txBody>
          <a:bodyPr>
            <a:spAutoFit/>
          </a:bodyPr>
          <a:lstStyle>
            <a:lvl1pPr>
              <a:defRPr sz="3597">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8651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3"/>
            <a:ext cx="11887200" cy="2025170"/>
          </a:xfrm>
        </p:spPr>
        <p:txBody>
          <a:bodyPr>
            <a:spAutoFit/>
          </a:bodyPr>
          <a:lstStyle>
            <a:lvl1pPr>
              <a:defRPr sz="359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579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7" y="1212852"/>
            <a:ext cx="5485699" cy="1973212"/>
          </a:xfrm>
        </p:spPr>
        <p:txBody>
          <a:bodyPr wrap="square">
            <a:spAutoFit/>
          </a:bodyPr>
          <a:lstStyle>
            <a:lvl1pPr marL="0" indent="0">
              <a:spcBef>
                <a:spcPts val="1224"/>
              </a:spcBef>
              <a:buClr>
                <a:schemeClr val="tx1"/>
              </a:buClr>
              <a:buFont typeface="Wingdings" pitchFamily="2" charset="2"/>
              <a:buNone/>
              <a:defRPr sz="3597">
                <a:gradFill>
                  <a:gsLst>
                    <a:gs pos="1250">
                      <a:schemeClr val="tx2"/>
                    </a:gs>
                    <a:gs pos="99000">
                      <a:schemeClr val="tx2"/>
                    </a:gs>
                  </a:gsLst>
                  <a:lin ang="5400000" scaled="0"/>
                </a:gradFill>
              </a:defRPr>
            </a:lvl1pPr>
            <a:lvl2pPr marL="0" indent="0">
              <a:buNone/>
              <a:defRPr sz="2000"/>
            </a:lvl2pPr>
            <a:lvl3pPr marL="231619" indent="0">
              <a:buNone/>
              <a:tabLst/>
              <a:defRPr sz="2000"/>
            </a:lvl3pPr>
            <a:lvl4pPr marL="460064" indent="0">
              <a:buNone/>
              <a:defRPr/>
            </a:lvl4pPr>
            <a:lvl5pPr marL="6853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2"/>
            <a:ext cx="5485699" cy="1973212"/>
          </a:xfrm>
        </p:spPr>
        <p:txBody>
          <a:bodyPr wrap="square">
            <a:spAutoFit/>
          </a:bodyPr>
          <a:lstStyle>
            <a:lvl1pPr marL="0" indent="0">
              <a:spcBef>
                <a:spcPts val="1224"/>
              </a:spcBef>
              <a:buClr>
                <a:schemeClr val="tx1"/>
              </a:buClr>
              <a:buFont typeface="Wingdings" pitchFamily="2" charset="2"/>
              <a:buNone/>
              <a:defRPr sz="3597">
                <a:gradFill>
                  <a:gsLst>
                    <a:gs pos="1250">
                      <a:schemeClr val="tx2"/>
                    </a:gs>
                    <a:gs pos="99000">
                      <a:schemeClr val="tx2"/>
                    </a:gs>
                  </a:gsLst>
                  <a:lin ang="5400000" scaled="0"/>
                </a:gradFill>
              </a:defRPr>
            </a:lvl1pPr>
            <a:lvl2pPr marL="0" indent="0">
              <a:buNone/>
              <a:defRPr sz="2000"/>
            </a:lvl2pPr>
            <a:lvl3pPr marL="231619" indent="0">
              <a:buNone/>
              <a:tabLst/>
              <a:defRPr sz="2000"/>
            </a:lvl3pPr>
            <a:lvl4pPr marL="460064" indent="0">
              <a:buNone/>
              <a:defRPr/>
            </a:lvl4pPr>
            <a:lvl5pPr marL="6853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8998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7" y="1212852"/>
            <a:ext cx="5485699" cy="1973212"/>
          </a:xfrm>
        </p:spPr>
        <p:txBody>
          <a:bodyPr wrap="square">
            <a:spAutoFit/>
          </a:bodyPr>
          <a:lstStyle>
            <a:lvl1pPr marL="0" indent="0">
              <a:spcBef>
                <a:spcPts val="1224"/>
              </a:spcBef>
              <a:buClr>
                <a:schemeClr val="tx1"/>
              </a:buClr>
              <a:buFont typeface="Wingdings" pitchFamily="2" charset="2"/>
              <a:buNone/>
              <a:defRPr sz="3597"/>
            </a:lvl1pPr>
            <a:lvl2pPr marL="0" indent="0">
              <a:buNone/>
              <a:defRPr sz="2000"/>
            </a:lvl2pPr>
            <a:lvl3pPr marL="231619" indent="0">
              <a:buNone/>
              <a:tabLst/>
              <a:defRPr sz="2000"/>
            </a:lvl3pPr>
            <a:lvl4pPr marL="460064" indent="0">
              <a:buNone/>
              <a:defRPr/>
            </a:lvl4pPr>
            <a:lvl5pPr marL="6853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2"/>
            <a:ext cx="5485699" cy="1973212"/>
          </a:xfrm>
        </p:spPr>
        <p:txBody>
          <a:bodyPr wrap="square">
            <a:spAutoFit/>
          </a:bodyPr>
          <a:lstStyle>
            <a:lvl1pPr marL="0" indent="0">
              <a:spcBef>
                <a:spcPts val="1224"/>
              </a:spcBef>
              <a:buClr>
                <a:schemeClr val="tx1"/>
              </a:buClr>
              <a:buFont typeface="Wingdings" pitchFamily="2" charset="2"/>
              <a:buNone/>
              <a:defRPr sz="3597"/>
            </a:lvl1pPr>
            <a:lvl2pPr marL="0" indent="0">
              <a:buNone/>
              <a:defRPr sz="2000"/>
            </a:lvl2pPr>
            <a:lvl3pPr marL="231619" indent="0">
              <a:buNone/>
              <a:tabLst/>
              <a:defRPr sz="2000"/>
            </a:lvl3pPr>
            <a:lvl4pPr marL="460064" indent="0">
              <a:buNone/>
              <a:defRPr/>
            </a:lvl4pPr>
            <a:lvl5pPr marL="6853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7938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31933" rtl="0" eaLnBrk="1" latinLnBrk="0" hangingPunct="1">
              <a:lnSpc>
                <a:spcPct val="90000"/>
              </a:lnSpc>
              <a:spcBef>
                <a:spcPct val="0"/>
              </a:spcBef>
              <a:buNone/>
              <a:defRPr lang="en-US" sz="3672"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1711554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Business Update Layout">
    <p:spTree>
      <p:nvGrpSpPr>
        <p:cNvPr id="1" name=""/>
        <p:cNvGrpSpPr/>
        <p:nvPr/>
      </p:nvGrpSpPr>
      <p:grpSpPr>
        <a:xfrm>
          <a:off x="0" y="0"/>
          <a:ext cx="0" cy="0"/>
          <a:chOff x="0" y="0"/>
          <a:chExt cx="0" cy="0"/>
        </a:xfrm>
      </p:grpSpPr>
      <p:sp>
        <p:nvSpPr>
          <p:cNvPr id="2" name="Title 1"/>
          <p:cNvSpPr>
            <a:spLocks noGrp="1"/>
          </p:cNvSpPr>
          <p:nvPr>
            <p:ph type="title"/>
          </p:nvPr>
        </p:nvSpPr>
        <p:spPr>
          <a:xfrm>
            <a:off x="274604" y="67928"/>
            <a:ext cx="11888047" cy="595569"/>
          </a:xfrm>
        </p:spPr>
        <p:txBody>
          <a:bodyPr/>
          <a:lstStyle>
            <a:lvl1pPr algn="l" defTabSz="931933" rtl="0" eaLnBrk="1" latinLnBrk="0" hangingPunct="1">
              <a:lnSpc>
                <a:spcPct val="90000"/>
              </a:lnSpc>
              <a:spcBef>
                <a:spcPct val="0"/>
              </a:spcBef>
              <a:buNone/>
              <a:defRPr lang="en-US" sz="2856"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3095014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979325"/>
            <a:ext cx="4689382" cy="1035882"/>
          </a:xfrm>
          <a:noFill/>
        </p:spPr>
        <p:txBody>
          <a:bodyPr wrap="square" tIns="91440" bIns="91440" anchor="ctr" anchorCtr="0">
            <a:spAutoFit/>
          </a:bodyPr>
          <a:lstStyle>
            <a:lvl1pPr>
              <a:defRPr sz="6114" spc="-100" baseline="0">
                <a:gradFill>
                  <a:gsLst>
                    <a:gs pos="100000">
                      <a:schemeClr val="tx1"/>
                    </a:gs>
                    <a:gs pos="0">
                      <a:schemeClr val="tx1"/>
                    </a:gs>
                  </a:gsLst>
                  <a:lin ang="5400000" scaled="0"/>
                </a:gradFill>
              </a:defRPr>
            </a:lvl1pPr>
          </a:lstStyle>
          <a:p>
            <a:r>
              <a:rPr lang="en-US"/>
              <a:t>Section title</a:t>
            </a:r>
          </a:p>
        </p:txBody>
      </p:sp>
      <p:grpSp>
        <p:nvGrpSpPr>
          <p:cNvPr id="9" name="Group 8">
            <a:extLst>
              <a:ext uri="{FF2B5EF4-FFF2-40B4-BE49-F238E27FC236}">
                <a16:creationId xmlns:a16="http://schemas.microsoft.com/office/drawing/2014/main" id="{7B10C0DF-AEA4-4752-8280-CBB135FEA5AE}"/>
              </a:ext>
            </a:extLst>
          </p:cNvPr>
          <p:cNvGrpSpPr/>
          <p:nvPr/>
        </p:nvGrpSpPr>
        <p:grpSpPr>
          <a:xfrm>
            <a:off x="4963987" y="2642377"/>
            <a:ext cx="2973230" cy="1709775"/>
            <a:chOff x="6497638" y="5624513"/>
            <a:chExt cx="623888" cy="358775"/>
          </a:xfrm>
          <a:solidFill>
            <a:schemeClr val="accent2"/>
          </a:solidFill>
        </p:grpSpPr>
        <p:sp>
          <p:nvSpPr>
            <p:cNvPr id="10" name="Rectangle 102">
              <a:extLst>
                <a:ext uri="{FF2B5EF4-FFF2-40B4-BE49-F238E27FC236}">
                  <a16:creationId xmlns:a16="http://schemas.microsoft.com/office/drawing/2014/main" id="{8CEB455B-4BBB-4066-8DEB-B3C2E1E93BB4}"/>
                </a:ext>
              </a:extLst>
            </p:cNvPr>
            <p:cNvSpPr>
              <a:spLocks noChangeArrowheads="1"/>
            </p:cNvSpPr>
            <p:nvPr/>
          </p:nvSpPr>
          <p:spPr bwMode="auto">
            <a:xfrm>
              <a:off x="6900863" y="5759451"/>
              <a:ext cx="87313" cy="9048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1" name="Oval 103">
              <a:extLst>
                <a:ext uri="{FF2B5EF4-FFF2-40B4-BE49-F238E27FC236}">
                  <a16:creationId xmlns:a16="http://schemas.microsoft.com/office/drawing/2014/main" id="{034728C7-2437-42A7-92DE-5CFA0A2EE924}"/>
                </a:ext>
              </a:extLst>
            </p:cNvPr>
            <p:cNvSpPr>
              <a:spLocks noChangeArrowheads="1"/>
            </p:cNvSpPr>
            <p:nvPr/>
          </p:nvSpPr>
          <p:spPr bwMode="auto">
            <a:xfrm>
              <a:off x="7034213" y="5759451"/>
              <a:ext cx="87313" cy="90488"/>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2" name="Freeform 104">
              <a:extLst>
                <a:ext uri="{FF2B5EF4-FFF2-40B4-BE49-F238E27FC236}">
                  <a16:creationId xmlns:a16="http://schemas.microsoft.com/office/drawing/2014/main" id="{1FBAA3A3-CB40-4989-963A-31EE281C8CC6}"/>
                </a:ext>
              </a:extLst>
            </p:cNvPr>
            <p:cNvSpPr>
              <a:spLocks/>
            </p:cNvSpPr>
            <p:nvPr/>
          </p:nvSpPr>
          <p:spPr bwMode="auto">
            <a:xfrm>
              <a:off x="6497638" y="5624513"/>
              <a:ext cx="357188" cy="358775"/>
            </a:xfrm>
            <a:custGeom>
              <a:avLst/>
              <a:gdLst>
                <a:gd name="T0" fmla="*/ 74 w 118"/>
                <a:gd name="T1" fmla="*/ 0 h 118"/>
                <a:gd name="T2" fmla="*/ 44 w 118"/>
                <a:gd name="T3" fmla="*/ 0 h 118"/>
                <a:gd name="T4" fmla="*/ 59 w 118"/>
                <a:gd name="T5" fmla="*/ 44 h 118"/>
                <a:gd name="T6" fmla="*/ 0 w 118"/>
                <a:gd name="T7" fmla="*/ 44 h 118"/>
                <a:gd name="T8" fmla="*/ 0 w 118"/>
                <a:gd name="T9" fmla="*/ 74 h 118"/>
                <a:gd name="T10" fmla="*/ 30 w 118"/>
                <a:gd name="T11" fmla="*/ 74 h 118"/>
                <a:gd name="T12" fmla="*/ 15 w 118"/>
                <a:gd name="T13" fmla="*/ 118 h 118"/>
                <a:gd name="T14" fmla="*/ 44 w 118"/>
                <a:gd name="T15" fmla="*/ 118 h 118"/>
                <a:gd name="T16" fmla="*/ 89 w 118"/>
                <a:gd name="T17" fmla="*/ 74 h 118"/>
                <a:gd name="T18" fmla="*/ 118 w 118"/>
                <a:gd name="T19" fmla="*/ 74 h 118"/>
                <a:gd name="T20" fmla="*/ 118 w 118"/>
                <a:gd name="T21" fmla="*/ 44 h 118"/>
                <a:gd name="T22" fmla="*/ 74 w 118"/>
                <a:gd name="T23"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 h="118">
                  <a:moveTo>
                    <a:pt x="74" y="0"/>
                  </a:moveTo>
                  <a:cubicBezTo>
                    <a:pt x="44" y="0"/>
                    <a:pt x="44" y="0"/>
                    <a:pt x="44" y="0"/>
                  </a:cubicBezTo>
                  <a:cubicBezTo>
                    <a:pt x="44" y="17"/>
                    <a:pt x="50" y="32"/>
                    <a:pt x="59" y="44"/>
                  </a:cubicBezTo>
                  <a:cubicBezTo>
                    <a:pt x="0" y="44"/>
                    <a:pt x="0" y="44"/>
                    <a:pt x="0" y="44"/>
                  </a:cubicBezTo>
                  <a:cubicBezTo>
                    <a:pt x="0" y="74"/>
                    <a:pt x="0" y="74"/>
                    <a:pt x="0" y="74"/>
                  </a:cubicBezTo>
                  <a:cubicBezTo>
                    <a:pt x="30" y="74"/>
                    <a:pt x="30" y="74"/>
                    <a:pt x="30" y="74"/>
                  </a:cubicBezTo>
                  <a:cubicBezTo>
                    <a:pt x="20" y="86"/>
                    <a:pt x="15" y="101"/>
                    <a:pt x="15" y="118"/>
                  </a:cubicBezTo>
                  <a:cubicBezTo>
                    <a:pt x="44" y="118"/>
                    <a:pt x="44" y="118"/>
                    <a:pt x="44" y="118"/>
                  </a:cubicBezTo>
                  <a:cubicBezTo>
                    <a:pt x="44" y="94"/>
                    <a:pt x="64" y="74"/>
                    <a:pt x="89" y="74"/>
                  </a:cubicBezTo>
                  <a:cubicBezTo>
                    <a:pt x="118" y="74"/>
                    <a:pt x="118" y="74"/>
                    <a:pt x="118" y="74"/>
                  </a:cubicBezTo>
                  <a:cubicBezTo>
                    <a:pt x="118" y="44"/>
                    <a:pt x="118" y="44"/>
                    <a:pt x="118" y="44"/>
                  </a:cubicBezTo>
                  <a:cubicBezTo>
                    <a:pt x="94" y="44"/>
                    <a:pt x="74" y="25"/>
                    <a:pt x="7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Tree>
    <p:extLst>
      <p:ext uri="{BB962C8B-B14F-4D97-AF65-F5344CB8AC3E}">
        <p14:creationId xmlns:p14="http://schemas.microsoft.com/office/powerpoint/2010/main" val="3562806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40674922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787894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2_Divider Slide">
    <p:bg>
      <p:bgPr>
        <a:solidFill>
          <a:schemeClr val="accent4"/>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A5EDEADA-00A4-4A61-B6F7-7AB4F12D948A}"/>
              </a:ext>
            </a:extLst>
          </p:cNvPr>
          <p:cNvGrpSpPr/>
          <p:nvPr/>
        </p:nvGrpSpPr>
        <p:grpSpPr>
          <a:xfrm>
            <a:off x="5047972" y="2322610"/>
            <a:ext cx="2338944" cy="2349306"/>
            <a:chOff x="6697663" y="4592638"/>
            <a:chExt cx="357188" cy="358775"/>
          </a:xfrm>
          <a:solidFill>
            <a:schemeClr val="accent2"/>
          </a:solidFill>
        </p:grpSpPr>
        <p:sp>
          <p:nvSpPr>
            <p:cNvPr id="8" name="Rectangle 111">
              <a:extLst>
                <a:ext uri="{FF2B5EF4-FFF2-40B4-BE49-F238E27FC236}">
                  <a16:creationId xmlns:a16="http://schemas.microsoft.com/office/drawing/2014/main" id="{D1553FB3-8D36-4451-80F9-126DBB3680A2}"/>
                </a:ext>
              </a:extLst>
            </p:cNvPr>
            <p:cNvSpPr>
              <a:spLocks noChangeArrowheads="1"/>
            </p:cNvSpPr>
            <p:nvPr/>
          </p:nvSpPr>
          <p:spPr bwMode="auto">
            <a:xfrm>
              <a:off x="6967538" y="4592638"/>
              <a:ext cx="87313" cy="9048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3" name="Rectangle 112">
              <a:extLst>
                <a:ext uri="{FF2B5EF4-FFF2-40B4-BE49-F238E27FC236}">
                  <a16:creationId xmlns:a16="http://schemas.microsoft.com/office/drawing/2014/main" id="{F778D167-D5C1-45E4-88A3-CDFE945D90EF}"/>
                </a:ext>
              </a:extLst>
            </p:cNvPr>
            <p:cNvSpPr>
              <a:spLocks noChangeArrowheads="1"/>
            </p:cNvSpPr>
            <p:nvPr/>
          </p:nvSpPr>
          <p:spPr bwMode="auto">
            <a:xfrm>
              <a:off x="6967538" y="4729163"/>
              <a:ext cx="87313" cy="88900"/>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5" name="Oval 114">
              <a:extLst>
                <a:ext uri="{FF2B5EF4-FFF2-40B4-BE49-F238E27FC236}">
                  <a16:creationId xmlns:a16="http://schemas.microsoft.com/office/drawing/2014/main" id="{45F60B31-7982-44FA-BA48-233259AB8EB5}"/>
                </a:ext>
              </a:extLst>
            </p:cNvPr>
            <p:cNvSpPr>
              <a:spLocks noChangeArrowheads="1"/>
            </p:cNvSpPr>
            <p:nvPr/>
          </p:nvSpPr>
          <p:spPr bwMode="auto">
            <a:xfrm>
              <a:off x="696753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7" name="Oval 116">
              <a:extLst>
                <a:ext uri="{FF2B5EF4-FFF2-40B4-BE49-F238E27FC236}">
                  <a16:creationId xmlns:a16="http://schemas.microsoft.com/office/drawing/2014/main" id="{0B99C7EB-A6D8-4940-B7C1-C90077CF6998}"/>
                </a:ext>
              </a:extLst>
            </p:cNvPr>
            <p:cNvSpPr>
              <a:spLocks noChangeArrowheads="1"/>
            </p:cNvSpPr>
            <p:nvPr/>
          </p:nvSpPr>
          <p:spPr bwMode="auto">
            <a:xfrm>
              <a:off x="683418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8" name="Oval 117">
              <a:extLst>
                <a:ext uri="{FF2B5EF4-FFF2-40B4-BE49-F238E27FC236}">
                  <a16:creationId xmlns:a16="http://schemas.microsoft.com/office/drawing/2014/main" id="{B0FE87B5-3F11-4310-9F20-252AE750CA70}"/>
                </a:ext>
              </a:extLst>
            </p:cNvPr>
            <p:cNvSpPr>
              <a:spLocks noChangeArrowheads="1"/>
            </p:cNvSpPr>
            <p:nvPr/>
          </p:nvSpPr>
          <p:spPr bwMode="auto">
            <a:xfrm>
              <a:off x="6834188" y="472916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20" name="Oval 119">
              <a:extLst>
                <a:ext uri="{FF2B5EF4-FFF2-40B4-BE49-F238E27FC236}">
                  <a16:creationId xmlns:a16="http://schemas.microsoft.com/office/drawing/2014/main" id="{E16A5D25-8095-4AB2-8825-9C4FA0C8749F}"/>
                </a:ext>
              </a:extLst>
            </p:cNvPr>
            <p:cNvSpPr>
              <a:spLocks noChangeArrowheads="1"/>
            </p:cNvSpPr>
            <p:nvPr/>
          </p:nvSpPr>
          <p:spPr bwMode="auto">
            <a:xfrm>
              <a:off x="6697663" y="4862513"/>
              <a:ext cx="90488"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
        <p:nvSpPr>
          <p:cNvPr id="10" name="Title 1">
            <a:extLst>
              <a:ext uri="{FF2B5EF4-FFF2-40B4-BE49-F238E27FC236}">
                <a16:creationId xmlns:a16="http://schemas.microsoft.com/office/drawing/2014/main" id="{1F55178B-1A46-43C0-90DB-4D5DB64140EC}"/>
              </a:ext>
            </a:extLst>
          </p:cNvPr>
          <p:cNvSpPr>
            <a:spLocks noGrp="1"/>
          </p:cNvSpPr>
          <p:nvPr>
            <p:ph type="title" hasCustomPrompt="1"/>
          </p:nvPr>
        </p:nvSpPr>
        <p:spPr>
          <a:xfrm>
            <a:off x="274603" y="2979325"/>
            <a:ext cx="4689382" cy="1035882"/>
          </a:xfrm>
          <a:noFill/>
        </p:spPr>
        <p:txBody>
          <a:bodyPr wrap="square" tIns="91440" bIns="91440" anchor="ctr" anchorCtr="0">
            <a:spAutoFit/>
          </a:bodyPr>
          <a:lstStyle>
            <a:lvl1pPr>
              <a:defRPr sz="6114"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615675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6251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6" y="1212852"/>
            <a:ext cx="11885683" cy="2443746"/>
          </a:xfrm>
          <a:prstGeom prst="rect">
            <a:avLst/>
          </a:prstGeom>
        </p:spPr>
        <p:txBody>
          <a:bodyPr/>
          <a:lstStyle>
            <a:lvl1pPr marL="290316" indent="-290316">
              <a:buClr>
                <a:schemeClr val="tx1"/>
              </a:buClr>
              <a:buSzPct val="90000"/>
              <a:buFont typeface="Arial" pitchFamily="34" charset="0"/>
              <a:buChar char="•"/>
              <a:defRPr sz="359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115" indent="-280799">
              <a:buClr>
                <a:schemeClr val="tx1"/>
              </a:buClr>
              <a:buSzPct val="90000"/>
              <a:buFont typeface="Arial" pitchFamily="34" charset="0"/>
              <a:buChar char="•"/>
              <a:defRPr sz="319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431" indent="-290316">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876" indent="-228446">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320" indent="-228446">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6419513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2_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08" y="2674315"/>
            <a:ext cx="11226954" cy="1737340"/>
          </a:xfrm>
        </p:spPr>
        <p:txBody>
          <a:bodyPr anchor="ctr"/>
          <a:lstStyle>
            <a:lvl1pPr>
              <a:defRPr sz="5995">
                <a:solidFill>
                  <a:schemeClr val="tx2"/>
                </a:solidFill>
              </a:defRPr>
            </a:lvl1pPr>
          </a:lstStyle>
          <a:p>
            <a:r>
              <a:rPr lang="en-US"/>
              <a:t>Thank you</a:t>
            </a:r>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80383" y="492480"/>
            <a:ext cx="1250285" cy="266701"/>
          </a:xfrm>
          <a:prstGeom prst="rect">
            <a:avLst/>
          </a:prstGeom>
        </p:spPr>
      </p:pic>
    </p:spTree>
    <p:extLst>
      <p:ext uri="{BB962C8B-B14F-4D97-AF65-F5344CB8AC3E}">
        <p14:creationId xmlns:p14="http://schemas.microsoft.com/office/powerpoint/2010/main" val="3489617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1_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459230" y="3145044"/>
            <a:ext cx="3288506" cy="704445"/>
          </a:xfrm>
          <a:prstGeom prst="rect">
            <a:avLst/>
          </a:prstGeom>
        </p:spPr>
      </p:pic>
    </p:spTree>
    <p:extLst>
      <p:ext uri="{BB962C8B-B14F-4D97-AF65-F5344CB8AC3E}">
        <p14:creationId xmlns:p14="http://schemas.microsoft.com/office/powerpoint/2010/main" val="4123560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3"/>
            <a:ext cx="10055529" cy="2751698"/>
          </a:xfrm>
          <a:noFill/>
        </p:spPr>
        <p:txBody>
          <a:bodyPr tIns="91440" bIns="91440" anchor="t" anchorCtr="0"/>
          <a:lstStyle>
            <a:lvl1pPr>
              <a:defRPr sz="7193"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07" y="3954467"/>
            <a:ext cx="10057117" cy="1829593"/>
          </a:xfrm>
          <a:noFill/>
        </p:spPr>
        <p:txBody>
          <a:bodyPr lIns="182880" tIns="146304" rIns="182880" bIns="146304">
            <a:noAutofit/>
          </a:bodyPr>
          <a:lstStyle>
            <a:lvl1pPr marL="0" indent="0">
              <a:spcBef>
                <a:spcPts val="0"/>
              </a:spcBef>
              <a:buNone/>
              <a:defRPr sz="359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520897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1532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cSld name="Business Updat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0" y="2"/>
            <a:ext cx="11239464" cy="743644"/>
          </a:xfrm>
        </p:spPr>
        <p:txBody>
          <a:bodyPr lIns="365760" tIns="91440">
            <a:noAutofit/>
          </a:bodyPr>
          <a:lstStyle/>
          <a:p>
            <a:r>
              <a:rPr lang="en-US"/>
              <a:t>Click to edit Master title style</a:t>
            </a:r>
          </a:p>
        </p:txBody>
      </p:sp>
    </p:spTree>
    <p:extLst>
      <p:ext uri="{BB962C8B-B14F-4D97-AF65-F5344CB8AC3E}">
        <p14:creationId xmlns:p14="http://schemas.microsoft.com/office/powerpoint/2010/main" val="495010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cSld name="1_Executive Summary - Title only ">
    <p:spTree>
      <p:nvGrpSpPr>
        <p:cNvPr id="1" name=""/>
        <p:cNvGrpSpPr/>
        <p:nvPr/>
      </p:nvGrpSpPr>
      <p:grpSpPr>
        <a:xfrm>
          <a:off x="0" y="0"/>
          <a:ext cx="0" cy="0"/>
          <a:chOff x="0" y="0"/>
          <a:chExt cx="0" cy="0"/>
        </a:xfrm>
      </p:grpSpPr>
      <p:sp>
        <p:nvSpPr>
          <p:cNvPr id="2" name="Title 1"/>
          <p:cNvSpPr>
            <a:spLocks noGrp="1"/>
          </p:cNvSpPr>
          <p:nvPr>
            <p:ph type="title"/>
          </p:nvPr>
        </p:nvSpPr>
        <p:spPr>
          <a:xfrm>
            <a:off x="3267615" y="186524"/>
            <a:ext cx="6418986" cy="432205"/>
          </a:xfrm>
        </p:spPr>
        <p:txBody>
          <a:bodyPr/>
          <a:lstStyle>
            <a:lvl1pPr>
              <a:defRPr sz="2244"/>
            </a:lvl1pPr>
          </a:lstStyle>
          <a:p>
            <a:r>
              <a:rPr lang="en-US"/>
              <a:t>Click to edit Master title style</a:t>
            </a:r>
          </a:p>
        </p:txBody>
      </p:sp>
      <p:sp>
        <p:nvSpPr>
          <p:cNvPr id="8" name="Slide Number Placeholder 7"/>
          <p:cNvSpPr>
            <a:spLocks noGrp="1"/>
          </p:cNvSpPr>
          <p:nvPr>
            <p:ph type="sldNum" sz="quarter" idx="11"/>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1713767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76" userDrawn="1">
          <p15:clr>
            <a:srgbClr val="F26B43"/>
          </p15:clr>
        </p15:guide>
        <p15:guide id="2" orient="horz" pos="120" userDrawn="1">
          <p15:clr>
            <a:srgbClr val="F26B43"/>
          </p15:clr>
        </p15:guide>
        <p15:guide id="3" pos="2470" userDrawn="1">
          <p15:clr>
            <a:srgbClr val="F26B43"/>
          </p15:clr>
        </p15:guide>
        <p15:guide id="4" orient="horz" pos="2336" userDrawn="1">
          <p15:clr>
            <a:srgbClr val="F26B43"/>
          </p15:clr>
        </p15:guide>
        <p15:guide id="5" pos="4798" userDrawn="1">
          <p15:clr>
            <a:srgbClr val="F26B43"/>
          </p15:clr>
        </p15:guide>
        <p15:guide id="6" pos="4918" userDrawn="1">
          <p15:clr>
            <a:srgbClr val="F26B43"/>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cSld name="1_Business Update Slide Template">
    <p:spTree>
      <p:nvGrpSpPr>
        <p:cNvPr id="1" name=""/>
        <p:cNvGrpSpPr/>
        <p:nvPr/>
      </p:nvGrpSpPr>
      <p:grpSpPr>
        <a:xfrm>
          <a:off x="0" y="0"/>
          <a:ext cx="0" cy="0"/>
          <a:chOff x="0" y="0"/>
          <a:chExt cx="0" cy="0"/>
        </a:xfrm>
      </p:grpSpPr>
      <p:sp>
        <p:nvSpPr>
          <p:cNvPr id="6" name="Title 5"/>
          <p:cNvSpPr>
            <a:spLocks noGrp="1"/>
          </p:cNvSpPr>
          <p:nvPr>
            <p:ph type="title"/>
          </p:nvPr>
        </p:nvSpPr>
        <p:spPr>
          <a:xfrm>
            <a:off x="0" y="4"/>
            <a:ext cx="11888047" cy="917575"/>
          </a:xfrm>
        </p:spPr>
        <p:txBody>
          <a:bodyPr/>
          <a:lstStyle>
            <a:lvl1pPr algn="l" defTabSz="931933" rtl="0" eaLnBrk="1" latinLnBrk="0" hangingPunct="1">
              <a:lnSpc>
                <a:spcPct val="90000"/>
              </a:lnSpc>
              <a:spcBef>
                <a:spcPct val="0"/>
              </a:spcBef>
              <a:buNone/>
              <a:defRPr lang="en-US" sz="4080"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
        <p:nvSpPr>
          <p:cNvPr id="7" name="Slide Number Placeholder 1"/>
          <p:cNvSpPr>
            <a:spLocks noGrp="1"/>
          </p:cNvSpPr>
          <p:nvPr>
            <p:ph type="sldNum" sz="quarter" idx="11"/>
          </p:nvPr>
        </p:nvSpPr>
        <p:spPr>
          <a:xfrm>
            <a:off x="11843907" y="6615655"/>
            <a:ext cx="590982"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2193460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9799097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36464" cy="508524"/>
          </a:xfrm>
          <a:noFill/>
        </p:spPr>
        <p:txBody>
          <a:bodyPr wrap="square" lIns="0" tIns="0" rIns="0" bIns="0" anchor="t" anchorCtr="0">
            <a:spAutoFit/>
          </a:bodyPr>
          <a:lstStyle>
            <a:lvl1pPr algn="l" defTabSz="950843"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407548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6" y="3093607"/>
            <a:ext cx="6528316" cy="508524"/>
          </a:xfrm>
          <a:noFill/>
        </p:spPr>
        <p:txBody>
          <a:bodyPr wrap="square" lIns="0" tIns="0" rIns="0" bIns="0" anchor="b" anchorCtr="0">
            <a:spAutoFit/>
          </a:bodyPr>
          <a:lstStyle>
            <a:lvl1pPr algn="l" defTabSz="950843"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6" y="4056501"/>
            <a:ext cx="6528316" cy="282513"/>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p:nvGrpSpPr>
        <p:grpSpPr bwMode="ltGray">
          <a:xfrm>
            <a:off x="6380751" y="-22271"/>
            <a:ext cx="6050265" cy="7027210"/>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Tree>
    <p:extLst>
      <p:ext uri="{BB962C8B-B14F-4D97-AF65-F5344CB8AC3E}">
        <p14:creationId xmlns:p14="http://schemas.microsoft.com/office/powerpoint/2010/main" val="4238590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593624" y="6565905"/>
            <a:ext cx="566666" cy="136525"/>
          </a:xfrm>
          <a:prstGeom prst="rect">
            <a:avLst/>
          </a:prstGeom>
        </p:spPr>
        <p:txBody>
          <a:bodyPr/>
          <a:lstStyle>
            <a:lvl1pPr>
              <a:defRPr>
                <a:solidFill>
                  <a:srgbClr val="000000"/>
                </a:solidFill>
              </a:defRPr>
            </a:lvl1pPr>
          </a:lstStyle>
          <a:p>
            <a:fld id="{76D761AB-54AF-45CE-9E72-4C36C05BC2E6}" type="slidenum">
              <a:rPr lang="en-US" smtClean="0"/>
              <a:t>‹#›</a:t>
            </a:fld>
            <a:endParaRPr lang="en-US"/>
          </a:p>
        </p:txBody>
      </p:sp>
      <p:sp>
        <p:nvSpPr>
          <p:cNvPr id="5" name="TextBox 4"/>
          <p:cNvSpPr txBox="1"/>
          <p:nvPr/>
        </p:nvSpPr>
        <p:spPr>
          <a:xfrm>
            <a:off x="8935667" y="6547380"/>
            <a:ext cx="2657958" cy="186521"/>
          </a:xfrm>
          <a:prstGeom prst="rect">
            <a:avLst/>
          </a:prstGeom>
          <a:noFill/>
        </p:spPr>
        <p:txBody>
          <a:bodyPr wrap="none" lIns="186417" tIns="149135" rIns="186417" bIns="149135" rtlCol="0" anchor="ctr">
            <a:noAutofit/>
          </a:bodyPr>
          <a:lstStyle/>
          <a:p>
            <a:pPr algn="r">
              <a:lnSpc>
                <a:spcPct val="90000"/>
              </a:lnSpc>
              <a:spcAft>
                <a:spcPts val="612"/>
              </a:spcAft>
            </a:pPr>
            <a:r>
              <a:rPr lang="en-US" sz="898">
                <a:solidFill>
                  <a:schemeClr val="tx2"/>
                </a:solidFill>
              </a:rPr>
              <a:t>Microsoft Confidential</a:t>
            </a:r>
          </a:p>
        </p:txBody>
      </p:sp>
    </p:spTree>
    <p:extLst>
      <p:ext uri="{BB962C8B-B14F-4D97-AF65-F5344CB8AC3E}">
        <p14:creationId xmlns:p14="http://schemas.microsoft.com/office/powerpoint/2010/main" val="17020754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442604"/>
          </a:xfrm>
        </p:spPr>
        <p:txBody>
          <a:bodyPr tIns="64008"/>
          <a:lstStyle>
            <a:lvl1pPr>
              <a:defRPr sz="2448"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347077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F6B730-4257-42FC-8019-4562DF1151A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B847992-3D78-45F8-8160-A55871805AE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8DC160E-CD34-4ED5-A58B-032C1543F95D}"/>
              </a:ext>
            </a:extLst>
          </p:cNvPr>
          <p:cNvSpPr>
            <a:spLocks noGrp="1"/>
          </p:cNvSpPr>
          <p:nvPr>
            <p:ph type="dt" sz="half" idx="10"/>
          </p:nvPr>
        </p:nvSpPr>
        <p:spPr/>
        <p:txBody>
          <a:bodyPr/>
          <a:lstStyle/>
          <a:p>
            <a:fld id="{B78697B4-9FBF-48C6-A914-184B8B099A45}" type="datetimeFigureOut">
              <a:rPr lang="en-US" smtClean="0"/>
              <a:t>9/16/2022</a:t>
            </a:fld>
            <a:endParaRPr lang="en-US"/>
          </a:p>
        </p:txBody>
      </p:sp>
      <p:sp>
        <p:nvSpPr>
          <p:cNvPr id="5" name="Footer Placeholder 4">
            <a:extLst>
              <a:ext uri="{FF2B5EF4-FFF2-40B4-BE49-F238E27FC236}">
                <a16:creationId xmlns:a16="http://schemas.microsoft.com/office/drawing/2014/main" id="{093ADEA7-5B8A-4775-8E57-D7CA1EB20F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0F4656-65A0-4F10-A08A-FB5465C442A1}"/>
              </a:ext>
            </a:extLst>
          </p:cNvPr>
          <p:cNvSpPr>
            <a:spLocks noGrp="1"/>
          </p:cNvSpPr>
          <p:nvPr>
            <p:ph type="sldNum" sz="quarter" idx="12"/>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1579632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1_Title Slide_Illustration">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9"/>
            <a:ext cx="7315136" cy="1828786"/>
          </a:xfrm>
          <a:noFill/>
        </p:spPr>
        <p:txBody>
          <a:bodyPr lIns="146304" tIns="91440" rIns="146304" bIns="91440" anchor="t" anchorCtr="0"/>
          <a:lstStyle>
            <a:lvl1pPr>
              <a:defRPr sz="4694" spc="-87"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5" y="3955786"/>
            <a:ext cx="7315137" cy="1828007"/>
          </a:xfrm>
          <a:noFill/>
        </p:spPr>
        <p:txBody>
          <a:bodyPr lIns="146304" tIns="109728" rIns="146304" bIns="109728">
            <a:noAutofit/>
          </a:bodyPr>
          <a:lstStyle>
            <a:lvl1pPr marL="0" indent="0">
              <a:spcBef>
                <a:spcPts val="0"/>
              </a:spcBef>
              <a:buNone/>
              <a:defRPr sz="2779"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457580" y="6120853"/>
            <a:ext cx="1828800" cy="393896"/>
          </a:xfrm>
          <a:prstGeom prst="rect">
            <a:avLst/>
          </a:prstGeom>
        </p:spPr>
      </p:pic>
    </p:spTree>
    <p:extLst>
      <p:ext uri="{BB962C8B-B14F-4D97-AF65-F5344CB8AC3E}">
        <p14:creationId xmlns:p14="http://schemas.microsoft.com/office/powerpoint/2010/main" val="4170965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p:cSld name="Title without Subtitle">
    <p:spTree>
      <p:nvGrpSpPr>
        <p:cNvPr id="1" name=""/>
        <p:cNvGrpSpPr/>
        <p:nvPr/>
      </p:nvGrpSpPr>
      <p:grpSpPr>
        <a:xfrm>
          <a:off x="0" y="0"/>
          <a:ext cx="0" cy="0"/>
          <a:chOff x="0" y="0"/>
          <a:chExt cx="0" cy="0"/>
        </a:xfrm>
      </p:grpSpPr>
      <p:sp>
        <p:nvSpPr>
          <p:cNvPr id="6" name="Title 5"/>
          <p:cNvSpPr>
            <a:spLocks noGrp="1"/>
          </p:cNvSpPr>
          <p:nvPr>
            <p:ph type="title"/>
          </p:nvPr>
        </p:nvSpPr>
        <p:spPr>
          <a:xfrm>
            <a:off x="0" y="3"/>
            <a:ext cx="11889564" cy="917575"/>
          </a:xfrm>
        </p:spPr>
        <p:txBody>
          <a:bodyPr/>
          <a:lstStyle>
            <a:lvl1pPr>
              <a:lnSpc>
                <a:spcPct val="100000"/>
              </a:lnSpc>
              <a:defRPr sz="3672">
                <a:solidFill>
                  <a:srgbClr val="002060"/>
                </a:solidFill>
              </a:defRPr>
            </a:lvl1pPr>
          </a:lstStyle>
          <a:p>
            <a:r>
              <a:rPr lang="en-US"/>
              <a:t>Click to edit Master title style</a:t>
            </a:r>
          </a:p>
        </p:txBody>
      </p:sp>
      <p:sp>
        <p:nvSpPr>
          <p:cNvPr id="7" name="Slide Number Placeholder 1"/>
          <p:cNvSpPr>
            <a:spLocks noGrp="1"/>
          </p:cNvSpPr>
          <p:nvPr>
            <p:ph type="sldNum" sz="quarter" idx="11"/>
          </p:nvPr>
        </p:nvSpPr>
        <p:spPr>
          <a:xfrm>
            <a:off x="11845418" y="6615655"/>
            <a:ext cx="591057"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3902975666"/>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cSld name="1_Title without Subtitle">
    <p:spTree>
      <p:nvGrpSpPr>
        <p:cNvPr id="1" name=""/>
        <p:cNvGrpSpPr/>
        <p:nvPr/>
      </p:nvGrpSpPr>
      <p:grpSpPr>
        <a:xfrm>
          <a:off x="0" y="0"/>
          <a:ext cx="0" cy="0"/>
          <a:chOff x="0" y="0"/>
          <a:chExt cx="0" cy="0"/>
        </a:xfrm>
      </p:grpSpPr>
      <p:sp>
        <p:nvSpPr>
          <p:cNvPr id="6" name="Title 5"/>
          <p:cNvSpPr>
            <a:spLocks noGrp="1"/>
          </p:cNvSpPr>
          <p:nvPr>
            <p:ph type="title"/>
          </p:nvPr>
        </p:nvSpPr>
        <p:spPr>
          <a:xfrm>
            <a:off x="0" y="3"/>
            <a:ext cx="11889564" cy="917575"/>
          </a:xfrm>
        </p:spPr>
        <p:txBody>
          <a:bodyPr/>
          <a:lstStyle>
            <a:lvl1pPr>
              <a:lnSpc>
                <a:spcPct val="100000"/>
              </a:lnSpc>
              <a:defRPr sz="3672">
                <a:solidFill>
                  <a:srgbClr val="002060"/>
                </a:solidFill>
              </a:defRPr>
            </a:lvl1pPr>
          </a:lstStyle>
          <a:p>
            <a:r>
              <a:rPr lang="en-US"/>
              <a:t>Click to edit Master title style</a:t>
            </a:r>
          </a:p>
        </p:txBody>
      </p:sp>
      <p:sp>
        <p:nvSpPr>
          <p:cNvPr id="7" name="Slide Number Placeholder 1"/>
          <p:cNvSpPr>
            <a:spLocks noGrp="1"/>
          </p:cNvSpPr>
          <p:nvPr>
            <p:ph type="sldNum" sz="quarter" idx="11"/>
          </p:nvPr>
        </p:nvSpPr>
        <p:spPr>
          <a:xfrm>
            <a:off x="11845418" y="6615655"/>
            <a:ext cx="591057"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654541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cSld name="2_Business Update Slide Template">
    <p:spTree>
      <p:nvGrpSpPr>
        <p:cNvPr id="1" name=""/>
        <p:cNvGrpSpPr/>
        <p:nvPr/>
      </p:nvGrpSpPr>
      <p:grpSpPr>
        <a:xfrm>
          <a:off x="0" y="0"/>
          <a:ext cx="0" cy="0"/>
          <a:chOff x="0" y="0"/>
          <a:chExt cx="0" cy="0"/>
        </a:xfrm>
      </p:grpSpPr>
      <p:sp>
        <p:nvSpPr>
          <p:cNvPr id="6" name="Title 5"/>
          <p:cNvSpPr>
            <a:spLocks noGrp="1"/>
          </p:cNvSpPr>
          <p:nvPr>
            <p:ph type="title"/>
          </p:nvPr>
        </p:nvSpPr>
        <p:spPr>
          <a:xfrm>
            <a:off x="0" y="3"/>
            <a:ext cx="11888047" cy="378871"/>
          </a:xfrm>
        </p:spPr>
        <p:txBody>
          <a:bodyPr/>
          <a:lstStyle>
            <a:lvl1pPr algn="l" defTabSz="931933" rtl="0" eaLnBrk="1" latinLnBrk="0" hangingPunct="1">
              <a:lnSpc>
                <a:spcPct val="90000"/>
              </a:lnSpc>
              <a:spcBef>
                <a:spcPct val="0"/>
              </a:spcBef>
              <a:buNone/>
              <a:defRPr lang="en-US" sz="2040"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
        <p:nvSpPr>
          <p:cNvPr id="7" name="Slide Number Placeholder 1"/>
          <p:cNvSpPr>
            <a:spLocks noGrp="1"/>
          </p:cNvSpPr>
          <p:nvPr>
            <p:ph type="sldNum" sz="quarter" idx="11"/>
          </p:nvPr>
        </p:nvSpPr>
        <p:spPr>
          <a:xfrm>
            <a:off x="11843907" y="6615655"/>
            <a:ext cx="590982"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1173774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18256113"/>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56"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flip="none" rotWithShape="1">
                  <a:gsLst>
                    <a:gs pos="82000">
                      <a:schemeClr val="bg1"/>
                    </a:gs>
                    <a:gs pos="0">
                      <a:schemeClr val="bg1"/>
                    </a:gs>
                  </a:gsLst>
                  <a:lin ang="2700000" scaled="1"/>
                  <a:tileRect/>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2662521475"/>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type="title">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98DB59-9B40-4CDF-A0B5-4461863E2A66}"/>
              </a:ext>
            </a:extLst>
          </p:cNvPr>
          <p:cNvSpPr>
            <a:spLocks noGrp="1"/>
          </p:cNvSpPr>
          <p:nvPr>
            <p:ph type="ctrTitle"/>
          </p:nvPr>
        </p:nvSpPr>
        <p:spPr>
          <a:xfrm>
            <a:off x="1554361" y="1144707"/>
            <a:ext cx="9326166" cy="2435131"/>
          </a:xfrm>
        </p:spPr>
        <p:txBody>
          <a:bodyPr anchor="b"/>
          <a:lstStyle>
            <a:lvl1pPr algn="ctr">
              <a:defRPr sz="6114"/>
            </a:lvl1pPr>
          </a:lstStyle>
          <a:p>
            <a:r>
              <a:rPr lang="en-US"/>
              <a:t>Click to edit Master title style</a:t>
            </a:r>
          </a:p>
        </p:txBody>
      </p:sp>
      <p:sp>
        <p:nvSpPr>
          <p:cNvPr id="3" name="Subtitle 2">
            <a:extLst>
              <a:ext uri="{FF2B5EF4-FFF2-40B4-BE49-F238E27FC236}">
                <a16:creationId xmlns:a16="http://schemas.microsoft.com/office/drawing/2014/main" id="{7E515631-B59E-4572-9B2E-AC300FF00523}"/>
              </a:ext>
            </a:extLst>
          </p:cNvPr>
          <p:cNvSpPr>
            <a:spLocks noGrp="1"/>
          </p:cNvSpPr>
          <p:nvPr>
            <p:ph type="subTitle" idx="1"/>
          </p:nvPr>
        </p:nvSpPr>
        <p:spPr>
          <a:xfrm>
            <a:off x="1554361" y="3673746"/>
            <a:ext cx="9326166" cy="523733"/>
          </a:xfrm>
        </p:spPr>
        <p:txBody>
          <a:bodyPr/>
          <a:lstStyle>
            <a:lvl1pPr marL="0" indent="0" algn="ctr">
              <a:buNone/>
              <a:defRPr sz="2448"/>
            </a:lvl1pPr>
            <a:lvl2pPr marL="466073" indent="0" algn="ctr">
              <a:buNone/>
              <a:defRPr sz="2040"/>
            </a:lvl2pPr>
            <a:lvl3pPr marL="932146" indent="0" algn="ctr">
              <a:buNone/>
              <a:defRPr sz="1836"/>
            </a:lvl3pPr>
            <a:lvl4pPr marL="1398218" indent="0" algn="ctr">
              <a:buNone/>
              <a:defRPr sz="1632"/>
            </a:lvl4pPr>
            <a:lvl5pPr marL="1864291" indent="0" algn="ctr">
              <a:buNone/>
              <a:defRPr sz="1632"/>
            </a:lvl5pPr>
            <a:lvl6pPr marL="2330363" indent="0" algn="ctr">
              <a:buNone/>
              <a:defRPr sz="1632"/>
            </a:lvl6pPr>
            <a:lvl7pPr marL="2796436" indent="0" algn="ctr">
              <a:buNone/>
              <a:defRPr sz="1632"/>
            </a:lvl7pPr>
            <a:lvl8pPr marL="3262509" indent="0" algn="ctr">
              <a:buNone/>
              <a:defRPr sz="1632"/>
            </a:lvl8pPr>
            <a:lvl9pPr marL="3728580"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213B4169-FC91-4248-B72D-4118EDD73468}"/>
              </a:ext>
            </a:extLst>
          </p:cNvPr>
          <p:cNvSpPr>
            <a:spLocks noGrp="1"/>
          </p:cNvSpPr>
          <p:nvPr>
            <p:ph type="dt" sz="half" idx="10"/>
          </p:nvPr>
        </p:nvSpPr>
        <p:spPr/>
        <p:txBody>
          <a:bodyPr/>
          <a:lstStyle/>
          <a:p>
            <a:fld id="{B78697B4-9FBF-48C6-A914-184B8B099A45}" type="datetimeFigureOut">
              <a:rPr lang="en-US" smtClean="0"/>
              <a:t>9/16/2022</a:t>
            </a:fld>
            <a:endParaRPr lang="en-US"/>
          </a:p>
        </p:txBody>
      </p:sp>
      <p:sp>
        <p:nvSpPr>
          <p:cNvPr id="5" name="Footer Placeholder 4">
            <a:extLst>
              <a:ext uri="{FF2B5EF4-FFF2-40B4-BE49-F238E27FC236}">
                <a16:creationId xmlns:a16="http://schemas.microsoft.com/office/drawing/2014/main" id="{57E40227-32BE-4DCB-B01D-1792CB992F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0BAFDC2-27F0-4BCC-91B2-76730AE6568F}"/>
              </a:ext>
            </a:extLst>
          </p:cNvPr>
          <p:cNvSpPr>
            <a:spLocks noGrp="1"/>
          </p:cNvSpPr>
          <p:nvPr>
            <p:ph type="sldNum" sz="quarter" idx="12"/>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618260413"/>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5728875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9599004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60"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957755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4611894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61708145"/>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827933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70"/>
            <a:ext cx="5315592"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70"/>
            <a:ext cx="5323687"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1001015"/>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guide id="4" pos="3660" userDrawn="1">
          <p15:clr>
            <a:srgbClr val="5ACBF0"/>
          </p15:clr>
        </p15:guide>
        <p15:guide id="5" pos="4022" userDrawn="1">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2"/>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3263826"/>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guide id="4" pos="3656" userDrawn="1">
          <p15:clr>
            <a:srgbClr val="5ACBF0"/>
          </p15:clr>
        </p15:guide>
        <p15:guide id="5" pos="4022" userDrawn="1">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8439488"/>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56"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a:gsLst>
                    <a:gs pos="100000">
                      <a:schemeClr val="tx1"/>
                    </a:gs>
                    <a:gs pos="0">
                      <a:schemeClr val="tx1"/>
                    </a:gs>
                  </a:gsLst>
                  <a:lin ang="5400000" scaled="0"/>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1008989767"/>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52599677"/>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4"/>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4" y="1"/>
            <a:ext cx="6994624" cy="6994525"/>
          </a:xfrm>
          <a:blipFill>
            <a:blip r:embed="rId2">
              <a:extLst>
                <a:ext uri="{28A0092B-C50C-407E-A947-70E740481C1C}">
                  <a14:useLocalDpi xmlns:a14="http://schemas.microsoft.com/office/drawing/2010/main"/>
                </a:ext>
              </a:extLst>
            </a:blip>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39479807"/>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4" y="1"/>
            <a:ext cx="6994624" cy="6994525"/>
          </a:xfrm>
          <a:blipFill>
            <a:blip r:embed="rId2">
              <a:extLst>
                <a:ext uri="{28A0092B-C50C-407E-A947-70E740481C1C}">
                  <a14:useLocalDpi xmlns:a14="http://schemas.microsoft.com/office/drawing/2010/main"/>
                </a:ext>
              </a:extLst>
            </a:blip>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43449480"/>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39058"/>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4" y="1"/>
            <a:ext cx="6994624" cy="6994525"/>
          </a:xfrm>
          <a:blipFill>
            <a:blip r:embed="rId2">
              <a:extLst>
                <a:ext uri="{28A0092B-C50C-407E-A947-70E740481C1C}">
                  <a14:useLocalDpi xmlns:a14="http://schemas.microsoft.com/office/drawing/2010/main"/>
                </a:ext>
              </a:extLst>
            </a:blip>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5999030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945632746"/>
      </p:ext>
    </p:extLst>
  </p:cSld>
  <p:clrMapOvr>
    <a:masterClrMapping/>
  </p:clrMapOvr>
  <p:transition>
    <p:fade/>
  </p:transition>
  <p:extLst>
    <p:ext uri="{DCECCB84-F9BA-43D5-87BE-67443E8EF086}">
      <p15:sldGuideLst xmlns:p15="http://schemas.microsoft.com/office/powerpoint/2012/main">
        <p15:guide id="1" orient="horz" pos="2304" userDrawn="1">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753757242"/>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1682875084"/>
      </p:ext>
    </p:extLst>
  </p:cSld>
  <p:clrMapOvr>
    <a:masterClrMapping/>
  </p:clrMapOvr>
  <p:transition>
    <p:fade/>
  </p:transition>
  <p:extLst>
    <p:ext uri="{DCECCB84-F9BA-43D5-87BE-67443E8EF086}">
      <p15:sldGuideLst xmlns:p15="http://schemas.microsoft.com/office/powerpoint/2012/main">
        <p15:guide id="7" pos="4103" userDrawn="1">
          <p15:clr>
            <a:srgbClr val="5ACBF0"/>
          </p15:clr>
        </p15:guide>
        <p15:guide id="8" orient="horz" pos="2160" userDrawn="1">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6"/>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434888" cy="4663017"/>
          </a:xfrm>
          <a:blipFill>
            <a:blip r:embed="rId2">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99501130"/>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1"/>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76332416"/>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5474459" cy="3543893"/>
          </a:xfrm>
          <a:blipFill>
            <a:blip r:embed="rId2">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80993539"/>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954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23892"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27739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40257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2552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38125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578766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0" y="2065976"/>
            <a:ext cx="3543943" cy="3543893"/>
          </a:xfrm>
          <a:blipFill>
            <a:blip r:embed="rId2">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6"/>
            <a:ext cx="3543943" cy="3543893"/>
          </a:xfrm>
          <a:blipFill>
            <a:blip r:embed="rId2">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6086821"/>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7"/>
            <a:ext cx="2583348" cy="2583311"/>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7"/>
            <a:ext cx="2583348" cy="2583311"/>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7"/>
            <a:ext cx="2583348" cy="2583311"/>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7"/>
            <a:ext cx="2583348" cy="2583311"/>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94485488"/>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5" y="2355796"/>
            <a:ext cx="3245419" cy="4038043"/>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4" y="2355794"/>
            <a:ext cx="7399396" cy="4038044"/>
          </a:xfrm>
        </p:spPr>
        <p:txBody>
          <a:bodyPr anchor="t">
            <a:noAutofit/>
          </a:bodyPr>
          <a:lstStyle>
            <a:lvl1pPr marL="0" indent="0">
              <a:spcAft>
                <a:spcPts val="816"/>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4"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0739441"/>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1272" userDrawn="1">
          <p15:clr>
            <a:srgbClr val="5ACBF0"/>
          </p15:clr>
        </p15:guide>
        <p15:guide id="30" pos="2376" userDrawn="1">
          <p15:clr>
            <a:srgbClr val="5ACBF0"/>
          </p15:clr>
        </p15:guide>
        <p15:guide id="32" orient="horz" pos="1455" userDrawn="1">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4" y="3213099"/>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5"/>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4262933996"/>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5ACBF0"/>
          </p15:clr>
        </p15:guide>
        <p15:guide id="30" pos="2376" userDrawn="1">
          <p15:clr>
            <a:srgbClr val="5ACBF0"/>
          </p15:clr>
        </p15:guide>
        <p15:guide id="31" pos="3113" userDrawn="1">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11278937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99982" y="3053049"/>
            <a:ext cx="11238030" cy="565027"/>
          </a:xfrm>
        </p:spPr>
        <p:txBody>
          <a:bodyPr/>
          <a:lstStyle/>
          <a:p>
            <a:r>
              <a:rPr lang="en-US"/>
              <a:t>Click to edit Master title style</a:t>
            </a:r>
          </a:p>
        </p:txBody>
      </p:sp>
    </p:spTree>
    <p:extLst>
      <p:ext uri="{BB962C8B-B14F-4D97-AF65-F5344CB8AC3E}">
        <p14:creationId xmlns:p14="http://schemas.microsoft.com/office/powerpoint/2010/main" val="400638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088670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lstStyle/>
          <a:p>
            <a:r>
              <a:rPr lang="en-US"/>
              <a:t>Click to edit Master title style</a:t>
            </a:r>
          </a:p>
        </p:txBody>
      </p:sp>
    </p:spTree>
    <p:extLst>
      <p:ext uri="{BB962C8B-B14F-4D97-AF65-F5344CB8AC3E}">
        <p14:creationId xmlns:p14="http://schemas.microsoft.com/office/powerpoint/2010/main" val="29566783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2999506"/>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702462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240942" y="1465289"/>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3286800"/>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16472993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7750391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4166284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56"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flip="none" rotWithShape="1">
                  <a:gsLst>
                    <a:gs pos="82000">
                      <a:schemeClr val="bg1"/>
                    </a:gs>
                    <a:gs pos="0">
                      <a:schemeClr val="bg1"/>
                    </a:gs>
                  </a:gsLst>
                  <a:lin ang="2700000" scaled="1"/>
                  <a:tileRect/>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1884603027"/>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56"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a:gsLst>
                    <a:gs pos="100000">
                      <a:schemeClr val="tx1"/>
                    </a:gs>
                    <a:gs pos="0">
                      <a:schemeClr val="tx1"/>
                    </a:gs>
                  </a:gsLst>
                  <a:lin ang="5400000" scaled="0"/>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1339353997"/>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954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23892"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27739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40257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2552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38125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626274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240942" y="1465289"/>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3286800"/>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11770898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964812" y="509181"/>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217445" y="745099"/>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99983" y="1866103"/>
            <a:ext cx="4492932" cy="1130053"/>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29802267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240942" y="1465289"/>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4174027"/>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49283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0"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95839" y="1465289"/>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435823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96876" y="2480215"/>
            <a:ext cx="4243405" cy="1017048"/>
          </a:xfrm>
          <a:noFill/>
        </p:spPr>
        <p:txBody>
          <a:bodyPr wrap="square"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96876" y="3951630"/>
            <a:ext cx="4243405"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342300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964812" y="509181"/>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217445" y="745099"/>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99983" y="1866103"/>
            <a:ext cx="4492932" cy="1130053"/>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41570233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734650" y="1705789"/>
            <a:ext cx="6009158" cy="3582949"/>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935790" y="1920351"/>
            <a:ext cx="5606879" cy="3153825"/>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95839" y="1705788"/>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40814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53414" indent="0">
              <a:buNone/>
              <a:defRPr sz="2448">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96181" indent="0">
              <a:buNone/>
              <a:defRPr sz="204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30690"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71805"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760707"/>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2454543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extLst>
                <a:ext uri="{28A0092B-C50C-407E-A947-70E740481C1C}">
                  <a14:useLocalDpi xmlns:a14="http://schemas.microsoft.com/office/drawing/2010/main"/>
                </a:ext>
              </a:extLst>
            </a:blip>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7680375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extLst>
                <a:ext uri="{28A0092B-C50C-407E-A947-70E740481C1C}">
                  <a14:useLocalDpi xmlns:a14="http://schemas.microsoft.com/office/drawing/2010/main"/>
                </a:ext>
              </a:extLst>
            </a:blip>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3222343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4304372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2"/>
            </a:solidFill>
          </a:ln>
        </p:spPr>
        <p:txBody>
          <a:bodyPr wrap="square" lIns="182880" tIns="182880" rIns="182880" bIns="182880" anchor="t" anchorCtr="0">
            <a:noAutofit/>
          </a:bodyPr>
          <a:lstStyle>
            <a:lvl1pPr marL="0" indent="0">
              <a:buNone/>
              <a:defRPr sz="1122">
                <a:gradFill flip="none" rotWithShape="1">
                  <a:gsLst>
                    <a:gs pos="82000">
                      <a:schemeClr val="accent1"/>
                    </a:gs>
                    <a:gs pos="0">
                      <a:schemeClr val="accent1"/>
                    </a:gs>
                  </a:gsLst>
                  <a:lin ang="2700000" scaled="1"/>
                  <a:tileRect/>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2"/>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flip="none" rotWithShape="1">
                  <a:gsLst>
                    <a:gs pos="82000">
                      <a:schemeClr val="accent1"/>
                    </a:gs>
                    <a:gs pos="0">
                      <a:schemeClr val="accent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8817644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3" name="Graphic 2" descr="Microsoft Flow logo">
            <a:extLst>
              <a:ext uri="{FF2B5EF4-FFF2-40B4-BE49-F238E27FC236}">
                <a16:creationId xmlns:a16="http://schemas.microsoft.com/office/drawing/2014/main" id="{85DA7259-7117-4C57-B5D0-B2AF54CD36B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9969" y="610341"/>
            <a:ext cx="633218" cy="432694"/>
          </a:xfrm>
          <a:prstGeom prst="rect">
            <a:avLst/>
          </a:prstGeom>
        </p:spPr>
      </p:pic>
    </p:spTree>
    <p:extLst>
      <p:ext uri="{BB962C8B-B14F-4D97-AF65-F5344CB8AC3E}">
        <p14:creationId xmlns:p14="http://schemas.microsoft.com/office/powerpoint/2010/main" val="19557998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5252999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extLst>
                <a:ext uri="{28A0092B-C50C-407E-A947-70E740481C1C}">
                  <a14:useLocalDpi xmlns:a14="http://schemas.microsoft.com/office/drawing/2010/main"/>
                </a:ext>
              </a:extLst>
            </a:blip>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6938041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240942" y="1465289"/>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4174027"/>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876880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0"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extLst>
                <a:ext uri="{28A0092B-C50C-407E-A947-70E740481C1C}">
                  <a14:useLocalDpi xmlns:a14="http://schemas.microsoft.com/office/drawing/2010/main"/>
                </a:ext>
              </a:extLst>
            </a:blip>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5077513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4923961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3"/>
            </a:solidFill>
          </a:ln>
        </p:spPr>
        <p:txBody>
          <a:bodyPr wrap="square" lIns="182880" tIns="182880" rIns="182880" bIns="182880" anchor="t" anchorCtr="0">
            <a:noAutofit/>
          </a:bodyPr>
          <a:lstStyle>
            <a:lvl1pPr marL="0" indent="0">
              <a:buNone/>
              <a:defRPr sz="1122">
                <a:gradFill>
                  <a:gsLst>
                    <a:gs pos="82000">
                      <a:schemeClr val="accent3"/>
                    </a:gs>
                    <a:gs pos="0">
                      <a:schemeClr val="accent3"/>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3"/>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3"/>
                    </a:gs>
                    <a:gs pos="0">
                      <a:schemeClr val="accent3"/>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9165690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grpSp>
        <p:nvGrpSpPr>
          <p:cNvPr id="60" name="Group 12">
            <a:extLst>
              <a:ext uri="{FF2B5EF4-FFF2-40B4-BE49-F238E27FC236}">
                <a16:creationId xmlns:a16="http://schemas.microsoft.com/office/drawing/2014/main" id="{0E0E57C0-7376-4944-9DCE-005185421347}"/>
              </a:ext>
            </a:extLst>
          </p:cNvPr>
          <p:cNvGrpSpPr>
            <a:grpSpLocks noChangeAspect="1"/>
          </p:cNvGrpSpPr>
          <p:nvPr userDrawn="1"/>
        </p:nvGrpSpPr>
        <p:grpSpPr bwMode="auto">
          <a:xfrm>
            <a:off x="610421" y="605113"/>
            <a:ext cx="641213" cy="487118"/>
            <a:chOff x="4543" y="2176"/>
            <a:chExt cx="258" cy="196"/>
          </a:xfrm>
          <a:solidFill>
            <a:schemeClr val="tx1"/>
          </a:solidFill>
        </p:grpSpPr>
        <p:sp>
          <p:nvSpPr>
            <p:cNvPr id="61" name="Freeform 13">
              <a:extLst>
                <a:ext uri="{FF2B5EF4-FFF2-40B4-BE49-F238E27FC236}">
                  <a16:creationId xmlns:a16="http://schemas.microsoft.com/office/drawing/2014/main" id="{0FAF9751-0C2B-4181-B0AC-15CA1A9D43EC}"/>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2" name="Freeform 14">
              <a:extLst>
                <a:ext uri="{FF2B5EF4-FFF2-40B4-BE49-F238E27FC236}">
                  <a16:creationId xmlns:a16="http://schemas.microsoft.com/office/drawing/2014/main" id="{6641E717-EED8-4EF2-A4F7-7983712AD2B1}"/>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3" name="Freeform 15">
              <a:extLst>
                <a:ext uri="{FF2B5EF4-FFF2-40B4-BE49-F238E27FC236}">
                  <a16:creationId xmlns:a16="http://schemas.microsoft.com/office/drawing/2014/main" id="{17D3AA76-A13A-49B0-813F-4A379399E317}"/>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4" name="Freeform 16">
              <a:extLst>
                <a:ext uri="{FF2B5EF4-FFF2-40B4-BE49-F238E27FC236}">
                  <a16:creationId xmlns:a16="http://schemas.microsoft.com/office/drawing/2014/main" id="{02F5E2E1-F2A4-4C05-B836-EFAEDB0A32AB}"/>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5" name="Freeform 17">
              <a:extLst>
                <a:ext uri="{FF2B5EF4-FFF2-40B4-BE49-F238E27FC236}">
                  <a16:creationId xmlns:a16="http://schemas.microsoft.com/office/drawing/2014/main" id="{C00683F1-8475-44C7-A3C3-BFE332B4E634}"/>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grpSp>
    </p:spTree>
    <p:extLst>
      <p:ext uri="{BB962C8B-B14F-4D97-AF65-F5344CB8AC3E}">
        <p14:creationId xmlns:p14="http://schemas.microsoft.com/office/powerpoint/2010/main" val="31976724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7706512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extLst>
                <a:ext uri="{28A0092B-C50C-407E-A947-70E740481C1C}">
                  <a14:useLocalDpi xmlns:a14="http://schemas.microsoft.com/office/drawing/2010/main"/>
                </a:ext>
              </a:extLst>
            </a:blip>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0517871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extLst>
                <a:ext uri="{28A0092B-C50C-407E-A947-70E740481C1C}">
                  <a14:useLocalDpi xmlns:a14="http://schemas.microsoft.com/office/drawing/2010/main"/>
                </a:ext>
              </a:extLst>
            </a:blip>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476319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883413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rgbClr val="6A4B16"/>
            </a:solidFill>
          </a:ln>
        </p:spPr>
        <p:txBody>
          <a:bodyPr wrap="square" lIns="182880" tIns="182880" rIns="182880" bIns="182880" anchor="t" anchorCtr="0">
            <a:noAutofit/>
          </a:bodyPr>
          <a:lstStyle>
            <a:lvl1pPr marL="0" indent="0">
              <a:buNone/>
              <a:defRPr sz="1122">
                <a:gradFill>
                  <a:gsLst>
                    <a:gs pos="82000">
                      <a:srgbClr val="6A4B16"/>
                    </a:gs>
                    <a:gs pos="0">
                      <a:srgbClr val="6A4B1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rgbClr val="6A4B1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rgbClr val="6A4B16"/>
                    </a:gs>
                    <a:gs pos="0">
                      <a:srgbClr val="6A4B1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5019968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D59D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6" name="Power Apps 1" descr="Power Apps">
            <a:extLst>
              <a:ext uri="{FF2B5EF4-FFF2-40B4-BE49-F238E27FC236}">
                <a16:creationId xmlns:a16="http://schemas.microsoft.com/office/drawing/2014/main" id="{3CDD38F3-4197-44AB-9F9D-E38249A84900}"/>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73732" y="489333"/>
            <a:ext cx="716706" cy="716695"/>
          </a:xfrm>
          <a:prstGeom prst="rect">
            <a:avLst/>
          </a:prstGeom>
        </p:spPr>
      </p:pic>
    </p:spTree>
    <p:extLst>
      <p:ext uri="{BB962C8B-B14F-4D97-AF65-F5344CB8AC3E}">
        <p14:creationId xmlns:p14="http://schemas.microsoft.com/office/powerpoint/2010/main" val="36441435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95839" y="1465289"/>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817294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1486274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extLst>
                <a:ext uri="{28A0092B-C50C-407E-A947-70E740481C1C}">
                  <a14:useLocalDpi xmlns:a14="http://schemas.microsoft.com/office/drawing/2010/main"/>
                </a:ext>
              </a:extLst>
            </a:blip>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301844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extLst>
                <a:ext uri="{28A0092B-C50C-407E-A947-70E740481C1C}">
                  <a14:useLocalDpi xmlns:a14="http://schemas.microsoft.com/office/drawing/2010/main"/>
                </a:ext>
              </a:extLst>
            </a:blip>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5658930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2853678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5"/>
            </a:solidFill>
          </a:ln>
        </p:spPr>
        <p:txBody>
          <a:bodyPr wrap="square" lIns="182880" tIns="182880" rIns="182880" bIns="182880" anchor="t" anchorCtr="0">
            <a:noAutofit/>
          </a:bodyPr>
          <a:lstStyle>
            <a:lvl1pPr marL="0" indent="0">
              <a:buNone/>
              <a:defRPr sz="1122">
                <a:gradFill>
                  <a:gsLst>
                    <a:gs pos="82000">
                      <a:schemeClr val="accent5"/>
                    </a:gs>
                    <a:gs pos="0">
                      <a:schemeClr val="accent5"/>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5"/>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5"/>
                    </a:gs>
                    <a:gs pos="0">
                      <a:schemeClr val="accent5"/>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1265474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13" name="Graphic 12">
            <a:extLst>
              <a:ext uri="{FF2B5EF4-FFF2-40B4-BE49-F238E27FC236}">
                <a16:creationId xmlns:a16="http://schemas.microsoft.com/office/drawing/2014/main" id="{1A457A6F-4F3B-4634-AE7D-D23DC9778F9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72978" y="462966"/>
            <a:ext cx="690136" cy="690126"/>
          </a:xfrm>
          <a:prstGeom prst="rect">
            <a:avLst/>
          </a:prstGeom>
        </p:spPr>
      </p:pic>
    </p:spTree>
    <p:extLst>
      <p:ext uri="{BB962C8B-B14F-4D97-AF65-F5344CB8AC3E}">
        <p14:creationId xmlns:p14="http://schemas.microsoft.com/office/powerpoint/2010/main" val="19019377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4632821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extLst>
                <a:ext uri="{28A0092B-C50C-407E-A947-70E740481C1C}">
                  <a14:useLocalDpi xmlns:a14="http://schemas.microsoft.com/office/drawing/2010/main"/>
                </a:ext>
              </a:extLst>
            </a:blip>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401312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extLst>
                <a:ext uri="{28A0092B-C50C-407E-A947-70E740481C1C}">
                  <a14:useLocalDpi xmlns:a14="http://schemas.microsoft.com/office/drawing/2010/main"/>
                </a:ext>
              </a:extLst>
            </a:blip>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3261536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7882639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96876" y="2480215"/>
            <a:ext cx="4243405" cy="1017048"/>
          </a:xfrm>
          <a:noFill/>
        </p:spPr>
        <p:txBody>
          <a:bodyPr wrap="square"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96876" y="3951630"/>
            <a:ext cx="4243405"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456020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6"/>
            </a:solidFill>
          </a:ln>
        </p:spPr>
        <p:txBody>
          <a:bodyPr wrap="square" lIns="182880" tIns="182880" rIns="182880" bIns="182880" anchor="t" anchorCtr="0">
            <a:noAutofit/>
          </a:bodyPr>
          <a:lstStyle>
            <a:lvl1pPr marL="0" indent="0">
              <a:buNone/>
              <a:defRPr sz="1122">
                <a:gradFill>
                  <a:gsLst>
                    <a:gs pos="82000">
                      <a:schemeClr val="accent6"/>
                    </a:gs>
                    <a:gs pos="0">
                      <a:schemeClr val="accent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6"/>
                    </a:gs>
                    <a:gs pos="0">
                      <a:schemeClr val="accent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532387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gradFill>
                  <a:gsLst>
                    <a:gs pos="50000">
                      <a:schemeClr val="tx1"/>
                    </a:gs>
                    <a:gs pos="100000">
                      <a:schemeClr val="tx1"/>
                    </a:gs>
                  </a:gsLst>
                  <a:lin ang="10800000" scaled="1"/>
                </a:gradFill>
                <a:latin typeface="+mn-lt"/>
              </a:defRPr>
            </a:lvl1pPr>
            <a:lvl2pPr>
              <a:defRPr sz="2856">
                <a:gradFill>
                  <a:gsLst>
                    <a:gs pos="50000">
                      <a:schemeClr val="tx1"/>
                    </a:gs>
                    <a:gs pos="100000">
                      <a:schemeClr val="tx1"/>
                    </a:gs>
                  </a:gsLst>
                  <a:lin ang="10800000" scaled="1"/>
                </a:gradFill>
                <a:latin typeface="+mn-lt"/>
              </a:defRPr>
            </a:lvl2pPr>
            <a:lvl3pPr>
              <a:defRPr sz="2448">
                <a:gradFill>
                  <a:gsLst>
                    <a:gs pos="50000">
                      <a:schemeClr val="tx1"/>
                    </a:gs>
                    <a:gs pos="100000">
                      <a:schemeClr val="tx1"/>
                    </a:gs>
                  </a:gsLst>
                  <a:lin ang="10800000" scaled="1"/>
                </a:gradFill>
                <a:latin typeface="+mn-lt"/>
              </a:defRPr>
            </a:lvl3pPr>
            <a:lvl4pPr>
              <a:defRPr sz="2040">
                <a:gradFill>
                  <a:gsLst>
                    <a:gs pos="50000">
                      <a:schemeClr val="tx1"/>
                    </a:gs>
                    <a:gs pos="100000">
                      <a:schemeClr val="tx1"/>
                    </a:gs>
                  </a:gsLst>
                  <a:lin ang="10800000" scaled="1"/>
                </a:gradFill>
                <a:latin typeface="+mn-lt"/>
              </a:defRPr>
            </a:lvl4pPr>
            <a:lvl5pPr>
              <a:defRPr sz="1836">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2815296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99982" y="2932237"/>
            <a:ext cx="4241959" cy="1130053"/>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988574" y="-10717"/>
            <a:ext cx="5453216" cy="5854669"/>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2624587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080595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D35DB-9503-404C-8547-CCFCA420065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CA5C83E-8FE5-48F9-AC90-421D95F3A33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DE50E02-8C91-48CD-9699-DD6771111CCD}"/>
              </a:ext>
            </a:extLst>
          </p:cNvPr>
          <p:cNvSpPr>
            <a:spLocks noGrp="1"/>
          </p:cNvSpPr>
          <p:nvPr>
            <p:ph type="dt" sz="half" idx="10"/>
          </p:nvPr>
        </p:nvSpPr>
        <p:spPr/>
        <p:txBody>
          <a:bodyPr/>
          <a:lstStyle/>
          <a:p>
            <a:fld id="{E660FD79-863E-428E-91A8-1DE0680E7FCF}" type="datetimeFigureOut">
              <a:rPr lang="en-US" smtClean="0"/>
              <a:t>9/16/2022</a:t>
            </a:fld>
            <a:endParaRPr lang="en-US"/>
          </a:p>
        </p:txBody>
      </p:sp>
      <p:sp>
        <p:nvSpPr>
          <p:cNvPr id="5" name="Footer Placeholder 4">
            <a:extLst>
              <a:ext uri="{FF2B5EF4-FFF2-40B4-BE49-F238E27FC236}">
                <a16:creationId xmlns:a16="http://schemas.microsoft.com/office/drawing/2014/main" id="{8A47F970-D67C-4041-A4DB-F7A308080C4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59750B8-032B-442E-AAAF-653D6A48A3E6}"/>
              </a:ext>
            </a:extLst>
          </p:cNvPr>
          <p:cNvSpPr>
            <a:spLocks noGrp="1"/>
          </p:cNvSpPr>
          <p:nvPr>
            <p:ph type="sldNum" sz="quarter" idx="12"/>
          </p:nvPr>
        </p:nvSpPr>
        <p:spPr/>
        <p:txBody>
          <a:bodyPr/>
          <a:lstStyle/>
          <a:p>
            <a:fld id="{EBBE88A8-3403-42AB-870F-11979CF50B97}" type="slidenum">
              <a:rPr lang="en-US" smtClean="0"/>
              <a:t>‹#›</a:t>
            </a:fld>
            <a:endParaRPr lang="en-US"/>
          </a:p>
        </p:txBody>
      </p:sp>
    </p:spTree>
    <p:extLst>
      <p:ext uri="{BB962C8B-B14F-4D97-AF65-F5344CB8AC3E}">
        <p14:creationId xmlns:p14="http://schemas.microsoft.com/office/powerpoint/2010/main" val="3721063704"/>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14" name="Picture 13" descr="A person standing in front of a crowd of people&#10;&#10;Description generated with very high confidence">
            <a:extLst>
              <a:ext uri="{FF2B5EF4-FFF2-40B4-BE49-F238E27FC236}">
                <a16:creationId xmlns:a16="http://schemas.microsoft.com/office/drawing/2014/main" id="{52E04D2A-A102-4FB4-9EB2-2528D835534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4658" r="18785"/>
          <a:stretch/>
        </p:blipFill>
        <p:spPr>
          <a:xfrm>
            <a:off x="5440264" y="1"/>
            <a:ext cx="6994624" cy="6994525"/>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95838" y="597451"/>
            <a:ext cx="1393662" cy="298433"/>
          </a:xfrm>
          <a:prstGeom prst="rect">
            <a:avLst/>
          </a:prstGeom>
        </p:spPr>
      </p:pic>
      <p:sp>
        <p:nvSpPr>
          <p:cNvPr id="6" name="Rectangle 5">
            <a:extLst>
              <a:ext uri="{FF2B5EF4-FFF2-40B4-BE49-F238E27FC236}">
                <a16:creationId xmlns:a16="http://schemas.microsoft.com/office/drawing/2014/main" id="{CFE31C9C-000F-4838-A032-A3DC29B70B7C}"/>
              </a:ext>
            </a:extLst>
          </p:cNvPr>
          <p:cNvSpPr/>
          <p:nvPr userDrawn="1"/>
        </p:nvSpPr>
        <p:spPr bwMode="gray">
          <a:xfrm rot="5400000">
            <a:off x="8631050" y="3167433"/>
            <a:ext cx="636307" cy="7017884"/>
          </a:xfrm>
          <a:prstGeom prst="rect">
            <a:avLst/>
          </a:prstGeom>
          <a:solidFill>
            <a:srgbClr val="00B6C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useBgFill="1">
        <p:nvSpPr>
          <p:cNvPr id="9" name="Rectangle 8">
            <a:extLst>
              <a:ext uri="{FF2B5EF4-FFF2-40B4-BE49-F238E27FC236}">
                <a16:creationId xmlns:a16="http://schemas.microsoft.com/office/drawing/2014/main" id="{62B7779F-2AC0-4105-A02C-39B800AFE82C}"/>
              </a:ext>
            </a:extLst>
          </p:cNvPr>
          <p:cNvSpPr/>
          <p:nvPr userDrawn="1"/>
        </p:nvSpPr>
        <p:spPr bwMode="auto">
          <a:xfrm>
            <a:off x="11739977" y="0"/>
            <a:ext cx="107607" cy="6393840"/>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useBgFill="1">
        <p:nvSpPr>
          <p:cNvPr id="10" name="Rectangle 9">
            <a:extLst>
              <a:ext uri="{FF2B5EF4-FFF2-40B4-BE49-F238E27FC236}">
                <a16:creationId xmlns:a16="http://schemas.microsoft.com/office/drawing/2014/main" id="{E80B1D73-ECB6-4B46-A03F-E32563F80D42}"/>
              </a:ext>
            </a:extLst>
          </p:cNvPr>
          <p:cNvSpPr/>
          <p:nvPr userDrawn="1"/>
        </p:nvSpPr>
        <p:spPr bwMode="auto">
          <a:xfrm rot="5400000">
            <a:off x="8902575" y="2838268"/>
            <a:ext cx="93261" cy="7017882"/>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useBgFill="1">
        <p:nvSpPr>
          <p:cNvPr id="11" name="Rectangle 10">
            <a:extLst>
              <a:ext uri="{FF2B5EF4-FFF2-40B4-BE49-F238E27FC236}">
                <a16:creationId xmlns:a16="http://schemas.microsoft.com/office/drawing/2014/main" id="{7CD41840-B1F4-415D-95DA-CAB5BCFED1EF}"/>
              </a:ext>
            </a:extLst>
          </p:cNvPr>
          <p:cNvSpPr/>
          <p:nvPr userDrawn="1"/>
        </p:nvSpPr>
        <p:spPr bwMode="auto">
          <a:xfrm rot="5400000">
            <a:off x="12101571" y="1458079"/>
            <a:ext cx="93262" cy="619889"/>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88A4D4D5-45AE-4E0F-BE15-E4307FB65CEB}"/>
              </a:ext>
            </a:extLst>
          </p:cNvPr>
          <p:cNvSpPr/>
          <p:nvPr userDrawn="1"/>
        </p:nvSpPr>
        <p:spPr bwMode="gray">
          <a:xfrm rot="5400000">
            <a:off x="11284145" y="547394"/>
            <a:ext cx="1721391" cy="62660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215522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520" userDrawn="1">
          <p15:clr>
            <a:srgbClr val="5ACBF0"/>
          </p15:clr>
        </p15:guide>
        <p15:guide id="3" pos="3360" userDrawn="1">
          <p15:clr>
            <a:srgbClr val="FBAE4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13" name="Picture 12" descr="A group of people looking at each other&#10;&#10;Description generated with very high confidence">
            <a:extLst>
              <a:ext uri="{FF2B5EF4-FFF2-40B4-BE49-F238E27FC236}">
                <a16:creationId xmlns:a16="http://schemas.microsoft.com/office/drawing/2014/main" id="{F6AE7AF2-F883-4396-B322-86E04E27671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6500" t="1411" r="27881"/>
          <a:stretch/>
        </p:blipFill>
        <p:spPr>
          <a:xfrm>
            <a:off x="5440259" y="1"/>
            <a:ext cx="6994629" cy="6994525"/>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95838" y="597451"/>
            <a:ext cx="1393662" cy="298433"/>
          </a:xfrm>
          <a:prstGeom prst="rect">
            <a:avLst/>
          </a:prstGeom>
        </p:spPr>
      </p:pic>
      <p:sp>
        <p:nvSpPr>
          <p:cNvPr id="9" name="Title 1"/>
          <p:cNvSpPr>
            <a:spLocks noGrp="1"/>
          </p:cNvSpPr>
          <p:nvPr>
            <p:ph type="title" hasCustomPrompt="1"/>
          </p:nvPr>
        </p:nvSpPr>
        <p:spPr>
          <a:xfrm>
            <a:off x="595839" y="3039098"/>
            <a:ext cx="4726670" cy="565027"/>
          </a:xfrm>
          <a:noFill/>
        </p:spPr>
        <p:txBody>
          <a:bodyPr wrap="square"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839" y="4041282"/>
            <a:ext cx="4726670"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useBgFill="1">
        <p:nvSpPr>
          <p:cNvPr id="12" name="Rectangle 11">
            <a:extLst>
              <a:ext uri="{FF2B5EF4-FFF2-40B4-BE49-F238E27FC236}">
                <a16:creationId xmlns:a16="http://schemas.microsoft.com/office/drawing/2014/main" id="{48DC9EAB-5D7E-4B89-BED3-34E855A13869}"/>
              </a:ext>
            </a:extLst>
          </p:cNvPr>
          <p:cNvSpPr/>
          <p:nvPr userDrawn="1"/>
        </p:nvSpPr>
        <p:spPr bwMode="auto">
          <a:xfrm rot="5400000">
            <a:off x="12078311" y="332805"/>
            <a:ext cx="93262" cy="619889"/>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a:extLst>
              <a:ext uri="{FF2B5EF4-FFF2-40B4-BE49-F238E27FC236}">
                <a16:creationId xmlns:a16="http://schemas.microsoft.com/office/drawing/2014/main" id="{22AACB8E-312E-448F-A464-16CD71EA2738}"/>
              </a:ext>
            </a:extLst>
          </p:cNvPr>
          <p:cNvGrpSpPr/>
          <p:nvPr userDrawn="1"/>
        </p:nvGrpSpPr>
        <p:grpSpPr bwMode="gray">
          <a:xfrm rot="10800000" flipH="1" flipV="1">
            <a:off x="5440261" y="1"/>
            <a:ext cx="7017886" cy="6994528"/>
            <a:chOff x="5333997" y="0"/>
            <a:chExt cx="6880807" cy="6858003"/>
          </a:xfrm>
        </p:grpSpPr>
        <p:sp useBgFill="1">
          <p:nvSpPr>
            <p:cNvPr id="14" name="Rectangle 13">
              <a:extLst>
                <a:ext uri="{FF2B5EF4-FFF2-40B4-BE49-F238E27FC236}">
                  <a16:creationId xmlns:a16="http://schemas.microsoft.com/office/drawing/2014/main" id="{28F8D513-A270-4BAA-A3D1-0A14F46A77BC}"/>
                </a:ext>
              </a:extLst>
            </p:cNvPr>
            <p:cNvSpPr/>
            <p:nvPr userDrawn="1"/>
          </p:nvSpPr>
          <p:spPr bwMode="gray">
            <a:xfrm>
              <a:off x="11510662" y="0"/>
              <a:ext cx="105505" cy="6269040"/>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useBgFill="1">
          <p:nvSpPr>
            <p:cNvPr id="15" name="Rectangle 14">
              <a:extLst>
                <a:ext uri="{FF2B5EF4-FFF2-40B4-BE49-F238E27FC236}">
                  <a16:creationId xmlns:a16="http://schemas.microsoft.com/office/drawing/2014/main" id="{8ADA99F4-FF17-414C-8F5F-F2A462F8552F}"/>
                </a:ext>
              </a:extLst>
            </p:cNvPr>
            <p:cNvSpPr/>
            <p:nvPr userDrawn="1"/>
          </p:nvSpPr>
          <p:spPr bwMode="gray">
            <a:xfrm rot="5400000">
              <a:off x="11865192" y="1429623"/>
              <a:ext cx="91442" cy="607781"/>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146D41D7-81BF-415E-BF8E-FB1E0066D1DF}"/>
                </a:ext>
              </a:extLst>
            </p:cNvPr>
            <p:cNvSpPr/>
            <p:nvPr userDrawn="1"/>
          </p:nvSpPr>
          <p:spPr bwMode="gray">
            <a:xfrm rot="5400000">
              <a:off x="11063721" y="536713"/>
              <a:ext cx="1687791" cy="61437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04D84583-F3DB-49DA-8523-8903907084F8}"/>
                </a:ext>
              </a:extLst>
            </p:cNvPr>
            <p:cNvSpPr/>
            <p:nvPr userDrawn="1"/>
          </p:nvSpPr>
          <p:spPr bwMode="gray">
            <a:xfrm rot="5400000">
              <a:off x="8462456" y="3105657"/>
              <a:ext cx="623887" cy="6880806"/>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useBgFill="1">
          <p:nvSpPr>
            <p:cNvPr id="21" name="Rectangle 20">
              <a:extLst>
                <a:ext uri="{FF2B5EF4-FFF2-40B4-BE49-F238E27FC236}">
                  <a16:creationId xmlns:a16="http://schemas.microsoft.com/office/drawing/2014/main" id="{5F74D8E8-4A0F-49AF-A3C9-0E381C408862}"/>
                </a:ext>
              </a:extLst>
            </p:cNvPr>
            <p:cNvSpPr/>
            <p:nvPr userDrawn="1"/>
          </p:nvSpPr>
          <p:spPr bwMode="gray">
            <a:xfrm rot="5400000">
              <a:off x="8728681" y="2782917"/>
              <a:ext cx="91441" cy="6880804"/>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25176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18" userDrawn="1">
          <p15:clr>
            <a:srgbClr val="5ACBF0"/>
          </p15:clr>
        </p15:guide>
        <p15:guide id="4" orient="horz" pos="2160" userDrawn="1">
          <p15:clr>
            <a:srgbClr val="FBAE4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073644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9982" y="466303"/>
            <a:ext cx="11238030" cy="627807"/>
          </a:xfrm>
        </p:spPr>
        <p:txBody>
          <a:bodyPr/>
          <a:lstStyle>
            <a:lvl1pPr>
              <a:defRPr sz="4080"/>
            </a:lvl1pPr>
          </a:lstStyle>
          <a:p>
            <a:r>
              <a:rPr lang="en-US"/>
              <a:t>Click to edit Master title style</a:t>
            </a:r>
          </a:p>
        </p:txBody>
      </p:sp>
      <p:sp>
        <p:nvSpPr>
          <p:cNvPr id="3" name="Text Placeholder 2"/>
          <p:cNvSpPr>
            <a:spLocks noGrp="1"/>
          </p:cNvSpPr>
          <p:nvPr>
            <p:ph type="body" sz="quarter" idx="10"/>
          </p:nvPr>
        </p:nvSpPr>
        <p:spPr>
          <a:xfrm>
            <a:off x="595839" y="1464075"/>
            <a:ext cx="11238030" cy="1895977"/>
          </a:xfrm>
        </p:spPr>
        <p:txBody>
          <a:bodyPr/>
          <a:lstStyle>
            <a:lvl1pPr>
              <a:defRPr sz="3264"/>
            </a:lvl1pPr>
            <a:lvl2pPr>
              <a:defRPr sz="2448"/>
            </a:lvl2pPr>
            <a:lvl3pPr>
              <a:defRPr sz="1836"/>
            </a:lvl3pPr>
            <a:lvl4pPr>
              <a:defRPr sz="1632"/>
            </a:lvl4pPr>
            <a:lvl5pPr>
              <a:defRPr sz="163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1539808"/>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45427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4272711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734650" y="1705789"/>
            <a:ext cx="6009158" cy="3582949"/>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935790" y="1920351"/>
            <a:ext cx="5606879" cy="3153825"/>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95839" y="1705788"/>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76836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6098"/>
            <a:ext cx="5315915" cy="1682523"/>
          </a:xfrm>
        </p:spPr>
        <p:txBody>
          <a:bodyPr wrap="square">
            <a:spAutoFit/>
          </a:bodyPr>
          <a:lstStyle>
            <a:lvl1pPr marL="236363" indent="-236363">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492" indent="-174845">
              <a:buFont typeface="Wingdings" panose="05000000000000000000" pitchFamily="2" charset="2"/>
              <a:buChar char=""/>
              <a:defRPr sz="2040" b="0"/>
            </a:lvl2pPr>
            <a:lvl3pPr marL="652429" indent="-192653">
              <a:buFont typeface="Wingdings" panose="05000000000000000000" pitchFamily="2" charset="2"/>
              <a:buChar char=""/>
              <a:tabLst/>
              <a:defRPr sz="1632" b="0"/>
            </a:lvl3pPr>
            <a:lvl4pPr marL="845081" indent="-179702">
              <a:buFont typeface="Wingdings" panose="05000000000000000000" pitchFamily="2" charset="2"/>
              <a:buChar char=""/>
              <a:defRPr sz="1428" b="0"/>
            </a:lvl4pPr>
            <a:lvl5pPr marL="1044210" indent="-173226">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7214" y="1466098"/>
            <a:ext cx="5315915" cy="1682523"/>
          </a:xfrm>
        </p:spPr>
        <p:txBody>
          <a:bodyPr wrap="square">
            <a:spAutoFit/>
          </a:bodyPr>
          <a:lstStyle>
            <a:lvl1pPr marL="236363" indent="-236363">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492" indent="-174845">
              <a:buFont typeface="Wingdings" panose="05000000000000000000" pitchFamily="2" charset="2"/>
              <a:buChar char=""/>
              <a:defRPr sz="2040" b="0"/>
            </a:lvl2pPr>
            <a:lvl3pPr marL="652429" indent="-192653">
              <a:buFont typeface="Wingdings" panose="05000000000000000000" pitchFamily="2" charset="2"/>
              <a:buChar char=""/>
              <a:tabLst/>
              <a:defRPr sz="1632" b="0"/>
            </a:lvl3pPr>
            <a:lvl4pPr marL="845081" indent="-179702">
              <a:buFont typeface="Wingdings" panose="05000000000000000000" pitchFamily="2" charset="2"/>
              <a:buChar char=""/>
              <a:defRPr sz="1428" b="0"/>
            </a:lvl4pPr>
            <a:lvl5pPr marL="1044210" indent="-173226">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082472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72226697"/>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55926425"/>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6358606"/>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840" y="2065977"/>
            <a:ext cx="4244895" cy="1130053"/>
          </a:xfrm>
        </p:spPr>
        <p:txBody>
          <a:bodyPr wrap="square" rIns="0" anchor="b">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13904"/>
          </a:xfrm>
        </p:spPr>
        <p:txBody>
          <a:bodyPr/>
          <a:lstStyle>
            <a:lvl1pPr marL="0" indent="0">
              <a:buNone/>
              <a:defRPr sz="2040">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40264" y="1"/>
            <a:ext cx="6994624"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97956405"/>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6" orient="horz" pos="904" userDrawn="1">
          <p15:clr>
            <a:srgbClr val="5ACBF0"/>
          </p15:clr>
        </p15:guide>
        <p15:guide id="7" orient="horz" pos="1276"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662" y="2932237"/>
            <a:ext cx="4244895" cy="1130053"/>
          </a:xfrm>
        </p:spPr>
        <p:txBody>
          <a:bodyPr wrap="square" rIns="0" anchor="ctr" anchorCtr="0">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440264" y="1"/>
            <a:ext cx="6994624"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64086195"/>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5" orient="horz" pos="2160" userDrawn="1">
          <p15:clr>
            <a:srgbClr val="FBAE4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839" y="3040994"/>
            <a:ext cx="4243405" cy="878930"/>
          </a:xfrm>
        </p:spPr>
        <p:txBody>
          <a:bodyPr wrap="square" anchor="t">
            <a:spAutoFit/>
          </a:bodyPr>
          <a:lstStyle>
            <a:lvl1pPr>
              <a:lnSpc>
                <a:spcPct val="100000"/>
              </a:lnSpc>
              <a:defRPr sz="2856"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a:t>
            </a:r>
            <a:br>
              <a:rPr lang="en-US"/>
            </a:br>
            <a:r>
              <a:rPr lang="en-US"/>
              <a:t>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440264" y="1"/>
            <a:ext cx="6994624"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54559349"/>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7339981"/>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4" userDrawn="1">
          <p15:clr>
            <a:srgbClr val="5ACBF0"/>
          </p15:clr>
        </p15:guide>
        <p15:guide id="3" orient="horz" pos="288" userDrawn="1">
          <p15:clr>
            <a:srgbClr val="5ACBF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14"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18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690"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805"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0501347"/>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Tree>
    <p:extLst>
      <p:ext uri="{BB962C8B-B14F-4D97-AF65-F5344CB8AC3E}">
        <p14:creationId xmlns:p14="http://schemas.microsoft.com/office/powerpoint/2010/main" val="16026233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53414" indent="0">
              <a:buNone/>
              <a:defRPr sz="2448">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96181" indent="0">
              <a:buNone/>
              <a:defRPr sz="204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30690"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71805"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1641191"/>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79135358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839" y="1464074"/>
            <a:ext cx="11238030"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548521"/>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7139394"/>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2"/>
            <a:ext cx="4247550"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14" name="Picture 13" descr="Man looking at Dynamics 365 on computer" title="Microsoft brand photo">
            <a:extLst>
              <a:ext uri="{FF2B5EF4-FFF2-40B4-BE49-F238E27FC236}">
                <a16:creationId xmlns:a16="http://schemas.microsoft.com/office/drawing/2014/main" id="{66D160DD-27D8-44D5-96E3-610DCDC61DF6}"/>
              </a:ext>
            </a:extLst>
          </p:cNvPr>
          <p:cNvPicPr>
            <a:picLocks noChangeAspect="1"/>
          </p:cNvPicPr>
          <p:nvPr userDrawn="1"/>
        </p:nvPicPr>
        <p:blipFill rotWithShape="1">
          <a:blip r:embed="rId3"/>
          <a:srcRect l="3433" t="16835" r="45677" b="6829"/>
          <a:stretch/>
        </p:blipFill>
        <p:spPr>
          <a:xfrm>
            <a:off x="5440264" y="1"/>
            <a:ext cx="6994624" cy="6994525"/>
          </a:xfrm>
          <a:prstGeom prst="rect">
            <a:avLst/>
          </a:prstGeom>
        </p:spPr>
      </p:pic>
    </p:spTree>
    <p:extLst>
      <p:ext uri="{BB962C8B-B14F-4D97-AF65-F5344CB8AC3E}">
        <p14:creationId xmlns:p14="http://schemas.microsoft.com/office/powerpoint/2010/main" val="31621604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FBAE40"/>
          </p15:clr>
        </p15:guide>
        <p15:guide id="5" orient="horz" pos="2160" userDrawn="1">
          <p15:clr>
            <a:srgbClr val="FBAE40"/>
          </p15:clr>
        </p15:guide>
        <p15:guide id="6" orient="horz" pos="2229" userDrawn="1">
          <p15:clr>
            <a:srgbClr val="5ACBF0"/>
          </p15:clr>
        </p15:guide>
        <p15:guide id="7" pos="3000" userDrawn="1">
          <p15:clr>
            <a:srgbClr val="5ACBF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userDrawn="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652831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380751" y="-22273"/>
            <a:ext cx="6050265" cy="7027210"/>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Tree>
    <p:extLst>
      <p:ext uri="{BB962C8B-B14F-4D97-AF65-F5344CB8AC3E}">
        <p14:creationId xmlns:p14="http://schemas.microsoft.com/office/powerpoint/2010/main" val="3579638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showMasterSp="0" userDrawn="1">
  <p:cSld name="3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B8F8AB5-FB80-42FF-814A-B6A17F9A6099}"/>
              </a:ext>
            </a:extLst>
          </p:cNvPr>
          <p:cNvSpPr>
            <a:spLocks noGrp="1"/>
          </p:cNvSpPr>
          <p:nvPr>
            <p:ph type="ctrTitle" hasCustomPrompt="1"/>
          </p:nvPr>
        </p:nvSpPr>
        <p:spPr>
          <a:xfrm>
            <a:off x="945305" y="2416391"/>
            <a:ext cx="9326166" cy="1883336"/>
          </a:xfrm>
        </p:spPr>
        <p:txBody>
          <a:bodyPr anchor="ctr" anchorCtr="0"/>
          <a:lstStyle>
            <a:lvl1pPr algn="l">
              <a:defRPr sz="6118">
                <a:solidFill>
                  <a:schemeClr val="tx1"/>
                </a:solidFill>
              </a:defRPr>
            </a:lvl1pPr>
          </a:lstStyle>
          <a:p>
            <a:r>
              <a:rPr lang="en-US"/>
              <a:t>CLICK TO EDIT MASTER TITLE STYLE</a:t>
            </a:r>
          </a:p>
        </p:txBody>
      </p:sp>
      <p:pic>
        <p:nvPicPr>
          <p:cNvPr id="4" name="Picture 3">
            <a:extLst>
              <a:ext uri="{FF2B5EF4-FFF2-40B4-BE49-F238E27FC236}">
                <a16:creationId xmlns:a16="http://schemas.microsoft.com/office/drawing/2014/main" id="{70A65832-E4EF-489D-9146-48B7A8201EF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122" y="6361685"/>
            <a:ext cx="1719197" cy="736787"/>
          </a:xfrm>
          <a:prstGeom prst="rect">
            <a:avLst/>
          </a:prstGeom>
        </p:spPr>
      </p:pic>
      <p:pic>
        <p:nvPicPr>
          <p:cNvPr id="5" name="Picture 4">
            <a:extLst>
              <a:ext uri="{FF2B5EF4-FFF2-40B4-BE49-F238E27FC236}">
                <a16:creationId xmlns:a16="http://schemas.microsoft.com/office/drawing/2014/main" id="{EA5069C3-D356-4F6D-880F-570A581ADE6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0647373" y="6361685"/>
            <a:ext cx="1719195" cy="736787"/>
          </a:xfrm>
          <a:prstGeom prst="rect">
            <a:avLst/>
          </a:prstGeom>
        </p:spPr>
      </p:pic>
    </p:spTree>
    <p:extLst>
      <p:ext uri="{BB962C8B-B14F-4D97-AF65-F5344CB8AC3E}">
        <p14:creationId xmlns:p14="http://schemas.microsoft.com/office/powerpoint/2010/main" val="2290318599"/>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a:srcRect l="32559" r="10791"/>
          <a:stretch/>
        </p:blipFill>
        <p:spPr bwMode="ltGray">
          <a:xfrm>
            <a:off x="5440265" y="1"/>
            <a:ext cx="6994624" cy="6994525"/>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12168380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a:srcRect l="32559" r="10791"/>
          <a:stretch/>
        </p:blipFill>
        <p:spPr bwMode="ltGray">
          <a:xfrm>
            <a:off x="5440265" y="1"/>
            <a:ext cx="6994624" cy="6994525"/>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38183008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60"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22659903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16706213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9115767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3685584"/>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081" indent="0">
              <a:buNone/>
              <a:defRPr/>
            </a:lvl2pPr>
            <a:lvl3pPr marL="466162" indent="0">
              <a:buNone/>
              <a:defRPr/>
            </a:lvl3pPr>
            <a:lvl4pPr marL="699243" indent="0">
              <a:buNone/>
              <a:defRPr/>
            </a:lvl4pPr>
            <a:lvl5pPr marL="9323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784549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40" y="1463670"/>
            <a:ext cx="5315592"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70"/>
            <a:ext cx="5323687"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0719484"/>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guide id="4" pos="3660" userDrawn="1">
          <p15:clr>
            <a:srgbClr val="5ACBF0"/>
          </p15:clr>
        </p15:guide>
        <p15:guide id="5" pos="4022" userDrawn="1">
          <p15:clr>
            <a:srgbClr val="5ACBF0"/>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2"/>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7"/>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598" indent="0">
              <a:buFont typeface="Wingdings" panose="05000000000000000000" pitchFamily="2" charset="2"/>
              <a:buNone/>
              <a:defRPr sz="2040" b="0"/>
            </a:lvl2pPr>
            <a:lvl3pPr marL="459688" indent="0">
              <a:buFont typeface="Wingdings" panose="05000000000000000000" pitchFamily="2" charset="2"/>
              <a:buNone/>
              <a:tabLst/>
              <a:defRPr sz="1632" b="0"/>
            </a:lvl3pPr>
            <a:lvl4pPr marL="665252" indent="0">
              <a:buFont typeface="Wingdings" panose="05000000000000000000" pitchFamily="2" charset="2"/>
              <a:buNone/>
              <a:defRPr sz="1428" b="0"/>
            </a:lvl4pPr>
            <a:lvl5pPr marL="870817"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7" y="1463670"/>
            <a:ext cx="5315915" cy="1682523"/>
          </a:xfrm>
        </p:spPr>
        <p:txBody>
          <a:bodyPr wrap="square">
            <a:spAutoFit/>
          </a:bodyPr>
          <a:lstStyle>
            <a:lvl1pPr marL="0" indent="0">
              <a:spcBef>
                <a:spcPts val="1247"/>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598" indent="0">
              <a:buFont typeface="Wingdings" panose="05000000000000000000" pitchFamily="2" charset="2"/>
              <a:buNone/>
              <a:defRPr sz="2040" b="0"/>
            </a:lvl2pPr>
            <a:lvl3pPr marL="459688" indent="0">
              <a:buFont typeface="Wingdings" panose="05000000000000000000" pitchFamily="2" charset="2"/>
              <a:buNone/>
              <a:tabLst/>
              <a:defRPr sz="1632" b="0"/>
            </a:lvl3pPr>
            <a:lvl4pPr marL="665252" indent="0">
              <a:buFont typeface="Wingdings" panose="05000000000000000000" pitchFamily="2" charset="2"/>
              <a:buNone/>
              <a:defRPr sz="1428" b="0"/>
            </a:lvl4pPr>
            <a:lvl5pPr marL="870817"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929172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guide id="4" pos="3656" userDrawn="1">
          <p15:clr>
            <a:srgbClr val="5ACBF0"/>
          </p15:clr>
        </p15:guide>
        <p15:guide id="5" pos="4022" userDrawn="1">
          <p15:clr>
            <a:srgbClr val="5ACBF0"/>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7934669"/>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105219552"/>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5"/>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081" indent="0">
              <a:buNone/>
              <a:defRPr/>
            </a:lvl2pPr>
            <a:lvl3pPr marL="466162" indent="0">
              <a:buNone/>
              <a:defRPr/>
            </a:lvl3pPr>
            <a:lvl4pPr marL="674964" indent="0">
              <a:buNone/>
              <a:defRPr/>
            </a:lvl4pPr>
            <a:lvl5pPr marL="872436"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5"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334996"/>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5"/>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5"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56780802"/>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4" y="3039060"/>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5"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6405160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1474008603"/>
      </p:ext>
    </p:extLst>
  </p:cSld>
  <p:clrMapOvr>
    <a:masterClrMapping/>
  </p:clrMapOvr>
  <p:transition>
    <p:fade/>
  </p:transition>
  <p:extLst>
    <p:ext uri="{DCECCB84-F9BA-43D5-87BE-67443E8EF086}">
      <p15:sldGuideLst xmlns:p15="http://schemas.microsoft.com/office/powerpoint/2012/main">
        <p15:guide id="1" orient="horz" pos="2304" userDrawn="1">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5532789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88724157"/>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3391179835"/>
      </p:ext>
    </p:extLst>
  </p:cSld>
  <p:clrMapOvr>
    <a:masterClrMapping/>
  </p:clrMapOvr>
  <p:transition>
    <p:fade/>
  </p:transition>
  <p:extLst>
    <p:ext uri="{DCECCB84-F9BA-43D5-87BE-67443E8EF086}">
      <p15:sldGuideLst xmlns:p15="http://schemas.microsoft.com/office/powerpoint/2012/main">
        <p15:guide id="7" pos="4103" userDrawn="1">
          <p15:clr>
            <a:srgbClr val="5ACBF0"/>
          </p15:clr>
        </p15:guide>
        <p15:guide id="8" orient="horz" pos="2160" userDrawn="1">
          <p15:clr>
            <a:srgbClr val="5ACBF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7"/>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2"/>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081" lvl="0" indent="-233081"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26000745"/>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5ACBF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2"/>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081" lvl="0" indent="-233081"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56699816"/>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5ACBF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3"/>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7"/>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081" lvl="0" indent="-233081"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7"/>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081" lvl="0" indent="-233081"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11019425"/>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3"/>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1" y="5802867"/>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1"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4" y="5802867"/>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5" y="5802867"/>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41077176"/>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3"/>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7"/>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8"/>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7"/>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8"/>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7"/>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8"/>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7"/>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8"/>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49741044"/>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6" y="2355797"/>
            <a:ext cx="3245419" cy="4038043"/>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5" y="2355794"/>
            <a:ext cx="7399396" cy="4038044"/>
          </a:xfrm>
        </p:spPr>
        <p:txBody>
          <a:bodyPr anchor="t">
            <a:noAutofit/>
          </a:bodyPr>
          <a:lstStyle>
            <a:lvl1pPr marL="0" indent="0">
              <a:spcAft>
                <a:spcPts val="816"/>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5"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4176894"/>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1272" userDrawn="1">
          <p15:clr>
            <a:srgbClr val="5ACBF0"/>
          </p15:clr>
        </p15:guide>
        <p15:guide id="30" pos="2376" userDrawn="1">
          <p15:clr>
            <a:srgbClr val="5ACBF0"/>
          </p15:clr>
        </p15:guide>
        <p15:guide id="32" orient="horz" pos="1455" userDrawn="1">
          <p15:clr>
            <a:srgbClr val="5ACBF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5" y="3213100"/>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6"/>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183631623"/>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5ACBF0"/>
          </p15:clr>
        </p15:guide>
        <p15:guide id="30" pos="2376" userDrawn="1">
          <p15:clr>
            <a:srgbClr val="5ACBF0"/>
          </p15:clr>
        </p15:guide>
        <p15:guide id="31" pos="3113" userDrawn="1">
          <p15:clr>
            <a:srgbClr val="5ACBF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026"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18078130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1735902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99982" y="3053050"/>
            <a:ext cx="11238030" cy="565027"/>
          </a:xfrm>
        </p:spPr>
        <p:txBody>
          <a:bodyPr/>
          <a:lstStyle/>
          <a:p>
            <a:r>
              <a:rPr lang="en-US"/>
              <a:t>Click to edit Master title style</a:t>
            </a:r>
          </a:p>
        </p:txBody>
      </p:sp>
    </p:spTree>
    <p:extLst>
      <p:ext uri="{BB962C8B-B14F-4D97-AF65-F5344CB8AC3E}">
        <p14:creationId xmlns:p14="http://schemas.microsoft.com/office/powerpoint/2010/main" val="135954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026"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663601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lstStyle/>
          <a:p>
            <a:r>
              <a:rPr lang="en-US"/>
              <a:t>Click to edit Master title style</a:t>
            </a:r>
          </a:p>
        </p:txBody>
      </p:sp>
    </p:spTree>
    <p:extLst>
      <p:ext uri="{BB962C8B-B14F-4D97-AF65-F5344CB8AC3E}">
        <p14:creationId xmlns:p14="http://schemas.microsoft.com/office/powerpoint/2010/main" val="10536579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4703977"/>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376960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72641" y="1164137"/>
            <a:ext cx="8476125" cy="5854671"/>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226023" y="2348967"/>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587462" y="5153596"/>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547910" y="5916856"/>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683131" y="1218680"/>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solidFill>
                <a:srgbClr val="FFFFFF"/>
              </a:solidFill>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902650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226023" y="2348967"/>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587462" y="5153596"/>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547910" y="5916856"/>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683131" y="1218680"/>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solidFill>
                <a:srgbClr val="FFFFFF"/>
              </a:solidFill>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72641" y="1164137"/>
            <a:ext cx="8476125" cy="5854671"/>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47513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56"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5"/>
            <a:ext cx="3730467" cy="2057515"/>
          </a:xfrm>
        </p:spPr>
        <p:txBody>
          <a:bodyPr>
            <a:noAutofit/>
          </a:bodyPr>
          <a:lstStyle>
            <a:lvl1pPr marL="0" indent="0">
              <a:lnSpc>
                <a:spcPct val="110000"/>
              </a:lnSpc>
              <a:spcBef>
                <a:spcPts val="0"/>
              </a:spcBef>
              <a:spcAft>
                <a:spcPts val="1224"/>
              </a:spcAft>
              <a:buNone/>
              <a:defRPr sz="1224">
                <a:gradFill flip="none" rotWithShape="1">
                  <a:gsLst>
                    <a:gs pos="82000">
                      <a:schemeClr val="bg1"/>
                    </a:gs>
                    <a:gs pos="0">
                      <a:schemeClr val="bg1"/>
                    </a:gs>
                  </a:gsLst>
                  <a:lin ang="2700000" scaled="1"/>
                  <a:tileRect/>
                </a:gradFill>
                <a:latin typeface="+mj-lt"/>
              </a:defRPr>
            </a:lvl1pPr>
            <a:lvl2pPr marL="233081" indent="0">
              <a:buNone/>
              <a:defRPr sz="1224">
                <a:gradFill flip="none" rotWithShape="1">
                  <a:gsLst>
                    <a:gs pos="82000">
                      <a:schemeClr val="bg1"/>
                    </a:gs>
                    <a:gs pos="0">
                      <a:schemeClr val="bg1"/>
                    </a:gs>
                  </a:gsLst>
                  <a:lin ang="2700000" scaled="1"/>
                  <a:tileRect/>
                </a:gradFill>
                <a:latin typeface="+mj-lt"/>
              </a:defRPr>
            </a:lvl2pPr>
            <a:lvl3pPr marL="466162" indent="0">
              <a:buNone/>
              <a:defRPr sz="1224">
                <a:gradFill flip="none" rotWithShape="1">
                  <a:gsLst>
                    <a:gs pos="82000">
                      <a:schemeClr val="bg1"/>
                    </a:gs>
                    <a:gs pos="0">
                      <a:schemeClr val="bg1"/>
                    </a:gs>
                  </a:gsLst>
                  <a:lin ang="2700000" scaled="1"/>
                  <a:tileRect/>
                </a:gradFill>
                <a:latin typeface="+mj-lt"/>
              </a:defRPr>
            </a:lvl3pPr>
            <a:lvl4pPr marL="674964" indent="0">
              <a:buNone/>
              <a:defRPr sz="1224">
                <a:gradFill flip="none" rotWithShape="1">
                  <a:gsLst>
                    <a:gs pos="82000">
                      <a:schemeClr val="bg1"/>
                    </a:gs>
                    <a:gs pos="0">
                      <a:schemeClr val="bg1"/>
                    </a:gs>
                  </a:gsLst>
                  <a:lin ang="2700000" scaled="1"/>
                  <a:tileRect/>
                </a:gradFill>
                <a:latin typeface="+mj-lt"/>
              </a:defRPr>
            </a:lvl4pPr>
            <a:lvl5pPr marL="872436"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553739600"/>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56"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5"/>
            <a:ext cx="3730467" cy="2057515"/>
          </a:xfrm>
        </p:spPr>
        <p:txBody>
          <a:bodyPr>
            <a:noAutofit/>
          </a:bodyPr>
          <a:lstStyle>
            <a:lvl1pPr marL="0" indent="0">
              <a:lnSpc>
                <a:spcPct val="110000"/>
              </a:lnSpc>
              <a:spcBef>
                <a:spcPts val="0"/>
              </a:spcBef>
              <a:spcAft>
                <a:spcPts val="1224"/>
              </a:spcAft>
              <a:buNone/>
              <a:defRPr sz="1224">
                <a:gradFill>
                  <a:gsLst>
                    <a:gs pos="100000">
                      <a:schemeClr val="tx1"/>
                    </a:gs>
                    <a:gs pos="0">
                      <a:schemeClr val="tx1"/>
                    </a:gs>
                  </a:gsLst>
                  <a:lin ang="5400000" scaled="0"/>
                </a:gradFill>
                <a:latin typeface="+mj-lt"/>
              </a:defRPr>
            </a:lvl1pPr>
            <a:lvl2pPr marL="233081" indent="0">
              <a:buNone/>
              <a:defRPr sz="1224">
                <a:gradFill flip="none" rotWithShape="1">
                  <a:gsLst>
                    <a:gs pos="82000">
                      <a:schemeClr val="bg1"/>
                    </a:gs>
                    <a:gs pos="0">
                      <a:schemeClr val="bg1"/>
                    </a:gs>
                  </a:gsLst>
                  <a:lin ang="2700000" scaled="1"/>
                  <a:tileRect/>
                </a:gradFill>
                <a:latin typeface="+mj-lt"/>
              </a:defRPr>
            </a:lvl2pPr>
            <a:lvl3pPr marL="466162" indent="0">
              <a:buNone/>
              <a:defRPr sz="1224">
                <a:gradFill flip="none" rotWithShape="1">
                  <a:gsLst>
                    <a:gs pos="82000">
                      <a:schemeClr val="bg1"/>
                    </a:gs>
                    <a:gs pos="0">
                      <a:schemeClr val="bg1"/>
                    </a:gs>
                  </a:gsLst>
                  <a:lin ang="2700000" scaled="1"/>
                  <a:tileRect/>
                </a:gradFill>
                <a:latin typeface="+mj-lt"/>
              </a:defRPr>
            </a:lvl3pPr>
            <a:lvl4pPr marL="674964" indent="0">
              <a:buNone/>
              <a:defRPr sz="1224">
                <a:gradFill flip="none" rotWithShape="1">
                  <a:gsLst>
                    <a:gs pos="82000">
                      <a:schemeClr val="bg1"/>
                    </a:gs>
                    <a:gs pos="0">
                      <a:schemeClr val="bg1"/>
                    </a:gs>
                  </a:gsLst>
                  <a:lin ang="2700000" scaled="1"/>
                  <a:tileRect/>
                </a:gradFill>
                <a:latin typeface="+mj-lt"/>
              </a:defRPr>
            </a:lvl4pPr>
            <a:lvl5pPr marL="872436"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760649656"/>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73491"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452170"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430849"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95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23892"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27739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40257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2552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38125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841504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507012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240942" y="1465289"/>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93312" y="1749259"/>
            <a:ext cx="7420597" cy="3286800"/>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73491"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452170"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430849"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28569926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964813" y="509181"/>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217445" y="745099"/>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99984" y="1866103"/>
            <a:ext cx="4492932" cy="1130053"/>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73491"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452170"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430849"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18685643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240942" y="1465289"/>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93312" y="1749260"/>
            <a:ext cx="7420597" cy="4174027"/>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275734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0"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95840" y="1465289"/>
            <a:ext cx="4808804" cy="1255614"/>
          </a:xfrm>
        </p:spPr>
        <p:txBody>
          <a:bodyPr wrap="square">
            <a:spAutoFit/>
          </a:bodyPr>
          <a:lstStyle>
            <a:lvl1pPr marL="0" indent="0">
              <a:spcBef>
                <a:spcPts val="1247"/>
              </a:spcBef>
              <a:buClr>
                <a:schemeClr val="tx1"/>
              </a:buClr>
              <a:buFont typeface="Wingdings" panose="05000000000000000000" pitchFamily="2" charset="2"/>
              <a:buNone/>
              <a:defRPr sz="2040" b="0">
                <a:latin typeface="+mn-lt"/>
                <a:cs typeface="Segoe UI" panose="020B0502040204020203" pitchFamily="34" charset="0"/>
              </a:defRPr>
            </a:lvl1pPr>
            <a:lvl2pPr marL="260598" indent="0">
              <a:buFont typeface="Wingdings" panose="05000000000000000000" pitchFamily="2" charset="2"/>
              <a:buNone/>
              <a:defRPr sz="1632" b="0">
                <a:latin typeface="+mn-lt"/>
              </a:defRPr>
            </a:lvl2pPr>
            <a:lvl3pPr marL="459688" indent="0">
              <a:buFont typeface="Wingdings" panose="05000000000000000000" pitchFamily="2" charset="2"/>
              <a:buNone/>
              <a:tabLst/>
              <a:defRPr sz="1224" b="0">
                <a:latin typeface="+mn-lt"/>
              </a:defRPr>
            </a:lvl3pPr>
            <a:lvl4pPr marL="665252" indent="0">
              <a:buFont typeface="Wingdings" panose="05000000000000000000" pitchFamily="2" charset="2"/>
              <a:buNone/>
              <a:defRPr sz="1122" b="0">
                <a:latin typeface="+mn-lt"/>
              </a:defRPr>
            </a:lvl4pPr>
            <a:lvl5pPr marL="870817"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964813"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217445" y="1589917"/>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655880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96877" y="2480215"/>
            <a:ext cx="4243405" cy="1017048"/>
          </a:xfrm>
          <a:noFill/>
        </p:spPr>
        <p:txBody>
          <a:bodyPr wrap="square" lIns="0" tIns="0" rIns="0" bIns="0" anchor="b" anchorCtr="0">
            <a:spAutoFit/>
          </a:bodyPr>
          <a:lstStyle>
            <a:lvl1pPr algn="l" defTabSz="951026"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96877" y="3951631"/>
            <a:ext cx="4243405"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964813"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217445" y="1589917"/>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812041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734650" y="1705789"/>
            <a:ext cx="6009158" cy="3582949"/>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935791" y="1920351"/>
            <a:ext cx="5606879" cy="3153825"/>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95840" y="1705788"/>
            <a:ext cx="4808804" cy="1255614"/>
          </a:xfrm>
        </p:spPr>
        <p:txBody>
          <a:bodyPr wrap="square">
            <a:spAutoFit/>
          </a:bodyPr>
          <a:lstStyle>
            <a:lvl1pPr marL="0" indent="0">
              <a:spcBef>
                <a:spcPts val="1247"/>
              </a:spcBef>
              <a:buClr>
                <a:schemeClr val="tx1"/>
              </a:buClr>
              <a:buFont typeface="Wingdings" panose="05000000000000000000" pitchFamily="2" charset="2"/>
              <a:buNone/>
              <a:defRPr sz="2040" b="0">
                <a:latin typeface="+mn-lt"/>
                <a:cs typeface="Segoe UI" panose="020B0502040204020203" pitchFamily="34" charset="0"/>
              </a:defRPr>
            </a:lvl1pPr>
            <a:lvl2pPr marL="260598" indent="0">
              <a:buFont typeface="Wingdings" panose="05000000000000000000" pitchFamily="2" charset="2"/>
              <a:buNone/>
              <a:defRPr sz="1632" b="0">
                <a:latin typeface="+mn-lt"/>
              </a:defRPr>
            </a:lvl2pPr>
            <a:lvl3pPr marL="459688" indent="0">
              <a:buFont typeface="Wingdings" panose="05000000000000000000" pitchFamily="2" charset="2"/>
              <a:buNone/>
              <a:tabLst/>
              <a:defRPr sz="1224" b="0">
                <a:latin typeface="+mn-lt"/>
              </a:defRPr>
            </a:lvl3pPr>
            <a:lvl4pPr marL="665252" indent="0">
              <a:buFont typeface="Wingdings" panose="05000000000000000000" pitchFamily="2" charset="2"/>
              <a:buNone/>
              <a:defRPr sz="1122" b="0">
                <a:latin typeface="+mn-lt"/>
              </a:defRPr>
            </a:lvl4pPr>
            <a:lvl5pPr marL="870817"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500984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1"/>
            <a:ext cx="11238030" cy="1946203"/>
          </a:xfrm>
        </p:spPr>
        <p:txBody>
          <a:bodyPr/>
          <a:lstStyle>
            <a:lvl1pPr marL="0" indent="0">
              <a:buNone/>
              <a:defRPr sz="285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53346" indent="0">
              <a:buNone/>
              <a:defRPr sz="2448">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96066" indent="0">
              <a:buNone/>
              <a:defRPr sz="204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30531"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71599"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3794125"/>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9988730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4175498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0510019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2"/>
            </a:solidFill>
          </a:ln>
        </p:spPr>
        <p:txBody>
          <a:bodyPr wrap="square" lIns="182880" tIns="182880" rIns="182880" bIns="182880" anchor="t" anchorCtr="0">
            <a:noAutofit/>
          </a:bodyPr>
          <a:lstStyle>
            <a:lvl1pPr marL="0" indent="0">
              <a:buNone/>
              <a:defRPr sz="1122">
                <a:gradFill flip="none" rotWithShape="1">
                  <a:gsLst>
                    <a:gs pos="82000">
                      <a:schemeClr val="accent1"/>
                    </a:gs>
                    <a:gs pos="0">
                      <a:schemeClr val="accent1"/>
                    </a:gs>
                  </a:gsLst>
                  <a:lin ang="2700000" scaled="1"/>
                  <a:tileRect/>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2"/>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flip="none" rotWithShape="1">
                  <a:gsLst>
                    <a:gs pos="82000">
                      <a:schemeClr val="accent1"/>
                    </a:gs>
                    <a:gs pos="0">
                      <a:schemeClr val="accent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2377509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3826692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081" lvl="0" indent="-233081">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chemeClr val="accent2"/>
            </a:solidFill>
          </a:ln>
        </p:spPr>
        <p:txBody>
          <a:bodyPr wrap="square" lIns="182880" tIns="182880" rIns="182880" bIns="182880" anchor="t" anchorCtr="0">
            <a:noAutofit/>
          </a:bodyPr>
          <a:lstStyle>
            <a:lvl1pPr marL="0" indent="0">
              <a:buNone/>
              <a:defRPr sz="1122">
                <a:gradFill flip="none" rotWithShape="1">
                  <a:gsLst>
                    <a:gs pos="82000">
                      <a:schemeClr val="accent1"/>
                    </a:gs>
                    <a:gs pos="0">
                      <a:schemeClr val="accent1"/>
                    </a:gs>
                  </a:gsLst>
                  <a:lin ang="2700000" scaled="1"/>
                  <a:tileRect/>
                </a:gradFill>
                <a:latin typeface="+mj-lt"/>
              </a:defRPr>
            </a:lvl1pPr>
            <a:lvl2pPr marL="233081"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2"/>
            </a:solidFill>
          </a:ln>
        </p:spPr>
        <p:txBody>
          <a:bodyPr vert="horz" wrap="square" lIns="186470" tIns="186470" rIns="186470" bIns="186470" rtlCol="0" anchor="b" anchorCtr="0">
            <a:noAutofit/>
          </a:bodyPr>
          <a:lstStyle/>
          <a:p>
            <a:pPr marR="0" lvl="0" indent="0" defTabSz="951026"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6" y="5172255"/>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6"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6" y="4423787"/>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6"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flip="none" rotWithShape="1">
                  <a:gsLst>
                    <a:gs pos="82000">
                      <a:schemeClr val="accent1"/>
                    </a:gs>
                    <a:gs pos="0">
                      <a:schemeClr val="accent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0412791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8"/>
            <a:ext cx="6210967" cy="207083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64" name="Oval 63">
            <a:extLst>
              <a:ext uri="{FF2B5EF4-FFF2-40B4-BE49-F238E27FC236}">
                <a16:creationId xmlns:a16="http://schemas.microsoft.com/office/drawing/2014/main" id="{393FEAEC-792F-4316-B416-1B7150AC2365}"/>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60" name="Graphic 59">
            <a:extLst>
              <a:ext uri="{FF2B5EF4-FFF2-40B4-BE49-F238E27FC236}">
                <a16:creationId xmlns:a16="http://schemas.microsoft.com/office/drawing/2014/main" id="{83FE58A6-D2C5-41C0-9C32-41A5C4D962B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3782" y="631373"/>
            <a:ext cx="464434" cy="464427"/>
          </a:xfrm>
          <a:prstGeom prst="rect">
            <a:avLst/>
          </a:prstGeom>
        </p:spPr>
      </p:pic>
    </p:spTree>
    <p:extLst>
      <p:ext uri="{BB962C8B-B14F-4D97-AF65-F5344CB8AC3E}">
        <p14:creationId xmlns:p14="http://schemas.microsoft.com/office/powerpoint/2010/main" val="4714569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9482996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304095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0276434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0432431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081" lvl="0" indent="-233081">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chemeClr val="accent3"/>
            </a:solidFill>
          </a:ln>
        </p:spPr>
        <p:txBody>
          <a:bodyPr wrap="square" lIns="182880" tIns="182880" rIns="182880" bIns="182880" anchor="t" anchorCtr="0">
            <a:noAutofit/>
          </a:bodyPr>
          <a:lstStyle>
            <a:lvl1pPr marL="0" indent="0">
              <a:buNone/>
              <a:defRPr sz="1122">
                <a:gradFill>
                  <a:gsLst>
                    <a:gs pos="82000">
                      <a:schemeClr val="accent3"/>
                    </a:gs>
                    <a:gs pos="0">
                      <a:schemeClr val="accent3"/>
                    </a:gs>
                  </a:gsLst>
                  <a:lin ang="2700000" scaled="1"/>
                </a:gradFill>
                <a:latin typeface="+mj-lt"/>
              </a:defRPr>
            </a:lvl1pPr>
            <a:lvl2pPr marL="233081"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3"/>
            </a:solidFill>
          </a:ln>
        </p:spPr>
        <p:txBody>
          <a:bodyPr vert="horz" wrap="square" lIns="186470" tIns="186470" rIns="186470" bIns="186470" rtlCol="0" anchor="b" anchorCtr="0">
            <a:noAutofit/>
          </a:bodyPr>
          <a:lstStyle/>
          <a:p>
            <a:pPr marR="0" lvl="0" indent="0" defTabSz="951026"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6" y="5172255"/>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6"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6" y="4423787"/>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6"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3"/>
                    </a:gs>
                    <a:gs pos="0">
                      <a:schemeClr val="accent3"/>
                    </a:gs>
                  </a:gsLst>
                  <a:lin ang="2700000" scaled="1"/>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4563220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8"/>
            <a:ext cx="6210967" cy="207083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A65A59F1-2978-45D9-BC82-8A3493696A37}"/>
              </a:ext>
            </a:extLst>
          </p:cNvPr>
          <p:cNvSpPr/>
          <p:nvPr userDrawn="1"/>
        </p:nvSpPr>
        <p:spPr bwMode="auto">
          <a:xfrm>
            <a:off x="550408" y="463089"/>
            <a:ext cx="801002"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8C6ADCC5-50CD-4471-BC1B-8A5031DA934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9783" y="623042"/>
            <a:ext cx="462251" cy="462244"/>
          </a:xfrm>
          <a:prstGeom prst="rect">
            <a:avLst/>
          </a:prstGeom>
        </p:spPr>
      </p:pic>
    </p:spTree>
    <p:extLst>
      <p:ext uri="{BB962C8B-B14F-4D97-AF65-F5344CB8AC3E}">
        <p14:creationId xmlns:p14="http://schemas.microsoft.com/office/powerpoint/2010/main" val="24511723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7566327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64" name="Oval 63">
            <a:extLst>
              <a:ext uri="{FF2B5EF4-FFF2-40B4-BE49-F238E27FC236}">
                <a16:creationId xmlns:a16="http://schemas.microsoft.com/office/drawing/2014/main" id="{393FEAEC-792F-4316-B416-1B7150AC2365}"/>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60" name="Graphic 59">
            <a:extLst>
              <a:ext uri="{FF2B5EF4-FFF2-40B4-BE49-F238E27FC236}">
                <a16:creationId xmlns:a16="http://schemas.microsoft.com/office/drawing/2014/main" id="{83FE58A6-D2C5-41C0-9C32-41A5C4D962B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3782" y="631372"/>
            <a:ext cx="464434" cy="464427"/>
          </a:xfrm>
          <a:prstGeom prst="rect">
            <a:avLst/>
          </a:prstGeom>
        </p:spPr>
      </p:pic>
    </p:spTree>
    <p:extLst>
      <p:ext uri="{BB962C8B-B14F-4D97-AF65-F5344CB8AC3E}">
        <p14:creationId xmlns:p14="http://schemas.microsoft.com/office/powerpoint/2010/main" val="35865737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7628107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7835643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6767209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081" lvl="0" indent="-233081">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rgbClr val="6A4B16"/>
            </a:solidFill>
          </a:ln>
        </p:spPr>
        <p:txBody>
          <a:bodyPr wrap="square" lIns="182880" tIns="182880" rIns="182880" bIns="182880" anchor="t" anchorCtr="0">
            <a:noAutofit/>
          </a:bodyPr>
          <a:lstStyle>
            <a:lvl1pPr marL="0" indent="0">
              <a:buNone/>
              <a:defRPr sz="1122">
                <a:gradFill>
                  <a:gsLst>
                    <a:gs pos="82000">
                      <a:srgbClr val="6A4B16"/>
                    </a:gs>
                    <a:gs pos="0">
                      <a:srgbClr val="6A4B16"/>
                    </a:gs>
                  </a:gsLst>
                  <a:lin ang="2700000" scaled="1"/>
                </a:gradFill>
                <a:latin typeface="+mj-lt"/>
              </a:defRPr>
            </a:lvl1pPr>
            <a:lvl2pPr marL="233081"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rgbClr val="6A4B16"/>
            </a:solidFill>
          </a:ln>
        </p:spPr>
        <p:txBody>
          <a:bodyPr vert="horz" wrap="square" lIns="186470" tIns="186470" rIns="186470" bIns="186470" rtlCol="0" anchor="b" anchorCtr="0">
            <a:noAutofit/>
          </a:bodyPr>
          <a:lstStyle/>
          <a:p>
            <a:pPr marR="0" lvl="0" indent="0" defTabSz="951026"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6" y="5172255"/>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6"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6" y="4423787"/>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6"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a:gsLst>
                    <a:gs pos="82000">
                      <a:srgbClr val="6A4B16"/>
                    </a:gs>
                    <a:gs pos="0">
                      <a:srgbClr val="6A4B16"/>
                    </a:gs>
                  </a:gsLst>
                  <a:lin ang="2700000" scaled="1"/>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6689542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8"/>
            <a:ext cx="6210967" cy="2070833"/>
            <a:chOff x="-12" y="3052"/>
            <a:chExt cx="3836" cy="1279"/>
          </a:xfrm>
          <a:solidFill>
            <a:srgbClr val="D59D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E165A012-D3EE-47EF-B8B3-CEB2C68B6C93}"/>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EB9B3534-AB58-46E6-A28E-642FE73C968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7755" y="630433"/>
            <a:ext cx="466308" cy="466302"/>
          </a:xfrm>
          <a:prstGeom prst="rect">
            <a:avLst/>
          </a:prstGeom>
        </p:spPr>
      </p:pic>
    </p:spTree>
    <p:extLst>
      <p:ext uri="{BB962C8B-B14F-4D97-AF65-F5344CB8AC3E}">
        <p14:creationId xmlns:p14="http://schemas.microsoft.com/office/powerpoint/2010/main" val="42622091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8606908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8334666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7499764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5666819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081" lvl="0" indent="-233081">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chemeClr val="accent5"/>
            </a:solidFill>
          </a:ln>
        </p:spPr>
        <p:txBody>
          <a:bodyPr wrap="square" lIns="182880" tIns="182880" rIns="182880" bIns="182880" anchor="t" anchorCtr="0">
            <a:noAutofit/>
          </a:bodyPr>
          <a:lstStyle>
            <a:lvl1pPr marL="0" indent="0">
              <a:buNone/>
              <a:defRPr sz="1122">
                <a:gradFill>
                  <a:gsLst>
                    <a:gs pos="82000">
                      <a:schemeClr val="accent5"/>
                    </a:gs>
                    <a:gs pos="0">
                      <a:schemeClr val="accent5"/>
                    </a:gs>
                  </a:gsLst>
                  <a:lin ang="2700000" scaled="1"/>
                </a:gradFill>
                <a:latin typeface="+mj-lt"/>
              </a:defRPr>
            </a:lvl1pPr>
            <a:lvl2pPr marL="233081"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5"/>
            </a:solidFill>
          </a:ln>
        </p:spPr>
        <p:txBody>
          <a:bodyPr vert="horz" wrap="square" lIns="186470" tIns="186470" rIns="186470" bIns="186470" rtlCol="0" anchor="b" anchorCtr="0">
            <a:noAutofit/>
          </a:bodyPr>
          <a:lstStyle/>
          <a:p>
            <a:pPr marR="0" lvl="0" indent="0" defTabSz="951026"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6" y="5172255"/>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6"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6" y="4423787"/>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6"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5"/>
                    </a:gs>
                    <a:gs pos="0">
                      <a:schemeClr val="accent5"/>
                    </a:gs>
                  </a:gsLst>
                  <a:lin ang="2700000" scaled="1"/>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202226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6023183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8"/>
            <a:ext cx="6210967" cy="207083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D1B0AD52-B514-4301-9559-18BCE561DAAF}"/>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9D8C279A-AB73-49F2-ABC3-4F9EAAC0E75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0027" y="642705"/>
            <a:ext cx="466308" cy="466302"/>
          </a:xfrm>
          <a:prstGeom prst="rect">
            <a:avLst/>
          </a:prstGeom>
        </p:spPr>
      </p:pic>
    </p:spTree>
    <p:extLst>
      <p:ext uri="{BB962C8B-B14F-4D97-AF65-F5344CB8AC3E}">
        <p14:creationId xmlns:p14="http://schemas.microsoft.com/office/powerpoint/2010/main" val="28124640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237469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7935681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3771322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2551738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081" lvl="0" indent="-233081">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chemeClr val="accent6"/>
            </a:solidFill>
          </a:ln>
        </p:spPr>
        <p:txBody>
          <a:bodyPr wrap="square" lIns="182880" tIns="182880" rIns="182880" bIns="182880" anchor="t" anchorCtr="0">
            <a:noAutofit/>
          </a:bodyPr>
          <a:lstStyle>
            <a:lvl1pPr marL="0" indent="0">
              <a:buNone/>
              <a:defRPr sz="1122">
                <a:gradFill>
                  <a:gsLst>
                    <a:gs pos="82000">
                      <a:schemeClr val="accent6"/>
                    </a:gs>
                    <a:gs pos="0">
                      <a:schemeClr val="accent6"/>
                    </a:gs>
                  </a:gsLst>
                  <a:lin ang="2700000" scaled="1"/>
                </a:gradFill>
                <a:latin typeface="+mj-lt"/>
              </a:defRPr>
            </a:lvl1pPr>
            <a:lvl2pPr marL="233081"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6"/>
            </a:solidFill>
          </a:ln>
        </p:spPr>
        <p:txBody>
          <a:bodyPr vert="horz" wrap="square" lIns="186470" tIns="186470" rIns="186470" bIns="186470" rtlCol="0" anchor="b" anchorCtr="0">
            <a:noAutofit/>
          </a:bodyPr>
          <a:lstStyle/>
          <a:p>
            <a:pPr marR="0" lvl="0" indent="0" defTabSz="951026"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6" y="5172255"/>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6"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6" y="4423787"/>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6"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6"/>
                    </a:gs>
                    <a:gs pos="0">
                      <a:schemeClr val="accent6"/>
                    </a:gs>
                  </a:gsLst>
                  <a:lin ang="2700000" scaled="1"/>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609446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gradFill>
                  <a:gsLst>
                    <a:gs pos="50000">
                      <a:schemeClr val="tx1"/>
                    </a:gs>
                    <a:gs pos="100000">
                      <a:schemeClr val="tx1"/>
                    </a:gs>
                  </a:gsLst>
                  <a:lin ang="10800000" scaled="1"/>
                </a:gradFill>
                <a:latin typeface="+mn-lt"/>
              </a:defRPr>
            </a:lvl1pPr>
            <a:lvl2pPr>
              <a:defRPr sz="2856">
                <a:gradFill>
                  <a:gsLst>
                    <a:gs pos="50000">
                      <a:schemeClr val="tx1"/>
                    </a:gs>
                    <a:gs pos="100000">
                      <a:schemeClr val="tx1"/>
                    </a:gs>
                  </a:gsLst>
                  <a:lin ang="10800000" scaled="1"/>
                </a:gradFill>
                <a:latin typeface="+mn-lt"/>
              </a:defRPr>
            </a:lvl2pPr>
            <a:lvl3pPr>
              <a:defRPr sz="2448">
                <a:gradFill>
                  <a:gsLst>
                    <a:gs pos="50000">
                      <a:schemeClr val="tx1"/>
                    </a:gs>
                    <a:gs pos="100000">
                      <a:schemeClr val="tx1"/>
                    </a:gs>
                  </a:gsLst>
                  <a:lin ang="10800000" scaled="1"/>
                </a:gradFill>
                <a:latin typeface="+mn-lt"/>
              </a:defRPr>
            </a:lvl3pPr>
            <a:lvl4pPr>
              <a:defRPr sz="2040">
                <a:gradFill>
                  <a:gsLst>
                    <a:gs pos="50000">
                      <a:schemeClr val="tx1"/>
                    </a:gs>
                    <a:gs pos="100000">
                      <a:schemeClr val="tx1"/>
                    </a:gs>
                  </a:gsLst>
                  <a:lin ang="10800000" scaled="1"/>
                </a:gradFill>
                <a:latin typeface="+mn-lt"/>
              </a:defRPr>
            </a:lvl4pPr>
            <a:lvl5pPr>
              <a:defRPr sz="1836">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3" y="6393840"/>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88056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565"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99982" y="2932237"/>
            <a:ext cx="4241959" cy="1130053"/>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988574" y="-10715"/>
            <a:ext cx="5453216" cy="5854669"/>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solidFill>
                  <a:srgbClr val="FFFFFF"/>
                </a:solidFill>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13465198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565"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15701169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9982" y="466303"/>
            <a:ext cx="11238030" cy="627807"/>
          </a:xfrm>
        </p:spPr>
        <p:txBody>
          <a:bodyPr/>
          <a:lstStyle>
            <a:lvl1pPr>
              <a:defRPr sz="4080"/>
            </a:lvl1pPr>
          </a:lstStyle>
          <a:p>
            <a:r>
              <a:rPr lang="en-US"/>
              <a:t>Click to edit Master title style</a:t>
            </a:r>
          </a:p>
        </p:txBody>
      </p:sp>
      <p:sp>
        <p:nvSpPr>
          <p:cNvPr id="3" name="Text Placeholder 2"/>
          <p:cNvSpPr>
            <a:spLocks noGrp="1"/>
          </p:cNvSpPr>
          <p:nvPr>
            <p:ph type="body" sz="quarter" idx="10"/>
          </p:nvPr>
        </p:nvSpPr>
        <p:spPr>
          <a:xfrm>
            <a:off x="595839" y="1464075"/>
            <a:ext cx="11238030" cy="1895977"/>
          </a:xfrm>
        </p:spPr>
        <p:txBody>
          <a:bodyPr/>
          <a:lstStyle>
            <a:lvl1pPr>
              <a:defRPr sz="3264"/>
            </a:lvl1pPr>
            <a:lvl2pPr>
              <a:defRPr sz="2448"/>
            </a:lvl2pPr>
            <a:lvl3pPr>
              <a:defRPr sz="1836"/>
            </a:lvl3pPr>
            <a:lvl4pPr>
              <a:defRPr sz="1632"/>
            </a:lvl4pPr>
            <a:lvl5pPr>
              <a:defRPr sz="163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2928337"/>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2723425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87E63E9-A049-4B7E-B301-CA7FC7291D01}"/>
              </a:ext>
            </a:extLst>
          </p:cNvPr>
          <p:cNvPicPr>
            <a:picLocks noChangeAspect="1"/>
          </p:cNvPicPr>
          <p:nvPr userDrawn="1"/>
        </p:nvPicPr>
        <p:blipFill rotWithShape="1">
          <a:blip r:embed="rId2"/>
          <a:srcRect r="11678"/>
          <a:stretch/>
        </p:blipFill>
        <p:spPr>
          <a:xfrm>
            <a:off x="5244462" y="754264"/>
            <a:ext cx="7190427" cy="5726707"/>
          </a:xfrm>
          <a:prstGeom prst="rect">
            <a:avLst/>
          </a:prstGeom>
        </p:spPr>
      </p:pic>
      <p:sp>
        <p:nvSpPr>
          <p:cNvPr id="9" name="Title 1"/>
          <p:cNvSpPr>
            <a:spLocks noGrp="1"/>
          </p:cNvSpPr>
          <p:nvPr>
            <p:ph type="title" hasCustomPrompt="1"/>
          </p:nvPr>
        </p:nvSpPr>
        <p:spPr>
          <a:xfrm>
            <a:off x="595838" y="2474072"/>
            <a:ext cx="5260417" cy="1130053"/>
          </a:xfrm>
          <a:noFill/>
        </p:spPr>
        <p:txBody>
          <a:bodyPr wrap="square" lIns="0" tIns="0" rIns="0" bIns="0" anchor="b" anchorCtr="0">
            <a:spAutoFit/>
          </a:bodyPr>
          <a:lstStyle>
            <a:lvl1pPr>
              <a:defRPr sz="3672" spc="-51"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8" y="4041281"/>
            <a:ext cx="5260417" cy="345294"/>
          </a:xfrm>
          <a:noFill/>
        </p:spPr>
        <p:txBody>
          <a:bodyPr wrap="square" lIns="0" tIns="0" rIns="0" bIns="0">
            <a:spAutoFit/>
          </a:bodyPr>
          <a:lstStyle>
            <a:lvl1pPr marL="0" indent="0">
              <a:spcBef>
                <a:spcPts val="0"/>
              </a:spcBef>
              <a:buNone/>
              <a:defRPr sz="2244" spc="0" baseline="0">
                <a:gradFill>
                  <a:gsLst>
                    <a:gs pos="0">
                      <a:schemeClr val="tx1"/>
                    </a:gs>
                    <a:gs pos="100000">
                      <a:schemeClr val="tx1"/>
                    </a:gs>
                  </a:gsLst>
                  <a:lin ang="5400000" scaled="1"/>
                </a:gradFill>
                <a:latin typeface="+mn-lt"/>
                <a:cs typeface="Segoe UI" panose="020B0502040204020203" pitchFamily="34" charset="0"/>
              </a:defRPr>
            </a:lvl1pPr>
          </a:lstStyle>
          <a:p>
            <a:pPr lvl="0"/>
            <a:r>
              <a:rPr lang="en-US"/>
              <a:t>Speaker name or subtitle text</a:t>
            </a:r>
          </a:p>
        </p:txBody>
      </p:sp>
      <p:cxnSp>
        <p:nvCxnSpPr>
          <p:cNvPr id="16" name="Straight Connector 15">
            <a:extLst>
              <a:ext uri="{FF2B5EF4-FFF2-40B4-BE49-F238E27FC236}">
                <a16:creationId xmlns:a16="http://schemas.microsoft.com/office/drawing/2014/main" id="{912514F0-1D0F-D648-A778-D69EBECC7E50}"/>
              </a:ext>
            </a:extLst>
          </p:cNvPr>
          <p:cNvCxnSpPr>
            <a:cxnSpLocks/>
          </p:cNvCxnSpPr>
          <p:nvPr userDrawn="1"/>
        </p:nvCxnSpPr>
        <p:spPr>
          <a:xfrm>
            <a:off x="2264857" y="453924"/>
            <a:ext cx="0" cy="57123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7" name="Picture 2">
            <a:extLst>
              <a:ext uri="{FF2B5EF4-FFF2-40B4-BE49-F238E27FC236}">
                <a16:creationId xmlns:a16="http://schemas.microsoft.com/office/drawing/2014/main" id="{CF75E99F-26AB-574E-ABE5-45483F275B8C}"/>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2616357" y="515023"/>
            <a:ext cx="434086" cy="434141"/>
          </a:xfrm>
          <a:prstGeom prst="rect">
            <a:avLst/>
          </a:prstGeom>
          <a:noFill/>
          <a:extLst>
            <a:ext uri="{909E8E84-426E-40DD-AFC4-6F175D3DCCD1}">
              <a14:hiddenFill xmlns:a14="http://schemas.microsoft.com/office/drawing/2010/main">
                <a:solidFill>
                  <a:srgbClr val="FFFFFF"/>
                </a:solidFill>
              </a14:hiddenFill>
            </a:ext>
          </a:extLst>
        </p:spPr>
      </p:pic>
      <p:pic>
        <p:nvPicPr>
          <p:cNvPr id="11" name="MS logo gray - EMF" descr="Microsoft logo, gray text version">
            <a:extLst>
              <a:ext uri="{FF2B5EF4-FFF2-40B4-BE49-F238E27FC236}">
                <a16:creationId xmlns:a16="http://schemas.microsoft.com/office/drawing/2014/main" id="{AF0B0B24-3255-904E-9106-E8030FD59FE9}"/>
              </a:ext>
            </a:extLst>
          </p:cNvPr>
          <p:cNvPicPr>
            <a:picLocks noChangeAspect="1"/>
          </p:cNvPicPr>
          <p:nvPr userDrawn="1"/>
        </p:nvPicPr>
        <p:blipFill>
          <a:blip r:embed="rId4"/>
          <a:stretch>
            <a:fillRect/>
          </a:stretch>
        </p:blipFill>
        <p:spPr bwMode="black">
          <a:xfrm>
            <a:off x="595838" y="597451"/>
            <a:ext cx="1393662" cy="298433"/>
          </a:xfrm>
          <a:prstGeom prst="rect">
            <a:avLst/>
          </a:prstGeom>
        </p:spPr>
      </p:pic>
    </p:spTree>
    <p:extLst>
      <p:ext uri="{BB962C8B-B14F-4D97-AF65-F5344CB8AC3E}">
        <p14:creationId xmlns:p14="http://schemas.microsoft.com/office/powerpoint/2010/main" val="3686097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7809" y="466302"/>
            <a:ext cx="11242861" cy="565027"/>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40" y="1463669"/>
            <a:ext cx="11248069" cy="164487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584700243"/>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guide id="6" pos="5149" userDrawn="1">
          <p15:clr>
            <a:srgbClr val="A4A3A4"/>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showMasterSp="0" preserve="1" userDrawn="1">
  <p:cSld name="Title Only (With Nav)">
    <p:spTree>
      <p:nvGrpSpPr>
        <p:cNvPr id="1" name=""/>
        <p:cNvGrpSpPr/>
        <p:nvPr/>
      </p:nvGrpSpPr>
      <p:grpSpPr>
        <a:xfrm>
          <a:off x="0" y="0"/>
          <a:ext cx="0" cy="0"/>
          <a:chOff x="0" y="0"/>
          <a:chExt cx="0" cy="0"/>
        </a:xfrm>
      </p:grpSpPr>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632843"/>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9" name="Rectangle 8">
            <a:hlinkClick r:id="rId3" action="ppaction://hlinksldjump"/>
            <a:extLst>
              <a:ext uri="{FF2B5EF4-FFF2-40B4-BE49-F238E27FC236}">
                <a16:creationId xmlns:a16="http://schemas.microsoft.com/office/drawing/2014/main" id="{946C478C-2B4E-DD4C-BC83-9CCC28E4DF5E}"/>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618589146"/>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showMasterSp="0" preserve="1" userDrawn="1">
  <p:cSld name="Title and Subtitle - Center">
    <p:spTree>
      <p:nvGrpSpPr>
        <p:cNvPr id="1" name=""/>
        <p:cNvGrpSpPr/>
        <p:nvPr/>
      </p:nvGrpSpPr>
      <p:grpSpPr>
        <a:xfrm>
          <a:off x="0" y="0"/>
          <a:ext cx="0" cy="0"/>
          <a:chOff x="0" y="0"/>
          <a:chExt cx="0" cy="0"/>
        </a:xfrm>
      </p:grpSpPr>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632843"/>
            <a:ext cx="11246449" cy="565027"/>
          </a:xfrm>
        </p:spPr>
        <p:txBody>
          <a:bodyPr/>
          <a:lstStyle>
            <a:lvl1pPr algn="ctr">
              <a:defRPr/>
            </a:lvl1pPr>
          </a:lstStyle>
          <a:p>
            <a:r>
              <a:rPr lang="en-US"/>
              <a:t>Click to edit Master title style</a:t>
            </a:r>
          </a:p>
        </p:txBody>
      </p:sp>
      <p:sp>
        <p:nvSpPr>
          <p:cNvPr id="6" name="Text Placeholder 5">
            <a:extLst>
              <a:ext uri="{FF2B5EF4-FFF2-40B4-BE49-F238E27FC236}">
                <a16:creationId xmlns:a16="http://schemas.microsoft.com/office/drawing/2014/main" id="{DA02F9E5-CB62-924A-BFA5-F90E7D6ED364}"/>
              </a:ext>
            </a:extLst>
          </p:cNvPr>
          <p:cNvSpPr>
            <a:spLocks noGrp="1"/>
          </p:cNvSpPr>
          <p:nvPr>
            <p:ph type="body" sz="quarter" idx="10"/>
          </p:nvPr>
        </p:nvSpPr>
        <p:spPr>
          <a:xfrm>
            <a:off x="599077" y="1312172"/>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Tree>
    <p:extLst>
      <p:ext uri="{BB962C8B-B14F-4D97-AF65-F5344CB8AC3E}">
        <p14:creationId xmlns:p14="http://schemas.microsoft.com/office/powerpoint/2010/main" val="402738581"/>
      </p:ext>
    </p:extLst>
  </p:cSld>
  <p:clrMapOvr>
    <a:masterClrMapping/>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700947" y="2900301"/>
            <a:ext cx="6994525" cy="1193925"/>
          </a:xfrm>
          <a:prstGeom prst="rect">
            <a:avLst/>
          </a:prstGeom>
        </p:spPr>
      </p:pic>
    </p:spTree>
    <p:extLst>
      <p:ext uri="{BB962C8B-B14F-4D97-AF65-F5344CB8AC3E}">
        <p14:creationId xmlns:p14="http://schemas.microsoft.com/office/powerpoint/2010/main" val="434876137"/>
      </p:ext>
    </p:extLst>
  </p:cSld>
  <p:clrMapOvr>
    <a:masterClrMapping/>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showMasterSp="0" preserve="1" userDrawn="1">
  <p:cSld name="Individual: PPT for data (GIF)">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ED94B9E7-E417-1242-93C3-E29A4C898AC0}"/>
              </a:ext>
            </a:extLst>
          </p:cNvPr>
          <p:cNvGrpSpPr/>
          <p:nvPr userDrawn="1"/>
        </p:nvGrpSpPr>
        <p:grpSpPr>
          <a:xfrm>
            <a:off x="3446242" y="732119"/>
            <a:ext cx="8895800" cy="5722883"/>
            <a:chOff x="3378926" y="717827"/>
            <a:chExt cx="8722040" cy="5611179"/>
          </a:xfrm>
        </p:grpSpPr>
        <p:sp>
          <p:nvSpPr>
            <p:cNvPr id="27" name="Rectangle 26">
              <a:extLst>
                <a:ext uri="{FF2B5EF4-FFF2-40B4-BE49-F238E27FC236}">
                  <a16:creationId xmlns:a16="http://schemas.microsoft.com/office/drawing/2014/main" id="{C481C596-E605-EE40-9AAD-B584AE948238}"/>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8" name="Picture 27">
              <a:extLst>
                <a:ext uri="{FF2B5EF4-FFF2-40B4-BE49-F238E27FC236}">
                  <a16:creationId xmlns:a16="http://schemas.microsoft.com/office/drawing/2014/main" id="{5FD62A5C-CEF4-F346-9BDD-A5F097004A4C}"/>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8" y="160421"/>
            <a:ext cx="1850297" cy="310499"/>
            <a:chOff x="164128" y="157289"/>
            <a:chExt cx="1814155"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08050"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PowerPoint for data</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87547"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8" name="Rectangle 7">
            <a:hlinkClick r:id="rId4" action="ppaction://hlinksldjump"/>
            <a:extLst>
              <a:ext uri="{FF2B5EF4-FFF2-40B4-BE49-F238E27FC236}">
                <a16:creationId xmlns:a16="http://schemas.microsoft.com/office/drawing/2014/main" id="{9E854198-71AA-4E4B-B806-765A97887A5A}"/>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7" name="Rectangle 16">
            <a:hlinkClick r:id="rId5" action="ppaction://hlinksldjump"/>
            <a:extLst>
              <a:ext uri="{FF2B5EF4-FFF2-40B4-BE49-F238E27FC236}">
                <a16:creationId xmlns:a16="http://schemas.microsoft.com/office/drawing/2014/main" id="{33A372C3-A621-5348-A03A-0A3F62BF70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1" name="Text Placeholder 5">
            <a:extLst>
              <a:ext uri="{FF2B5EF4-FFF2-40B4-BE49-F238E27FC236}">
                <a16:creationId xmlns:a16="http://schemas.microsoft.com/office/drawing/2014/main" id="{664720FE-10AB-4C4C-8C0A-0EDF010B36EA}"/>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2" name="Picture Placeholder 9">
            <a:extLst>
              <a:ext uri="{FF2B5EF4-FFF2-40B4-BE49-F238E27FC236}">
                <a16:creationId xmlns:a16="http://schemas.microsoft.com/office/drawing/2014/main" id="{6500F9A9-40CB-A748-9302-235ED5A5B2C0}"/>
              </a:ext>
            </a:extLst>
          </p:cNvPr>
          <p:cNvSpPr>
            <a:spLocks noGrp="1"/>
          </p:cNvSpPr>
          <p:nvPr>
            <p:ph type="pic" sz="quarter" idx="12" hasCustomPrompt="1"/>
          </p:nvPr>
        </p:nvSpPr>
        <p:spPr>
          <a:xfrm>
            <a:off x="4119057" y="1502529"/>
            <a:ext cx="75719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862161347"/>
      </p:ext>
    </p:extLst>
  </p:cSld>
  <p:clrMapOvr>
    <a:masterClrMapping/>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showMasterSp="0" preserve="1" userDrawn="1">
  <p:cSld name="Individual: PPT for data">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8" y="160421"/>
            <a:ext cx="1850297" cy="310499"/>
            <a:chOff x="164128" y="157289"/>
            <a:chExt cx="1814155"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08050"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PowerPoint for data</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8" name="Rectangle 7">
            <a:hlinkClick r:id="rId3" action="ppaction://hlinksldjump"/>
            <a:extLst>
              <a:ext uri="{FF2B5EF4-FFF2-40B4-BE49-F238E27FC236}">
                <a16:creationId xmlns:a16="http://schemas.microsoft.com/office/drawing/2014/main" id="{9E854198-71AA-4E4B-B806-765A97887A5A}"/>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7" name="Rectangle 16">
            <a:hlinkClick r:id="rId4" action="ppaction://hlinksldjump"/>
            <a:extLst>
              <a:ext uri="{FF2B5EF4-FFF2-40B4-BE49-F238E27FC236}">
                <a16:creationId xmlns:a16="http://schemas.microsoft.com/office/drawing/2014/main" id="{33A372C3-A621-5348-A03A-0A3F62BF70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540991940"/>
      </p:ext>
    </p:extLst>
  </p:cSld>
  <p:clrMapOvr>
    <a:masterClrMapping/>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showMasterSp="0" preserve="1" userDrawn="1">
  <p:cSld name="Individual: Augmented analytics (GIF)">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4C443DA5-FD3B-5A43-A534-BEC40A029956}"/>
              </a:ext>
            </a:extLst>
          </p:cNvPr>
          <p:cNvGrpSpPr/>
          <p:nvPr userDrawn="1"/>
        </p:nvGrpSpPr>
        <p:grpSpPr>
          <a:xfrm>
            <a:off x="3446242" y="732119"/>
            <a:ext cx="8895800" cy="5722883"/>
            <a:chOff x="3378926" y="717827"/>
            <a:chExt cx="8722040" cy="5611179"/>
          </a:xfrm>
        </p:grpSpPr>
        <p:sp>
          <p:nvSpPr>
            <p:cNvPr id="26" name="Rectangle 25">
              <a:extLst>
                <a:ext uri="{FF2B5EF4-FFF2-40B4-BE49-F238E27FC236}">
                  <a16:creationId xmlns:a16="http://schemas.microsoft.com/office/drawing/2014/main" id="{3FBE1B4C-4E8A-A04D-9689-2140F013C035}"/>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7" name="Picture 26">
              <a:extLst>
                <a:ext uri="{FF2B5EF4-FFF2-40B4-BE49-F238E27FC236}">
                  <a16:creationId xmlns:a16="http://schemas.microsoft.com/office/drawing/2014/main" id="{B119DE0F-F2B9-6F43-8FCF-CDD2D2278F48}"/>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8" y="160421"/>
            <a:ext cx="1850297" cy="310499"/>
            <a:chOff x="164128" y="157289"/>
            <a:chExt cx="1814155"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72171"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Augmented analytics</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2" y="2954083"/>
            <a:ext cx="2887547"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Rectangle 17">
            <a:hlinkClick r:id="rId4" action="ppaction://hlinksldjump"/>
            <a:extLst>
              <a:ext uri="{FF2B5EF4-FFF2-40B4-BE49-F238E27FC236}">
                <a16:creationId xmlns:a16="http://schemas.microsoft.com/office/drawing/2014/main" id="{C1AB6F95-B5F2-0745-A330-3FE54C991CA2}"/>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Rectangle 18">
            <a:hlinkClick r:id="rId5" action="ppaction://hlinksldjump"/>
            <a:extLst>
              <a:ext uri="{FF2B5EF4-FFF2-40B4-BE49-F238E27FC236}">
                <a16:creationId xmlns:a16="http://schemas.microsoft.com/office/drawing/2014/main" id="{939D6BE1-06CD-4047-A78C-8967A53A4F8B}"/>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4" name="Text Placeholder 5">
            <a:extLst>
              <a:ext uri="{FF2B5EF4-FFF2-40B4-BE49-F238E27FC236}">
                <a16:creationId xmlns:a16="http://schemas.microsoft.com/office/drawing/2014/main" id="{B82A3978-F824-B545-BE74-B2C10DD5E005}"/>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5" name="Picture Placeholder 9">
            <a:extLst>
              <a:ext uri="{FF2B5EF4-FFF2-40B4-BE49-F238E27FC236}">
                <a16:creationId xmlns:a16="http://schemas.microsoft.com/office/drawing/2014/main" id="{173398F4-01E1-384A-9E3C-69660A4313DF}"/>
              </a:ext>
            </a:extLst>
          </p:cNvPr>
          <p:cNvSpPr>
            <a:spLocks noGrp="1"/>
          </p:cNvSpPr>
          <p:nvPr>
            <p:ph type="pic" sz="quarter" idx="12" hasCustomPrompt="1"/>
          </p:nvPr>
        </p:nvSpPr>
        <p:spPr>
          <a:xfrm>
            <a:off x="4122575" y="1503649"/>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470413793"/>
      </p:ext>
    </p:extLst>
  </p:cSld>
  <p:clrMapOvr>
    <a:masterClrMapping/>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showMasterSp="0" preserve="1" userDrawn="1">
  <p:cSld name="Individual: Augmented analytic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8" y="160421"/>
            <a:ext cx="1850297" cy="310499"/>
            <a:chOff x="164128" y="157289"/>
            <a:chExt cx="1814155"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72171"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Augmented analytics</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Rectangle 17">
            <a:hlinkClick r:id="rId3" action="ppaction://hlinksldjump"/>
            <a:extLst>
              <a:ext uri="{FF2B5EF4-FFF2-40B4-BE49-F238E27FC236}">
                <a16:creationId xmlns:a16="http://schemas.microsoft.com/office/drawing/2014/main" id="{C1AB6F95-B5F2-0745-A330-3FE54C991CA2}"/>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Rectangle 18">
            <a:hlinkClick r:id="rId4" action="ppaction://hlinksldjump"/>
            <a:extLst>
              <a:ext uri="{FF2B5EF4-FFF2-40B4-BE49-F238E27FC236}">
                <a16:creationId xmlns:a16="http://schemas.microsoft.com/office/drawing/2014/main" id="{939D6BE1-06CD-4047-A78C-8967A53A4F8B}"/>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583676204"/>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showMasterSp="0" preserve="1" userDrawn="1">
  <p:cSld name="Individual: Augmented analytics (Title Lef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8" y="160421"/>
            <a:ext cx="1850297" cy="310499"/>
            <a:chOff x="164128" y="157289"/>
            <a:chExt cx="1814155"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72171"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Augmented analytics</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0" y="2932237"/>
            <a:ext cx="4495200" cy="1130053"/>
          </a:xfrm>
        </p:spPr>
        <p:txBody>
          <a:bodyPr anchor="ctr"/>
          <a:lstStyle>
            <a:lvl1pPr algn="l">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Rectangle 17">
            <a:hlinkClick r:id="rId3" action="ppaction://hlinksldjump"/>
            <a:extLst>
              <a:ext uri="{FF2B5EF4-FFF2-40B4-BE49-F238E27FC236}">
                <a16:creationId xmlns:a16="http://schemas.microsoft.com/office/drawing/2014/main" id="{C1AB6F95-B5F2-0745-A330-3FE54C991CA2}"/>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Rectangle 18">
            <a:hlinkClick r:id="rId4" action="ppaction://hlinksldjump"/>
            <a:extLst>
              <a:ext uri="{FF2B5EF4-FFF2-40B4-BE49-F238E27FC236}">
                <a16:creationId xmlns:a16="http://schemas.microsoft.com/office/drawing/2014/main" id="{939D6BE1-06CD-4047-A78C-8967A53A4F8B}"/>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84912767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03622194"/>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4865850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showMasterSp="0" preserve="1" userDrawn="1">
  <p:cSld name="Individual: Insights on the mov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7" y="160421"/>
            <a:ext cx="1851932" cy="310499"/>
            <a:chOff x="164128" y="157289"/>
            <a:chExt cx="1815758"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75377"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Insights on the move</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Rectangle 17">
            <a:hlinkClick r:id="rId3" action="ppaction://hlinksldjump"/>
            <a:extLst>
              <a:ext uri="{FF2B5EF4-FFF2-40B4-BE49-F238E27FC236}">
                <a16:creationId xmlns:a16="http://schemas.microsoft.com/office/drawing/2014/main" id="{5F0E7DDB-AE18-624B-8778-654CBB93692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Rectangle 18">
            <a:hlinkClick r:id="rId4" action="ppaction://hlinksldjump"/>
            <a:extLst>
              <a:ext uri="{FF2B5EF4-FFF2-40B4-BE49-F238E27FC236}">
                <a16:creationId xmlns:a16="http://schemas.microsoft.com/office/drawing/2014/main" id="{EE65DBDC-3526-124E-9D71-66A9A85AFF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171360952"/>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showMasterSp="0" preserve="1" userDrawn="1">
  <p:cSld name="Individual: Insights on the move (Title Lef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7" y="160421"/>
            <a:ext cx="1851932" cy="310499"/>
            <a:chOff x="164128" y="157289"/>
            <a:chExt cx="1815758"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75377"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Insights on the move</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Rectangle 17">
            <a:hlinkClick r:id="rId3" action="ppaction://hlinksldjump"/>
            <a:extLst>
              <a:ext uri="{FF2B5EF4-FFF2-40B4-BE49-F238E27FC236}">
                <a16:creationId xmlns:a16="http://schemas.microsoft.com/office/drawing/2014/main" id="{5F0E7DDB-AE18-624B-8778-654CBB93692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Rectangle 18">
            <a:hlinkClick r:id="rId4" action="ppaction://hlinksldjump"/>
            <a:extLst>
              <a:ext uri="{FF2B5EF4-FFF2-40B4-BE49-F238E27FC236}">
                <a16:creationId xmlns:a16="http://schemas.microsoft.com/office/drawing/2014/main" id="{EE65DBDC-3526-124E-9D71-66A9A85AFF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Title 2">
            <a:extLst>
              <a:ext uri="{FF2B5EF4-FFF2-40B4-BE49-F238E27FC236}">
                <a16:creationId xmlns:a16="http://schemas.microsoft.com/office/drawing/2014/main" id="{22BAD942-B6C2-964E-897D-D987E43FA38B}"/>
              </a:ext>
            </a:extLst>
          </p:cNvPr>
          <p:cNvSpPr>
            <a:spLocks noGrp="1"/>
          </p:cNvSpPr>
          <p:nvPr>
            <p:ph type="title"/>
          </p:nvPr>
        </p:nvSpPr>
        <p:spPr>
          <a:xfrm>
            <a:off x="594222" y="2954083"/>
            <a:ext cx="2887547" cy="878959"/>
          </a:xfrm>
        </p:spPr>
        <p:txBody>
          <a:bodyPr anchor="b"/>
          <a:lstStyle>
            <a:lvl1pPr algn="l">
              <a:defRPr sz="2856"/>
            </a:lvl1pPr>
          </a:lstStyle>
          <a:p>
            <a:r>
              <a:rPr lang="en-US"/>
              <a:t>Click to edit Master title style</a:t>
            </a:r>
          </a:p>
        </p:txBody>
      </p:sp>
      <p:sp>
        <p:nvSpPr>
          <p:cNvPr id="21" name="Text Placeholder 5">
            <a:extLst>
              <a:ext uri="{FF2B5EF4-FFF2-40B4-BE49-F238E27FC236}">
                <a16:creationId xmlns:a16="http://schemas.microsoft.com/office/drawing/2014/main" id="{DF0461B8-1601-E343-A49B-7992EA1D27A9}"/>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Tree>
    <p:extLst>
      <p:ext uri="{BB962C8B-B14F-4D97-AF65-F5344CB8AC3E}">
        <p14:creationId xmlns:p14="http://schemas.microsoft.com/office/powerpoint/2010/main" val="688596222"/>
      </p:ext>
    </p:extLst>
  </p:cSld>
  <p:clrMapOvr>
    <a:masterClrMapping/>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showMasterSp="0" preserve="1" userDrawn="1">
  <p:cSld name="Team: Productivity (GIF)">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22A3F70C-57C4-0249-AC49-86167446B80E}"/>
              </a:ext>
            </a:extLst>
          </p:cNvPr>
          <p:cNvGrpSpPr/>
          <p:nvPr userDrawn="1"/>
        </p:nvGrpSpPr>
        <p:grpSpPr>
          <a:xfrm>
            <a:off x="3446242" y="732119"/>
            <a:ext cx="8895800" cy="5722883"/>
            <a:chOff x="3378926" y="717827"/>
            <a:chExt cx="8722040" cy="5611179"/>
          </a:xfrm>
        </p:grpSpPr>
        <p:sp>
          <p:nvSpPr>
            <p:cNvPr id="25" name="Rectangle 24">
              <a:extLst>
                <a:ext uri="{FF2B5EF4-FFF2-40B4-BE49-F238E27FC236}">
                  <a16:creationId xmlns:a16="http://schemas.microsoft.com/office/drawing/2014/main" id="{0604B5B0-120B-4944-9CE7-7A035A730413}"/>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6" name="Picture 25">
              <a:extLst>
                <a:ext uri="{FF2B5EF4-FFF2-40B4-BE49-F238E27FC236}">
                  <a16:creationId xmlns:a16="http://schemas.microsoft.com/office/drawing/2014/main" id="{12A41C04-6C72-0C45-B3BD-C2E9083E8AB5}"/>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783869"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Productivity</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7" name="Rectangle 16">
            <a:hlinkClick r:id="rId4" action="ppaction://hlinksldjump"/>
            <a:extLst>
              <a:ext uri="{FF2B5EF4-FFF2-40B4-BE49-F238E27FC236}">
                <a16:creationId xmlns:a16="http://schemas.microsoft.com/office/drawing/2014/main" id="{33A372C3-A621-5348-A03A-0A3F62BF70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8" name="Rectangle 17">
            <a:hlinkClick r:id="rId5" action="ppaction://hlinksldjump"/>
            <a:extLst>
              <a:ext uri="{FF2B5EF4-FFF2-40B4-BE49-F238E27FC236}">
                <a16:creationId xmlns:a16="http://schemas.microsoft.com/office/drawing/2014/main" id="{0CAABA03-DC80-9B43-A42A-6439FABCCF8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2" name="Text Placeholder 5">
            <a:extLst>
              <a:ext uri="{FF2B5EF4-FFF2-40B4-BE49-F238E27FC236}">
                <a16:creationId xmlns:a16="http://schemas.microsoft.com/office/drawing/2014/main" id="{3FB1DC5C-0508-BA4D-90B6-30E164B7848D}"/>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3" name="Picture Placeholder 9">
            <a:extLst>
              <a:ext uri="{FF2B5EF4-FFF2-40B4-BE49-F238E27FC236}">
                <a16:creationId xmlns:a16="http://schemas.microsoft.com/office/drawing/2014/main" id="{24B40957-4743-D044-ABC0-AFEE4B3A211D}"/>
              </a:ext>
            </a:extLst>
          </p:cNvPr>
          <p:cNvSpPr>
            <a:spLocks noGrp="1"/>
          </p:cNvSpPr>
          <p:nvPr>
            <p:ph type="pic" sz="quarter" idx="12" hasCustomPrompt="1"/>
          </p:nvPr>
        </p:nvSpPr>
        <p:spPr>
          <a:xfrm>
            <a:off x="4122575" y="1501715"/>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502216558"/>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showMasterSp="0" preserve="1" userDrawn="1">
  <p:cSld name="Team: Productivit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783869"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Productivity</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7" name="Rectangle 16">
            <a:hlinkClick r:id="rId3" action="ppaction://hlinksldjump"/>
            <a:extLst>
              <a:ext uri="{FF2B5EF4-FFF2-40B4-BE49-F238E27FC236}">
                <a16:creationId xmlns:a16="http://schemas.microsoft.com/office/drawing/2014/main" id="{33A372C3-A621-5348-A03A-0A3F62BF70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8" name="Rectangle 17">
            <a:hlinkClick r:id="rId4" action="ppaction://hlinksldjump"/>
            <a:extLst>
              <a:ext uri="{FF2B5EF4-FFF2-40B4-BE49-F238E27FC236}">
                <a16:creationId xmlns:a16="http://schemas.microsoft.com/office/drawing/2014/main" id="{0CAABA03-DC80-9B43-A42A-6439FABCCF8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335216073"/>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showMasterSp="0" preserve="1" userDrawn="1">
  <p:cSld name="Team: Productivity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783869"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Productivity</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Text Placeholder 5">
            <a:extLst>
              <a:ext uri="{FF2B5EF4-FFF2-40B4-BE49-F238E27FC236}">
                <a16:creationId xmlns:a16="http://schemas.microsoft.com/office/drawing/2014/main" id="{14C12FDB-0D1D-2D4E-92AD-F6E526CCE019}"/>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19" name="Rectangle 18">
            <a:hlinkClick r:id="rId3" action="ppaction://hlinksldjump"/>
            <a:extLst>
              <a:ext uri="{FF2B5EF4-FFF2-40B4-BE49-F238E27FC236}">
                <a16:creationId xmlns:a16="http://schemas.microsoft.com/office/drawing/2014/main" id="{E1CEA93B-0C2F-5748-B22E-9A53155774A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Rectangle 19">
            <a:hlinkClick r:id="rId4" action="ppaction://hlinksldjump"/>
            <a:extLst>
              <a:ext uri="{FF2B5EF4-FFF2-40B4-BE49-F238E27FC236}">
                <a16:creationId xmlns:a16="http://schemas.microsoft.com/office/drawing/2014/main" id="{44E27974-37DE-4141-B19A-087B3F94DAA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855841409"/>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showMasterSp="0" preserve="1" userDrawn="1">
  <p:cSld name="Team: Action (GIF)">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E6A20E4B-53A0-8C4F-85C9-A968DE2F59B4}"/>
              </a:ext>
            </a:extLst>
          </p:cNvPr>
          <p:cNvGrpSpPr/>
          <p:nvPr userDrawn="1"/>
        </p:nvGrpSpPr>
        <p:grpSpPr>
          <a:xfrm>
            <a:off x="3446242" y="732119"/>
            <a:ext cx="8895800" cy="5722883"/>
            <a:chOff x="3378926" y="717827"/>
            <a:chExt cx="8722040" cy="5611179"/>
          </a:xfrm>
        </p:grpSpPr>
        <p:sp>
          <p:nvSpPr>
            <p:cNvPr id="29" name="Rectangle 28">
              <a:extLst>
                <a:ext uri="{FF2B5EF4-FFF2-40B4-BE49-F238E27FC236}">
                  <a16:creationId xmlns:a16="http://schemas.microsoft.com/office/drawing/2014/main" id="{CD942E42-B799-4D45-8E28-FA0CEB45EA36}"/>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0" name="Picture 29">
              <a:extLst>
                <a:ext uri="{FF2B5EF4-FFF2-40B4-BE49-F238E27FC236}">
                  <a16:creationId xmlns:a16="http://schemas.microsoft.com/office/drawing/2014/main" id="{31483085-6237-E646-BB26-FB291AC0296E}"/>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421590"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Action</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9" name="Rectangle 18">
            <a:hlinkClick r:id="rId4" action="ppaction://hlinksldjump"/>
            <a:extLst>
              <a:ext uri="{FF2B5EF4-FFF2-40B4-BE49-F238E27FC236}">
                <a16:creationId xmlns:a16="http://schemas.microsoft.com/office/drawing/2014/main" id="{527B52B8-9645-DE4D-9A4E-C54C2247F5E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Rectangle 19">
            <a:hlinkClick r:id="rId5" action="ppaction://hlinksldjump"/>
            <a:extLst>
              <a:ext uri="{FF2B5EF4-FFF2-40B4-BE49-F238E27FC236}">
                <a16:creationId xmlns:a16="http://schemas.microsoft.com/office/drawing/2014/main" id="{41CDD019-04F7-3940-9FF8-96CB94ACBBD0}"/>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3" name="Text Placeholder 5">
            <a:extLst>
              <a:ext uri="{FF2B5EF4-FFF2-40B4-BE49-F238E27FC236}">
                <a16:creationId xmlns:a16="http://schemas.microsoft.com/office/drawing/2014/main" id="{3309986B-9024-2644-86D1-33D6057DACB8}"/>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4" name="Picture Placeholder 9">
            <a:extLst>
              <a:ext uri="{FF2B5EF4-FFF2-40B4-BE49-F238E27FC236}">
                <a16:creationId xmlns:a16="http://schemas.microsoft.com/office/drawing/2014/main" id="{2203B53F-2EC9-0945-8FBF-B933716278C5}"/>
              </a:ext>
            </a:extLst>
          </p:cNvPr>
          <p:cNvSpPr>
            <a:spLocks noGrp="1"/>
          </p:cNvSpPr>
          <p:nvPr>
            <p:ph type="pic" sz="quarter" idx="12" hasCustomPrompt="1"/>
          </p:nvPr>
        </p:nvSpPr>
        <p:spPr>
          <a:xfrm>
            <a:off x="4120641" y="1499780"/>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268527995"/>
      </p:ext>
    </p:extLst>
  </p:cSld>
  <p:clrMapOvr>
    <a:masterClrMapping/>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showMasterSp="0" preserve="1" userDrawn="1">
  <p:cSld name="Team: Actio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421590"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Action</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9" name="Rectangle 18">
            <a:hlinkClick r:id="rId3" action="ppaction://hlinksldjump"/>
            <a:extLst>
              <a:ext uri="{FF2B5EF4-FFF2-40B4-BE49-F238E27FC236}">
                <a16:creationId xmlns:a16="http://schemas.microsoft.com/office/drawing/2014/main" id="{527B52B8-9645-DE4D-9A4E-C54C2247F5E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Rectangle 19">
            <a:hlinkClick r:id="rId4" action="ppaction://hlinksldjump"/>
            <a:extLst>
              <a:ext uri="{FF2B5EF4-FFF2-40B4-BE49-F238E27FC236}">
                <a16:creationId xmlns:a16="http://schemas.microsoft.com/office/drawing/2014/main" id="{41CDD019-04F7-3940-9FF8-96CB94ACBBD0}"/>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220160834"/>
      </p:ext>
    </p:extLst>
  </p:cSld>
  <p:clrMapOvr>
    <a:masterClrMapping/>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showMasterSp="0" preserve="1" userDrawn="1">
  <p:cSld name="Team: Collaboration (GIF)">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DA3F65FF-2942-254A-89F7-2D8FAC7FDAAE}"/>
              </a:ext>
            </a:extLst>
          </p:cNvPr>
          <p:cNvGrpSpPr/>
          <p:nvPr userDrawn="1"/>
        </p:nvGrpSpPr>
        <p:grpSpPr>
          <a:xfrm>
            <a:off x="3446242" y="732119"/>
            <a:ext cx="8895800" cy="5722883"/>
            <a:chOff x="3378926" y="717827"/>
            <a:chExt cx="8722040" cy="5611179"/>
          </a:xfrm>
        </p:grpSpPr>
        <p:sp>
          <p:nvSpPr>
            <p:cNvPr id="28" name="Rectangle 27">
              <a:extLst>
                <a:ext uri="{FF2B5EF4-FFF2-40B4-BE49-F238E27FC236}">
                  <a16:creationId xmlns:a16="http://schemas.microsoft.com/office/drawing/2014/main" id="{474B0D5B-B12F-7641-BDDE-864C374C4AE4}"/>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9" name="Picture 28">
              <a:extLst>
                <a:ext uri="{FF2B5EF4-FFF2-40B4-BE49-F238E27FC236}">
                  <a16:creationId xmlns:a16="http://schemas.microsoft.com/office/drawing/2014/main" id="{A111AEBB-FF18-3447-84D2-984796510E8F}"/>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25" name="Picture Placeholder 9">
            <a:extLst>
              <a:ext uri="{FF2B5EF4-FFF2-40B4-BE49-F238E27FC236}">
                <a16:creationId xmlns:a16="http://schemas.microsoft.com/office/drawing/2014/main" id="{99A58F40-3C2D-4B46-BE4E-B175053C28D6}"/>
              </a:ext>
            </a:extLst>
          </p:cNvPr>
          <p:cNvSpPr>
            <a:spLocks noGrp="1"/>
          </p:cNvSpPr>
          <p:nvPr>
            <p:ph type="pic" sz="quarter" idx="12" hasCustomPrompt="1"/>
          </p:nvPr>
        </p:nvSpPr>
        <p:spPr>
          <a:xfrm>
            <a:off x="4122575" y="1503649"/>
            <a:ext cx="7574756" cy="282513"/>
          </a:xfrm>
          <a:solidFill>
            <a:schemeClr val="bg1">
              <a:lumMod val="95000"/>
              <a:lumOff val="5000"/>
            </a:schemeClr>
          </a:solidFill>
        </p:spPr>
        <p:txBody>
          <a:bodyPr/>
          <a:lstStyle>
            <a:lvl1pPr marL="0" indent="0">
              <a:buNone/>
              <a:defRPr sz="1836"/>
            </a:lvl1pPr>
          </a:lstStyle>
          <a:p>
            <a:r>
              <a:rPr lang="en-US"/>
              <a:t>Add GIF</a:t>
            </a:r>
          </a:p>
        </p:txBody>
      </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0" name="Rectangle 19">
            <a:hlinkClick r:id="rId4" action="ppaction://hlinksldjump"/>
            <a:extLst>
              <a:ext uri="{FF2B5EF4-FFF2-40B4-BE49-F238E27FC236}">
                <a16:creationId xmlns:a16="http://schemas.microsoft.com/office/drawing/2014/main" id="{983DAB79-D91F-F04A-8088-92F3AC4C29C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884858"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Collaboration</a:t>
              </a:r>
            </a:p>
          </p:txBody>
        </p:sp>
      </p:grpSp>
      <p:sp>
        <p:nvSpPr>
          <p:cNvPr id="21" name="Rectangle 20">
            <a:hlinkClick r:id="rId5" action="ppaction://hlinksldjump"/>
            <a:extLst>
              <a:ext uri="{FF2B5EF4-FFF2-40B4-BE49-F238E27FC236}">
                <a16:creationId xmlns:a16="http://schemas.microsoft.com/office/drawing/2014/main" id="{E0167D9F-FE90-FE4E-A57B-5129370186C7}"/>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7" name="Text Placeholder 5">
            <a:extLst>
              <a:ext uri="{FF2B5EF4-FFF2-40B4-BE49-F238E27FC236}">
                <a16:creationId xmlns:a16="http://schemas.microsoft.com/office/drawing/2014/main" id="{F7D37F6A-A6CB-9445-A929-0C041FA5B468}"/>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Tree>
    <p:extLst>
      <p:ext uri="{BB962C8B-B14F-4D97-AF65-F5344CB8AC3E}">
        <p14:creationId xmlns:p14="http://schemas.microsoft.com/office/powerpoint/2010/main" val="1789176283"/>
      </p:ext>
    </p:extLst>
  </p:cSld>
  <p:clrMapOvr>
    <a:masterClrMapping/>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showMasterSp="0" preserve="1" userDrawn="1">
  <p:cSld name="Team: Collaboratio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884858"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Collaboration</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9" name="Rectangle 18">
            <a:hlinkClick r:id="rId3" action="ppaction://hlinksldjump"/>
            <a:extLst>
              <a:ext uri="{FF2B5EF4-FFF2-40B4-BE49-F238E27FC236}">
                <a16:creationId xmlns:a16="http://schemas.microsoft.com/office/drawing/2014/main" id="{14FE28F4-6DD2-9043-85EF-7DBC76A823E2}"/>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Rectangle 19">
            <a:hlinkClick r:id="rId4" action="ppaction://hlinksldjump"/>
            <a:extLst>
              <a:ext uri="{FF2B5EF4-FFF2-40B4-BE49-F238E27FC236}">
                <a16:creationId xmlns:a16="http://schemas.microsoft.com/office/drawing/2014/main" id="{8033620B-E92D-154B-A6C5-393EBA655DA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485254694"/>
      </p:ext>
    </p:extLst>
  </p:cSld>
  <p:clrMapOvr>
    <a:masterClrMapping/>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showMasterSp="0" preserve="1" userDrawn="1">
  <p:cSld name="Team: Collaboration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9" name="Text Placeholder 5">
            <a:extLst>
              <a:ext uri="{FF2B5EF4-FFF2-40B4-BE49-F238E27FC236}">
                <a16:creationId xmlns:a16="http://schemas.microsoft.com/office/drawing/2014/main" id="{1E4D005F-C534-C049-9B1E-F09CAE467CC5}"/>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0" name="Rectangle 19">
            <a:hlinkClick r:id="rId3" action="ppaction://hlinksldjump"/>
            <a:extLst>
              <a:ext uri="{FF2B5EF4-FFF2-40B4-BE49-F238E27FC236}">
                <a16:creationId xmlns:a16="http://schemas.microsoft.com/office/drawing/2014/main" id="{983DAB79-D91F-F04A-8088-92F3AC4C29C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884858"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Collaboration</a:t>
              </a:r>
            </a:p>
          </p:txBody>
        </p:sp>
      </p:grpSp>
      <p:sp>
        <p:nvSpPr>
          <p:cNvPr id="21" name="Rectangle 20">
            <a:hlinkClick r:id="rId4" action="ppaction://hlinksldjump"/>
            <a:extLst>
              <a:ext uri="{FF2B5EF4-FFF2-40B4-BE49-F238E27FC236}">
                <a16:creationId xmlns:a16="http://schemas.microsoft.com/office/drawing/2014/main" id="{E0167D9F-FE90-FE4E-A57B-5129370186C7}"/>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85943546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6865630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510.xml><?xml version="1.0" encoding="utf-8"?>
<p:sldLayout xmlns:a="http://schemas.openxmlformats.org/drawingml/2006/main" xmlns:r="http://schemas.openxmlformats.org/officeDocument/2006/relationships" xmlns:p="http://schemas.openxmlformats.org/presentationml/2006/main" showMasterSp="0" preserve="1" userDrawn="1">
  <p:cSld name="Organization: Trust &amp; compliance (GIF)">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D9CA2706-205E-F942-8E10-EC5975650595}"/>
              </a:ext>
            </a:extLst>
          </p:cNvPr>
          <p:cNvGrpSpPr/>
          <p:nvPr userDrawn="1"/>
        </p:nvGrpSpPr>
        <p:grpSpPr>
          <a:xfrm>
            <a:off x="3446242" y="732119"/>
            <a:ext cx="8895800" cy="5722883"/>
            <a:chOff x="3378926" y="717827"/>
            <a:chExt cx="8722040" cy="5611179"/>
          </a:xfrm>
        </p:grpSpPr>
        <p:sp>
          <p:nvSpPr>
            <p:cNvPr id="31" name="Rectangle 30">
              <a:extLst>
                <a:ext uri="{FF2B5EF4-FFF2-40B4-BE49-F238E27FC236}">
                  <a16:creationId xmlns:a16="http://schemas.microsoft.com/office/drawing/2014/main" id="{95C52724-0AC2-C040-BCC2-2F2706D258B9}"/>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2" name="Picture 31">
              <a:extLst>
                <a:ext uri="{FF2B5EF4-FFF2-40B4-BE49-F238E27FC236}">
                  <a16:creationId xmlns:a16="http://schemas.microsoft.com/office/drawing/2014/main" id="{F3363910-F0AA-0549-ACA3-41BA0617046A}"/>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283427"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Trust &amp; compliance</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8" name="Rectangle 27">
            <a:hlinkClick r:id="rId4" action="ppaction://hlinksldjump"/>
            <a:extLst>
              <a:ext uri="{FF2B5EF4-FFF2-40B4-BE49-F238E27FC236}">
                <a16:creationId xmlns:a16="http://schemas.microsoft.com/office/drawing/2014/main" id="{465E0800-6D5A-2346-8E4B-3826F77EAEAE}"/>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5" action="ppaction://hlinksldjump"/>
            <a:extLst>
              <a:ext uri="{FF2B5EF4-FFF2-40B4-BE49-F238E27FC236}">
                <a16:creationId xmlns:a16="http://schemas.microsoft.com/office/drawing/2014/main" id="{199DD6D7-2CB6-F642-95B4-2331A0807676}"/>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3" name="Text Placeholder 5">
            <a:extLst>
              <a:ext uri="{FF2B5EF4-FFF2-40B4-BE49-F238E27FC236}">
                <a16:creationId xmlns:a16="http://schemas.microsoft.com/office/drawing/2014/main" id="{9D289437-9436-B341-8583-3D4AF11F02A5}"/>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4" name="Picture Placeholder 9">
            <a:extLst>
              <a:ext uri="{FF2B5EF4-FFF2-40B4-BE49-F238E27FC236}">
                <a16:creationId xmlns:a16="http://schemas.microsoft.com/office/drawing/2014/main" id="{44F44FC3-4674-524D-9DF7-304F1F579030}"/>
              </a:ext>
            </a:extLst>
          </p:cNvPr>
          <p:cNvSpPr>
            <a:spLocks noGrp="1"/>
          </p:cNvSpPr>
          <p:nvPr>
            <p:ph type="pic" sz="quarter" idx="12" hasCustomPrompt="1"/>
          </p:nvPr>
        </p:nvSpPr>
        <p:spPr>
          <a:xfrm>
            <a:off x="4123537" y="1501715"/>
            <a:ext cx="7578428"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49906289"/>
      </p:ext>
    </p:extLst>
  </p:cSld>
  <p:clrMapOvr>
    <a:masterClrMapping/>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showMasterSp="0" preserve="1" userDrawn="1">
  <p:cSld name="Organization: Trust &amp; compliance ">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283427"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Trust &amp; compliance</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7" name="Rectangle 16">
            <a:hlinkClick r:id="rId3" action="ppaction://hlinksldjump"/>
            <a:extLst>
              <a:ext uri="{FF2B5EF4-FFF2-40B4-BE49-F238E27FC236}">
                <a16:creationId xmlns:a16="http://schemas.microsoft.com/office/drawing/2014/main" id="{33A372C3-A621-5348-A03A-0A3F62BF70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7" name="Rectangle 26">
            <a:hlinkClick r:id="rId4" action="ppaction://hlinksldjump"/>
            <a:extLst>
              <a:ext uri="{FF2B5EF4-FFF2-40B4-BE49-F238E27FC236}">
                <a16:creationId xmlns:a16="http://schemas.microsoft.com/office/drawing/2014/main" id="{30AE3878-1970-7745-BE41-1111CB48A8C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097132176"/>
      </p:ext>
    </p:extLst>
  </p:cSld>
  <p:clrMapOvr>
    <a:masterClrMapping/>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showMasterSp="0" preserve="1" userDrawn="1">
  <p:cSld name="Organization: Trust &amp; compliance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283427"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Trust &amp; compliance</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Text Placeholder 5">
            <a:extLst>
              <a:ext uri="{FF2B5EF4-FFF2-40B4-BE49-F238E27FC236}">
                <a16:creationId xmlns:a16="http://schemas.microsoft.com/office/drawing/2014/main" id="{2ED458E9-62FD-5043-B54C-C937062ECDEF}"/>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8" name="Rectangle 27">
            <a:hlinkClick r:id="rId3" action="ppaction://hlinksldjump"/>
            <a:extLst>
              <a:ext uri="{FF2B5EF4-FFF2-40B4-BE49-F238E27FC236}">
                <a16:creationId xmlns:a16="http://schemas.microsoft.com/office/drawing/2014/main" id="{465E0800-6D5A-2346-8E4B-3826F77EAEAE}"/>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4" action="ppaction://hlinksldjump"/>
            <a:extLst>
              <a:ext uri="{FF2B5EF4-FFF2-40B4-BE49-F238E27FC236}">
                <a16:creationId xmlns:a16="http://schemas.microsoft.com/office/drawing/2014/main" id="{199DD6D7-2CB6-F642-95B4-2331A0807676}"/>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352020928"/>
      </p:ext>
    </p:extLst>
  </p:cSld>
  <p:clrMapOvr>
    <a:masterClrMapping/>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showMasterSp="0" preserve="1" userDrawn="1">
  <p:cSld name="Organization: Operations &amp; auditability (GIF)">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A4850900-6446-994F-B853-D67BE1DABDCD}"/>
              </a:ext>
            </a:extLst>
          </p:cNvPr>
          <p:cNvGrpSpPr/>
          <p:nvPr userDrawn="1"/>
        </p:nvGrpSpPr>
        <p:grpSpPr>
          <a:xfrm>
            <a:off x="3446242" y="732119"/>
            <a:ext cx="8895800" cy="5722883"/>
            <a:chOff x="3378926" y="717827"/>
            <a:chExt cx="8722040" cy="5611179"/>
          </a:xfrm>
        </p:grpSpPr>
        <p:sp>
          <p:nvSpPr>
            <p:cNvPr id="31" name="Rectangle 30">
              <a:extLst>
                <a:ext uri="{FF2B5EF4-FFF2-40B4-BE49-F238E27FC236}">
                  <a16:creationId xmlns:a16="http://schemas.microsoft.com/office/drawing/2014/main" id="{51CE142F-EF96-D341-A620-0F23983E8C4C}"/>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2" name="Picture 31">
              <a:extLst>
                <a:ext uri="{FF2B5EF4-FFF2-40B4-BE49-F238E27FC236}">
                  <a16:creationId xmlns:a16="http://schemas.microsoft.com/office/drawing/2014/main" id="{1B38D6FF-23A6-C34C-B448-8D86D99D7646}"/>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667636"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Operations &amp; auditability</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8" name="Rectangle 27">
            <a:hlinkClick r:id="rId4" action="ppaction://hlinksldjump"/>
            <a:extLst>
              <a:ext uri="{FF2B5EF4-FFF2-40B4-BE49-F238E27FC236}">
                <a16:creationId xmlns:a16="http://schemas.microsoft.com/office/drawing/2014/main" id="{44D4327D-63EB-A240-B2D4-72C510EE39E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5" action="ppaction://hlinksldjump"/>
            <a:extLst>
              <a:ext uri="{FF2B5EF4-FFF2-40B4-BE49-F238E27FC236}">
                <a16:creationId xmlns:a16="http://schemas.microsoft.com/office/drawing/2014/main" id="{8B33380C-7EDE-7745-89F5-1D31A6D46E12}"/>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3" name="Text Placeholder 5">
            <a:extLst>
              <a:ext uri="{FF2B5EF4-FFF2-40B4-BE49-F238E27FC236}">
                <a16:creationId xmlns:a16="http://schemas.microsoft.com/office/drawing/2014/main" id="{7C064D4B-8DD3-9F41-B9CB-81570EAB2CEB}"/>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4" name="Picture Placeholder 9">
            <a:extLst>
              <a:ext uri="{FF2B5EF4-FFF2-40B4-BE49-F238E27FC236}">
                <a16:creationId xmlns:a16="http://schemas.microsoft.com/office/drawing/2014/main" id="{5DAA8108-ABA2-7E4B-A4FB-364161DA0D1A}"/>
              </a:ext>
            </a:extLst>
          </p:cNvPr>
          <p:cNvSpPr>
            <a:spLocks noGrp="1"/>
          </p:cNvSpPr>
          <p:nvPr>
            <p:ph type="pic" sz="quarter" idx="12" hasCustomPrompt="1"/>
          </p:nvPr>
        </p:nvSpPr>
        <p:spPr>
          <a:xfrm>
            <a:off x="4123537" y="1501715"/>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4072526843"/>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showMasterSp="0" preserve="1" userDrawn="1">
  <p:cSld name="Organization: Operations &amp; auditabilit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667636"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Operations &amp; auditability</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055EEBAA-1997-6442-AB78-0D42744B31BB}"/>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6130B599-8C58-0D45-B050-0CED826D2232}"/>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850995437"/>
      </p:ext>
    </p:extLst>
  </p:cSld>
  <p:clrMapOvr>
    <a:masterClrMapping/>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showMasterSp="0" preserve="1" userDrawn="1">
  <p:cSld name="Organization: Operations &amp; auditability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667636"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Operations &amp; auditability</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Text Placeholder 5">
            <a:extLst>
              <a:ext uri="{FF2B5EF4-FFF2-40B4-BE49-F238E27FC236}">
                <a16:creationId xmlns:a16="http://schemas.microsoft.com/office/drawing/2014/main" id="{78C5BC32-59AB-A449-AEDE-C4AAD39E5781}"/>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8" name="Rectangle 27">
            <a:hlinkClick r:id="rId3" action="ppaction://hlinksldjump"/>
            <a:extLst>
              <a:ext uri="{FF2B5EF4-FFF2-40B4-BE49-F238E27FC236}">
                <a16:creationId xmlns:a16="http://schemas.microsoft.com/office/drawing/2014/main" id="{44D4327D-63EB-A240-B2D4-72C510EE39E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4" action="ppaction://hlinksldjump"/>
            <a:extLst>
              <a:ext uri="{FF2B5EF4-FFF2-40B4-BE49-F238E27FC236}">
                <a16:creationId xmlns:a16="http://schemas.microsoft.com/office/drawing/2014/main" id="{8B33380C-7EDE-7745-89F5-1D31A6D46E12}"/>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805585348"/>
      </p:ext>
    </p:extLst>
  </p:cSld>
  <p:clrMapOvr>
    <a:masterClrMapping/>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showMasterSp="0" preserve="1" userDrawn="1">
  <p:cSld name="Organization: Information quality (GIF)">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544069BF-9F5E-854E-8B39-833F94B2C9D4}"/>
              </a:ext>
            </a:extLst>
          </p:cNvPr>
          <p:cNvGrpSpPr/>
          <p:nvPr userDrawn="1"/>
        </p:nvGrpSpPr>
        <p:grpSpPr>
          <a:xfrm>
            <a:off x="3446242" y="732119"/>
            <a:ext cx="8895800" cy="5722883"/>
            <a:chOff x="3378926" y="717827"/>
            <a:chExt cx="8722040" cy="5611179"/>
          </a:xfrm>
        </p:grpSpPr>
        <p:sp>
          <p:nvSpPr>
            <p:cNvPr id="30" name="Rectangle 29">
              <a:extLst>
                <a:ext uri="{FF2B5EF4-FFF2-40B4-BE49-F238E27FC236}">
                  <a16:creationId xmlns:a16="http://schemas.microsoft.com/office/drawing/2014/main" id="{708033A3-5FA6-9543-9D16-7523DCEAE426}"/>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1" name="Picture 30">
              <a:extLst>
                <a:ext uri="{FF2B5EF4-FFF2-40B4-BE49-F238E27FC236}">
                  <a16:creationId xmlns:a16="http://schemas.microsoft.com/office/drawing/2014/main" id="{5B2C2BF1-1C0D-E34D-B06B-5C59CEAA3C09}"/>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285061"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Information quality</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4" action="ppaction://hlinksldjump"/>
            <a:extLst>
              <a:ext uri="{FF2B5EF4-FFF2-40B4-BE49-F238E27FC236}">
                <a16:creationId xmlns:a16="http://schemas.microsoft.com/office/drawing/2014/main" id="{FBCDD758-0747-454F-BA54-54508631306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5" action="ppaction://hlinksldjump"/>
            <a:extLst>
              <a:ext uri="{FF2B5EF4-FFF2-40B4-BE49-F238E27FC236}">
                <a16:creationId xmlns:a16="http://schemas.microsoft.com/office/drawing/2014/main" id="{23E23B41-3107-CF46-B350-7FA1EFD01B2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2" name="Text Placeholder 5">
            <a:extLst>
              <a:ext uri="{FF2B5EF4-FFF2-40B4-BE49-F238E27FC236}">
                <a16:creationId xmlns:a16="http://schemas.microsoft.com/office/drawing/2014/main" id="{0F99FBB5-8E3E-0A4B-90BB-2F4734D62BEC}"/>
              </a:ext>
            </a:extLst>
          </p:cNvPr>
          <p:cNvSpPr>
            <a:spLocks noGrp="1"/>
          </p:cNvSpPr>
          <p:nvPr>
            <p:ph type="body" sz="quarter" idx="10"/>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3" name="Picture Placeholder 9">
            <a:extLst>
              <a:ext uri="{FF2B5EF4-FFF2-40B4-BE49-F238E27FC236}">
                <a16:creationId xmlns:a16="http://schemas.microsoft.com/office/drawing/2014/main" id="{94F16DAE-F32B-D846-830B-056FFC363898}"/>
              </a:ext>
            </a:extLst>
          </p:cNvPr>
          <p:cNvSpPr>
            <a:spLocks noGrp="1"/>
          </p:cNvSpPr>
          <p:nvPr>
            <p:ph type="pic" sz="quarter" idx="11" hasCustomPrompt="1"/>
          </p:nvPr>
        </p:nvSpPr>
        <p:spPr>
          <a:xfrm>
            <a:off x="4122575" y="1501714"/>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4278796483"/>
      </p:ext>
    </p:extLst>
  </p:cSld>
  <p:clrMapOvr>
    <a:masterClrMapping/>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showMasterSp="0" preserve="1" userDrawn="1">
  <p:cSld name="Organization: Information qualit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285061"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Information quality</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FBCDD758-0747-454F-BA54-54508631306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23E23B41-3107-CF46-B350-7FA1EFD01B2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832339499"/>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showMasterSp="0" preserve="1" userDrawn="1">
  <p:cSld name="Organization: Adoption (GIF)">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0182AC3E-ED44-BB47-A975-0AE96DA7BD66}"/>
              </a:ext>
            </a:extLst>
          </p:cNvPr>
          <p:cNvGrpSpPr/>
          <p:nvPr userDrawn="1"/>
        </p:nvGrpSpPr>
        <p:grpSpPr>
          <a:xfrm>
            <a:off x="3446242" y="732119"/>
            <a:ext cx="8895800" cy="5722883"/>
            <a:chOff x="3378926" y="717827"/>
            <a:chExt cx="8722040" cy="5611179"/>
          </a:xfrm>
        </p:grpSpPr>
        <p:sp>
          <p:nvSpPr>
            <p:cNvPr id="30" name="Rectangle 29">
              <a:extLst>
                <a:ext uri="{FF2B5EF4-FFF2-40B4-BE49-F238E27FC236}">
                  <a16:creationId xmlns:a16="http://schemas.microsoft.com/office/drawing/2014/main" id="{1BEF76F9-E087-0849-8267-F4E005594AF5}"/>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1" name="Picture 30">
              <a:extLst>
                <a:ext uri="{FF2B5EF4-FFF2-40B4-BE49-F238E27FC236}">
                  <a16:creationId xmlns:a16="http://schemas.microsoft.com/office/drawing/2014/main" id="{585C6C47-DB30-D149-8A6B-C55BD505BB4E}"/>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2" y="292189"/>
            <a:ext cx="626182"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Adoption</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2" y="2954111"/>
            <a:ext cx="2887547" cy="878930"/>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4" action="ppaction://hlinksldjump"/>
            <a:extLst>
              <a:ext uri="{FF2B5EF4-FFF2-40B4-BE49-F238E27FC236}">
                <a16:creationId xmlns:a16="http://schemas.microsoft.com/office/drawing/2014/main" id="{BFB452D2-3495-9745-B210-479C18A4315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5" action="ppaction://hlinksldjump"/>
            <a:extLst>
              <a:ext uri="{FF2B5EF4-FFF2-40B4-BE49-F238E27FC236}">
                <a16:creationId xmlns:a16="http://schemas.microsoft.com/office/drawing/2014/main" id="{13ED36F5-706E-4644-97F1-CACED378948B}"/>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2" name="Text Placeholder 5">
            <a:extLst>
              <a:ext uri="{FF2B5EF4-FFF2-40B4-BE49-F238E27FC236}">
                <a16:creationId xmlns:a16="http://schemas.microsoft.com/office/drawing/2014/main" id="{CFA442A1-4BEA-5348-8FB9-8C512C72D101}"/>
              </a:ext>
            </a:extLst>
          </p:cNvPr>
          <p:cNvSpPr>
            <a:spLocks noGrp="1"/>
          </p:cNvSpPr>
          <p:nvPr>
            <p:ph type="body" sz="quarter" idx="10"/>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3" name="Picture Placeholder 9">
            <a:extLst>
              <a:ext uri="{FF2B5EF4-FFF2-40B4-BE49-F238E27FC236}">
                <a16:creationId xmlns:a16="http://schemas.microsoft.com/office/drawing/2014/main" id="{C8C86257-A219-5D44-8D10-325932141407}"/>
              </a:ext>
            </a:extLst>
          </p:cNvPr>
          <p:cNvSpPr>
            <a:spLocks noGrp="1"/>
          </p:cNvSpPr>
          <p:nvPr>
            <p:ph type="pic" sz="quarter" idx="11" hasCustomPrompt="1"/>
          </p:nvPr>
        </p:nvSpPr>
        <p:spPr>
          <a:xfrm>
            <a:off x="4122575" y="1501715"/>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1000932507"/>
      </p:ext>
    </p:extLst>
  </p:cSld>
  <p:clrMapOvr>
    <a:masterClrMapping/>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showMasterSp="0" preserve="1" userDrawn="1">
  <p:cSld name="Organization: Adoptio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2" y="292189"/>
            <a:ext cx="626182"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Adoption</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BFB452D2-3495-9745-B210-479C18A4315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13ED36F5-706E-4644-97F1-CACED378948B}"/>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11415480"/>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3"/>
            </a:solidFill>
          </a:ln>
        </p:spPr>
        <p:txBody>
          <a:bodyPr wrap="square" lIns="182880" tIns="182880" rIns="182880" bIns="182880" anchor="t" anchorCtr="0">
            <a:noAutofit/>
          </a:bodyPr>
          <a:lstStyle>
            <a:lvl1pPr marL="0" indent="0">
              <a:buNone/>
              <a:defRPr sz="1122">
                <a:gradFill>
                  <a:gsLst>
                    <a:gs pos="82000">
                      <a:schemeClr val="accent3"/>
                    </a:gs>
                    <a:gs pos="0">
                      <a:schemeClr val="accent3"/>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3"/>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3"/>
                    </a:gs>
                    <a:gs pos="0">
                      <a:schemeClr val="accent3"/>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27013938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520.xml><?xml version="1.0" encoding="utf-8"?>
<p:sldLayout xmlns:a="http://schemas.openxmlformats.org/drawingml/2006/main" xmlns:r="http://schemas.openxmlformats.org/officeDocument/2006/relationships" xmlns:p="http://schemas.openxmlformats.org/presentationml/2006/main" showMasterSp="0" preserve="1" userDrawn="1">
  <p:cSld name="Organization: Adoption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2" y="292189"/>
            <a:ext cx="626182"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Adoption</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Text Placeholder 5">
            <a:extLst>
              <a:ext uri="{FF2B5EF4-FFF2-40B4-BE49-F238E27FC236}">
                <a16:creationId xmlns:a16="http://schemas.microsoft.com/office/drawing/2014/main" id="{4E1FBAD6-64D5-D644-9AC7-6303D802FD71}"/>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8" name="Rectangle 27">
            <a:hlinkClick r:id="rId3" action="ppaction://hlinksldjump"/>
            <a:extLst>
              <a:ext uri="{FF2B5EF4-FFF2-40B4-BE49-F238E27FC236}">
                <a16:creationId xmlns:a16="http://schemas.microsoft.com/office/drawing/2014/main" id="{20DFDB25-ECBC-AE4F-9C08-96E8A61491EB}"/>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4" action="ppaction://hlinksldjump"/>
            <a:extLst>
              <a:ext uri="{FF2B5EF4-FFF2-40B4-BE49-F238E27FC236}">
                <a16:creationId xmlns:a16="http://schemas.microsoft.com/office/drawing/2014/main" id="{461D5DD9-3F0F-794A-A08A-063EFFAEED81}"/>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075986763"/>
      </p:ext>
    </p:extLst>
  </p:cSld>
  <p:clrMapOvr>
    <a:masterClrMapping/>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showMasterSp="0" preserve="1" userDrawn="1">
  <p:cSld name="Organization: Connectivity, transform &amp; prep (GIF)">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F3482CE-701A-114A-BE72-52ECDF834CE0}"/>
              </a:ext>
            </a:extLst>
          </p:cNvPr>
          <p:cNvGrpSpPr/>
          <p:nvPr userDrawn="1"/>
        </p:nvGrpSpPr>
        <p:grpSpPr>
          <a:xfrm>
            <a:off x="3446242" y="732119"/>
            <a:ext cx="8895800" cy="5722883"/>
            <a:chOff x="3378926" y="717827"/>
            <a:chExt cx="8722040" cy="5611179"/>
          </a:xfrm>
        </p:grpSpPr>
        <p:sp>
          <p:nvSpPr>
            <p:cNvPr id="34" name="Rectangle 33">
              <a:extLst>
                <a:ext uri="{FF2B5EF4-FFF2-40B4-BE49-F238E27FC236}">
                  <a16:creationId xmlns:a16="http://schemas.microsoft.com/office/drawing/2014/main" id="{40CFC068-D72B-DA4F-82DB-F04364C9ACF5}"/>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5" name="Picture 34">
              <a:extLst>
                <a:ext uri="{FF2B5EF4-FFF2-40B4-BE49-F238E27FC236}">
                  <a16:creationId xmlns:a16="http://schemas.microsoft.com/office/drawing/2014/main" id="{D79A2110-DD7C-A94D-A127-5F75376F2881}"/>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2055117"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Connectivity, transform &amp; prep</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8" name="Rectangle 27">
            <a:hlinkClick r:id="rId4" action="ppaction://hlinksldjump"/>
            <a:extLst>
              <a:ext uri="{FF2B5EF4-FFF2-40B4-BE49-F238E27FC236}">
                <a16:creationId xmlns:a16="http://schemas.microsoft.com/office/drawing/2014/main" id="{8DCED002-34D0-7944-B034-1CD5EC62CF5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5" action="ppaction://hlinksldjump"/>
            <a:extLst>
              <a:ext uri="{FF2B5EF4-FFF2-40B4-BE49-F238E27FC236}">
                <a16:creationId xmlns:a16="http://schemas.microsoft.com/office/drawing/2014/main" id="{0BFF32A6-8013-2E40-9622-07A2CAC50AD3}"/>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2" y="2954111"/>
            <a:ext cx="2860901" cy="878930"/>
          </a:xfrm>
        </p:spPr>
        <p:txBody>
          <a:bodyPr anchor="b"/>
          <a:lstStyle>
            <a:lvl1pPr algn="l">
              <a:defRPr sz="2856"/>
            </a:lvl1pPr>
          </a:lstStyle>
          <a:p>
            <a:r>
              <a:rPr lang="en-US"/>
              <a:t>Click to edit Master title style</a:t>
            </a:r>
          </a:p>
        </p:txBody>
      </p:sp>
      <p:sp>
        <p:nvSpPr>
          <p:cNvPr id="27" name="Text Placeholder 5">
            <a:extLst>
              <a:ext uri="{FF2B5EF4-FFF2-40B4-BE49-F238E27FC236}">
                <a16:creationId xmlns:a16="http://schemas.microsoft.com/office/drawing/2014/main" id="{6DF6C9F0-5DAE-CB42-8727-887A0AEDB460}"/>
              </a:ext>
            </a:extLst>
          </p:cNvPr>
          <p:cNvSpPr>
            <a:spLocks noGrp="1"/>
          </p:cNvSpPr>
          <p:nvPr>
            <p:ph type="body" sz="quarter" idx="10"/>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10" name="Picture Placeholder 9">
            <a:extLst>
              <a:ext uri="{FF2B5EF4-FFF2-40B4-BE49-F238E27FC236}">
                <a16:creationId xmlns:a16="http://schemas.microsoft.com/office/drawing/2014/main" id="{D5EC58D2-C99D-0948-A914-66AFE3AB0C10}"/>
              </a:ext>
            </a:extLst>
          </p:cNvPr>
          <p:cNvSpPr>
            <a:spLocks noGrp="1"/>
          </p:cNvSpPr>
          <p:nvPr>
            <p:ph type="pic" sz="quarter" idx="11" hasCustomPrompt="1"/>
          </p:nvPr>
        </p:nvSpPr>
        <p:spPr>
          <a:xfrm>
            <a:off x="4122575" y="1511231"/>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297549183"/>
      </p:ext>
    </p:extLst>
  </p:cSld>
  <p:clrMapOvr>
    <a:masterClrMapping/>
  </p:clrMapOvr>
  <p:transition>
    <p:fade/>
  </p:transition>
  <p:extLst>
    <p:ext uri="{DCECCB84-F9BA-43D5-87BE-67443E8EF086}">
      <p15:sldGuideLst xmlns:p15="http://schemas.microsoft.com/office/powerpoint/2012/main">
        <p15:guide id="1" orient="horz" pos="2370" userDrawn="1">
          <p15:clr>
            <a:srgbClr val="FBAE40"/>
          </p15:clr>
        </p15:guide>
        <p15:guide id="2" orient="horz" pos="2452" userDrawn="1">
          <p15:clr>
            <a:srgbClr val="FBAE40"/>
          </p15:clr>
        </p15:guide>
      </p15:sldGuideLst>
    </p:ext>
  </p:extLst>
</p:sldLayout>
</file>

<file path=ppt/slideLayouts/slideLayout522.xml><?xml version="1.0" encoding="utf-8"?>
<p:sldLayout xmlns:a="http://schemas.openxmlformats.org/drawingml/2006/main" xmlns:r="http://schemas.openxmlformats.org/officeDocument/2006/relationships" xmlns:p="http://schemas.openxmlformats.org/presentationml/2006/main" showMasterSp="0" preserve="1" userDrawn="1">
  <p:cSld name="Organization: Connectivity, transform &amp; prep">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2055117"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Connectivity, transform &amp; prep</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6319EA6C-D4C0-2E46-B312-C10EEF1307E3}"/>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994BD4FD-3141-104D-8ADC-FBA831D66217}"/>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796374807"/>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showMasterSp="0" preserve="1" userDrawn="1">
  <p:cSld name="Organization: Connectivity, transform &amp; prep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2055117"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Connectivity, transform &amp; prep</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6319EA6C-D4C0-2E46-B312-C10EEF1307E3}"/>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Text Placeholder 5">
            <a:extLst>
              <a:ext uri="{FF2B5EF4-FFF2-40B4-BE49-F238E27FC236}">
                <a16:creationId xmlns:a16="http://schemas.microsoft.com/office/drawing/2014/main" id="{C95D9C29-052E-1742-9CDF-ACFA951C4C3E}"/>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28" name="Rectangle 27">
            <a:hlinkClick r:id="rId4" action="ppaction://hlinksldjump"/>
            <a:extLst>
              <a:ext uri="{FF2B5EF4-FFF2-40B4-BE49-F238E27FC236}">
                <a16:creationId xmlns:a16="http://schemas.microsoft.com/office/drawing/2014/main" id="{994BD4FD-3141-104D-8ADC-FBA831D66217}"/>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802936279"/>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showMasterSp="0" preserve="1" userDrawn="1">
  <p:cSld name="Organization: Big data (GIF)">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3E1809D-E5DB-4C4B-8445-53AF04C4E87A}"/>
              </a:ext>
            </a:extLst>
          </p:cNvPr>
          <p:cNvGrpSpPr/>
          <p:nvPr userDrawn="1"/>
        </p:nvGrpSpPr>
        <p:grpSpPr>
          <a:xfrm>
            <a:off x="3446242" y="732119"/>
            <a:ext cx="8895800" cy="5722883"/>
            <a:chOff x="3378926" y="717827"/>
            <a:chExt cx="8722040" cy="5611179"/>
          </a:xfrm>
        </p:grpSpPr>
        <p:sp>
          <p:nvSpPr>
            <p:cNvPr id="31" name="Rectangle 30">
              <a:extLst>
                <a:ext uri="{FF2B5EF4-FFF2-40B4-BE49-F238E27FC236}">
                  <a16:creationId xmlns:a16="http://schemas.microsoft.com/office/drawing/2014/main" id="{ADC57B56-FF9D-CE4F-B6EE-42E0CF456818}"/>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2" name="Picture 31">
              <a:extLst>
                <a:ext uri="{FF2B5EF4-FFF2-40B4-BE49-F238E27FC236}">
                  <a16:creationId xmlns:a16="http://schemas.microsoft.com/office/drawing/2014/main" id="{FC4D89FE-561A-4D42-87DB-9A38AFD60379}"/>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549339"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Big data</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87547"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8" name="Rectangle 27">
            <a:hlinkClick r:id="rId4" action="ppaction://hlinksldjump"/>
            <a:extLst>
              <a:ext uri="{FF2B5EF4-FFF2-40B4-BE49-F238E27FC236}">
                <a16:creationId xmlns:a16="http://schemas.microsoft.com/office/drawing/2014/main" id="{B5CA339E-E10C-C046-A87F-AB1AD9F6777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5" action="ppaction://hlinksldjump"/>
            <a:extLst>
              <a:ext uri="{FF2B5EF4-FFF2-40B4-BE49-F238E27FC236}">
                <a16:creationId xmlns:a16="http://schemas.microsoft.com/office/drawing/2014/main" id="{12BAC764-DF06-9647-8E0C-1DD2D4B1F71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3" name="Text Placeholder 5">
            <a:extLst>
              <a:ext uri="{FF2B5EF4-FFF2-40B4-BE49-F238E27FC236}">
                <a16:creationId xmlns:a16="http://schemas.microsoft.com/office/drawing/2014/main" id="{DC7CEEBC-C183-F448-A7ED-B9F437B3271D}"/>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4" name="Picture Placeholder 9">
            <a:extLst>
              <a:ext uri="{FF2B5EF4-FFF2-40B4-BE49-F238E27FC236}">
                <a16:creationId xmlns:a16="http://schemas.microsoft.com/office/drawing/2014/main" id="{B99FE3D4-78FB-3141-B631-F0787CD24EBC}"/>
              </a:ext>
            </a:extLst>
          </p:cNvPr>
          <p:cNvSpPr>
            <a:spLocks noGrp="1"/>
          </p:cNvSpPr>
          <p:nvPr>
            <p:ph type="pic" sz="quarter" idx="12" hasCustomPrompt="1"/>
          </p:nvPr>
        </p:nvSpPr>
        <p:spPr>
          <a:xfrm>
            <a:off x="4122575" y="1501715"/>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917829961"/>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showMasterSp="0" preserve="1" userDrawn="1">
  <p:cSld name="Organization: Big data">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549339"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Big data</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D441930E-F2F1-564F-8BA6-3C39B6A3A9A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28" name="Rectangle 27">
            <a:hlinkClick r:id="rId4" action="ppaction://hlinksldjump"/>
            <a:extLst>
              <a:ext uri="{FF2B5EF4-FFF2-40B4-BE49-F238E27FC236}">
                <a16:creationId xmlns:a16="http://schemas.microsoft.com/office/drawing/2014/main" id="{2E628810-5232-9F49-AD70-92C982EC301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934460991"/>
      </p:ext>
    </p:extLst>
  </p:cSld>
  <p:clrMapOvr>
    <a:masterClrMapping/>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showMasterSp="0" preserve="1" userDrawn="1">
  <p:cSld name="Organization: Big data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549339"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Big data</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D441930E-F2F1-564F-8BA6-3C39B6A3A9A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28" name="Rectangle 27">
            <a:hlinkClick r:id="rId4" action="ppaction://hlinksldjump"/>
            <a:extLst>
              <a:ext uri="{FF2B5EF4-FFF2-40B4-BE49-F238E27FC236}">
                <a16:creationId xmlns:a16="http://schemas.microsoft.com/office/drawing/2014/main" id="{2E628810-5232-9F49-AD70-92C982EC301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Text Placeholder 5">
            <a:extLst>
              <a:ext uri="{FF2B5EF4-FFF2-40B4-BE49-F238E27FC236}">
                <a16:creationId xmlns:a16="http://schemas.microsoft.com/office/drawing/2014/main" id="{CE70B7EB-0653-034C-8CF6-91E37CDCBB85}"/>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Tree>
    <p:extLst>
      <p:ext uri="{BB962C8B-B14F-4D97-AF65-F5344CB8AC3E}">
        <p14:creationId xmlns:p14="http://schemas.microsoft.com/office/powerpoint/2010/main" val="310442423"/>
      </p:ext>
    </p:extLst>
  </p:cSld>
  <p:clrMapOvr>
    <a:masterClrMapping/>
  </p:clrMapOvr>
  <p:transition>
    <p:fade/>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showMasterSp="0" preserve="1" userDrawn="1">
  <p:cSld name="Organization: Semantic models (GIF)">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422A1800-8348-1F43-B08C-59E62B0495E2}"/>
              </a:ext>
            </a:extLst>
          </p:cNvPr>
          <p:cNvGrpSpPr/>
          <p:nvPr userDrawn="1"/>
        </p:nvGrpSpPr>
        <p:grpSpPr>
          <a:xfrm>
            <a:off x="3446242" y="732119"/>
            <a:ext cx="8895800" cy="5722883"/>
            <a:chOff x="3378926" y="717827"/>
            <a:chExt cx="8722040" cy="5611179"/>
          </a:xfrm>
        </p:grpSpPr>
        <p:sp>
          <p:nvSpPr>
            <p:cNvPr id="38" name="Rectangle 37">
              <a:extLst>
                <a:ext uri="{FF2B5EF4-FFF2-40B4-BE49-F238E27FC236}">
                  <a16:creationId xmlns:a16="http://schemas.microsoft.com/office/drawing/2014/main" id="{5F092EC2-0DBE-AF41-B591-115C2B6F2271}"/>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9" name="Picture 38">
              <a:extLst>
                <a:ext uri="{FF2B5EF4-FFF2-40B4-BE49-F238E27FC236}">
                  <a16:creationId xmlns:a16="http://schemas.microsoft.com/office/drawing/2014/main" id="{C78A8A6E-2B8D-7049-91AD-EB9C4E162A34}"/>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2" y="292189"/>
            <a:ext cx="1829497"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Enterprise semantic models</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2"/>
            <a:ext cx="2887547"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4" action="ppaction://hlinksldjump"/>
            <a:extLst>
              <a:ext uri="{FF2B5EF4-FFF2-40B4-BE49-F238E27FC236}">
                <a16:creationId xmlns:a16="http://schemas.microsoft.com/office/drawing/2014/main" id="{628F6330-E0BE-184F-A818-57661FE59E11}"/>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5" action="ppaction://hlinksldjump"/>
            <a:extLst>
              <a:ext uri="{FF2B5EF4-FFF2-40B4-BE49-F238E27FC236}">
                <a16:creationId xmlns:a16="http://schemas.microsoft.com/office/drawing/2014/main" id="{6200091A-C529-F741-AA52-0E476CFC2032}"/>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3" name="Text Placeholder 5">
            <a:extLst>
              <a:ext uri="{FF2B5EF4-FFF2-40B4-BE49-F238E27FC236}">
                <a16:creationId xmlns:a16="http://schemas.microsoft.com/office/drawing/2014/main" id="{31513F8A-6F08-214A-81C7-29A8AC6A44DC}"/>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4" name="Picture Placeholder 9">
            <a:extLst>
              <a:ext uri="{FF2B5EF4-FFF2-40B4-BE49-F238E27FC236}">
                <a16:creationId xmlns:a16="http://schemas.microsoft.com/office/drawing/2014/main" id="{7CDB50A8-E272-3C47-982D-16B24A805F15}"/>
              </a:ext>
            </a:extLst>
          </p:cNvPr>
          <p:cNvSpPr>
            <a:spLocks noGrp="1"/>
          </p:cNvSpPr>
          <p:nvPr>
            <p:ph type="pic" sz="quarter" idx="12" hasCustomPrompt="1"/>
          </p:nvPr>
        </p:nvSpPr>
        <p:spPr>
          <a:xfrm>
            <a:off x="4122576" y="1501715"/>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88249477"/>
      </p:ext>
    </p:extLst>
  </p:cSld>
  <p:clrMapOvr>
    <a:masterClrMapping/>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showMasterSp="0" preserve="1" userDrawn="1">
  <p:cSld name="Organization: Semantic model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2" y="292189"/>
            <a:ext cx="1829497"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Enterprise semantic models</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628F6330-E0BE-184F-A818-57661FE59E11}"/>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6200091A-C529-F741-AA52-0E476CFC2032}"/>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770018092"/>
      </p:ext>
    </p:extLst>
  </p:cSld>
  <p:clrMapOvr>
    <a:masterClrMapping/>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showMasterSp="0" preserve="1" userDrawn="1">
  <p:cSld name="Organization: Reporting (GIF)">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0348131C-9254-2041-AF81-91DC6B80475F}"/>
              </a:ext>
            </a:extLst>
          </p:cNvPr>
          <p:cNvGrpSpPr/>
          <p:nvPr userDrawn="1"/>
        </p:nvGrpSpPr>
        <p:grpSpPr>
          <a:xfrm>
            <a:off x="3446242" y="732119"/>
            <a:ext cx="8895800" cy="5722883"/>
            <a:chOff x="3378926" y="717827"/>
            <a:chExt cx="8722040" cy="5611179"/>
          </a:xfrm>
        </p:grpSpPr>
        <p:sp>
          <p:nvSpPr>
            <p:cNvPr id="35" name="Rectangle 34">
              <a:extLst>
                <a:ext uri="{FF2B5EF4-FFF2-40B4-BE49-F238E27FC236}">
                  <a16:creationId xmlns:a16="http://schemas.microsoft.com/office/drawing/2014/main" id="{4C8AFA8E-626E-3448-B7EA-51CE8DBB4A37}"/>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6" name="Picture 35">
              <a:extLst>
                <a:ext uri="{FF2B5EF4-FFF2-40B4-BE49-F238E27FC236}">
                  <a16:creationId xmlns:a16="http://schemas.microsoft.com/office/drawing/2014/main" id="{4A708574-F76D-084A-BA1E-87E4263B12D9}"/>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2290549"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Enterprise reporting &amp; distribution</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25373"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4" action="ppaction://hlinksldjump"/>
            <a:extLst>
              <a:ext uri="{FF2B5EF4-FFF2-40B4-BE49-F238E27FC236}">
                <a16:creationId xmlns:a16="http://schemas.microsoft.com/office/drawing/2014/main" id="{D833B2F9-3794-2E47-8328-A0621580EB81}"/>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5" action="ppaction://hlinksldjump"/>
            <a:extLst>
              <a:ext uri="{FF2B5EF4-FFF2-40B4-BE49-F238E27FC236}">
                <a16:creationId xmlns:a16="http://schemas.microsoft.com/office/drawing/2014/main" id="{6141C7E0-1239-1542-A5A6-462DEEB33AD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organization</a:t>
            </a:r>
          </a:p>
        </p:txBody>
      </p:sp>
      <p:sp>
        <p:nvSpPr>
          <p:cNvPr id="31" name="Text Placeholder 5">
            <a:extLst>
              <a:ext uri="{FF2B5EF4-FFF2-40B4-BE49-F238E27FC236}">
                <a16:creationId xmlns:a16="http://schemas.microsoft.com/office/drawing/2014/main" id="{BAD38AB6-A744-C045-BCCD-2AFA7EFF08B0}"/>
              </a:ext>
            </a:extLst>
          </p:cNvPr>
          <p:cNvSpPr>
            <a:spLocks noGrp="1"/>
          </p:cNvSpPr>
          <p:nvPr>
            <p:ph type="body" sz="quarter" idx="10"/>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2" name="Picture Placeholder 9">
            <a:extLst>
              <a:ext uri="{FF2B5EF4-FFF2-40B4-BE49-F238E27FC236}">
                <a16:creationId xmlns:a16="http://schemas.microsoft.com/office/drawing/2014/main" id="{4916A006-2DE4-A843-B4C0-CD7F4EF25679}"/>
              </a:ext>
            </a:extLst>
          </p:cNvPr>
          <p:cNvSpPr>
            <a:spLocks noGrp="1"/>
          </p:cNvSpPr>
          <p:nvPr>
            <p:ph type="pic" sz="quarter" idx="11" hasCustomPrompt="1"/>
          </p:nvPr>
        </p:nvSpPr>
        <p:spPr>
          <a:xfrm>
            <a:off x="4122575" y="1501715"/>
            <a:ext cx="7574756" cy="282513"/>
          </a:xfrm>
          <a:solidFill>
            <a:schemeClr val="bg1"/>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200575844"/>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A65A59F1-2978-45D9-BC82-8A3493696A37}"/>
              </a:ext>
            </a:extLst>
          </p:cNvPr>
          <p:cNvSpPr/>
          <p:nvPr userDrawn="1"/>
        </p:nvSpPr>
        <p:spPr bwMode="auto">
          <a:xfrm>
            <a:off x="550408" y="463089"/>
            <a:ext cx="801002"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8C6ADCC5-50CD-4471-BC1B-8A5031DA934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9783" y="623042"/>
            <a:ext cx="462251" cy="462244"/>
          </a:xfrm>
          <a:prstGeom prst="rect">
            <a:avLst/>
          </a:prstGeom>
        </p:spPr>
      </p:pic>
    </p:spTree>
    <p:extLst>
      <p:ext uri="{BB962C8B-B14F-4D97-AF65-F5344CB8AC3E}">
        <p14:creationId xmlns:p14="http://schemas.microsoft.com/office/powerpoint/2010/main" val="29399440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530.xml><?xml version="1.0" encoding="utf-8"?>
<p:sldLayout xmlns:a="http://schemas.openxmlformats.org/drawingml/2006/main" xmlns:r="http://schemas.openxmlformats.org/officeDocument/2006/relationships" xmlns:p="http://schemas.openxmlformats.org/presentationml/2006/main" showMasterSp="0" preserve="1" userDrawn="1">
  <p:cSld name="Organization: Reportin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2290549"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Enterprise reporting &amp; distribution</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D833B2F9-3794-2E47-8328-A0621580EB81}"/>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6141C7E0-1239-1542-A5A6-462DEEB33AD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Tree>
    <p:extLst>
      <p:ext uri="{BB962C8B-B14F-4D97-AF65-F5344CB8AC3E}">
        <p14:creationId xmlns:p14="http://schemas.microsoft.com/office/powerpoint/2010/main" val="1072993570"/>
      </p:ext>
    </p:extLst>
  </p:cSld>
  <p:clrMapOvr>
    <a:masterClrMapping/>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solidFill>
                  <a:schemeClr val="tx1"/>
                </a:solidFill>
                <a:cs typeface="Segoe UI" pitchFamily="34" charset="0"/>
              </a:rPr>
              <a:t>© Copyright Microsoft Corporation. All rights reserved. </a:t>
            </a:r>
          </a:p>
        </p:txBody>
      </p:sp>
      <p:pic>
        <p:nvPicPr>
          <p:cNvPr id="5" name="MS logo gray - EMF" descr="Microsoft logo, gray text version">
            <a:extLst>
              <a:ext uri="{FF2B5EF4-FFF2-40B4-BE49-F238E27FC236}">
                <a16:creationId xmlns:a16="http://schemas.microsoft.com/office/drawing/2014/main" id="{82665ECD-7F1D-7243-AF57-A5771ECA1D87}"/>
              </a:ext>
            </a:extLst>
          </p:cNvPr>
          <p:cNvPicPr>
            <a:picLocks noChangeAspect="1"/>
          </p:cNvPicPr>
          <p:nvPr userDrawn="1"/>
        </p:nvPicPr>
        <p:blipFill>
          <a:blip r:embed="rId2"/>
          <a:stretch>
            <a:fillRect/>
          </a:stretch>
        </p:blipFill>
        <p:spPr bwMode="black">
          <a:xfrm>
            <a:off x="595838" y="597451"/>
            <a:ext cx="1393662" cy="298433"/>
          </a:xfrm>
          <a:prstGeom prst="rect">
            <a:avLst/>
          </a:prstGeom>
        </p:spPr>
      </p:pic>
    </p:spTree>
    <p:extLst>
      <p:ext uri="{BB962C8B-B14F-4D97-AF65-F5344CB8AC3E}">
        <p14:creationId xmlns:p14="http://schemas.microsoft.com/office/powerpoint/2010/main" val="3715382537"/>
      </p:ext>
    </p:extLst>
  </p:cSld>
  <p:clrMapOvr>
    <a:masterClrMapping/>
  </p:clrMapOvr>
  <p:transition>
    <p:fade/>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361" y="1144706"/>
            <a:ext cx="932616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361" y="3673745"/>
            <a:ext cx="932616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926EC1BD-4F0B-4D5A-8551-0DFF0F9B2C4B}" type="datetimeFigureOut">
              <a:rPr lang="en-US" smtClean="0"/>
              <a:t>9/1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2066858168"/>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26EC1BD-4F0B-4D5A-8551-0DFF0F9B2C4B}" type="datetimeFigureOut">
              <a:rPr lang="en-US" smtClean="0"/>
              <a:t>9/1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695384939"/>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422" y="1743775"/>
            <a:ext cx="10725091"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422" y="4680828"/>
            <a:ext cx="10725091"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26EC1BD-4F0B-4D5A-8551-0DFF0F9B2C4B}" type="datetimeFigureOut">
              <a:rPr lang="en-US" smtClean="0"/>
              <a:t>9/1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3109576744"/>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4899" y="1861968"/>
            <a:ext cx="5284827"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162" y="1861968"/>
            <a:ext cx="5284827"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26EC1BD-4F0B-4D5A-8551-0DFF0F9B2C4B}" type="datetimeFigureOut">
              <a:rPr lang="en-US" smtClean="0"/>
              <a:t>9/16/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1738509614"/>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518" y="372394"/>
            <a:ext cx="10725091" cy="1351952"/>
          </a:xfrm>
        </p:spPr>
        <p:txBody>
          <a:bodyPr/>
          <a:lstStyle/>
          <a:p>
            <a:r>
              <a:rPr lang="en-US"/>
              <a:t>Click to edit Master title style</a:t>
            </a:r>
          </a:p>
        </p:txBody>
      </p:sp>
      <p:sp>
        <p:nvSpPr>
          <p:cNvPr id="3" name="Text Placeholder 2"/>
          <p:cNvSpPr>
            <a:spLocks noGrp="1"/>
          </p:cNvSpPr>
          <p:nvPr>
            <p:ph type="body" idx="1"/>
          </p:nvPr>
        </p:nvSpPr>
        <p:spPr>
          <a:xfrm>
            <a:off x="856519" y="1714631"/>
            <a:ext cx="5260540"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4" name="Content Placeholder 3"/>
          <p:cNvSpPr>
            <a:spLocks noGrp="1"/>
          </p:cNvSpPr>
          <p:nvPr>
            <p:ph sz="half" idx="2"/>
          </p:nvPr>
        </p:nvSpPr>
        <p:spPr>
          <a:xfrm>
            <a:off x="856519" y="2554944"/>
            <a:ext cx="5260540"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162" y="1714631"/>
            <a:ext cx="5286447"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6" name="Content Placeholder 5"/>
          <p:cNvSpPr>
            <a:spLocks noGrp="1"/>
          </p:cNvSpPr>
          <p:nvPr>
            <p:ph sz="quarter" idx="4"/>
          </p:nvPr>
        </p:nvSpPr>
        <p:spPr>
          <a:xfrm>
            <a:off x="6295162" y="2554944"/>
            <a:ext cx="5286447"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26EC1BD-4F0B-4D5A-8551-0DFF0F9B2C4B}" type="datetimeFigureOut">
              <a:rPr lang="en-US" smtClean="0"/>
              <a:t>9/16/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1250321259"/>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26EC1BD-4F0B-4D5A-8551-0DFF0F9B2C4B}" type="datetimeFigureOut">
              <a:rPr lang="en-US" smtClean="0"/>
              <a:t>9/16/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3976505510"/>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26EC1BD-4F0B-4D5A-8551-0DFF0F9B2C4B}" type="datetimeFigureOut">
              <a:rPr lang="en-US" smtClean="0"/>
              <a:t>9/16/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4246853282"/>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519" y="466302"/>
            <a:ext cx="4010575"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6447" y="1007083"/>
            <a:ext cx="6295162"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519" y="2098357"/>
            <a:ext cx="4010575"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926EC1BD-4F0B-4D5A-8551-0DFF0F9B2C4B}" type="datetimeFigureOut">
              <a:rPr lang="en-US" smtClean="0"/>
              <a:t>9/16/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375868304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42099737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5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519" y="466302"/>
            <a:ext cx="4010575" cy="1632056"/>
          </a:xfrm>
        </p:spPr>
        <p:txBody>
          <a:bodyPr anchor="b"/>
          <a:lstStyle>
            <a:lvl1pPr>
              <a:defRPr sz="3264"/>
            </a:lvl1pPr>
          </a:lstStyle>
          <a:p>
            <a:r>
              <a:rPr lang="en-US"/>
              <a:t>Click to edit Master title style</a:t>
            </a:r>
          </a:p>
        </p:txBody>
      </p:sp>
      <p:sp>
        <p:nvSpPr>
          <p:cNvPr id="3" name="Picture Placeholder 2"/>
          <p:cNvSpPr>
            <a:spLocks noGrp="1" noChangeAspect="1"/>
          </p:cNvSpPr>
          <p:nvPr>
            <p:ph type="pic" idx="1"/>
          </p:nvPr>
        </p:nvSpPr>
        <p:spPr>
          <a:xfrm>
            <a:off x="5286447" y="1007083"/>
            <a:ext cx="6295162" cy="4970646"/>
          </a:xfrm>
        </p:spPr>
        <p:txBody>
          <a:bodyPr anchor="t"/>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r>
              <a:rPr lang="en-US"/>
              <a:t>Click icon to add picture</a:t>
            </a:r>
          </a:p>
        </p:txBody>
      </p:sp>
      <p:sp>
        <p:nvSpPr>
          <p:cNvPr id="4" name="Text Placeholder 3"/>
          <p:cNvSpPr>
            <a:spLocks noGrp="1"/>
          </p:cNvSpPr>
          <p:nvPr>
            <p:ph type="body" sz="half" idx="2"/>
          </p:nvPr>
        </p:nvSpPr>
        <p:spPr>
          <a:xfrm>
            <a:off x="856519" y="2098357"/>
            <a:ext cx="4010575"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926EC1BD-4F0B-4D5A-8551-0DFF0F9B2C4B}" type="datetimeFigureOut">
              <a:rPr lang="en-US" smtClean="0"/>
              <a:t>9/16/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2877864253"/>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26EC1BD-4F0B-4D5A-8551-0DFF0F9B2C4B}" type="datetimeFigureOut">
              <a:rPr lang="en-US" smtClean="0"/>
              <a:t>9/1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2347000288"/>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8717" y="372394"/>
            <a:ext cx="2681273"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4899" y="372394"/>
            <a:ext cx="7888382" cy="59275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26EC1BD-4F0B-4D5A-8551-0DFF0F9B2C4B}" type="datetimeFigureOut">
              <a:rPr lang="en-US" smtClean="0"/>
              <a:t>9/1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1970199313"/>
      </p:ext>
    </p:extLst>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9982" y="466303"/>
            <a:ext cx="11238030" cy="627807"/>
          </a:xfrm>
        </p:spPr>
        <p:txBody>
          <a:bodyPr/>
          <a:lstStyle>
            <a:lvl1pPr>
              <a:defRPr sz="4080"/>
            </a:lvl1pPr>
          </a:lstStyle>
          <a:p>
            <a:r>
              <a:rPr lang="en-US"/>
              <a:t>Click to edit Master title style</a:t>
            </a:r>
          </a:p>
        </p:txBody>
      </p:sp>
      <p:sp>
        <p:nvSpPr>
          <p:cNvPr id="3" name="Text Placeholder 2"/>
          <p:cNvSpPr>
            <a:spLocks noGrp="1"/>
          </p:cNvSpPr>
          <p:nvPr>
            <p:ph type="body" sz="quarter" idx="10"/>
          </p:nvPr>
        </p:nvSpPr>
        <p:spPr>
          <a:xfrm>
            <a:off x="595839" y="1464075"/>
            <a:ext cx="11238030" cy="1895977"/>
          </a:xfrm>
        </p:spPr>
        <p:txBody>
          <a:bodyPr/>
          <a:lstStyle>
            <a:lvl1pPr>
              <a:defRPr sz="3264"/>
            </a:lvl1pPr>
            <a:lvl2pPr>
              <a:defRPr sz="2448"/>
            </a:lvl2pPr>
            <a:lvl3pPr>
              <a:defRPr sz="1836"/>
            </a:lvl3pPr>
            <a:lvl4pPr>
              <a:defRPr sz="1632"/>
            </a:lvl4pPr>
            <a:lvl5pPr>
              <a:defRPr sz="163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6003353"/>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5074715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5531453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6974945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rgbClr val="6A4B16"/>
            </a:solidFill>
          </a:ln>
        </p:spPr>
        <p:txBody>
          <a:bodyPr wrap="square" lIns="182880" tIns="182880" rIns="182880" bIns="182880" anchor="t" anchorCtr="0">
            <a:noAutofit/>
          </a:bodyPr>
          <a:lstStyle>
            <a:lvl1pPr marL="0" indent="0">
              <a:buNone/>
              <a:defRPr sz="1122">
                <a:gradFill>
                  <a:gsLst>
                    <a:gs pos="82000">
                      <a:srgbClr val="6A4B16"/>
                    </a:gs>
                    <a:gs pos="0">
                      <a:srgbClr val="6A4B1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rgbClr val="6A4B1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rgbClr val="6A4B16"/>
                    </a:gs>
                    <a:gs pos="0">
                      <a:srgbClr val="6A4B1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2283752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D59D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E165A012-D3EE-47EF-B8B3-CEB2C68B6C93}"/>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EB9B3534-AB58-46E6-A28E-642FE73C968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7755" y="630433"/>
            <a:ext cx="466308" cy="466302"/>
          </a:xfrm>
          <a:prstGeom prst="rect">
            <a:avLst/>
          </a:prstGeom>
        </p:spPr>
      </p:pic>
    </p:spTree>
    <p:extLst>
      <p:ext uri="{BB962C8B-B14F-4D97-AF65-F5344CB8AC3E}">
        <p14:creationId xmlns:p14="http://schemas.microsoft.com/office/powerpoint/2010/main" val="25589722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668041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7861379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172279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1578995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672081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5"/>
            </a:solidFill>
          </a:ln>
        </p:spPr>
        <p:txBody>
          <a:bodyPr wrap="square" lIns="182880" tIns="182880" rIns="182880" bIns="182880" anchor="t" anchorCtr="0">
            <a:noAutofit/>
          </a:bodyPr>
          <a:lstStyle>
            <a:lvl1pPr marL="0" indent="0">
              <a:buNone/>
              <a:defRPr sz="1122">
                <a:gradFill>
                  <a:gsLst>
                    <a:gs pos="82000">
                      <a:schemeClr val="accent5"/>
                    </a:gs>
                    <a:gs pos="0">
                      <a:schemeClr val="accent5"/>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5"/>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5"/>
                    </a:gs>
                    <a:gs pos="0">
                      <a:schemeClr val="accent5"/>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6301201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D1B0AD52-B514-4301-9559-18BCE561DAAF}"/>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9D8C279A-AB73-49F2-ABC3-4F9EAAC0E75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0027" y="642705"/>
            <a:ext cx="466308" cy="466302"/>
          </a:xfrm>
          <a:prstGeom prst="rect">
            <a:avLst/>
          </a:prstGeom>
        </p:spPr>
      </p:pic>
    </p:spTree>
    <p:extLst>
      <p:ext uri="{BB962C8B-B14F-4D97-AF65-F5344CB8AC3E}">
        <p14:creationId xmlns:p14="http://schemas.microsoft.com/office/powerpoint/2010/main" val="40266816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1740554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41044609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7926614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8147416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70"/>
            <a:ext cx="5315592"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70"/>
            <a:ext cx="5323687"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8284931"/>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guide id="4" pos="3660" userDrawn="1">
          <p15:clr>
            <a:srgbClr val="5ACBF0"/>
          </p15:clr>
        </p15:guide>
        <p15:guide id="5" pos="4022" userDrawn="1">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6"/>
            </a:solidFill>
          </a:ln>
        </p:spPr>
        <p:txBody>
          <a:bodyPr wrap="square" lIns="182880" tIns="182880" rIns="182880" bIns="182880" anchor="t" anchorCtr="0">
            <a:noAutofit/>
          </a:bodyPr>
          <a:lstStyle>
            <a:lvl1pPr marL="0" indent="0">
              <a:buNone/>
              <a:defRPr sz="1122">
                <a:gradFill>
                  <a:gsLst>
                    <a:gs pos="82000">
                      <a:schemeClr val="accent6"/>
                    </a:gs>
                    <a:gs pos="0">
                      <a:schemeClr val="accent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6"/>
                    </a:gs>
                    <a:gs pos="0">
                      <a:schemeClr val="accent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4660744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gradFill>
                  <a:gsLst>
                    <a:gs pos="50000">
                      <a:schemeClr val="tx1"/>
                    </a:gs>
                    <a:gs pos="100000">
                      <a:schemeClr val="tx1"/>
                    </a:gs>
                  </a:gsLst>
                  <a:lin ang="10800000" scaled="1"/>
                </a:gradFill>
                <a:latin typeface="+mn-lt"/>
              </a:defRPr>
            </a:lvl1pPr>
            <a:lvl2pPr>
              <a:defRPr sz="2856">
                <a:gradFill>
                  <a:gsLst>
                    <a:gs pos="50000">
                      <a:schemeClr val="tx1"/>
                    </a:gs>
                    <a:gs pos="100000">
                      <a:schemeClr val="tx1"/>
                    </a:gs>
                  </a:gsLst>
                  <a:lin ang="10800000" scaled="1"/>
                </a:gradFill>
                <a:latin typeface="+mn-lt"/>
              </a:defRPr>
            </a:lvl2pPr>
            <a:lvl3pPr>
              <a:defRPr sz="2448">
                <a:gradFill>
                  <a:gsLst>
                    <a:gs pos="50000">
                      <a:schemeClr val="tx1"/>
                    </a:gs>
                    <a:gs pos="100000">
                      <a:schemeClr val="tx1"/>
                    </a:gs>
                  </a:gsLst>
                  <a:lin ang="10800000" scaled="1"/>
                </a:gradFill>
                <a:latin typeface="+mn-lt"/>
              </a:defRPr>
            </a:lvl3pPr>
            <a:lvl4pPr>
              <a:defRPr sz="2040">
                <a:gradFill>
                  <a:gsLst>
                    <a:gs pos="50000">
                      <a:schemeClr val="tx1"/>
                    </a:gs>
                    <a:gs pos="100000">
                      <a:schemeClr val="tx1"/>
                    </a:gs>
                  </a:gsLst>
                  <a:lin ang="10800000" scaled="1"/>
                </a:gradFill>
                <a:latin typeface="+mn-lt"/>
              </a:defRPr>
            </a:lvl4pPr>
            <a:lvl5pPr>
              <a:defRPr sz="1836">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42148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99982" y="2932237"/>
            <a:ext cx="4241959" cy="1130053"/>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988574" y="-10717"/>
            <a:ext cx="5453216" cy="5854669"/>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2366287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3209171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02F338-7B2F-4506-BB98-16AA295278A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BE3612E-5CB2-4452-8B07-70AD5A1586F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5B6EBA-1FE3-44B8-9182-8482788D1CAF}"/>
              </a:ext>
            </a:extLst>
          </p:cNvPr>
          <p:cNvSpPr>
            <a:spLocks noGrp="1"/>
          </p:cNvSpPr>
          <p:nvPr>
            <p:ph type="dt" sz="half" idx="10"/>
          </p:nvPr>
        </p:nvSpPr>
        <p:spPr/>
        <p:txBody>
          <a:bodyPr/>
          <a:lstStyle/>
          <a:p>
            <a:fld id="{DE867565-D32F-4511-AFE0-E53CCF50D679}" type="datetimeFigureOut">
              <a:rPr lang="en-US" smtClean="0"/>
              <a:t>9/16/2022</a:t>
            </a:fld>
            <a:endParaRPr lang="en-US"/>
          </a:p>
        </p:txBody>
      </p:sp>
      <p:sp>
        <p:nvSpPr>
          <p:cNvPr id="5" name="Footer Placeholder 4">
            <a:extLst>
              <a:ext uri="{FF2B5EF4-FFF2-40B4-BE49-F238E27FC236}">
                <a16:creationId xmlns:a16="http://schemas.microsoft.com/office/drawing/2014/main" id="{6355D264-230F-4514-88B8-343F620C569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86E2A70-6F56-461B-82D5-B71D1D0A18E6}"/>
              </a:ext>
            </a:extLst>
          </p:cNvPr>
          <p:cNvSpPr>
            <a:spLocks noGrp="1"/>
          </p:cNvSpPr>
          <p:nvPr>
            <p:ph type="sldNum" sz="quarter" idx="12"/>
          </p:nvPr>
        </p:nvSpPr>
        <p:spPr/>
        <p:txBody>
          <a:bodyPr/>
          <a:lstStyle/>
          <a:p>
            <a:fld id="{B0AFC510-ECB6-48C0-826A-BF1A1683E1F4}" type="slidenum">
              <a:rPr lang="en-US" smtClean="0"/>
              <a:t>‹#›</a:t>
            </a:fld>
            <a:endParaRPr lang="en-US"/>
          </a:p>
        </p:txBody>
      </p:sp>
    </p:spTree>
    <p:extLst>
      <p:ext uri="{BB962C8B-B14F-4D97-AF65-F5344CB8AC3E}">
        <p14:creationId xmlns:p14="http://schemas.microsoft.com/office/powerpoint/2010/main" val="60079536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D83219-D84D-4D55-8645-5355E6EE54FD}"/>
              </a:ext>
            </a:extLst>
          </p:cNvPr>
          <p:cNvSpPr>
            <a:spLocks noGrp="1"/>
          </p:cNvSpPr>
          <p:nvPr>
            <p:ph type="ctrTitle"/>
          </p:nvPr>
        </p:nvSpPr>
        <p:spPr>
          <a:xfrm>
            <a:off x="1554361" y="1696501"/>
            <a:ext cx="9326166" cy="1883336"/>
          </a:xfrm>
        </p:spPr>
        <p:txBody>
          <a:bodyPr anchor="b"/>
          <a:lstStyle>
            <a:lvl1pPr algn="ctr">
              <a:defRPr sz="6118"/>
            </a:lvl1pPr>
          </a:lstStyle>
          <a:p>
            <a:r>
              <a:rPr lang="en-US"/>
              <a:t>Click to edit Master title style</a:t>
            </a:r>
          </a:p>
        </p:txBody>
      </p:sp>
      <p:sp>
        <p:nvSpPr>
          <p:cNvPr id="3" name="Subtitle 2">
            <a:extLst>
              <a:ext uri="{FF2B5EF4-FFF2-40B4-BE49-F238E27FC236}">
                <a16:creationId xmlns:a16="http://schemas.microsoft.com/office/drawing/2014/main" id="{8C6B1896-FB6A-4667-898A-63D17B1C8706}"/>
              </a:ext>
            </a:extLst>
          </p:cNvPr>
          <p:cNvSpPr>
            <a:spLocks noGrp="1"/>
          </p:cNvSpPr>
          <p:nvPr>
            <p:ph type="subTitle" idx="1"/>
          </p:nvPr>
        </p:nvSpPr>
        <p:spPr>
          <a:xfrm>
            <a:off x="1554361" y="3673745"/>
            <a:ext cx="9326166" cy="376706"/>
          </a:xfrm>
        </p:spPr>
        <p:txBody>
          <a:bodyPr/>
          <a:lstStyle>
            <a:lvl1pPr marL="0" indent="0" algn="ctr">
              <a:buNone/>
              <a:defRPr sz="2448"/>
            </a:lvl1pPr>
            <a:lvl2pPr marL="466251" indent="0" algn="ctr">
              <a:buNone/>
              <a:defRPr sz="2040"/>
            </a:lvl2pPr>
            <a:lvl3pPr marL="932504" indent="0" algn="ctr">
              <a:buNone/>
              <a:defRPr sz="1836"/>
            </a:lvl3pPr>
            <a:lvl4pPr marL="1398755" indent="0" algn="ctr">
              <a:buNone/>
              <a:defRPr sz="1632"/>
            </a:lvl4pPr>
            <a:lvl5pPr marL="1865006" indent="0" algn="ctr">
              <a:buNone/>
              <a:defRPr sz="1632"/>
            </a:lvl5pPr>
            <a:lvl6pPr marL="2331258" indent="0" algn="ctr">
              <a:buNone/>
              <a:defRPr sz="1632"/>
            </a:lvl6pPr>
            <a:lvl7pPr marL="2797510" indent="0" algn="ctr">
              <a:buNone/>
              <a:defRPr sz="1632"/>
            </a:lvl7pPr>
            <a:lvl8pPr marL="3263762" indent="0" algn="ctr">
              <a:buNone/>
              <a:defRPr sz="1632"/>
            </a:lvl8pPr>
            <a:lvl9pPr marL="3730013"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F742839F-A996-4B70-90CD-431C105CCE8E}"/>
              </a:ext>
            </a:extLst>
          </p:cNvPr>
          <p:cNvSpPr>
            <a:spLocks noGrp="1"/>
          </p:cNvSpPr>
          <p:nvPr>
            <p:ph type="dt" sz="half" idx="10"/>
          </p:nvPr>
        </p:nvSpPr>
        <p:spPr/>
        <p:txBody>
          <a:bodyPr/>
          <a:lstStyle/>
          <a:p>
            <a:fld id="{926EC1BD-4F0B-4D5A-8551-0DFF0F9B2C4B}" type="datetimeFigureOut">
              <a:rPr lang="en-US" smtClean="0"/>
              <a:t>9/16/2022</a:t>
            </a:fld>
            <a:endParaRPr lang="en-US"/>
          </a:p>
        </p:txBody>
      </p:sp>
      <p:sp>
        <p:nvSpPr>
          <p:cNvPr id="5" name="Footer Placeholder 4">
            <a:extLst>
              <a:ext uri="{FF2B5EF4-FFF2-40B4-BE49-F238E27FC236}">
                <a16:creationId xmlns:a16="http://schemas.microsoft.com/office/drawing/2014/main" id="{CBBD6496-C4B8-4BD7-87E1-98542FBB68F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3804311-76B1-4F2D-859F-481C1F1EC4F0}"/>
              </a:ext>
            </a:extLst>
          </p:cNvPr>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52115308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9982" y="466303"/>
            <a:ext cx="11238030" cy="627807"/>
          </a:xfrm>
        </p:spPr>
        <p:txBody>
          <a:bodyPr/>
          <a:lstStyle>
            <a:lvl1pPr>
              <a:defRPr sz="4080"/>
            </a:lvl1pPr>
          </a:lstStyle>
          <a:p>
            <a:r>
              <a:rPr lang="en-US"/>
              <a:t>Click to edit Master title style</a:t>
            </a:r>
          </a:p>
        </p:txBody>
      </p:sp>
      <p:sp>
        <p:nvSpPr>
          <p:cNvPr id="3" name="Text Placeholder 2"/>
          <p:cNvSpPr>
            <a:spLocks noGrp="1"/>
          </p:cNvSpPr>
          <p:nvPr>
            <p:ph type="body" sz="quarter" idx="10"/>
          </p:nvPr>
        </p:nvSpPr>
        <p:spPr>
          <a:xfrm>
            <a:off x="595839" y="1464075"/>
            <a:ext cx="11238030" cy="1895977"/>
          </a:xfrm>
        </p:spPr>
        <p:txBody>
          <a:bodyPr/>
          <a:lstStyle>
            <a:lvl1pPr>
              <a:defRPr sz="3264"/>
            </a:lvl1pPr>
            <a:lvl2pPr>
              <a:defRPr sz="2448"/>
            </a:lvl2pPr>
            <a:lvl3pPr>
              <a:defRPr sz="1836"/>
            </a:lvl3pPr>
            <a:lvl4pPr>
              <a:defRPr sz="1632"/>
            </a:lvl4pPr>
            <a:lvl5pPr>
              <a:defRPr sz="163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3346742"/>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344764"/>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3264" strike="noStrike">
                <a:solidFill>
                  <a:srgbClr val="191919"/>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507075969"/>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50197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2"/>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9744673"/>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guide id="4" pos="3656" userDrawn="1">
          <p15:clr>
            <a:srgbClr val="5ACBF0"/>
          </p15:clr>
        </p15:guide>
        <p15:guide id="5" pos="4022" userDrawn="1">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sp>
        <p:nvSpPr>
          <p:cNvPr id="2" name="Rectangle 15"/>
          <p:cNvSpPr/>
          <p:nvPr userDrawn="1"/>
        </p:nvSpPr>
        <p:spPr bwMode="auto">
          <a:xfrm>
            <a:off x="901" y="1014"/>
            <a:ext cx="4186907" cy="6993513"/>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6" rIns="186470" bIns="149176"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8389" y="2294500"/>
            <a:ext cx="3822135" cy="1255728"/>
          </a:xfrm>
        </p:spPr>
        <p:txBody>
          <a:bodyPr/>
          <a:lstStyle>
            <a:lvl1pPr>
              <a:defRPr lang="en-US" sz="408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311581607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Rectangle 3"/>
          <p:cNvSpPr/>
          <p:nvPr userDrawn="1"/>
        </p:nvSpPr>
        <p:spPr>
          <a:xfrm>
            <a:off x="0" y="0"/>
            <a:ext cx="12434888" cy="121317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lIns="559491" tIns="466242" rIns="466242" rtlCol="0" anchor="ctr"/>
          <a:lstStyle/>
          <a:p>
            <a:endParaRPr lang="en-US" sz="5506">
              <a:solidFill>
                <a:srgbClr val="EDC30D"/>
              </a:solidFill>
              <a:latin typeface="Segoe UI Light" panose="020B0502040204020203" pitchFamily="34" charset="0"/>
              <a:cs typeface="Segoe UI Light" panose="020B0502040204020203" pitchFamily="34" charset="0"/>
            </a:endParaRPr>
          </a:p>
        </p:txBody>
      </p:sp>
      <p:sp>
        <p:nvSpPr>
          <p:cNvPr id="5" name="Title 1"/>
          <p:cNvSpPr>
            <a:spLocks noGrp="1"/>
          </p:cNvSpPr>
          <p:nvPr>
            <p:ph type="title" hasCustomPrompt="1"/>
          </p:nvPr>
        </p:nvSpPr>
        <p:spPr>
          <a:xfrm>
            <a:off x="274604" y="125543"/>
            <a:ext cx="11888047" cy="753411"/>
          </a:xfrm>
        </p:spPr>
        <p:txBody>
          <a:bodyPr lIns="180000"/>
          <a:lstStyle>
            <a:lvl1pPr>
              <a:defRPr sz="4896">
                <a:solidFill>
                  <a:srgbClr val="F2C811"/>
                </a:solidFill>
                <a:latin typeface="+mn-lt"/>
                <a:cs typeface="Segoe UI Light" panose="020B0502040204020203" pitchFamily="34" charset="0"/>
              </a:defRPr>
            </a:lvl1pPr>
          </a:lstStyle>
          <a:p>
            <a:r>
              <a:rPr lang="en-US"/>
              <a:t>Slide title</a:t>
            </a:r>
          </a:p>
        </p:txBody>
      </p:sp>
    </p:spTree>
    <p:extLst>
      <p:ext uri="{BB962C8B-B14F-4D97-AF65-F5344CB8AC3E}">
        <p14:creationId xmlns:p14="http://schemas.microsoft.com/office/powerpoint/2010/main" val="113916453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x">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99982" y="466302"/>
            <a:ext cx="11238030" cy="585994"/>
          </a:xfrm>
          <a:noFill/>
        </p:spPr>
        <p:txBody>
          <a:bodyPr rtlCol="0"/>
          <a:lstStyle>
            <a:lvl1pPr marL="0" indent="0" algn="ctr" defTabSz="-18865642" rtl="0" eaLnBrk="1" fontAlgn="base" hangingPunct="1">
              <a:spcBef>
                <a:spcPct val="0"/>
              </a:spcBef>
              <a:spcAft>
                <a:spcPct val="0"/>
              </a:spcAft>
              <a:defRPr lang="en-US" sz="3808" b="1" dirty="0">
                <a:solidFill>
                  <a:srgbClr val="FF00FE"/>
                </a:solidFill>
                <a:latin typeface="Calibri"/>
                <a:ea typeface="+mj-ea"/>
                <a:cs typeface="Segoe UI" pitchFamily="34" charset="0"/>
              </a:defRPr>
            </a:lvl1pPr>
          </a:lstStyle>
          <a:p>
            <a:r>
              <a:rPr lang="en-US"/>
              <a:t>Click to edit Master title style</a:t>
            </a:r>
          </a:p>
        </p:txBody>
      </p:sp>
      <p:sp>
        <p:nvSpPr>
          <p:cNvPr id="3" name="Text Placeholder 2"/>
          <p:cNvSpPr>
            <a:spLocks noGrp="1"/>
          </p:cNvSpPr>
          <p:nvPr>
            <p:ph type="body" idx="1"/>
          </p:nvPr>
        </p:nvSpPr>
        <p:spPr>
          <a:xfrm>
            <a:off x="621745" y="1398905"/>
            <a:ext cx="11191399" cy="1925399"/>
          </a:xfrm>
        </p:spPr>
        <p:txBody>
          <a:bodyPr rtlCol="0"/>
          <a:lstStyle>
            <a:lvl1pPr>
              <a:buClrTx/>
              <a:buFont typeface="Wingdings" pitchFamily="2" charset="2"/>
              <a:buChar char="§"/>
              <a:defRPr sz="2720" b="1">
                <a:latin typeface="Calibri" pitchFamily="34" charset="0"/>
              </a:defRPr>
            </a:lvl1pPr>
            <a:lvl2pPr>
              <a:buClrTx/>
              <a:buFont typeface="Wingdings" pitchFamily="2" charset="2"/>
              <a:buChar char="o"/>
              <a:defRPr sz="2448" b="0">
                <a:latin typeface="Calibri Light" pitchFamily="34" charset="0"/>
              </a:defRPr>
            </a:lvl2pPr>
            <a:lvl3pPr>
              <a:buClrTx/>
              <a:buFont typeface="Wingdings" pitchFamily="2" charset="2"/>
              <a:buChar char="o"/>
              <a:defRPr sz="2176" b="0">
                <a:latin typeface="Calibri Light" pitchFamily="34" charset="0"/>
              </a:defRPr>
            </a:lvl3pPr>
            <a:lvl4pPr>
              <a:buClrTx/>
              <a:buFont typeface="Wingdings" pitchFamily="2" charset="2"/>
              <a:buChar char="o"/>
              <a:defRPr sz="1904" b="0">
                <a:latin typeface="Calibri Light" pitchFamily="34" charset="0"/>
              </a:defRPr>
            </a:lvl4pPr>
            <a:lvl5pPr>
              <a:buClrTx/>
              <a:buFont typeface="Wingdings" pitchFamily="2" charset="2"/>
              <a:buChar char="o"/>
              <a:defRPr sz="1632" b="0">
                <a:latin typeface="Calibri Light"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8934949"/>
      </p:ext>
    </p:extLst>
  </p:cSld>
  <p:clrMapOvr>
    <a:masterClrMapping/>
  </p:clrMapOvr>
  <p:transition>
    <p:fade/>
  </p:transition>
  <p:hf sldNum="0" hdr="0" ftr="0" dt="0"/>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Slide Photo_Option">
    <p:bg>
      <p:bgPr>
        <a:solidFill>
          <a:schemeClr val="accent1"/>
        </a:solidFill>
        <a:effectLst/>
      </p:bgPr>
    </p:bg>
    <p:spTree>
      <p:nvGrpSpPr>
        <p:cNvPr id="1" name=""/>
        <p:cNvGrpSpPr/>
        <p:nvPr/>
      </p:nvGrpSpPr>
      <p:grpSpPr>
        <a:xfrm>
          <a:off x="0" y="0"/>
          <a:ext cx="0" cy="0"/>
          <a:chOff x="0" y="0"/>
          <a:chExt cx="0" cy="0"/>
        </a:xfrm>
      </p:grpSpPr>
      <p:pic>
        <p:nvPicPr>
          <p:cNvPr id="8" name="Picture 7" descr="A person sitting at a table in front of a window&#10;&#10;Description generated with very high confidence">
            <a:extLst>
              <a:ext uri="{FF2B5EF4-FFF2-40B4-BE49-F238E27FC236}">
                <a16:creationId xmlns:a16="http://schemas.microsoft.com/office/drawing/2014/main" id="{1E41053F-B32C-441E-B6CA-E290CC32798B}"/>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6216605" y="0"/>
            <a:ext cx="6219870" cy="6994525"/>
          </a:xfrm>
          <a:prstGeom prst="rect">
            <a:avLst/>
          </a:prstGeom>
        </p:spPr>
      </p:pic>
      <p:sp>
        <p:nvSpPr>
          <p:cNvPr id="9" name="Title 1"/>
          <p:cNvSpPr>
            <a:spLocks noGrp="1"/>
          </p:cNvSpPr>
          <p:nvPr>
            <p:ph type="title" hasCustomPrompt="1"/>
          </p:nvPr>
        </p:nvSpPr>
        <p:spPr bwMode="auto">
          <a:xfrm>
            <a:off x="274704" y="2119152"/>
            <a:ext cx="594202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2" y="4005413"/>
            <a:ext cx="5943555" cy="729343"/>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3" y="479428"/>
            <a:ext cx="1681413" cy="360979"/>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553411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1_Title Slide Photo_Option">
    <p:bg>
      <p:bgPr>
        <a:solidFill>
          <a:schemeClr val="accent4"/>
        </a:solidFill>
        <a:effectLst/>
      </p:bgPr>
    </p:bg>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2E1F76AA-CDD1-44F4-9536-C14930AFC752}"/>
              </a:ext>
            </a:extLst>
          </p:cNvPr>
          <p:cNvPicPr>
            <a:picLocks noChangeAspect="1"/>
          </p:cNvPicPr>
          <p:nvPr/>
        </p:nvPicPr>
        <p:blipFill rotWithShape="1">
          <a:blip r:embed="rId2"/>
          <a:srcRect l="2135"/>
          <a:stretch/>
        </p:blipFill>
        <p:spPr>
          <a:xfrm>
            <a:off x="6218037" y="0"/>
            <a:ext cx="6218439" cy="6994525"/>
          </a:xfrm>
          <a:custGeom>
            <a:avLst/>
            <a:gdLst>
              <a:gd name="connsiteX0" fmla="*/ 1175854 w 6096198"/>
              <a:gd name="connsiteY0" fmla="*/ 0 h 6858000"/>
              <a:gd name="connsiteX1" fmla="*/ 6096198 w 6096198"/>
              <a:gd name="connsiteY1" fmla="*/ 0 h 6858000"/>
              <a:gd name="connsiteX2" fmla="*/ 6096198 w 6096198"/>
              <a:gd name="connsiteY2" fmla="*/ 6858000 h 6858000"/>
              <a:gd name="connsiteX3" fmla="*/ 2764454 w 6096198"/>
              <a:gd name="connsiteY3" fmla="*/ 6858000 h 6858000"/>
              <a:gd name="connsiteX4" fmla="*/ 2764454 w 6096198"/>
              <a:gd name="connsiteY4" fmla="*/ 4572000 h 6858000"/>
              <a:gd name="connsiteX5" fmla="*/ 0 w 6096198"/>
              <a:gd name="connsiteY5" fmla="*/ 4572000 h 6858000"/>
              <a:gd name="connsiteX6" fmla="*/ 0 w 6096198"/>
              <a:gd name="connsiteY6" fmla="*/ 2286000 h 6858000"/>
              <a:gd name="connsiteX7" fmla="*/ 1175854 w 6096198"/>
              <a:gd name="connsiteY7" fmla="*/ 2286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6198" h="6858000">
                <a:moveTo>
                  <a:pt x="1175854" y="0"/>
                </a:moveTo>
                <a:lnTo>
                  <a:pt x="6096198" y="0"/>
                </a:lnTo>
                <a:lnTo>
                  <a:pt x="6096198" y="6858000"/>
                </a:lnTo>
                <a:lnTo>
                  <a:pt x="2764454" y="6858000"/>
                </a:lnTo>
                <a:lnTo>
                  <a:pt x="2764454" y="4572000"/>
                </a:lnTo>
                <a:lnTo>
                  <a:pt x="0" y="4572000"/>
                </a:lnTo>
                <a:lnTo>
                  <a:pt x="0" y="2286000"/>
                </a:lnTo>
                <a:lnTo>
                  <a:pt x="1175854" y="2286000"/>
                </a:lnTo>
                <a:close/>
              </a:path>
            </a:pathLst>
          </a:custGeom>
        </p:spPr>
      </p:pic>
      <p:sp>
        <p:nvSpPr>
          <p:cNvPr id="9" name="Title 1"/>
          <p:cNvSpPr>
            <a:spLocks noGrp="1"/>
          </p:cNvSpPr>
          <p:nvPr>
            <p:ph type="title" hasCustomPrompt="1"/>
          </p:nvPr>
        </p:nvSpPr>
        <p:spPr bwMode="auto">
          <a:xfrm>
            <a:off x="274703" y="2119152"/>
            <a:ext cx="594345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4507583"/>
            <a:ext cx="5944986" cy="1828800"/>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3" y="479428"/>
            <a:ext cx="1681413" cy="360979"/>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957487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2_Title Slide Photo_Optio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3" y="2119152"/>
            <a:ext cx="594345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4507583"/>
            <a:ext cx="5944986" cy="1828800"/>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3" y="479428"/>
            <a:ext cx="1681413" cy="360979"/>
            <a:chOff x="457200" y="1643393"/>
            <a:chExt cx="4492753" cy="964540"/>
          </a:xfrm>
        </p:grpSpPr>
        <p:pic>
          <p:nvPicPr>
            <p:cNvPr id="10" name="Picture 9"/>
            <p:cNvPicPr>
              <a:picLocks noChangeAspect="1"/>
            </p:cNvPicPr>
            <p:nvPr/>
          </p:nvPicPr>
          <p:blipFill>
            <a:blip r:embed="rId2"/>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pic>
        <p:nvPicPr>
          <p:cNvPr id="25" name="Picture 24">
            <a:extLst>
              <a:ext uri="{FF2B5EF4-FFF2-40B4-BE49-F238E27FC236}">
                <a16:creationId xmlns:a16="http://schemas.microsoft.com/office/drawing/2014/main" id="{3C283639-F09A-41BC-9DDD-7E0B25240136}"/>
              </a:ext>
            </a:extLst>
          </p:cNvPr>
          <p:cNvPicPr/>
          <p:nvPr/>
        </p:nvPicPr>
        <p:blipFill>
          <a:blip r:embed="rId3"/>
          <a:stretch>
            <a:fillRect/>
          </a:stretch>
        </p:blipFill>
        <p:spPr>
          <a:xfrm>
            <a:off x="6242155" y="2014677"/>
            <a:ext cx="6194321" cy="4979850"/>
          </a:xfrm>
          <a:prstGeom prst="rect">
            <a:avLst/>
          </a:prstGeom>
        </p:spPr>
      </p:pic>
    </p:spTree>
    <p:extLst>
      <p:ext uri="{BB962C8B-B14F-4D97-AF65-F5344CB8AC3E}">
        <p14:creationId xmlns:p14="http://schemas.microsoft.com/office/powerpoint/2010/main" val="1642219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F115D58-298D-4443-80DD-8AF54EA8AC56}"/>
              </a:ext>
            </a:extLst>
          </p:cNvPr>
          <p:cNvGrpSpPr/>
          <p:nvPr/>
        </p:nvGrpSpPr>
        <p:grpSpPr>
          <a:xfrm>
            <a:off x="0" y="-1"/>
            <a:ext cx="12434888" cy="6994526"/>
            <a:chOff x="2464435" y="1386244"/>
            <a:chExt cx="7263130" cy="4085511"/>
          </a:xfrm>
        </p:grpSpPr>
        <p:pic>
          <p:nvPicPr>
            <p:cNvPr id="17" name="Picture 16">
              <a:extLst>
                <a:ext uri="{FF2B5EF4-FFF2-40B4-BE49-F238E27FC236}">
                  <a16:creationId xmlns:a16="http://schemas.microsoft.com/office/drawing/2014/main" id="{E77F7EAE-8B43-411E-B1EC-BE46C27F5B5F}"/>
                </a:ext>
              </a:extLst>
            </p:cNvPr>
            <p:cNvPicPr/>
            <p:nvPr userDrawn="1"/>
          </p:nvPicPr>
          <p:blipFill rotWithShape="1">
            <a:blip r:embed="rId2"/>
            <a:srcRect t="7392" b="7392"/>
            <a:stretch/>
          </p:blipFill>
          <p:spPr>
            <a:xfrm>
              <a:off x="2464435" y="1386244"/>
              <a:ext cx="7263130" cy="4085511"/>
            </a:xfrm>
            <a:prstGeom prst="rect">
              <a:avLst/>
            </a:prstGeom>
          </p:spPr>
        </p:pic>
        <p:sp>
          <p:nvSpPr>
            <p:cNvPr id="18" name="Shape 35215">
              <a:extLst>
                <a:ext uri="{FF2B5EF4-FFF2-40B4-BE49-F238E27FC236}">
                  <a16:creationId xmlns:a16="http://schemas.microsoft.com/office/drawing/2014/main" id="{798A76F4-82BD-4466-9152-A8C60B3B910D}"/>
                </a:ext>
              </a:extLst>
            </p:cNvPr>
            <p:cNvSpPr/>
            <p:nvPr userDrawn="1"/>
          </p:nvSpPr>
          <p:spPr>
            <a:xfrm>
              <a:off x="5287645" y="3689350"/>
              <a:ext cx="431165" cy="619125"/>
            </a:xfrm>
            <a:custGeom>
              <a:avLst/>
              <a:gdLst/>
              <a:ahLst/>
              <a:cxnLst/>
              <a:rect l="0" t="0" r="0" b="0"/>
              <a:pathLst>
                <a:path w="431711" h="619620">
                  <a:moveTo>
                    <a:pt x="0" y="0"/>
                  </a:moveTo>
                  <a:lnTo>
                    <a:pt x="431711" y="0"/>
                  </a:lnTo>
                  <a:lnTo>
                    <a:pt x="431711" y="619620"/>
                  </a:lnTo>
                  <a:lnTo>
                    <a:pt x="0" y="619620"/>
                  </a:lnTo>
                  <a:lnTo>
                    <a:pt x="0" y="0"/>
                  </a:lnTo>
                </a:path>
              </a:pathLst>
            </a:custGeom>
            <a:ln w="0" cap="flat">
              <a:miter lim="127000"/>
            </a:ln>
          </p:spPr>
          <p:style>
            <a:lnRef idx="0">
              <a:srgbClr val="000000">
                <a:alpha val="0"/>
              </a:srgbClr>
            </a:lnRef>
            <a:fillRef idx="1">
              <a:srgbClr val="FFFEFD"/>
            </a:fillRef>
            <a:effectRef idx="0">
              <a:scrgbClr r="0" g="0" b="0"/>
            </a:effectRef>
            <a:fontRef idx="none"/>
          </p:style>
          <p:txBody>
            <a:bodyPr/>
            <a:lstStyle/>
            <a:p>
              <a:endParaRPr lang="en-IN" sz="1836"/>
            </a:p>
          </p:txBody>
        </p:sp>
        <p:sp>
          <p:nvSpPr>
            <p:cNvPr id="19" name="Shape 35216">
              <a:extLst>
                <a:ext uri="{FF2B5EF4-FFF2-40B4-BE49-F238E27FC236}">
                  <a16:creationId xmlns:a16="http://schemas.microsoft.com/office/drawing/2014/main" id="{0AFDE6B5-E873-47E7-9BA0-9478AEAD01D5}"/>
                </a:ext>
              </a:extLst>
            </p:cNvPr>
            <p:cNvSpPr/>
            <p:nvPr userDrawn="1"/>
          </p:nvSpPr>
          <p:spPr>
            <a:xfrm>
              <a:off x="5883275" y="2644140"/>
              <a:ext cx="431165" cy="1664335"/>
            </a:xfrm>
            <a:custGeom>
              <a:avLst/>
              <a:gdLst/>
              <a:ahLst/>
              <a:cxnLst/>
              <a:rect l="0" t="0" r="0" b="0"/>
              <a:pathLst>
                <a:path w="431724" h="1664462">
                  <a:moveTo>
                    <a:pt x="0" y="0"/>
                  </a:moveTo>
                  <a:lnTo>
                    <a:pt x="431724" y="0"/>
                  </a:lnTo>
                  <a:lnTo>
                    <a:pt x="431724" y="1664462"/>
                  </a:lnTo>
                  <a:lnTo>
                    <a:pt x="0" y="1664462"/>
                  </a:lnTo>
                  <a:lnTo>
                    <a:pt x="0" y="0"/>
                  </a:lnTo>
                </a:path>
              </a:pathLst>
            </a:custGeom>
            <a:ln w="0" cap="flat">
              <a:miter lim="127000"/>
            </a:ln>
          </p:spPr>
          <p:style>
            <a:lnRef idx="0">
              <a:srgbClr val="000000">
                <a:alpha val="0"/>
              </a:srgbClr>
            </a:lnRef>
            <a:fillRef idx="1">
              <a:srgbClr val="FFFEFD"/>
            </a:fillRef>
            <a:effectRef idx="0">
              <a:scrgbClr r="0" g="0" b="0"/>
            </a:effectRef>
            <a:fontRef idx="none"/>
          </p:style>
          <p:txBody>
            <a:bodyPr/>
            <a:lstStyle/>
            <a:p>
              <a:endParaRPr lang="en-IN" sz="1836"/>
            </a:p>
          </p:txBody>
        </p:sp>
        <p:sp>
          <p:nvSpPr>
            <p:cNvPr id="20" name="Shape 35217">
              <a:extLst>
                <a:ext uri="{FF2B5EF4-FFF2-40B4-BE49-F238E27FC236}">
                  <a16:creationId xmlns:a16="http://schemas.microsoft.com/office/drawing/2014/main" id="{ABFD828A-2C6B-4120-B466-74A88E385C3B}"/>
                </a:ext>
              </a:extLst>
            </p:cNvPr>
            <p:cNvSpPr/>
            <p:nvPr userDrawn="1"/>
          </p:nvSpPr>
          <p:spPr>
            <a:xfrm>
              <a:off x="6478270" y="3088005"/>
              <a:ext cx="431165" cy="1220470"/>
            </a:xfrm>
            <a:custGeom>
              <a:avLst/>
              <a:gdLst/>
              <a:ahLst/>
              <a:cxnLst/>
              <a:rect l="0" t="0" r="0" b="0"/>
              <a:pathLst>
                <a:path w="431711" h="1221016">
                  <a:moveTo>
                    <a:pt x="0" y="0"/>
                  </a:moveTo>
                  <a:lnTo>
                    <a:pt x="431711" y="0"/>
                  </a:lnTo>
                  <a:lnTo>
                    <a:pt x="431711" y="1221016"/>
                  </a:lnTo>
                  <a:lnTo>
                    <a:pt x="0" y="1221016"/>
                  </a:lnTo>
                  <a:lnTo>
                    <a:pt x="0" y="0"/>
                  </a:lnTo>
                </a:path>
              </a:pathLst>
            </a:custGeom>
            <a:ln w="0" cap="flat">
              <a:miter lim="127000"/>
            </a:ln>
          </p:spPr>
          <p:style>
            <a:lnRef idx="0">
              <a:srgbClr val="000000">
                <a:alpha val="0"/>
              </a:srgbClr>
            </a:lnRef>
            <a:fillRef idx="1">
              <a:srgbClr val="30E5D0"/>
            </a:fillRef>
            <a:effectRef idx="0">
              <a:scrgbClr r="0" g="0" b="0"/>
            </a:effectRef>
            <a:fontRef idx="none"/>
          </p:style>
          <p:txBody>
            <a:bodyPr/>
            <a:lstStyle/>
            <a:p>
              <a:endParaRPr lang="en-IN" sz="1836"/>
            </a:p>
          </p:txBody>
        </p:sp>
      </p:grpSp>
      <p:pic>
        <p:nvPicPr>
          <p:cNvPr id="3" name="Picture 2" descr="A person standing in a room&#10;&#10;Description generated with very high confidence">
            <a:extLst>
              <a:ext uri="{FF2B5EF4-FFF2-40B4-BE49-F238E27FC236}">
                <a16:creationId xmlns:a16="http://schemas.microsoft.com/office/drawing/2014/main" id="{FCC97122-ED31-4F71-9D70-7A65376F606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1"/>
            <a:ext cx="12434888" cy="6994525"/>
          </a:xfrm>
          <a:prstGeom prst="rect">
            <a:avLst/>
          </a:prstGeom>
        </p:spPr>
      </p:pic>
      <p:sp>
        <p:nvSpPr>
          <p:cNvPr id="22" name="Rectangle 21">
            <a:extLst>
              <a:ext uri="{FF2B5EF4-FFF2-40B4-BE49-F238E27FC236}">
                <a16:creationId xmlns:a16="http://schemas.microsoft.com/office/drawing/2014/main" id="{04271D14-BA93-45F3-9FC7-20DBC6E74DEB}"/>
              </a:ext>
            </a:extLst>
          </p:cNvPr>
          <p:cNvSpPr/>
          <p:nvPr/>
        </p:nvSpPr>
        <p:spPr bwMode="auto">
          <a:xfrm>
            <a:off x="0" y="1"/>
            <a:ext cx="12434888" cy="6994525"/>
          </a:xfrm>
          <a:prstGeom prst="rect">
            <a:avLst/>
          </a:prstGeom>
          <a:gradFill flip="none" rotWithShape="1">
            <a:gsLst>
              <a:gs pos="100000">
                <a:schemeClr val="bg1">
                  <a:alpha val="60000"/>
                </a:schemeClr>
              </a:gs>
              <a:gs pos="0">
                <a:schemeClr val="bg1">
                  <a:alpha val="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51"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07" y="4931537"/>
            <a:ext cx="3898066"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667" y="1383765"/>
            <a:ext cx="4625272" cy="2420665"/>
          </a:xfrm>
          <a:noFill/>
        </p:spPr>
        <p:txBody>
          <a:bodyPr lIns="146304" tIns="91440" rIns="146304" bIns="91440" anchor="b" anchorCtr="0"/>
          <a:lstStyle>
            <a:lvl1pPr>
              <a:defRPr sz="4896" spc="-100" baseline="0">
                <a:solidFill>
                  <a:schemeClr val="tx2"/>
                </a:solidFill>
              </a:defRPr>
            </a:lvl1pPr>
          </a:lstStyle>
          <a:p>
            <a:r>
              <a:rPr lang="en-US"/>
              <a:t>Presentation title</a:t>
            </a:r>
          </a:p>
        </p:txBody>
      </p:sp>
      <p:grpSp>
        <p:nvGrpSpPr>
          <p:cNvPr id="14" name="Group 13">
            <a:extLst>
              <a:ext uri="{FF2B5EF4-FFF2-40B4-BE49-F238E27FC236}">
                <a16:creationId xmlns:a16="http://schemas.microsoft.com/office/drawing/2014/main" id="{B96F9D5E-5C6B-4641-83C6-68869A27714C}"/>
              </a:ext>
            </a:extLst>
          </p:cNvPr>
          <p:cNvGrpSpPr>
            <a:grpSpLocks noChangeAspect="1"/>
          </p:cNvGrpSpPr>
          <p:nvPr/>
        </p:nvGrpSpPr>
        <p:grpSpPr bwMode="gray">
          <a:xfrm>
            <a:off x="457145" y="479429"/>
            <a:ext cx="1681198" cy="360979"/>
            <a:chOff x="457200" y="1643393"/>
            <a:chExt cx="4492753" cy="964540"/>
          </a:xfrm>
        </p:grpSpPr>
        <p:pic>
          <p:nvPicPr>
            <p:cNvPr id="15" name="Picture 14">
              <a:extLst>
                <a:ext uri="{FF2B5EF4-FFF2-40B4-BE49-F238E27FC236}">
                  <a16:creationId xmlns:a16="http://schemas.microsoft.com/office/drawing/2014/main" id="{DFC7A27F-5447-47F2-8C77-F6BB87421C62}"/>
                </a:ext>
              </a:extLst>
            </p:cNvPr>
            <p:cNvPicPr>
              <a:picLocks noChangeAspect="1"/>
            </p:cNvPicPr>
            <p:nvPr/>
          </p:nvPicPr>
          <p:blipFill>
            <a:blip r:embed="rId4"/>
            <a:stretch>
              <a:fillRect/>
            </a:stretch>
          </p:blipFill>
          <p:spPr bwMode="gray">
            <a:xfrm>
              <a:off x="457200" y="1643393"/>
              <a:ext cx="964540" cy="964540"/>
            </a:xfrm>
            <a:prstGeom prst="rect">
              <a:avLst/>
            </a:prstGeom>
          </p:spPr>
        </p:pic>
        <p:sp>
          <p:nvSpPr>
            <p:cNvPr id="16" name="Freeform 12">
              <a:extLst>
                <a:ext uri="{FF2B5EF4-FFF2-40B4-BE49-F238E27FC236}">
                  <a16:creationId xmlns:a16="http://schemas.microsoft.com/office/drawing/2014/main" id="{BB2240CB-396F-4DCD-866E-48CBF8350D35}"/>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grpSp>
        <p:nvGrpSpPr>
          <p:cNvPr id="62" name="Group 61">
            <a:extLst>
              <a:ext uri="{FF2B5EF4-FFF2-40B4-BE49-F238E27FC236}">
                <a16:creationId xmlns:a16="http://schemas.microsoft.com/office/drawing/2014/main" id="{7A0EBE5E-32DC-44EB-BF58-F9CA0C094B00}"/>
              </a:ext>
            </a:extLst>
          </p:cNvPr>
          <p:cNvGrpSpPr/>
          <p:nvPr/>
        </p:nvGrpSpPr>
        <p:grpSpPr>
          <a:xfrm>
            <a:off x="4451075" y="1995064"/>
            <a:ext cx="3532738" cy="3004398"/>
            <a:chOff x="4922669" y="2543477"/>
            <a:chExt cx="2544932" cy="2423332"/>
          </a:xfrm>
        </p:grpSpPr>
        <p:sp>
          <p:nvSpPr>
            <p:cNvPr id="55" name="Rectangle 5">
              <a:extLst>
                <a:ext uri="{FF2B5EF4-FFF2-40B4-BE49-F238E27FC236}">
                  <a16:creationId xmlns:a16="http://schemas.microsoft.com/office/drawing/2014/main" id="{9976F3F5-A0DB-4029-BC15-2FC88D68A5FA}"/>
                </a:ext>
              </a:extLst>
            </p:cNvPr>
            <p:cNvSpPr>
              <a:spLocks noChangeArrowheads="1"/>
            </p:cNvSpPr>
            <p:nvPr userDrawn="1"/>
          </p:nvSpPr>
          <p:spPr bwMode="auto">
            <a:xfrm>
              <a:off x="4922669" y="4106189"/>
              <a:ext cx="472654" cy="86062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56" name="Rectangle 6">
              <a:extLst>
                <a:ext uri="{FF2B5EF4-FFF2-40B4-BE49-F238E27FC236}">
                  <a16:creationId xmlns:a16="http://schemas.microsoft.com/office/drawing/2014/main" id="{FD19BE52-096E-47D3-AF70-90210BB56D65}"/>
                </a:ext>
              </a:extLst>
            </p:cNvPr>
            <p:cNvSpPr>
              <a:spLocks noChangeArrowheads="1"/>
            </p:cNvSpPr>
            <p:nvPr userDrawn="1"/>
          </p:nvSpPr>
          <p:spPr bwMode="auto">
            <a:xfrm>
              <a:off x="5613433" y="3585280"/>
              <a:ext cx="472654" cy="138152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57" name="Rectangle 7">
              <a:extLst>
                <a:ext uri="{FF2B5EF4-FFF2-40B4-BE49-F238E27FC236}">
                  <a16:creationId xmlns:a16="http://schemas.microsoft.com/office/drawing/2014/main" id="{ED3270C9-18EE-48AB-ABBF-AED0F6FE5F10}"/>
                </a:ext>
              </a:extLst>
            </p:cNvPr>
            <p:cNvSpPr>
              <a:spLocks noChangeArrowheads="1"/>
            </p:cNvSpPr>
            <p:nvPr userDrawn="1"/>
          </p:nvSpPr>
          <p:spPr bwMode="auto">
            <a:xfrm>
              <a:off x="6994947" y="2543477"/>
              <a:ext cx="472654" cy="2423332"/>
            </a:xfrm>
            <a:prstGeom prst="rect">
              <a:avLst/>
            </a:prstGeom>
            <a:solidFill>
              <a:schemeClr val="accent2"/>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50751" fontAlgn="base">
                <a:lnSpc>
                  <a:spcPct val="90000"/>
                </a:lnSpc>
                <a:spcBef>
                  <a:spcPct val="0"/>
                </a:spcBef>
                <a:spcAft>
                  <a:spcPct val="0"/>
                </a:spcAft>
              </a:pPr>
              <a:endParaRPr lang="en-US" sz="2448">
                <a:gradFill>
                  <a:gsLst>
                    <a:gs pos="0">
                      <a:srgbClr val="FFFFFF"/>
                    </a:gs>
                    <a:gs pos="100000">
                      <a:srgbClr val="FFFFFF"/>
                    </a:gs>
                  </a:gsLst>
                  <a:lin ang="5400000" scaled="0"/>
                </a:gradFill>
                <a:cs typeface="Segoe UI" pitchFamily="34" charset="0"/>
              </a:endParaRPr>
            </a:p>
          </p:txBody>
        </p:sp>
        <p:sp>
          <p:nvSpPr>
            <p:cNvPr id="58" name="Freeform 8">
              <a:extLst>
                <a:ext uri="{FF2B5EF4-FFF2-40B4-BE49-F238E27FC236}">
                  <a16:creationId xmlns:a16="http://schemas.microsoft.com/office/drawing/2014/main" id="{6563EBA9-F5CA-4E7C-A601-BA632950169F}"/>
                </a:ext>
              </a:extLst>
            </p:cNvPr>
            <p:cNvSpPr>
              <a:spLocks/>
            </p:cNvSpPr>
            <p:nvPr userDrawn="1"/>
          </p:nvSpPr>
          <p:spPr bwMode="auto">
            <a:xfrm>
              <a:off x="6304197" y="3064386"/>
              <a:ext cx="472654" cy="1902423"/>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Tree>
    <p:extLst>
      <p:ext uri="{BB962C8B-B14F-4D97-AF65-F5344CB8AC3E}">
        <p14:creationId xmlns:p14="http://schemas.microsoft.com/office/powerpoint/2010/main" val="3286181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pic>
        <p:nvPicPr>
          <p:cNvPr id="7" name="Picture 6" descr="A large ship in the water&#10;&#10;Description generated with high confidence">
            <a:extLst>
              <a:ext uri="{FF2B5EF4-FFF2-40B4-BE49-F238E27FC236}">
                <a16:creationId xmlns:a16="http://schemas.microsoft.com/office/drawing/2014/main" id="{34B3D0B0-D426-4989-BEC9-F7FE8B5D8AC3}"/>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flipH="1">
            <a:off x="0" y="0"/>
            <a:ext cx="12436475" cy="6994525"/>
          </a:xfrm>
          <a:prstGeom prst="rect">
            <a:avLst/>
          </a:prstGeom>
        </p:spPr>
      </p:pic>
      <p:sp>
        <p:nvSpPr>
          <p:cNvPr id="5" name="Text Placeholder 4"/>
          <p:cNvSpPr>
            <a:spLocks noGrp="1"/>
          </p:cNvSpPr>
          <p:nvPr>
            <p:ph type="body" sz="quarter" idx="12" hasCustomPrompt="1"/>
          </p:nvPr>
        </p:nvSpPr>
        <p:spPr>
          <a:xfrm>
            <a:off x="276540" y="4931536"/>
            <a:ext cx="7465490"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702" y="1383764"/>
            <a:ext cx="7467328" cy="2420665"/>
          </a:xfrm>
          <a:noFill/>
        </p:spPr>
        <p:txBody>
          <a:bodyPr lIns="146304" tIns="91440" rIns="146304" bIns="91440" anchor="b" anchorCtr="0"/>
          <a:lstStyle>
            <a:lvl1pPr>
              <a:defRPr sz="4896" spc="-100" baseline="0">
                <a:solidFill>
                  <a:schemeClr val="tx2"/>
                </a:solidFill>
              </a:defRPr>
            </a:lvl1pPr>
          </a:lstStyle>
          <a:p>
            <a:r>
              <a:rPr lang="en-US"/>
              <a:t>Presentation title</a:t>
            </a:r>
          </a:p>
        </p:txBody>
      </p:sp>
      <p:grpSp>
        <p:nvGrpSpPr>
          <p:cNvPr id="17" name="Group 16">
            <a:extLst>
              <a:ext uri="{FF2B5EF4-FFF2-40B4-BE49-F238E27FC236}">
                <a16:creationId xmlns:a16="http://schemas.microsoft.com/office/drawing/2014/main" id="{0E0B2B9E-2428-4BDE-BACC-52BB85E1F520}"/>
              </a:ext>
            </a:extLst>
          </p:cNvPr>
          <p:cNvGrpSpPr>
            <a:grpSpLocks noChangeAspect="1"/>
          </p:cNvGrpSpPr>
          <p:nvPr/>
        </p:nvGrpSpPr>
        <p:grpSpPr bwMode="gray">
          <a:xfrm>
            <a:off x="457203" y="479428"/>
            <a:ext cx="1681413" cy="360979"/>
            <a:chOff x="457200" y="1643393"/>
            <a:chExt cx="4492753" cy="964540"/>
          </a:xfrm>
        </p:grpSpPr>
        <p:pic>
          <p:nvPicPr>
            <p:cNvPr id="18" name="Picture 17">
              <a:extLst>
                <a:ext uri="{FF2B5EF4-FFF2-40B4-BE49-F238E27FC236}">
                  <a16:creationId xmlns:a16="http://schemas.microsoft.com/office/drawing/2014/main" id="{24D5215C-133D-4950-AD0D-20DDE01D7408}"/>
                </a:ext>
              </a:extLst>
            </p:cNvPr>
            <p:cNvPicPr>
              <a:picLocks noChangeAspect="1"/>
            </p:cNvPicPr>
            <p:nvPr/>
          </p:nvPicPr>
          <p:blipFill>
            <a:blip r:embed="rId3"/>
            <a:stretch>
              <a:fillRect/>
            </a:stretch>
          </p:blipFill>
          <p:spPr bwMode="gray">
            <a:xfrm>
              <a:off x="457200" y="1643393"/>
              <a:ext cx="964540" cy="964540"/>
            </a:xfrm>
            <a:prstGeom prst="rect">
              <a:avLst/>
            </a:prstGeom>
          </p:spPr>
        </p:pic>
        <p:sp>
          <p:nvSpPr>
            <p:cNvPr id="19" name="Freeform 12">
              <a:extLst>
                <a:ext uri="{FF2B5EF4-FFF2-40B4-BE49-F238E27FC236}">
                  <a16:creationId xmlns:a16="http://schemas.microsoft.com/office/drawing/2014/main" id="{4CFC362B-B32D-44C2-82FD-945EBAD98440}"/>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281570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18" name="Picture 17" descr="A picture containing sky, outdoor, outdoor object, windmill&#10;&#10;Description generated with very high confidence">
            <a:extLst>
              <a:ext uri="{FF2B5EF4-FFF2-40B4-BE49-F238E27FC236}">
                <a16:creationId xmlns:a16="http://schemas.microsoft.com/office/drawing/2014/main" id="{CBB3404F-107E-4EAF-8265-AB28F4259579}"/>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1"/>
            <a:ext cx="12434888" cy="6994525"/>
          </a:xfrm>
          <a:prstGeom prst="rect">
            <a:avLst/>
          </a:prstGeom>
        </p:spPr>
      </p:pic>
      <p:sp>
        <p:nvSpPr>
          <p:cNvPr id="5" name="Text Placeholder 4"/>
          <p:cNvSpPr>
            <a:spLocks noGrp="1"/>
          </p:cNvSpPr>
          <p:nvPr>
            <p:ph type="body" sz="quarter" idx="12" hasCustomPrompt="1"/>
          </p:nvPr>
        </p:nvSpPr>
        <p:spPr>
          <a:xfrm>
            <a:off x="276505" y="4040624"/>
            <a:ext cx="9787983"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667" y="1383766"/>
            <a:ext cx="9789821" cy="2113498"/>
          </a:xfrm>
          <a:noFill/>
        </p:spPr>
        <p:txBody>
          <a:bodyPr lIns="146304" tIns="91440" rIns="146304" bIns="91440" anchor="b" anchorCtr="0"/>
          <a:lstStyle>
            <a:lvl1pPr>
              <a:defRPr sz="5505" spc="-100" baseline="0">
                <a:solidFill>
                  <a:schemeClr val="tx2"/>
                </a:solidFill>
              </a:defRPr>
            </a:lvl1pPr>
          </a:lstStyle>
          <a:p>
            <a:r>
              <a:rPr lang="en-US"/>
              <a:t>Presentation title</a:t>
            </a:r>
          </a:p>
        </p:txBody>
      </p:sp>
      <p:grpSp>
        <p:nvGrpSpPr>
          <p:cNvPr id="19" name="Group 18">
            <a:extLst>
              <a:ext uri="{FF2B5EF4-FFF2-40B4-BE49-F238E27FC236}">
                <a16:creationId xmlns:a16="http://schemas.microsoft.com/office/drawing/2014/main" id="{4DC4FAD8-7FE2-4EE1-9BCE-AE6087EFB633}"/>
              </a:ext>
            </a:extLst>
          </p:cNvPr>
          <p:cNvGrpSpPr>
            <a:grpSpLocks noChangeAspect="1"/>
          </p:cNvGrpSpPr>
          <p:nvPr/>
        </p:nvGrpSpPr>
        <p:grpSpPr bwMode="gray">
          <a:xfrm>
            <a:off x="457145" y="479429"/>
            <a:ext cx="1681198" cy="360979"/>
            <a:chOff x="457200" y="1643393"/>
            <a:chExt cx="4492753" cy="964540"/>
          </a:xfrm>
        </p:grpSpPr>
        <p:pic>
          <p:nvPicPr>
            <p:cNvPr id="20" name="Picture 19">
              <a:extLst>
                <a:ext uri="{FF2B5EF4-FFF2-40B4-BE49-F238E27FC236}">
                  <a16:creationId xmlns:a16="http://schemas.microsoft.com/office/drawing/2014/main" id="{97EB9441-898F-440B-BC6E-90D3172E5454}"/>
                </a:ext>
              </a:extLst>
            </p:cNvPr>
            <p:cNvPicPr>
              <a:picLocks noChangeAspect="1"/>
            </p:cNvPicPr>
            <p:nvPr/>
          </p:nvPicPr>
          <p:blipFill>
            <a:blip r:embed="rId3"/>
            <a:stretch>
              <a:fillRect/>
            </a:stretch>
          </p:blipFill>
          <p:spPr bwMode="gray">
            <a:xfrm>
              <a:off x="457200" y="1643393"/>
              <a:ext cx="964540" cy="964540"/>
            </a:xfrm>
            <a:prstGeom prst="rect">
              <a:avLst/>
            </a:prstGeom>
          </p:spPr>
        </p:pic>
        <p:sp>
          <p:nvSpPr>
            <p:cNvPr id="21" name="Freeform 12">
              <a:extLst>
                <a:ext uri="{FF2B5EF4-FFF2-40B4-BE49-F238E27FC236}">
                  <a16:creationId xmlns:a16="http://schemas.microsoft.com/office/drawing/2014/main" id="{7EF0F8BF-B0DD-4EE9-AEC1-83E63465718B}"/>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480914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pic>
        <p:nvPicPr>
          <p:cNvPr id="12" name="Picture 11" descr="A picture containing indoor, table, coffee, sitting&#10;&#10;Description generated with very high confidence">
            <a:extLst>
              <a:ext uri="{FF2B5EF4-FFF2-40B4-BE49-F238E27FC236}">
                <a16:creationId xmlns:a16="http://schemas.microsoft.com/office/drawing/2014/main" id="{CBE7EA23-A1AA-4AFC-B358-C7448BBDEA9A}"/>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33010" y="0"/>
            <a:ext cx="12469487" cy="6994525"/>
          </a:xfrm>
          <a:prstGeom prst="rect">
            <a:avLst/>
          </a:prstGeom>
        </p:spPr>
      </p:pic>
      <p:sp>
        <p:nvSpPr>
          <p:cNvPr id="5" name="Text Placeholder 4"/>
          <p:cNvSpPr>
            <a:spLocks noGrp="1"/>
          </p:cNvSpPr>
          <p:nvPr>
            <p:ph type="body" sz="quarter" idx="12" hasCustomPrompt="1"/>
          </p:nvPr>
        </p:nvSpPr>
        <p:spPr>
          <a:xfrm>
            <a:off x="276542" y="4931536"/>
            <a:ext cx="3898563" cy="1077419"/>
          </a:xfrm>
          <a:noFill/>
        </p:spPr>
        <p:txBody>
          <a:bodyPr lIns="146304" tIns="109728" rIns="146304" bIns="109728">
            <a:noAutofit/>
          </a:bodyPr>
          <a:lstStyle>
            <a:lvl1pPr marL="0" indent="0">
              <a:spcBef>
                <a:spcPts val="0"/>
              </a:spcBef>
              <a:buNone/>
              <a:defRPr sz="3264" spc="0" baseline="0">
                <a:solidFill>
                  <a:schemeClr val="bg1"/>
                </a:solidFill>
                <a:latin typeface="+mn-lt"/>
              </a:defRPr>
            </a:lvl1pPr>
          </a:lstStyle>
          <a:p>
            <a:pPr lvl="0"/>
            <a:r>
              <a:rPr lang="en-US"/>
              <a:t>Speaker Name</a:t>
            </a:r>
          </a:p>
        </p:txBody>
      </p:sp>
      <p:sp>
        <p:nvSpPr>
          <p:cNvPr id="9" name="Title 1"/>
          <p:cNvSpPr>
            <a:spLocks noGrp="1"/>
          </p:cNvSpPr>
          <p:nvPr>
            <p:ph type="title" hasCustomPrompt="1"/>
          </p:nvPr>
        </p:nvSpPr>
        <p:spPr>
          <a:xfrm>
            <a:off x="274702" y="1383766"/>
            <a:ext cx="5943535" cy="1772739"/>
          </a:xfrm>
          <a:noFill/>
        </p:spPr>
        <p:txBody>
          <a:bodyPr lIns="146304" tIns="91440" rIns="146304" bIns="91440" anchor="b" anchorCtr="0"/>
          <a:lstStyle>
            <a:lvl1pPr>
              <a:defRPr sz="4896" spc="-100" baseline="0">
                <a:solidFill>
                  <a:schemeClr val="bg1"/>
                </a:solidFill>
              </a:defRPr>
            </a:lvl1pPr>
          </a:lstStyle>
          <a:p>
            <a:r>
              <a:rPr lang="en-US"/>
              <a:t>Presentation title</a:t>
            </a:r>
          </a:p>
        </p:txBody>
      </p:sp>
      <p:grpSp>
        <p:nvGrpSpPr>
          <p:cNvPr id="18" name="Group 17">
            <a:extLst>
              <a:ext uri="{FF2B5EF4-FFF2-40B4-BE49-F238E27FC236}">
                <a16:creationId xmlns:a16="http://schemas.microsoft.com/office/drawing/2014/main" id="{E27FEA8D-93FA-4FC5-9E2F-0A6C04AE26F7}"/>
              </a:ext>
            </a:extLst>
          </p:cNvPr>
          <p:cNvGrpSpPr>
            <a:grpSpLocks noChangeAspect="1"/>
          </p:cNvGrpSpPr>
          <p:nvPr/>
        </p:nvGrpSpPr>
        <p:grpSpPr bwMode="gray">
          <a:xfrm>
            <a:off x="457203" y="479428"/>
            <a:ext cx="1681413" cy="360979"/>
            <a:chOff x="457200" y="1643393"/>
            <a:chExt cx="4492753" cy="964540"/>
          </a:xfrm>
        </p:grpSpPr>
        <p:pic>
          <p:nvPicPr>
            <p:cNvPr id="19" name="Picture 18">
              <a:extLst>
                <a:ext uri="{FF2B5EF4-FFF2-40B4-BE49-F238E27FC236}">
                  <a16:creationId xmlns:a16="http://schemas.microsoft.com/office/drawing/2014/main" id="{81E226AD-3940-489E-B79D-7E83BAC197C5}"/>
                </a:ext>
              </a:extLst>
            </p:cNvPr>
            <p:cNvPicPr>
              <a:picLocks noChangeAspect="1"/>
            </p:cNvPicPr>
            <p:nvPr/>
          </p:nvPicPr>
          <p:blipFill>
            <a:blip r:embed="rId3"/>
            <a:stretch>
              <a:fillRect/>
            </a:stretch>
          </p:blipFill>
          <p:spPr bwMode="gray">
            <a:xfrm>
              <a:off x="457200" y="1643393"/>
              <a:ext cx="964540" cy="964540"/>
            </a:xfrm>
            <a:prstGeom prst="rect">
              <a:avLst/>
            </a:prstGeom>
          </p:spPr>
        </p:pic>
        <p:sp>
          <p:nvSpPr>
            <p:cNvPr id="20" name="Freeform 12">
              <a:extLst>
                <a:ext uri="{FF2B5EF4-FFF2-40B4-BE49-F238E27FC236}">
                  <a16:creationId xmlns:a16="http://schemas.microsoft.com/office/drawing/2014/main" id="{1DF353B1-30C6-4304-93F4-E8EFC1C5BC8D}"/>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093485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33147601"/>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6" y="1212853"/>
            <a:ext cx="11885683" cy="2025170"/>
          </a:xfrm>
        </p:spPr>
        <p:txBody>
          <a:bodyPr/>
          <a:lstStyle>
            <a:lvl1pPr marL="0" indent="0">
              <a:buNone/>
              <a:defRPr>
                <a:gradFill>
                  <a:gsLst>
                    <a:gs pos="1250">
                      <a:schemeClr val="tx2"/>
                    </a:gs>
                    <a:gs pos="99000">
                      <a:schemeClr val="tx2"/>
                    </a:gs>
                  </a:gsLst>
                  <a:lin ang="5400000" scaled="0"/>
                </a:gradFill>
              </a:defRPr>
            </a:lvl1pPr>
            <a:lvl2pPr marL="349621" indent="-349621">
              <a:buFont typeface="Arial" panose="020B0604020202020204" pitchFamily="34" charset="0"/>
              <a:buChar char="•"/>
              <a:defRPr sz="2000"/>
            </a:lvl2pPr>
            <a:lvl3pPr marL="228446" indent="0">
              <a:buNone/>
              <a:defRPr/>
            </a:lvl3pPr>
            <a:lvl4pPr marL="456891" indent="0">
              <a:buNone/>
              <a:defRPr/>
            </a:lvl4pPr>
            <a:lvl5pPr marL="6853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9542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5" y="1212852"/>
            <a:ext cx="11885683"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490" indent="0">
              <a:buNone/>
              <a:defRPr/>
            </a:lvl3pPr>
            <a:lvl4pPr marL="456978" indent="0">
              <a:buNone/>
              <a:defRPr/>
            </a:lvl4pPr>
            <a:lvl5pPr marL="68546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0372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81116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5168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6" y="1212851"/>
            <a:ext cx="5485699" cy="1973212"/>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63" indent="0">
              <a:buNone/>
              <a:tabLst/>
              <a:defRPr sz="2000"/>
            </a:lvl3pPr>
            <a:lvl4pPr marL="460152" indent="0">
              <a:buNone/>
              <a:defRPr/>
            </a:lvl4pPr>
            <a:lvl5pPr marL="68546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1"/>
            <a:ext cx="5485699" cy="1973212"/>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63" indent="0">
              <a:buNone/>
              <a:tabLst/>
              <a:defRPr sz="2000"/>
            </a:lvl3pPr>
            <a:lvl4pPr marL="460152" indent="0">
              <a:buNone/>
              <a:defRPr/>
            </a:lvl4pPr>
            <a:lvl5pPr marL="68546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6162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6" y="1212851"/>
            <a:ext cx="5485699" cy="1973212"/>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63" indent="0">
              <a:buNone/>
              <a:tabLst/>
              <a:defRPr sz="2000"/>
            </a:lvl3pPr>
            <a:lvl4pPr marL="460152" indent="0">
              <a:buNone/>
              <a:defRPr/>
            </a:lvl4pPr>
            <a:lvl5pPr marL="68546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1"/>
            <a:ext cx="5485699" cy="1973212"/>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63" indent="0">
              <a:buNone/>
              <a:tabLst/>
              <a:defRPr sz="2000"/>
            </a:lvl3pPr>
            <a:lvl4pPr marL="460152" indent="0">
              <a:buNone/>
              <a:defRPr/>
            </a:lvl4pPr>
            <a:lvl5pPr marL="68546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0854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32112" rtl="0" eaLnBrk="1" latinLnBrk="0" hangingPunct="1">
              <a:lnSpc>
                <a:spcPct val="90000"/>
              </a:lnSpc>
              <a:spcBef>
                <a:spcPct val="0"/>
              </a:spcBef>
              <a:buNone/>
              <a:defRPr lang="en-US" sz="3672"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2849239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Business Update Layout">
    <p:spTree>
      <p:nvGrpSpPr>
        <p:cNvPr id="1" name=""/>
        <p:cNvGrpSpPr/>
        <p:nvPr/>
      </p:nvGrpSpPr>
      <p:grpSpPr>
        <a:xfrm>
          <a:off x="0" y="0"/>
          <a:ext cx="0" cy="0"/>
          <a:chOff x="0" y="0"/>
          <a:chExt cx="0" cy="0"/>
        </a:xfrm>
      </p:grpSpPr>
      <p:sp>
        <p:nvSpPr>
          <p:cNvPr id="2" name="Title 1"/>
          <p:cNvSpPr>
            <a:spLocks noGrp="1"/>
          </p:cNvSpPr>
          <p:nvPr>
            <p:ph type="title"/>
          </p:nvPr>
        </p:nvSpPr>
        <p:spPr>
          <a:xfrm>
            <a:off x="274604" y="67927"/>
            <a:ext cx="11888047" cy="595569"/>
          </a:xfrm>
        </p:spPr>
        <p:txBody>
          <a:bodyPr/>
          <a:lstStyle>
            <a:lvl1pPr algn="l" defTabSz="932112" rtl="0" eaLnBrk="1" latinLnBrk="0" hangingPunct="1">
              <a:lnSpc>
                <a:spcPct val="90000"/>
              </a:lnSpc>
              <a:spcBef>
                <a:spcPct val="0"/>
              </a:spcBef>
              <a:buNone/>
              <a:defRPr lang="en-US" sz="2856"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356483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979324"/>
            <a:ext cx="4689382" cy="1035882"/>
          </a:xfrm>
          <a:noFill/>
        </p:spPr>
        <p:txBody>
          <a:bodyPr wrap="square" tIns="91440" bIns="91440" anchor="ctr" anchorCtr="0">
            <a:spAutoFit/>
          </a:bodyPr>
          <a:lstStyle>
            <a:lvl1pPr>
              <a:defRPr sz="6116" spc="-100" baseline="0">
                <a:gradFill>
                  <a:gsLst>
                    <a:gs pos="100000">
                      <a:schemeClr val="tx1"/>
                    </a:gs>
                    <a:gs pos="0">
                      <a:schemeClr val="tx1"/>
                    </a:gs>
                  </a:gsLst>
                  <a:lin ang="5400000" scaled="0"/>
                </a:gradFill>
              </a:defRPr>
            </a:lvl1pPr>
          </a:lstStyle>
          <a:p>
            <a:r>
              <a:rPr lang="en-US"/>
              <a:t>Section title</a:t>
            </a:r>
          </a:p>
        </p:txBody>
      </p:sp>
      <p:grpSp>
        <p:nvGrpSpPr>
          <p:cNvPr id="9" name="Group 8">
            <a:extLst>
              <a:ext uri="{FF2B5EF4-FFF2-40B4-BE49-F238E27FC236}">
                <a16:creationId xmlns:a16="http://schemas.microsoft.com/office/drawing/2014/main" id="{7B10C0DF-AEA4-4752-8280-CBB135FEA5AE}"/>
              </a:ext>
            </a:extLst>
          </p:cNvPr>
          <p:cNvGrpSpPr/>
          <p:nvPr/>
        </p:nvGrpSpPr>
        <p:grpSpPr>
          <a:xfrm>
            <a:off x="4963986" y="2642377"/>
            <a:ext cx="2973230" cy="1709775"/>
            <a:chOff x="6497638" y="5624513"/>
            <a:chExt cx="623888" cy="358775"/>
          </a:xfrm>
          <a:solidFill>
            <a:schemeClr val="accent2"/>
          </a:solidFill>
        </p:grpSpPr>
        <p:sp>
          <p:nvSpPr>
            <p:cNvPr id="10" name="Rectangle 102">
              <a:extLst>
                <a:ext uri="{FF2B5EF4-FFF2-40B4-BE49-F238E27FC236}">
                  <a16:creationId xmlns:a16="http://schemas.microsoft.com/office/drawing/2014/main" id="{8CEB455B-4BBB-4066-8DEB-B3C2E1E93BB4}"/>
                </a:ext>
              </a:extLst>
            </p:cNvPr>
            <p:cNvSpPr>
              <a:spLocks noChangeArrowheads="1"/>
            </p:cNvSpPr>
            <p:nvPr/>
          </p:nvSpPr>
          <p:spPr bwMode="auto">
            <a:xfrm>
              <a:off x="6900863" y="5759451"/>
              <a:ext cx="87313" cy="9048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1" name="Oval 103">
              <a:extLst>
                <a:ext uri="{FF2B5EF4-FFF2-40B4-BE49-F238E27FC236}">
                  <a16:creationId xmlns:a16="http://schemas.microsoft.com/office/drawing/2014/main" id="{034728C7-2437-42A7-92DE-5CFA0A2EE924}"/>
                </a:ext>
              </a:extLst>
            </p:cNvPr>
            <p:cNvSpPr>
              <a:spLocks noChangeArrowheads="1"/>
            </p:cNvSpPr>
            <p:nvPr/>
          </p:nvSpPr>
          <p:spPr bwMode="auto">
            <a:xfrm>
              <a:off x="7034213" y="5759451"/>
              <a:ext cx="87313" cy="90488"/>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2" name="Freeform 104">
              <a:extLst>
                <a:ext uri="{FF2B5EF4-FFF2-40B4-BE49-F238E27FC236}">
                  <a16:creationId xmlns:a16="http://schemas.microsoft.com/office/drawing/2014/main" id="{1FBAA3A3-CB40-4989-963A-31EE281C8CC6}"/>
                </a:ext>
              </a:extLst>
            </p:cNvPr>
            <p:cNvSpPr>
              <a:spLocks/>
            </p:cNvSpPr>
            <p:nvPr/>
          </p:nvSpPr>
          <p:spPr bwMode="auto">
            <a:xfrm>
              <a:off x="6497638" y="5624513"/>
              <a:ext cx="357188" cy="358775"/>
            </a:xfrm>
            <a:custGeom>
              <a:avLst/>
              <a:gdLst>
                <a:gd name="T0" fmla="*/ 74 w 118"/>
                <a:gd name="T1" fmla="*/ 0 h 118"/>
                <a:gd name="T2" fmla="*/ 44 w 118"/>
                <a:gd name="T3" fmla="*/ 0 h 118"/>
                <a:gd name="T4" fmla="*/ 59 w 118"/>
                <a:gd name="T5" fmla="*/ 44 h 118"/>
                <a:gd name="T6" fmla="*/ 0 w 118"/>
                <a:gd name="T7" fmla="*/ 44 h 118"/>
                <a:gd name="T8" fmla="*/ 0 w 118"/>
                <a:gd name="T9" fmla="*/ 74 h 118"/>
                <a:gd name="T10" fmla="*/ 30 w 118"/>
                <a:gd name="T11" fmla="*/ 74 h 118"/>
                <a:gd name="T12" fmla="*/ 15 w 118"/>
                <a:gd name="T13" fmla="*/ 118 h 118"/>
                <a:gd name="T14" fmla="*/ 44 w 118"/>
                <a:gd name="T15" fmla="*/ 118 h 118"/>
                <a:gd name="T16" fmla="*/ 89 w 118"/>
                <a:gd name="T17" fmla="*/ 74 h 118"/>
                <a:gd name="T18" fmla="*/ 118 w 118"/>
                <a:gd name="T19" fmla="*/ 74 h 118"/>
                <a:gd name="T20" fmla="*/ 118 w 118"/>
                <a:gd name="T21" fmla="*/ 44 h 118"/>
                <a:gd name="T22" fmla="*/ 74 w 118"/>
                <a:gd name="T23"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 h="118">
                  <a:moveTo>
                    <a:pt x="74" y="0"/>
                  </a:moveTo>
                  <a:cubicBezTo>
                    <a:pt x="44" y="0"/>
                    <a:pt x="44" y="0"/>
                    <a:pt x="44" y="0"/>
                  </a:cubicBezTo>
                  <a:cubicBezTo>
                    <a:pt x="44" y="17"/>
                    <a:pt x="50" y="32"/>
                    <a:pt x="59" y="44"/>
                  </a:cubicBezTo>
                  <a:cubicBezTo>
                    <a:pt x="0" y="44"/>
                    <a:pt x="0" y="44"/>
                    <a:pt x="0" y="44"/>
                  </a:cubicBezTo>
                  <a:cubicBezTo>
                    <a:pt x="0" y="74"/>
                    <a:pt x="0" y="74"/>
                    <a:pt x="0" y="74"/>
                  </a:cubicBezTo>
                  <a:cubicBezTo>
                    <a:pt x="30" y="74"/>
                    <a:pt x="30" y="74"/>
                    <a:pt x="30" y="74"/>
                  </a:cubicBezTo>
                  <a:cubicBezTo>
                    <a:pt x="20" y="86"/>
                    <a:pt x="15" y="101"/>
                    <a:pt x="15" y="118"/>
                  </a:cubicBezTo>
                  <a:cubicBezTo>
                    <a:pt x="44" y="118"/>
                    <a:pt x="44" y="118"/>
                    <a:pt x="44" y="118"/>
                  </a:cubicBezTo>
                  <a:cubicBezTo>
                    <a:pt x="44" y="94"/>
                    <a:pt x="64" y="74"/>
                    <a:pt x="89" y="74"/>
                  </a:cubicBezTo>
                  <a:cubicBezTo>
                    <a:pt x="118" y="74"/>
                    <a:pt x="118" y="74"/>
                    <a:pt x="118" y="74"/>
                  </a:cubicBezTo>
                  <a:cubicBezTo>
                    <a:pt x="118" y="44"/>
                    <a:pt x="118" y="44"/>
                    <a:pt x="118" y="44"/>
                  </a:cubicBezTo>
                  <a:cubicBezTo>
                    <a:pt x="94" y="44"/>
                    <a:pt x="74" y="25"/>
                    <a:pt x="7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Tree>
    <p:extLst>
      <p:ext uri="{BB962C8B-B14F-4D97-AF65-F5344CB8AC3E}">
        <p14:creationId xmlns:p14="http://schemas.microsoft.com/office/powerpoint/2010/main" val="13579203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2_Divider Slide">
    <p:bg>
      <p:bgPr>
        <a:solidFill>
          <a:schemeClr val="accent4"/>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A5EDEADA-00A4-4A61-B6F7-7AB4F12D948A}"/>
              </a:ext>
            </a:extLst>
          </p:cNvPr>
          <p:cNvGrpSpPr/>
          <p:nvPr/>
        </p:nvGrpSpPr>
        <p:grpSpPr>
          <a:xfrm>
            <a:off x="5047972" y="2322610"/>
            <a:ext cx="2338944" cy="2349306"/>
            <a:chOff x="6697663" y="4592638"/>
            <a:chExt cx="357188" cy="358775"/>
          </a:xfrm>
          <a:solidFill>
            <a:schemeClr val="accent2"/>
          </a:solidFill>
        </p:grpSpPr>
        <p:sp>
          <p:nvSpPr>
            <p:cNvPr id="8" name="Rectangle 111">
              <a:extLst>
                <a:ext uri="{FF2B5EF4-FFF2-40B4-BE49-F238E27FC236}">
                  <a16:creationId xmlns:a16="http://schemas.microsoft.com/office/drawing/2014/main" id="{D1553FB3-8D36-4451-80F9-126DBB3680A2}"/>
                </a:ext>
              </a:extLst>
            </p:cNvPr>
            <p:cNvSpPr>
              <a:spLocks noChangeArrowheads="1"/>
            </p:cNvSpPr>
            <p:nvPr/>
          </p:nvSpPr>
          <p:spPr bwMode="auto">
            <a:xfrm>
              <a:off x="6967538" y="4592638"/>
              <a:ext cx="87313" cy="9048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3" name="Rectangle 112">
              <a:extLst>
                <a:ext uri="{FF2B5EF4-FFF2-40B4-BE49-F238E27FC236}">
                  <a16:creationId xmlns:a16="http://schemas.microsoft.com/office/drawing/2014/main" id="{F778D167-D5C1-45E4-88A3-CDFE945D90EF}"/>
                </a:ext>
              </a:extLst>
            </p:cNvPr>
            <p:cNvSpPr>
              <a:spLocks noChangeArrowheads="1"/>
            </p:cNvSpPr>
            <p:nvPr/>
          </p:nvSpPr>
          <p:spPr bwMode="auto">
            <a:xfrm>
              <a:off x="6967538" y="4729163"/>
              <a:ext cx="87313" cy="88900"/>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5" name="Oval 114">
              <a:extLst>
                <a:ext uri="{FF2B5EF4-FFF2-40B4-BE49-F238E27FC236}">
                  <a16:creationId xmlns:a16="http://schemas.microsoft.com/office/drawing/2014/main" id="{45F60B31-7982-44FA-BA48-233259AB8EB5}"/>
                </a:ext>
              </a:extLst>
            </p:cNvPr>
            <p:cNvSpPr>
              <a:spLocks noChangeArrowheads="1"/>
            </p:cNvSpPr>
            <p:nvPr/>
          </p:nvSpPr>
          <p:spPr bwMode="auto">
            <a:xfrm>
              <a:off x="696753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7" name="Oval 116">
              <a:extLst>
                <a:ext uri="{FF2B5EF4-FFF2-40B4-BE49-F238E27FC236}">
                  <a16:creationId xmlns:a16="http://schemas.microsoft.com/office/drawing/2014/main" id="{0B99C7EB-A6D8-4940-B7C1-C90077CF6998}"/>
                </a:ext>
              </a:extLst>
            </p:cNvPr>
            <p:cNvSpPr>
              <a:spLocks noChangeArrowheads="1"/>
            </p:cNvSpPr>
            <p:nvPr/>
          </p:nvSpPr>
          <p:spPr bwMode="auto">
            <a:xfrm>
              <a:off x="683418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8" name="Oval 117">
              <a:extLst>
                <a:ext uri="{FF2B5EF4-FFF2-40B4-BE49-F238E27FC236}">
                  <a16:creationId xmlns:a16="http://schemas.microsoft.com/office/drawing/2014/main" id="{B0FE87B5-3F11-4310-9F20-252AE750CA70}"/>
                </a:ext>
              </a:extLst>
            </p:cNvPr>
            <p:cNvSpPr>
              <a:spLocks noChangeArrowheads="1"/>
            </p:cNvSpPr>
            <p:nvPr/>
          </p:nvSpPr>
          <p:spPr bwMode="auto">
            <a:xfrm>
              <a:off x="6834188" y="472916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20" name="Oval 119">
              <a:extLst>
                <a:ext uri="{FF2B5EF4-FFF2-40B4-BE49-F238E27FC236}">
                  <a16:creationId xmlns:a16="http://schemas.microsoft.com/office/drawing/2014/main" id="{E16A5D25-8095-4AB2-8825-9C4FA0C8749F}"/>
                </a:ext>
              </a:extLst>
            </p:cNvPr>
            <p:cNvSpPr>
              <a:spLocks noChangeArrowheads="1"/>
            </p:cNvSpPr>
            <p:nvPr/>
          </p:nvSpPr>
          <p:spPr bwMode="auto">
            <a:xfrm>
              <a:off x="6697663" y="4862513"/>
              <a:ext cx="90488"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
        <p:nvSpPr>
          <p:cNvPr id="10" name="Title 1">
            <a:extLst>
              <a:ext uri="{FF2B5EF4-FFF2-40B4-BE49-F238E27FC236}">
                <a16:creationId xmlns:a16="http://schemas.microsoft.com/office/drawing/2014/main" id="{1F55178B-1A46-43C0-90DB-4D5DB64140EC}"/>
              </a:ext>
            </a:extLst>
          </p:cNvPr>
          <p:cNvSpPr>
            <a:spLocks noGrp="1"/>
          </p:cNvSpPr>
          <p:nvPr>
            <p:ph type="title" hasCustomPrompt="1"/>
          </p:nvPr>
        </p:nvSpPr>
        <p:spPr>
          <a:xfrm>
            <a:off x="274603" y="2979324"/>
            <a:ext cx="4689382" cy="1035882"/>
          </a:xfrm>
          <a:noFill/>
        </p:spPr>
        <p:txBody>
          <a:bodyPr wrap="square" tIns="91440" bIns="91440" anchor="ctr" anchorCtr="0">
            <a:spAutoFit/>
          </a:bodyPr>
          <a:lstStyle>
            <a:lvl1pPr>
              <a:defRPr sz="611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370325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image" Target="../media/image1.png"/><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image" Target="../media/image2.sv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image" Target="../media/image3.emf"/><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61" Type="http://schemas.openxmlformats.org/officeDocument/2006/relationships/slideLayout" Target="../slideLayouts/slideLayout61.xml"/><Relationship Id="rId82" Type="http://schemas.openxmlformats.org/officeDocument/2006/relationships/slideLayout" Target="../slideLayouts/slideLayout82.xml"/></Relationships>
</file>

<file path=ppt/slideMasters/_rels/slideMaster10.xml.rels><?xml version="1.0" encoding="UTF-8" standalone="yes"?>
<Relationships xmlns="http://schemas.openxmlformats.org/package/2006/relationships"><Relationship Id="rId26" Type="http://schemas.openxmlformats.org/officeDocument/2006/relationships/slideLayout" Target="../slideLayouts/slideLayout441.xml"/><Relationship Id="rId21" Type="http://schemas.openxmlformats.org/officeDocument/2006/relationships/slideLayout" Target="../slideLayouts/slideLayout436.xml"/><Relationship Id="rId42" Type="http://schemas.openxmlformats.org/officeDocument/2006/relationships/slideLayout" Target="../slideLayouts/slideLayout457.xml"/><Relationship Id="rId47" Type="http://schemas.openxmlformats.org/officeDocument/2006/relationships/slideLayout" Target="../slideLayouts/slideLayout462.xml"/><Relationship Id="rId63" Type="http://schemas.openxmlformats.org/officeDocument/2006/relationships/slideLayout" Target="../slideLayouts/slideLayout478.xml"/><Relationship Id="rId68" Type="http://schemas.openxmlformats.org/officeDocument/2006/relationships/slideLayout" Target="../slideLayouts/slideLayout483.xml"/><Relationship Id="rId16" Type="http://schemas.openxmlformats.org/officeDocument/2006/relationships/slideLayout" Target="../slideLayouts/slideLayout431.xml"/><Relationship Id="rId11" Type="http://schemas.openxmlformats.org/officeDocument/2006/relationships/slideLayout" Target="../slideLayouts/slideLayout426.xml"/><Relationship Id="rId24" Type="http://schemas.openxmlformats.org/officeDocument/2006/relationships/slideLayout" Target="../slideLayouts/slideLayout439.xml"/><Relationship Id="rId32" Type="http://schemas.openxmlformats.org/officeDocument/2006/relationships/slideLayout" Target="../slideLayouts/slideLayout447.xml"/><Relationship Id="rId37" Type="http://schemas.openxmlformats.org/officeDocument/2006/relationships/slideLayout" Target="../slideLayouts/slideLayout452.xml"/><Relationship Id="rId40" Type="http://schemas.openxmlformats.org/officeDocument/2006/relationships/slideLayout" Target="../slideLayouts/slideLayout455.xml"/><Relationship Id="rId45" Type="http://schemas.openxmlformats.org/officeDocument/2006/relationships/slideLayout" Target="../slideLayouts/slideLayout460.xml"/><Relationship Id="rId53" Type="http://schemas.openxmlformats.org/officeDocument/2006/relationships/slideLayout" Target="../slideLayouts/slideLayout468.xml"/><Relationship Id="rId58" Type="http://schemas.openxmlformats.org/officeDocument/2006/relationships/slideLayout" Target="../slideLayouts/slideLayout473.xml"/><Relationship Id="rId66" Type="http://schemas.openxmlformats.org/officeDocument/2006/relationships/slideLayout" Target="../slideLayouts/slideLayout481.xml"/><Relationship Id="rId74" Type="http://schemas.openxmlformats.org/officeDocument/2006/relationships/slideLayout" Target="../slideLayouts/slideLayout489.xml"/><Relationship Id="rId5" Type="http://schemas.openxmlformats.org/officeDocument/2006/relationships/slideLayout" Target="../slideLayouts/slideLayout420.xml"/><Relationship Id="rId61" Type="http://schemas.openxmlformats.org/officeDocument/2006/relationships/slideLayout" Target="../slideLayouts/slideLayout476.xml"/><Relationship Id="rId19" Type="http://schemas.openxmlformats.org/officeDocument/2006/relationships/slideLayout" Target="../slideLayouts/slideLayout434.xml"/><Relationship Id="rId14" Type="http://schemas.openxmlformats.org/officeDocument/2006/relationships/slideLayout" Target="../slideLayouts/slideLayout429.xml"/><Relationship Id="rId22" Type="http://schemas.openxmlformats.org/officeDocument/2006/relationships/slideLayout" Target="../slideLayouts/slideLayout437.xml"/><Relationship Id="rId27" Type="http://schemas.openxmlformats.org/officeDocument/2006/relationships/slideLayout" Target="../slideLayouts/slideLayout442.xml"/><Relationship Id="rId30" Type="http://schemas.openxmlformats.org/officeDocument/2006/relationships/slideLayout" Target="../slideLayouts/slideLayout445.xml"/><Relationship Id="rId35" Type="http://schemas.openxmlformats.org/officeDocument/2006/relationships/slideLayout" Target="../slideLayouts/slideLayout450.xml"/><Relationship Id="rId43" Type="http://schemas.openxmlformats.org/officeDocument/2006/relationships/slideLayout" Target="../slideLayouts/slideLayout458.xml"/><Relationship Id="rId48" Type="http://schemas.openxmlformats.org/officeDocument/2006/relationships/slideLayout" Target="../slideLayouts/slideLayout463.xml"/><Relationship Id="rId56" Type="http://schemas.openxmlformats.org/officeDocument/2006/relationships/slideLayout" Target="../slideLayouts/slideLayout471.xml"/><Relationship Id="rId64" Type="http://schemas.openxmlformats.org/officeDocument/2006/relationships/slideLayout" Target="../slideLayouts/slideLayout479.xml"/><Relationship Id="rId69" Type="http://schemas.openxmlformats.org/officeDocument/2006/relationships/slideLayout" Target="../slideLayouts/slideLayout484.xml"/><Relationship Id="rId77" Type="http://schemas.openxmlformats.org/officeDocument/2006/relationships/image" Target="../media/image2.svg"/><Relationship Id="rId8" Type="http://schemas.openxmlformats.org/officeDocument/2006/relationships/slideLayout" Target="../slideLayouts/slideLayout423.xml"/><Relationship Id="rId51" Type="http://schemas.openxmlformats.org/officeDocument/2006/relationships/slideLayout" Target="../slideLayouts/slideLayout466.xml"/><Relationship Id="rId72" Type="http://schemas.openxmlformats.org/officeDocument/2006/relationships/slideLayout" Target="../slideLayouts/slideLayout487.xml"/><Relationship Id="rId3" Type="http://schemas.openxmlformats.org/officeDocument/2006/relationships/slideLayout" Target="../slideLayouts/slideLayout418.xml"/><Relationship Id="rId12" Type="http://schemas.openxmlformats.org/officeDocument/2006/relationships/slideLayout" Target="../slideLayouts/slideLayout427.xml"/><Relationship Id="rId17" Type="http://schemas.openxmlformats.org/officeDocument/2006/relationships/slideLayout" Target="../slideLayouts/slideLayout432.xml"/><Relationship Id="rId25" Type="http://schemas.openxmlformats.org/officeDocument/2006/relationships/slideLayout" Target="../slideLayouts/slideLayout440.xml"/><Relationship Id="rId33" Type="http://schemas.openxmlformats.org/officeDocument/2006/relationships/slideLayout" Target="../slideLayouts/slideLayout448.xml"/><Relationship Id="rId38" Type="http://schemas.openxmlformats.org/officeDocument/2006/relationships/slideLayout" Target="../slideLayouts/slideLayout453.xml"/><Relationship Id="rId46" Type="http://schemas.openxmlformats.org/officeDocument/2006/relationships/slideLayout" Target="../slideLayouts/slideLayout461.xml"/><Relationship Id="rId59" Type="http://schemas.openxmlformats.org/officeDocument/2006/relationships/slideLayout" Target="../slideLayouts/slideLayout474.xml"/><Relationship Id="rId67" Type="http://schemas.openxmlformats.org/officeDocument/2006/relationships/slideLayout" Target="../slideLayouts/slideLayout482.xml"/><Relationship Id="rId20" Type="http://schemas.openxmlformats.org/officeDocument/2006/relationships/slideLayout" Target="../slideLayouts/slideLayout435.xml"/><Relationship Id="rId41" Type="http://schemas.openxmlformats.org/officeDocument/2006/relationships/slideLayout" Target="../slideLayouts/slideLayout456.xml"/><Relationship Id="rId54" Type="http://schemas.openxmlformats.org/officeDocument/2006/relationships/slideLayout" Target="../slideLayouts/slideLayout469.xml"/><Relationship Id="rId62" Type="http://schemas.openxmlformats.org/officeDocument/2006/relationships/slideLayout" Target="../slideLayouts/slideLayout477.xml"/><Relationship Id="rId70" Type="http://schemas.openxmlformats.org/officeDocument/2006/relationships/slideLayout" Target="../slideLayouts/slideLayout485.xml"/><Relationship Id="rId75" Type="http://schemas.openxmlformats.org/officeDocument/2006/relationships/theme" Target="../theme/theme10.xml"/><Relationship Id="rId1" Type="http://schemas.openxmlformats.org/officeDocument/2006/relationships/slideLayout" Target="../slideLayouts/slideLayout416.xml"/><Relationship Id="rId6" Type="http://schemas.openxmlformats.org/officeDocument/2006/relationships/slideLayout" Target="../slideLayouts/slideLayout421.xml"/><Relationship Id="rId15" Type="http://schemas.openxmlformats.org/officeDocument/2006/relationships/slideLayout" Target="../slideLayouts/slideLayout430.xml"/><Relationship Id="rId23" Type="http://schemas.openxmlformats.org/officeDocument/2006/relationships/slideLayout" Target="../slideLayouts/slideLayout438.xml"/><Relationship Id="rId28" Type="http://schemas.openxmlformats.org/officeDocument/2006/relationships/slideLayout" Target="../slideLayouts/slideLayout443.xml"/><Relationship Id="rId36" Type="http://schemas.openxmlformats.org/officeDocument/2006/relationships/slideLayout" Target="../slideLayouts/slideLayout451.xml"/><Relationship Id="rId49" Type="http://schemas.openxmlformats.org/officeDocument/2006/relationships/slideLayout" Target="../slideLayouts/slideLayout464.xml"/><Relationship Id="rId57" Type="http://schemas.openxmlformats.org/officeDocument/2006/relationships/slideLayout" Target="../slideLayouts/slideLayout472.xml"/><Relationship Id="rId10" Type="http://schemas.openxmlformats.org/officeDocument/2006/relationships/slideLayout" Target="../slideLayouts/slideLayout425.xml"/><Relationship Id="rId31" Type="http://schemas.openxmlformats.org/officeDocument/2006/relationships/slideLayout" Target="../slideLayouts/slideLayout446.xml"/><Relationship Id="rId44" Type="http://schemas.openxmlformats.org/officeDocument/2006/relationships/slideLayout" Target="../slideLayouts/slideLayout459.xml"/><Relationship Id="rId52" Type="http://schemas.openxmlformats.org/officeDocument/2006/relationships/slideLayout" Target="../slideLayouts/slideLayout467.xml"/><Relationship Id="rId60" Type="http://schemas.openxmlformats.org/officeDocument/2006/relationships/slideLayout" Target="../slideLayouts/slideLayout475.xml"/><Relationship Id="rId65" Type="http://schemas.openxmlformats.org/officeDocument/2006/relationships/slideLayout" Target="../slideLayouts/slideLayout480.xml"/><Relationship Id="rId73" Type="http://schemas.openxmlformats.org/officeDocument/2006/relationships/slideLayout" Target="../slideLayouts/slideLayout488.xml"/><Relationship Id="rId78" Type="http://schemas.openxmlformats.org/officeDocument/2006/relationships/image" Target="../media/image3.emf"/><Relationship Id="rId4" Type="http://schemas.openxmlformats.org/officeDocument/2006/relationships/slideLayout" Target="../slideLayouts/slideLayout419.xml"/><Relationship Id="rId9" Type="http://schemas.openxmlformats.org/officeDocument/2006/relationships/slideLayout" Target="../slideLayouts/slideLayout424.xml"/><Relationship Id="rId13" Type="http://schemas.openxmlformats.org/officeDocument/2006/relationships/slideLayout" Target="../slideLayouts/slideLayout428.xml"/><Relationship Id="rId18" Type="http://schemas.openxmlformats.org/officeDocument/2006/relationships/slideLayout" Target="../slideLayouts/slideLayout433.xml"/><Relationship Id="rId39" Type="http://schemas.openxmlformats.org/officeDocument/2006/relationships/slideLayout" Target="../slideLayouts/slideLayout454.xml"/><Relationship Id="rId34" Type="http://schemas.openxmlformats.org/officeDocument/2006/relationships/slideLayout" Target="../slideLayouts/slideLayout449.xml"/><Relationship Id="rId50" Type="http://schemas.openxmlformats.org/officeDocument/2006/relationships/slideLayout" Target="../slideLayouts/slideLayout465.xml"/><Relationship Id="rId55" Type="http://schemas.openxmlformats.org/officeDocument/2006/relationships/slideLayout" Target="../slideLayouts/slideLayout470.xml"/><Relationship Id="rId76" Type="http://schemas.openxmlformats.org/officeDocument/2006/relationships/image" Target="../media/image1.png"/><Relationship Id="rId7" Type="http://schemas.openxmlformats.org/officeDocument/2006/relationships/slideLayout" Target="../slideLayouts/slideLayout422.xml"/><Relationship Id="rId71" Type="http://schemas.openxmlformats.org/officeDocument/2006/relationships/slideLayout" Target="../slideLayouts/slideLayout486.xml"/><Relationship Id="rId2" Type="http://schemas.openxmlformats.org/officeDocument/2006/relationships/slideLayout" Target="../slideLayouts/slideLayout417.xml"/><Relationship Id="rId29" Type="http://schemas.openxmlformats.org/officeDocument/2006/relationships/slideLayout" Target="../slideLayouts/slideLayout444.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502.xml"/><Relationship Id="rId18" Type="http://schemas.openxmlformats.org/officeDocument/2006/relationships/slideLayout" Target="../slideLayouts/slideLayout507.xml"/><Relationship Id="rId26" Type="http://schemas.openxmlformats.org/officeDocument/2006/relationships/slideLayout" Target="../slideLayouts/slideLayout515.xml"/><Relationship Id="rId39" Type="http://schemas.openxmlformats.org/officeDocument/2006/relationships/slideLayout" Target="../slideLayouts/slideLayout528.xml"/><Relationship Id="rId21" Type="http://schemas.openxmlformats.org/officeDocument/2006/relationships/slideLayout" Target="../slideLayouts/slideLayout510.xml"/><Relationship Id="rId34" Type="http://schemas.openxmlformats.org/officeDocument/2006/relationships/slideLayout" Target="../slideLayouts/slideLayout523.xml"/><Relationship Id="rId42" Type="http://schemas.openxmlformats.org/officeDocument/2006/relationships/slideLayout" Target="../slideLayouts/slideLayout531.xml"/><Relationship Id="rId7" Type="http://schemas.openxmlformats.org/officeDocument/2006/relationships/slideLayout" Target="../slideLayouts/slideLayout496.xml"/><Relationship Id="rId2" Type="http://schemas.openxmlformats.org/officeDocument/2006/relationships/slideLayout" Target="../slideLayouts/slideLayout491.xml"/><Relationship Id="rId16" Type="http://schemas.openxmlformats.org/officeDocument/2006/relationships/slideLayout" Target="../slideLayouts/slideLayout505.xml"/><Relationship Id="rId29" Type="http://schemas.openxmlformats.org/officeDocument/2006/relationships/slideLayout" Target="../slideLayouts/slideLayout518.xml"/><Relationship Id="rId1" Type="http://schemas.openxmlformats.org/officeDocument/2006/relationships/slideLayout" Target="../slideLayouts/slideLayout490.xml"/><Relationship Id="rId6" Type="http://schemas.openxmlformats.org/officeDocument/2006/relationships/slideLayout" Target="../slideLayouts/slideLayout495.xml"/><Relationship Id="rId11" Type="http://schemas.openxmlformats.org/officeDocument/2006/relationships/slideLayout" Target="../slideLayouts/slideLayout500.xml"/><Relationship Id="rId24" Type="http://schemas.openxmlformats.org/officeDocument/2006/relationships/slideLayout" Target="../slideLayouts/slideLayout513.xml"/><Relationship Id="rId32" Type="http://schemas.openxmlformats.org/officeDocument/2006/relationships/slideLayout" Target="../slideLayouts/slideLayout521.xml"/><Relationship Id="rId37" Type="http://schemas.openxmlformats.org/officeDocument/2006/relationships/slideLayout" Target="../slideLayouts/slideLayout526.xml"/><Relationship Id="rId40" Type="http://schemas.openxmlformats.org/officeDocument/2006/relationships/slideLayout" Target="../slideLayouts/slideLayout529.xml"/><Relationship Id="rId45" Type="http://schemas.openxmlformats.org/officeDocument/2006/relationships/image" Target="../media/image74.jpeg"/><Relationship Id="rId5" Type="http://schemas.openxmlformats.org/officeDocument/2006/relationships/slideLayout" Target="../slideLayouts/slideLayout494.xml"/><Relationship Id="rId15" Type="http://schemas.openxmlformats.org/officeDocument/2006/relationships/slideLayout" Target="../slideLayouts/slideLayout504.xml"/><Relationship Id="rId23" Type="http://schemas.openxmlformats.org/officeDocument/2006/relationships/slideLayout" Target="../slideLayouts/slideLayout512.xml"/><Relationship Id="rId28" Type="http://schemas.openxmlformats.org/officeDocument/2006/relationships/slideLayout" Target="../slideLayouts/slideLayout517.xml"/><Relationship Id="rId36" Type="http://schemas.openxmlformats.org/officeDocument/2006/relationships/slideLayout" Target="../slideLayouts/slideLayout525.xml"/><Relationship Id="rId10" Type="http://schemas.openxmlformats.org/officeDocument/2006/relationships/slideLayout" Target="../slideLayouts/slideLayout499.xml"/><Relationship Id="rId19" Type="http://schemas.openxmlformats.org/officeDocument/2006/relationships/slideLayout" Target="../slideLayouts/slideLayout508.xml"/><Relationship Id="rId31" Type="http://schemas.openxmlformats.org/officeDocument/2006/relationships/slideLayout" Target="../slideLayouts/slideLayout520.xml"/><Relationship Id="rId44" Type="http://schemas.openxmlformats.org/officeDocument/2006/relationships/image" Target="../media/image46.emf"/><Relationship Id="rId4" Type="http://schemas.openxmlformats.org/officeDocument/2006/relationships/slideLayout" Target="../slideLayouts/slideLayout493.xml"/><Relationship Id="rId9" Type="http://schemas.openxmlformats.org/officeDocument/2006/relationships/slideLayout" Target="../slideLayouts/slideLayout498.xml"/><Relationship Id="rId14" Type="http://schemas.openxmlformats.org/officeDocument/2006/relationships/slideLayout" Target="../slideLayouts/slideLayout503.xml"/><Relationship Id="rId22" Type="http://schemas.openxmlformats.org/officeDocument/2006/relationships/slideLayout" Target="../slideLayouts/slideLayout511.xml"/><Relationship Id="rId27" Type="http://schemas.openxmlformats.org/officeDocument/2006/relationships/slideLayout" Target="../slideLayouts/slideLayout516.xml"/><Relationship Id="rId30" Type="http://schemas.openxmlformats.org/officeDocument/2006/relationships/slideLayout" Target="../slideLayouts/slideLayout519.xml"/><Relationship Id="rId35" Type="http://schemas.openxmlformats.org/officeDocument/2006/relationships/slideLayout" Target="../slideLayouts/slideLayout524.xml"/><Relationship Id="rId43" Type="http://schemas.openxmlformats.org/officeDocument/2006/relationships/theme" Target="../theme/theme11.xml"/><Relationship Id="rId8" Type="http://schemas.openxmlformats.org/officeDocument/2006/relationships/slideLayout" Target="../slideLayouts/slideLayout497.xml"/><Relationship Id="rId3" Type="http://schemas.openxmlformats.org/officeDocument/2006/relationships/slideLayout" Target="../slideLayouts/slideLayout492.xml"/><Relationship Id="rId12" Type="http://schemas.openxmlformats.org/officeDocument/2006/relationships/slideLayout" Target="../slideLayouts/slideLayout501.xml"/><Relationship Id="rId17" Type="http://schemas.openxmlformats.org/officeDocument/2006/relationships/slideLayout" Target="../slideLayouts/slideLayout506.xml"/><Relationship Id="rId25" Type="http://schemas.openxmlformats.org/officeDocument/2006/relationships/slideLayout" Target="../slideLayouts/slideLayout514.xml"/><Relationship Id="rId33" Type="http://schemas.openxmlformats.org/officeDocument/2006/relationships/slideLayout" Target="../slideLayouts/slideLayout522.xml"/><Relationship Id="rId38" Type="http://schemas.openxmlformats.org/officeDocument/2006/relationships/slideLayout" Target="../slideLayouts/slideLayout527.xml"/><Relationship Id="rId20" Type="http://schemas.openxmlformats.org/officeDocument/2006/relationships/slideLayout" Target="../slideLayouts/slideLayout509.xml"/><Relationship Id="rId41" Type="http://schemas.openxmlformats.org/officeDocument/2006/relationships/slideLayout" Target="../slideLayouts/slideLayout530.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539.xml"/><Relationship Id="rId13" Type="http://schemas.openxmlformats.org/officeDocument/2006/relationships/theme" Target="../theme/theme12.xml"/><Relationship Id="rId3" Type="http://schemas.openxmlformats.org/officeDocument/2006/relationships/slideLayout" Target="../slideLayouts/slideLayout534.xml"/><Relationship Id="rId7" Type="http://schemas.openxmlformats.org/officeDocument/2006/relationships/slideLayout" Target="../slideLayouts/slideLayout538.xml"/><Relationship Id="rId12" Type="http://schemas.openxmlformats.org/officeDocument/2006/relationships/slideLayout" Target="../slideLayouts/slideLayout543.xml"/><Relationship Id="rId2" Type="http://schemas.openxmlformats.org/officeDocument/2006/relationships/slideLayout" Target="../slideLayouts/slideLayout533.xml"/><Relationship Id="rId1" Type="http://schemas.openxmlformats.org/officeDocument/2006/relationships/slideLayout" Target="../slideLayouts/slideLayout532.xml"/><Relationship Id="rId6" Type="http://schemas.openxmlformats.org/officeDocument/2006/relationships/slideLayout" Target="../slideLayouts/slideLayout537.xml"/><Relationship Id="rId11" Type="http://schemas.openxmlformats.org/officeDocument/2006/relationships/slideLayout" Target="../slideLayouts/slideLayout542.xml"/><Relationship Id="rId5" Type="http://schemas.openxmlformats.org/officeDocument/2006/relationships/slideLayout" Target="../slideLayouts/slideLayout536.xml"/><Relationship Id="rId10" Type="http://schemas.openxmlformats.org/officeDocument/2006/relationships/slideLayout" Target="../slideLayouts/slideLayout541.xml"/><Relationship Id="rId4" Type="http://schemas.openxmlformats.org/officeDocument/2006/relationships/slideLayout" Target="../slideLayouts/slideLayout535.xml"/><Relationship Id="rId9" Type="http://schemas.openxmlformats.org/officeDocument/2006/relationships/slideLayout" Target="../slideLayouts/slideLayout540.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95.xml"/><Relationship Id="rId18" Type="http://schemas.openxmlformats.org/officeDocument/2006/relationships/slideLayout" Target="../slideLayouts/slideLayout100.xml"/><Relationship Id="rId26" Type="http://schemas.openxmlformats.org/officeDocument/2006/relationships/slideLayout" Target="../slideLayouts/slideLayout108.xml"/><Relationship Id="rId39" Type="http://schemas.openxmlformats.org/officeDocument/2006/relationships/image" Target="../media/image21.png"/><Relationship Id="rId21" Type="http://schemas.openxmlformats.org/officeDocument/2006/relationships/slideLayout" Target="../slideLayouts/slideLayout103.xml"/><Relationship Id="rId34" Type="http://schemas.openxmlformats.org/officeDocument/2006/relationships/slideLayout" Target="../slideLayouts/slideLayout116.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slideLayout" Target="../slideLayouts/slideLayout99.xml"/><Relationship Id="rId25" Type="http://schemas.openxmlformats.org/officeDocument/2006/relationships/slideLayout" Target="../slideLayouts/slideLayout107.xml"/><Relationship Id="rId33" Type="http://schemas.openxmlformats.org/officeDocument/2006/relationships/slideLayout" Target="../slideLayouts/slideLayout115.xml"/><Relationship Id="rId38" Type="http://schemas.openxmlformats.org/officeDocument/2006/relationships/theme" Target="../theme/theme2.xml"/><Relationship Id="rId2" Type="http://schemas.openxmlformats.org/officeDocument/2006/relationships/slideLayout" Target="../slideLayouts/slideLayout84.xml"/><Relationship Id="rId16" Type="http://schemas.openxmlformats.org/officeDocument/2006/relationships/slideLayout" Target="../slideLayouts/slideLayout98.xml"/><Relationship Id="rId20" Type="http://schemas.openxmlformats.org/officeDocument/2006/relationships/slideLayout" Target="../slideLayouts/slideLayout102.xml"/><Relationship Id="rId29" Type="http://schemas.openxmlformats.org/officeDocument/2006/relationships/slideLayout" Target="../slideLayouts/slideLayout111.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24" Type="http://schemas.openxmlformats.org/officeDocument/2006/relationships/slideLayout" Target="../slideLayouts/slideLayout106.xml"/><Relationship Id="rId32" Type="http://schemas.openxmlformats.org/officeDocument/2006/relationships/slideLayout" Target="../slideLayouts/slideLayout114.xml"/><Relationship Id="rId37" Type="http://schemas.openxmlformats.org/officeDocument/2006/relationships/slideLayout" Target="../slideLayouts/slideLayout119.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23" Type="http://schemas.openxmlformats.org/officeDocument/2006/relationships/slideLayout" Target="../slideLayouts/slideLayout105.xml"/><Relationship Id="rId28" Type="http://schemas.openxmlformats.org/officeDocument/2006/relationships/slideLayout" Target="../slideLayouts/slideLayout110.xml"/><Relationship Id="rId36" Type="http://schemas.openxmlformats.org/officeDocument/2006/relationships/slideLayout" Target="../slideLayouts/slideLayout118.xml"/><Relationship Id="rId10" Type="http://schemas.openxmlformats.org/officeDocument/2006/relationships/slideLayout" Target="../slideLayouts/slideLayout92.xml"/><Relationship Id="rId19" Type="http://schemas.openxmlformats.org/officeDocument/2006/relationships/slideLayout" Target="../slideLayouts/slideLayout101.xml"/><Relationship Id="rId31" Type="http://schemas.openxmlformats.org/officeDocument/2006/relationships/slideLayout" Target="../slideLayouts/slideLayout113.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 Id="rId22" Type="http://schemas.openxmlformats.org/officeDocument/2006/relationships/slideLayout" Target="../slideLayouts/slideLayout104.xml"/><Relationship Id="rId27" Type="http://schemas.openxmlformats.org/officeDocument/2006/relationships/slideLayout" Target="../slideLayouts/slideLayout109.xml"/><Relationship Id="rId30" Type="http://schemas.openxmlformats.org/officeDocument/2006/relationships/slideLayout" Target="../slideLayouts/slideLayout112.xml"/><Relationship Id="rId35" Type="http://schemas.openxmlformats.org/officeDocument/2006/relationships/slideLayout" Target="../slideLayouts/slideLayout117.xml"/><Relationship Id="rId8" Type="http://schemas.openxmlformats.org/officeDocument/2006/relationships/slideLayout" Target="../slideLayouts/slideLayout90.xml"/><Relationship Id="rId3" Type="http://schemas.openxmlformats.org/officeDocument/2006/relationships/slideLayout" Target="../slideLayouts/slideLayout85.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45.xml"/><Relationship Id="rId21" Type="http://schemas.openxmlformats.org/officeDocument/2006/relationships/slideLayout" Target="../slideLayouts/slideLayout140.xml"/><Relationship Id="rId42" Type="http://schemas.openxmlformats.org/officeDocument/2006/relationships/slideLayout" Target="../slideLayouts/slideLayout161.xml"/><Relationship Id="rId47" Type="http://schemas.openxmlformats.org/officeDocument/2006/relationships/slideLayout" Target="../slideLayouts/slideLayout166.xml"/><Relationship Id="rId63" Type="http://schemas.openxmlformats.org/officeDocument/2006/relationships/slideLayout" Target="../slideLayouts/slideLayout182.xml"/><Relationship Id="rId68" Type="http://schemas.openxmlformats.org/officeDocument/2006/relationships/slideLayout" Target="../slideLayouts/slideLayout187.xml"/><Relationship Id="rId16" Type="http://schemas.openxmlformats.org/officeDocument/2006/relationships/slideLayout" Target="../slideLayouts/slideLayout135.xml"/><Relationship Id="rId11" Type="http://schemas.openxmlformats.org/officeDocument/2006/relationships/slideLayout" Target="../slideLayouts/slideLayout130.xml"/><Relationship Id="rId24" Type="http://schemas.openxmlformats.org/officeDocument/2006/relationships/slideLayout" Target="../slideLayouts/slideLayout143.xml"/><Relationship Id="rId32" Type="http://schemas.openxmlformats.org/officeDocument/2006/relationships/slideLayout" Target="../slideLayouts/slideLayout151.xml"/><Relationship Id="rId37" Type="http://schemas.openxmlformats.org/officeDocument/2006/relationships/slideLayout" Target="../slideLayouts/slideLayout156.xml"/><Relationship Id="rId40" Type="http://schemas.openxmlformats.org/officeDocument/2006/relationships/slideLayout" Target="../slideLayouts/slideLayout159.xml"/><Relationship Id="rId45" Type="http://schemas.openxmlformats.org/officeDocument/2006/relationships/slideLayout" Target="../slideLayouts/slideLayout164.xml"/><Relationship Id="rId53" Type="http://schemas.openxmlformats.org/officeDocument/2006/relationships/slideLayout" Target="../slideLayouts/slideLayout172.xml"/><Relationship Id="rId58" Type="http://schemas.openxmlformats.org/officeDocument/2006/relationships/slideLayout" Target="../slideLayouts/slideLayout177.xml"/><Relationship Id="rId66" Type="http://schemas.openxmlformats.org/officeDocument/2006/relationships/slideLayout" Target="../slideLayouts/slideLayout185.xml"/><Relationship Id="rId74" Type="http://schemas.openxmlformats.org/officeDocument/2006/relationships/theme" Target="../theme/theme3.xml"/><Relationship Id="rId5" Type="http://schemas.openxmlformats.org/officeDocument/2006/relationships/slideLayout" Target="../slideLayouts/slideLayout124.xml"/><Relationship Id="rId61" Type="http://schemas.openxmlformats.org/officeDocument/2006/relationships/slideLayout" Target="../slideLayouts/slideLayout180.xml"/><Relationship Id="rId19" Type="http://schemas.openxmlformats.org/officeDocument/2006/relationships/slideLayout" Target="../slideLayouts/slideLayout138.xml"/><Relationship Id="rId14" Type="http://schemas.openxmlformats.org/officeDocument/2006/relationships/slideLayout" Target="../slideLayouts/slideLayout133.xml"/><Relationship Id="rId22" Type="http://schemas.openxmlformats.org/officeDocument/2006/relationships/slideLayout" Target="../slideLayouts/slideLayout141.xml"/><Relationship Id="rId27" Type="http://schemas.openxmlformats.org/officeDocument/2006/relationships/slideLayout" Target="../slideLayouts/slideLayout146.xml"/><Relationship Id="rId30" Type="http://schemas.openxmlformats.org/officeDocument/2006/relationships/slideLayout" Target="../slideLayouts/slideLayout149.xml"/><Relationship Id="rId35" Type="http://schemas.openxmlformats.org/officeDocument/2006/relationships/slideLayout" Target="../slideLayouts/slideLayout154.xml"/><Relationship Id="rId43" Type="http://schemas.openxmlformats.org/officeDocument/2006/relationships/slideLayout" Target="../slideLayouts/slideLayout162.xml"/><Relationship Id="rId48" Type="http://schemas.openxmlformats.org/officeDocument/2006/relationships/slideLayout" Target="../slideLayouts/slideLayout167.xml"/><Relationship Id="rId56" Type="http://schemas.openxmlformats.org/officeDocument/2006/relationships/slideLayout" Target="../slideLayouts/slideLayout175.xml"/><Relationship Id="rId64" Type="http://schemas.openxmlformats.org/officeDocument/2006/relationships/slideLayout" Target="../slideLayouts/slideLayout183.xml"/><Relationship Id="rId69" Type="http://schemas.openxmlformats.org/officeDocument/2006/relationships/slideLayout" Target="../slideLayouts/slideLayout188.xml"/><Relationship Id="rId77" Type="http://schemas.openxmlformats.org/officeDocument/2006/relationships/image" Target="../media/image3.emf"/><Relationship Id="rId8" Type="http://schemas.openxmlformats.org/officeDocument/2006/relationships/slideLayout" Target="../slideLayouts/slideLayout127.xml"/><Relationship Id="rId51" Type="http://schemas.openxmlformats.org/officeDocument/2006/relationships/slideLayout" Target="../slideLayouts/slideLayout170.xml"/><Relationship Id="rId72" Type="http://schemas.openxmlformats.org/officeDocument/2006/relationships/slideLayout" Target="../slideLayouts/slideLayout191.xml"/><Relationship Id="rId3" Type="http://schemas.openxmlformats.org/officeDocument/2006/relationships/slideLayout" Target="../slideLayouts/slideLayout122.xml"/><Relationship Id="rId12" Type="http://schemas.openxmlformats.org/officeDocument/2006/relationships/slideLayout" Target="../slideLayouts/slideLayout131.xml"/><Relationship Id="rId17" Type="http://schemas.openxmlformats.org/officeDocument/2006/relationships/slideLayout" Target="../slideLayouts/slideLayout136.xml"/><Relationship Id="rId25" Type="http://schemas.openxmlformats.org/officeDocument/2006/relationships/slideLayout" Target="../slideLayouts/slideLayout144.xml"/><Relationship Id="rId33" Type="http://schemas.openxmlformats.org/officeDocument/2006/relationships/slideLayout" Target="../slideLayouts/slideLayout152.xml"/><Relationship Id="rId38" Type="http://schemas.openxmlformats.org/officeDocument/2006/relationships/slideLayout" Target="../slideLayouts/slideLayout157.xml"/><Relationship Id="rId46" Type="http://schemas.openxmlformats.org/officeDocument/2006/relationships/slideLayout" Target="../slideLayouts/slideLayout165.xml"/><Relationship Id="rId59" Type="http://schemas.openxmlformats.org/officeDocument/2006/relationships/slideLayout" Target="../slideLayouts/slideLayout178.xml"/><Relationship Id="rId67" Type="http://schemas.openxmlformats.org/officeDocument/2006/relationships/slideLayout" Target="../slideLayouts/slideLayout186.xml"/><Relationship Id="rId20" Type="http://schemas.openxmlformats.org/officeDocument/2006/relationships/slideLayout" Target="../slideLayouts/slideLayout139.xml"/><Relationship Id="rId41" Type="http://schemas.openxmlformats.org/officeDocument/2006/relationships/slideLayout" Target="../slideLayouts/slideLayout160.xml"/><Relationship Id="rId54" Type="http://schemas.openxmlformats.org/officeDocument/2006/relationships/slideLayout" Target="../slideLayouts/slideLayout173.xml"/><Relationship Id="rId62" Type="http://schemas.openxmlformats.org/officeDocument/2006/relationships/slideLayout" Target="../slideLayouts/slideLayout181.xml"/><Relationship Id="rId70" Type="http://schemas.openxmlformats.org/officeDocument/2006/relationships/slideLayout" Target="../slideLayouts/slideLayout189.xml"/><Relationship Id="rId75" Type="http://schemas.openxmlformats.org/officeDocument/2006/relationships/image" Target="../media/image1.png"/><Relationship Id="rId1" Type="http://schemas.openxmlformats.org/officeDocument/2006/relationships/slideLayout" Target="../slideLayouts/slideLayout120.xml"/><Relationship Id="rId6" Type="http://schemas.openxmlformats.org/officeDocument/2006/relationships/slideLayout" Target="../slideLayouts/slideLayout125.xml"/><Relationship Id="rId15" Type="http://schemas.openxmlformats.org/officeDocument/2006/relationships/slideLayout" Target="../slideLayouts/slideLayout134.xml"/><Relationship Id="rId23" Type="http://schemas.openxmlformats.org/officeDocument/2006/relationships/slideLayout" Target="../slideLayouts/slideLayout142.xml"/><Relationship Id="rId28" Type="http://schemas.openxmlformats.org/officeDocument/2006/relationships/slideLayout" Target="../slideLayouts/slideLayout147.xml"/><Relationship Id="rId36" Type="http://schemas.openxmlformats.org/officeDocument/2006/relationships/slideLayout" Target="../slideLayouts/slideLayout155.xml"/><Relationship Id="rId49" Type="http://schemas.openxmlformats.org/officeDocument/2006/relationships/slideLayout" Target="../slideLayouts/slideLayout168.xml"/><Relationship Id="rId57" Type="http://schemas.openxmlformats.org/officeDocument/2006/relationships/slideLayout" Target="../slideLayouts/slideLayout176.xml"/><Relationship Id="rId10" Type="http://schemas.openxmlformats.org/officeDocument/2006/relationships/slideLayout" Target="../slideLayouts/slideLayout129.xml"/><Relationship Id="rId31" Type="http://schemas.openxmlformats.org/officeDocument/2006/relationships/slideLayout" Target="../slideLayouts/slideLayout150.xml"/><Relationship Id="rId44" Type="http://schemas.openxmlformats.org/officeDocument/2006/relationships/slideLayout" Target="../slideLayouts/slideLayout163.xml"/><Relationship Id="rId52" Type="http://schemas.openxmlformats.org/officeDocument/2006/relationships/slideLayout" Target="../slideLayouts/slideLayout171.xml"/><Relationship Id="rId60" Type="http://schemas.openxmlformats.org/officeDocument/2006/relationships/slideLayout" Target="../slideLayouts/slideLayout179.xml"/><Relationship Id="rId65" Type="http://schemas.openxmlformats.org/officeDocument/2006/relationships/slideLayout" Target="../slideLayouts/slideLayout184.xml"/><Relationship Id="rId73" Type="http://schemas.openxmlformats.org/officeDocument/2006/relationships/slideLayout" Target="../slideLayouts/slideLayout192.xml"/><Relationship Id="rId4" Type="http://schemas.openxmlformats.org/officeDocument/2006/relationships/slideLayout" Target="../slideLayouts/slideLayout123.xml"/><Relationship Id="rId9" Type="http://schemas.openxmlformats.org/officeDocument/2006/relationships/slideLayout" Target="../slideLayouts/slideLayout128.xml"/><Relationship Id="rId13" Type="http://schemas.openxmlformats.org/officeDocument/2006/relationships/slideLayout" Target="../slideLayouts/slideLayout132.xml"/><Relationship Id="rId18" Type="http://schemas.openxmlformats.org/officeDocument/2006/relationships/slideLayout" Target="../slideLayouts/slideLayout137.xml"/><Relationship Id="rId39" Type="http://schemas.openxmlformats.org/officeDocument/2006/relationships/slideLayout" Target="../slideLayouts/slideLayout158.xml"/><Relationship Id="rId34" Type="http://schemas.openxmlformats.org/officeDocument/2006/relationships/slideLayout" Target="../slideLayouts/slideLayout153.xml"/><Relationship Id="rId50" Type="http://schemas.openxmlformats.org/officeDocument/2006/relationships/slideLayout" Target="../slideLayouts/slideLayout169.xml"/><Relationship Id="rId55" Type="http://schemas.openxmlformats.org/officeDocument/2006/relationships/slideLayout" Target="../slideLayouts/slideLayout174.xml"/><Relationship Id="rId76" Type="http://schemas.openxmlformats.org/officeDocument/2006/relationships/image" Target="../media/image2.svg"/><Relationship Id="rId7" Type="http://schemas.openxmlformats.org/officeDocument/2006/relationships/slideLayout" Target="../slideLayouts/slideLayout126.xml"/><Relationship Id="rId71" Type="http://schemas.openxmlformats.org/officeDocument/2006/relationships/slideLayout" Target="../slideLayouts/slideLayout190.xml"/><Relationship Id="rId2" Type="http://schemas.openxmlformats.org/officeDocument/2006/relationships/slideLayout" Target="../slideLayouts/slideLayout121.xml"/><Relationship Id="rId29" Type="http://schemas.openxmlformats.org/officeDocument/2006/relationships/slideLayout" Target="../slideLayouts/slideLayout14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00.xml"/><Relationship Id="rId13" Type="http://schemas.openxmlformats.org/officeDocument/2006/relationships/slideLayout" Target="../slideLayouts/slideLayout205.xml"/><Relationship Id="rId18" Type="http://schemas.openxmlformats.org/officeDocument/2006/relationships/slideLayout" Target="../slideLayouts/slideLayout210.xml"/><Relationship Id="rId3" Type="http://schemas.openxmlformats.org/officeDocument/2006/relationships/slideLayout" Target="../slideLayouts/slideLayout195.xml"/><Relationship Id="rId21" Type="http://schemas.openxmlformats.org/officeDocument/2006/relationships/slideLayout" Target="../slideLayouts/slideLayout213.xml"/><Relationship Id="rId7" Type="http://schemas.openxmlformats.org/officeDocument/2006/relationships/slideLayout" Target="../slideLayouts/slideLayout199.xml"/><Relationship Id="rId12" Type="http://schemas.openxmlformats.org/officeDocument/2006/relationships/slideLayout" Target="../slideLayouts/slideLayout204.xml"/><Relationship Id="rId17" Type="http://schemas.openxmlformats.org/officeDocument/2006/relationships/slideLayout" Target="../slideLayouts/slideLayout209.xml"/><Relationship Id="rId25" Type="http://schemas.openxmlformats.org/officeDocument/2006/relationships/image" Target="../media/image40.emf"/><Relationship Id="rId2" Type="http://schemas.openxmlformats.org/officeDocument/2006/relationships/slideLayout" Target="../slideLayouts/slideLayout194.xml"/><Relationship Id="rId16" Type="http://schemas.openxmlformats.org/officeDocument/2006/relationships/slideLayout" Target="../slideLayouts/slideLayout208.xml"/><Relationship Id="rId20" Type="http://schemas.openxmlformats.org/officeDocument/2006/relationships/slideLayout" Target="../slideLayouts/slideLayout212.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slideLayout" Target="../slideLayouts/slideLayout203.xml"/><Relationship Id="rId24" Type="http://schemas.openxmlformats.org/officeDocument/2006/relationships/theme" Target="../theme/theme4.xml"/><Relationship Id="rId5" Type="http://schemas.openxmlformats.org/officeDocument/2006/relationships/slideLayout" Target="../slideLayouts/slideLayout197.xml"/><Relationship Id="rId15" Type="http://schemas.openxmlformats.org/officeDocument/2006/relationships/slideLayout" Target="../slideLayouts/slideLayout207.xml"/><Relationship Id="rId23" Type="http://schemas.openxmlformats.org/officeDocument/2006/relationships/slideLayout" Target="../slideLayouts/slideLayout215.xml"/><Relationship Id="rId10" Type="http://schemas.openxmlformats.org/officeDocument/2006/relationships/slideLayout" Target="../slideLayouts/slideLayout202.xml"/><Relationship Id="rId19" Type="http://schemas.openxmlformats.org/officeDocument/2006/relationships/slideLayout" Target="../slideLayouts/slideLayout211.xml"/><Relationship Id="rId4" Type="http://schemas.openxmlformats.org/officeDocument/2006/relationships/slideLayout" Target="../slideLayouts/slideLayout196.xml"/><Relationship Id="rId9" Type="http://schemas.openxmlformats.org/officeDocument/2006/relationships/slideLayout" Target="../slideLayouts/slideLayout201.xml"/><Relationship Id="rId14" Type="http://schemas.openxmlformats.org/officeDocument/2006/relationships/slideLayout" Target="../slideLayouts/slideLayout206.xml"/><Relationship Id="rId22" Type="http://schemas.openxmlformats.org/officeDocument/2006/relationships/slideLayout" Target="../slideLayouts/slideLayout21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228.xml"/><Relationship Id="rId18" Type="http://schemas.openxmlformats.org/officeDocument/2006/relationships/slideLayout" Target="../slideLayouts/slideLayout233.xml"/><Relationship Id="rId26" Type="http://schemas.openxmlformats.org/officeDocument/2006/relationships/slideLayout" Target="../slideLayouts/slideLayout241.xml"/><Relationship Id="rId21" Type="http://schemas.openxmlformats.org/officeDocument/2006/relationships/slideLayout" Target="../slideLayouts/slideLayout236.xml"/><Relationship Id="rId34" Type="http://schemas.openxmlformats.org/officeDocument/2006/relationships/slideLayout" Target="../slideLayouts/slideLayout249.xml"/><Relationship Id="rId7" Type="http://schemas.openxmlformats.org/officeDocument/2006/relationships/slideLayout" Target="../slideLayouts/slideLayout222.xml"/><Relationship Id="rId12" Type="http://schemas.openxmlformats.org/officeDocument/2006/relationships/slideLayout" Target="../slideLayouts/slideLayout227.xml"/><Relationship Id="rId17" Type="http://schemas.openxmlformats.org/officeDocument/2006/relationships/slideLayout" Target="../slideLayouts/slideLayout232.xml"/><Relationship Id="rId25" Type="http://schemas.openxmlformats.org/officeDocument/2006/relationships/slideLayout" Target="../slideLayouts/slideLayout240.xml"/><Relationship Id="rId33" Type="http://schemas.openxmlformats.org/officeDocument/2006/relationships/slideLayout" Target="../slideLayouts/slideLayout248.xml"/><Relationship Id="rId2" Type="http://schemas.openxmlformats.org/officeDocument/2006/relationships/slideLayout" Target="../slideLayouts/slideLayout217.xml"/><Relationship Id="rId16" Type="http://schemas.openxmlformats.org/officeDocument/2006/relationships/slideLayout" Target="../slideLayouts/slideLayout231.xml"/><Relationship Id="rId20" Type="http://schemas.openxmlformats.org/officeDocument/2006/relationships/slideLayout" Target="../slideLayouts/slideLayout235.xml"/><Relationship Id="rId29" Type="http://schemas.openxmlformats.org/officeDocument/2006/relationships/slideLayout" Target="../slideLayouts/slideLayout244.xml"/><Relationship Id="rId1" Type="http://schemas.openxmlformats.org/officeDocument/2006/relationships/slideLayout" Target="../slideLayouts/slideLayout216.xml"/><Relationship Id="rId6" Type="http://schemas.openxmlformats.org/officeDocument/2006/relationships/slideLayout" Target="../slideLayouts/slideLayout221.xml"/><Relationship Id="rId11" Type="http://schemas.openxmlformats.org/officeDocument/2006/relationships/slideLayout" Target="../slideLayouts/slideLayout226.xml"/><Relationship Id="rId24" Type="http://schemas.openxmlformats.org/officeDocument/2006/relationships/slideLayout" Target="../slideLayouts/slideLayout239.xml"/><Relationship Id="rId32" Type="http://schemas.openxmlformats.org/officeDocument/2006/relationships/slideLayout" Target="../slideLayouts/slideLayout247.xml"/><Relationship Id="rId37" Type="http://schemas.openxmlformats.org/officeDocument/2006/relationships/image" Target="../media/image46.emf"/><Relationship Id="rId5" Type="http://schemas.openxmlformats.org/officeDocument/2006/relationships/slideLayout" Target="../slideLayouts/slideLayout220.xml"/><Relationship Id="rId15" Type="http://schemas.openxmlformats.org/officeDocument/2006/relationships/slideLayout" Target="../slideLayouts/slideLayout230.xml"/><Relationship Id="rId23" Type="http://schemas.openxmlformats.org/officeDocument/2006/relationships/slideLayout" Target="../slideLayouts/slideLayout238.xml"/><Relationship Id="rId28" Type="http://schemas.openxmlformats.org/officeDocument/2006/relationships/slideLayout" Target="../slideLayouts/slideLayout243.xml"/><Relationship Id="rId36" Type="http://schemas.openxmlformats.org/officeDocument/2006/relationships/theme" Target="../theme/theme5.xml"/><Relationship Id="rId10" Type="http://schemas.openxmlformats.org/officeDocument/2006/relationships/slideLayout" Target="../slideLayouts/slideLayout225.xml"/><Relationship Id="rId19" Type="http://schemas.openxmlformats.org/officeDocument/2006/relationships/slideLayout" Target="../slideLayouts/slideLayout234.xml"/><Relationship Id="rId31" Type="http://schemas.openxmlformats.org/officeDocument/2006/relationships/slideLayout" Target="../slideLayouts/slideLayout246.xml"/><Relationship Id="rId4" Type="http://schemas.openxmlformats.org/officeDocument/2006/relationships/slideLayout" Target="../slideLayouts/slideLayout219.xml"/><Relationship Id="rId9" Type="http://schemas.openxmlformats.org/officeDocument/2006/relationships/slideLayout" Target="../slideLayouts/slideLayout224.xml"/><Relationship Id="rId14" Type="http://schemas.openxmlformats.org/officeDocument/2006/relationships/slideLayout" Target="../slideLayouts/slideLayout229.xml"/><Relationship Id="rId22" Type="http://schemas.openxmlformats.org/officeDocument/2006/relationships/slideLayout" Target="../slideLayouts/slideLayout237.xml"/><Relationship Id="rId27" Type="http://schemas.openxmlformats.org/officeDocument/2006/relationships/slideLayout" Target="../slideLayouts/slideLayout242.xml"/><Relationship Id="rId30" Type="http://schemas.openxmlformats.org/officeDocument/2006/relationships/slideLayout" Target="../slideLayouts/slideLayout245.xml"/><Relationship Id="rId35" Type="http://schemas.openxmlformats.org/officeDocument/2006/relationships/slideLayout" Target="../slideLayouts/slideLayout250.xml"/><Relationship Id="rId8" Type="http://schemas.openxmlformats.org/officeDocument/2006/relationships/slideLayout" Target="../slideLayouts/slideLayout223.xml"/><Relationship Id="rId3" Type="http://schemas.openxmlformats.org/officeDocument/2006/relationships/slideLayout" Target="../slideLayouts/slideLayout218.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63.xml"/><Relationship Id="rId18" Type="http://schemas.openxmlformats.org/officeDocument/2006/relationships/slideLayout" Target="../slideLayouts/slideLayout268.xml"/><Relationship Id="rId26" Type="http://schemas.openxmlformats.org/officeDocument/2006/relationships/slideLayout" Target="../slideLayouts/slideLayout276.xml"/><Relationship Id="rId3" Type="http://schemas.openxmlformats.org/officeDocument/2006/relationships/slideLayout" Target="../slideLayouts/slideLayout253.xml"/><Relationship Id="rId21" Type="http://schemas.openxmlformats.org/officeDocument/2006/relationships/slideLayout" Target="../slideLayouts/slideLayout271.xml"/><Relationship Id="rId34" Type="http://schemas.openxmlformats.org/officeDocument/2006/relationships/theme" Target="../theme/theme6.xml"/><Relationship Id="rId7" Type="http://schemas.openxmlformats.org/officeDocument/2006/relationships/slideLayout" Target="../slideLayouts/slideLayout257.xml"/><Relationship Id="rId12" Type="http://schemas.openxmlformats.org/officeDocument/2006/relationships/slideLayout" Target="../slideLayouts/slideLayout262.xml"/><Relationship Id="rId17" Type="http://schemas.openxmlformats.org/officeDocument/2006/relationships/slideLayout" Target="../slideLayouts/slideLayout267.xml"/><Relationship Id="rId25" Type="http://schemas.openxmlformats.org/officeDocument/2006/relationships/slideLayout" Target="../slideLayouts/slideLayout275.xml"/><Relationship Id="rId33" Type="http://schemas.openxmlformats.org/officeDocument/2006/relationships/slideLayout" Target="../slideLayouts/slideLayout283.xml"/><Relationship Id="rId2" Type="http://schemas.openxmlformats.org/officeDocument/2006/relationships/slideLayout" Target="../slideLayouts/slideLayout252.xml"/><Relationship Id="rId16" Type="http://schemas.openxmlformats.org/officeDocument/2006/relationships/slideLayout" Target="../slideLayouts/slideLayout266.xml"/><Relationship Id="rId20" Type="http://schemas.openxmlformats.org/officeDocument/2006/relationships/slideLayout" Target="../slideLayouts/slideLayout270.xml"/><Relationship Id="rId29" Type="http://schemas.openxmlformats.org/officeDocument/2006/relationships/slideLayout" Target="../slideLayouts/slideLayout279.xml"/><Relationship Id="rId1" Type="http://schemas.openxmlformats.org/officeDocument/2006/relationships/slideLayout" Target="../slideLayouts/slideLayout251.xml"/><Relationship Id="rId6" Type="http://schemas.openxmlformats.org/officeDocument/2006/relationships/slideLayout" Target="../slideLayouts/slideLayout256.xml"/><Relationship Id="rId11" Type="http://schemas.openxmlformats.org/officeDocument/2006/relationships/slideLayout" Target="../slideLayouts/slideLayout261.xml"/><Relationship Id="rId24" Type="http://schemas.openxmlformats.org/officeDocument/2006/relationships/slideLayout" Target="../slideLayouts/slideLayout274.xml"/><Relationship Id="rId32" Type="http://schemas.openxmlformats.org/officeDocument/2006/relationships/slideLayout" Target="../slideLayouts/slideLayout282.xml"/><Relationship Id="rId5" Type="http://schemas.openxmlformats.org/officeDocument/2006/relationships/slideLayout" Target="../slideLayouts/slideLayout255.xml"/><Relationship Id="rId15" Type="http://schemas.openxmlformats.org/officeDocument/2006/relationships/slideLayout" Target="../slideLayouts/slideLayout265.xml"/><Relationship Id="rId23" Type="http://schemas.openxmlformats.org/officeDocument/2006/relationships/slideLayout" Target="../slideLayouts/slideLayout273.xml"/><Relationship Id="rId28" Type="http://schemas.openxmlformats.org/officeDocument/2006/relationships/slideLayout" Target="../slideLayouts/slideLayout278.xml"/><Relationship Id="rId10" Type="http://schemas.openxmlformats.org/officeDocument/2006/relationships/slideLayout" Target="../slideLayouts/slideLayout260.xml"/><Relationship Id="rId19" Type="http://schemas.openxmlformats.org/officeDocument/2006/relationships/slideLayout" Target="../slideLayouts/slideLayout269.xml"/><Relationship Id="rId31" Type="http://schemas.openxmlformats.org/officeDocument/2006/relationships/slideLayout" Target="../slideLayouts/slideLayout281.xml"/><Relationship Id="rId4" Type="http://schemas.openxmlformats.org/officeDocument/2006/relationships/slideLayout" Target="../slideLayouts/slideLayout254.xml"/><Relationship Id="rId9" Type="http://schemas.openxmlformats.org/officeDocument/2006/relationships/slideLayout" Target="../slideLayouts/slideLayout259.xml"/><Relationship Id="rId14" Type="http://schemas.openxmlformats.org/officeDocument/2006/relationships/slideLayout" Target="../slideLayouts/slideLayout264.xml"/><Relationship Id="rId22" Type="http://schemas.openxmlformats.org/officeDocument/2006/relationships/slideLayout" Target="../slideLayouts/slideLayout272.xml"/><Relationship Id="rId27" Type="http://schemas.openxmlformats.org/officeDocument/2006/relationships/slideLayout" Target="../slideLayouts/slideLayout277.xml"/><Relationship Id="rId30" Type="http://schemas.openxmlformats.org/officeDocument/2006/relationships/slideLayout" Target="../slideLayouts/slideLayout280.xml"/><Relationship Id="rId35" Type="http://schemas.openxmlformats.org/officeDocument/2006/relationships/image" Target="../media/image46.emf"/><Relationship Id="rId8" Type="http://schemas.openxmlformats.org/officeDocument/2006/relationships/slideLayout" Target="../slideLayouts/slideLayout258.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96.xml"/><Relationship Id="rId18" Type="http://schemas.openxmlformats.org/officeDocument/2006/relationships/slideLayout" Target="../slideLayouts/slideLayout301.xml"/><Relationship Id="rId26" Type="http://schemas.openxmlformats.org/officeDocument/2006/relationships/slideLayout" Target="../slideLayouts/slideLayout309.xml"/><Relationship Id="rId39" Type="http://schemas.openxmlformats.org/officeDocument/2006/relationships/image" Target="../media/image21.png"/><Relationship Id="rId21" Type="http://schemas.openxmlformats.org/officeDocument/2006/relationships/slideLayout" Target="../slideLayouts/slideLayout304.xml"/><Relationship Id="rId34" Type="http://schemas.openxmlformats.org/officeDocument/2006/relationships/slideLayout" Target="../slideLayouts/slideLayout317.xml"/><Relationship Id="rId7" Type="http://schemas.openxmlformats.org/officeDocument/2006/relationships/slideLayout" Target="../slideLayouts/slideLayout290.xml"/><Relationship Id="rId12" Type="http://schemas.openxmlformats.org/officeDocument/2006/relationships/slideLayout" Target="../slideLayouts/slideLayout295.xml"/><Relationship Id="rId17" Type="http://schemas.openxmlformats.org/officeDocument/2006/relationships/slideLayout" Target="../slideLayouts/slideLayout300.xml"/><Relationship Id="rId25" Type="http://schemas.openxmlformats.org/officeDocument/2006/relationships/slideLayout" Target="../slideLayouts/slideLayout308.xml"/><Relationship Id="rId33" Type="http://schemas.openxmlformats.org/officeDocument/2006/relationships/slideLayout" Target="../slideLayouts/slideLayout316.xml"/><Relationship Id="rId38" Type="http://schemas.openxmlformats.org/officeDocument/2006/relationships/theme" Target="../theme/theme7.xml"/><Relationship Id="rId2" Type="http://schemas.openxmlformats.org/officeDocument/2006/relationships/slideLayout" Target="../slideLayouts/slideLayout285.xml"/><Relationship Id="rId16" Type="http://schemas.openxmlformats.org/officeDocument/2006/relationships/slideLayout" Target="../slideLayouts/slideLayout299.xml"/><Relationship Id="rId20" Type="http://schemas.openxmlformats.org/officeDocument/2006/relationships/slideLayout" Target="../slideLayouts/slideLayout303.xml"/><Relationship Id="rId29" Type="http://schemas.openxmlformats.org/officeDocument/2006/relationships/slideLayout" Target="../slideLayouts/slideLayout312.xml"/><Relationship Id="rId1" Type="http://schemas.openxmlformats.org/officeDocument/2006/relationships/slideLayout" Target="../slideLayouts/slideLayout284.xml"/><Relationship Id="rId6" Type="http://schemas.openxmlformats.org/officeDocument/2006/relationships/slideLayout" Target="../slideLayouts/slideLayout289.xml"/><Relationship Id="rId11" Type="http://schemas.openxmlformats.org/officeDocument/2006/relationships/slideLayout" Target="../slideLayouts/slideLayout294.xml"/><Relationship Id="rId24" Type="http://schemas.openxmlformats.org/officeDocument/2006/relationships/slideLayout" Target="../slideLayouts/slideLayout307.xml"/><Relationship Id="rId32" Type="http://schemas.openxmlformats.org/officeDocument/2006/relationships/slideLayout" Target="../slideLayouts/slideLayout315.xml"/><Relationship Id="rId37" Type="http://schemas.openxmlformats.org/officeDocument/2006/relationships/slideLayout" Target="../slideLayouts/slideLayout320.xml"/><Relationship Id="rId5" Type="http://schemas.openxmlformats.org/officeDocument/2006/relationships/slideLayout" Target="../slideLayouts/slideLayout288.xml"/><Relationship Id="rId15" Type="http://schemas.openxmlformats.org/officeDocument/2006/relationships/slideLayout" Target="../slideLayouts/slideLayout298.xml"/><Relationship Id="rId23" Type="http://schemas.openxmlformats.org/officeDocument/2006/relationships/slideLayout" Target="../slideLayouts/slideLayout306.xml"/><Relationship Id="rId28" Type="http://schemas.openxmlformats.org/officeDocument/2006/relationships/slideLayout" Target="../slideLayouts/slideLayout311.xml"/><Relationship Id="rId36" Type="http://schemas.openxmlformats.org/officeDocument/2006/relationships/slideLayout" Target="../slideLayouts/slideLayout319.xml"/><Relationship Id="rId10" Type="http://schemas.openxmlformats.org/officeDocument/2006/relationships/slideLayout" Target="../slideLayouts/slideLayout293.xml"/><Relationship Id="rId19" Type="http://schemas.openxmlformats.org/officeDocument/2006/relationships/slideLayout" Target="../slideLayouts/slideLayout302.xml"/><Relationship Id="rId31" Type="http://schemas.openxmlformats.org/officeDocument/2006/relationships/slideLayout" Target="../slideLayouts/slideLayout314.xml"/><Relationship Id="rId4" Type="http://schemas.openxmlformats.org/officeDocument/2006/relationships/slideLayout" Target="../slideLayouts/slideLayout287.xml"/><Relationship Id="rId9" Type="http://schemas.openxmlformats.org/officeDocument/2006/relationships/slideLayout" Target="../slideLayouts/slideLayout292.xml"/><Relationship Id="rId14" Type="http://schemas.openxmlformats.org/officeDocument/2006/relationships/slideLayout" Target="../slideLayouts/slideLayout297.xml"/><Relationship Id="rId22" Type="http://schemas.openxmlformats.org/officeDocument/2006/relationships/slideLayout" Target="../slideLayouts/slideLayout305.xml"/><Relationship Id="rId27" Type="http://schemas.openxmlformats.org/officeDocument/2006/relationships/slideLayout" Target="../slideLayouts/slideLayout310.xml"/><Relationship Id="rId30" Type="http://schemas.openxmlformats.org/officeDocument/2006/relationships/slideLayout" Target="../slideLayouts/slideLayout313.xml"/><Relationship Id="rId35" Type="http://schemas.openxmlformats.org/officeDocument/2006/relationships/slideLayout" Target="../slideLayouts/slideLayout318.xml"/><Relationship Id="rId8" Type="http://schemas.openxmlformats.org/officeDocument/2006/relationships/slideLayout" Target="../slideLayouts/slideLayout291.xml"/><Relationship Id="rId3" Type="http://schemas.openxmlformats.org/officeDocument/2006/relationships/slideLayout" Target="../slideLayouts/slideLayout286.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346.xml"/><Relationship Id="rId21" Type="http://schemas.openxmlformats.org/officeDocument/2006/relationships/slideLayout" Target="../slideLayouts/slideLayout341.xml"/><Relationship Id="rId42" Type="http://schemas.openxmlformats.org/officeDocument/2006/relationships/slideLayout" Target="../slideLayouts/slideLayout362.xml"/><Relationship Id="rId47" Type="http://schemas.openxmlformats.org/officeDocument/2006/relationships/slideLayout" Target="../slideLayouts/slideLayout367.xml"/><Relationship Id="rId63" Type="http://schemas.openxmlformats.org/officeDocument/2006/relationships/slideLayout" Target="../slideLayouts/slideLayout383.xml"/><Relationship Id="rId68" Type="http://schemas.openxmlformats.org/officeDocument/2006/relationships/slideLayout" Target="../slideLayouts/slideLayout388.xml"/><Relationship Id="rId16" Type="http://schemas.openxmlformats.org/officeDocument/2006/relationships/slideLayout" Target="../slideLayouts/slideLayout336.xml"/><Relationship Id="rId11" Type="http://schemas.openxmlformats.org/officeDocument/2006/relationships/slideLayout" Target="../slideLayouts/slideLayout331.xml"/><Relationship Id="rId24" Type="http://schemas.openxmlformats.org/officeDocument/2006/relationships/slideLayout" Target="../slideLayouts/slideLayout344.xml"/><Relationship Id="rId32" Type="http://schemas.openxmlformats.org/officeDocument/2006/relationships/slideLayout" Target="../slideLayouts/slideLayout352.xml"/><Relationship Id="rId37" Type="http://schemas.openxmlformats.org/officeDocument/2006/relationships/slideLayout" Target="../slideLayouts/slideLayout357.xml"/><Relationship Id="rId40" Type="http://schemas.openxmlformats.org/officeDocument/2006/relationships/slideLayout" Target="../slideLayouts/slideLayout360.xml"/><Relationship Id="rId45" Type="http://schemas.openxmlformats.org/officeDocument/2006/relationships/slideLayout" Target="../slideLayouts/slideLayout365.xml"/><Relationship Id="rId53" Type="http://schemas.openxmlformats.org/officeDocument/2006/relationships/slideLayout" Target="../slideLayouts/slideLayout373.xml"/><Relationship Id="rId58" Type="http://schemas.openxmlformats.org/officeDocument/2006/relationships/slideLayout" Target="../slideLayouts/slideLayout378.xml"/><Relationship Id="rId66" Type="http://schemas.openxmlformats.org/officeDocument/2006/relationships/slideLayout" Target="../slideLayouts/slideLayout386.xml"/><Relationship Id="rId74" Type="http://schemas.openxmlformats.org/officeDocument/2006/relationships/slideLayout" Target="../slideLayouts/slideLayout394.xml"/><Relationship Id="rId5" Type="http://schemas.openxmlformats.org/officeDocument/2006/relationships/slideLayout" Target="../slideLayouts/slideLayout325.xml"/><Relationship Id="rId61" Type="http://schemas.openxmlformats.org/officeDocument/2006/relationships/slideLayout" Target="../slideLayouts/slideLayout381.xml"/><Relationship Id="rId19" Type="http://schemas.openxmlformats.org/officeDocument/2006/relationships/slideLayout" Target="../slideLayouts/slideLayout339.xml"/><Relationship Id="rId14" Type="http://schemas.openxmlformats.org/officeDocument/2006/relationships/slideLayout" Target="../slideLayouts/slideLayout334.xml"/><Relationship Id="rId22" Type="http://schemas.openxmlformats.org/officeDocument/2006/relationships/slideLayout" Target="../slideLayouts/slideLayout342.xml"/><Relationship Id="rId27" Type="http://schemas.openxmlformats.org/officeDocument/2006/relationships/slideLayout" Target="../slideLayouts/slideLayout347.xml"/><Relationship Id="rId30" Type="http://schemas.openxmlformats.org/officeDocument/2006/relationships/slideLayout" Target="../slideLayouts/slideLayout350.xml"/><Relationship Id="rId35" Type="http://schemas.openxmlformats.org/officeDocument/2006/relationships/slideLayout" Target="../slideLayouts/slideLayout355.xml"/><Relationship Id="rId43" Type="http://schemas.openxmlformats.org/officeDocument/2006/relationships/slideLayout" Target="../slideLayouts/slideLayout363.xml"/><Relationship Id="rId48" Type="http://schemas.openxmlformats.org/officeDocument/2006/relationships/slideLayout" Target="../slideLayouts/slideLayout368.xml"/><Relationship Id="rId56" Type="http://schemas.openxmlformats.org/officeDocument/2006/relationships/slideLayout" Target="../slideLayouts/slideLayout376.xml"/><Relationship Id="rId64" Type="http://schemas.openxmlformats.org/officeDocument/2006/relationships/slideLayout" Target="../slideLayouts/slideLayout384.xml"/><Relationship Id="rId69" Type="http://schemas.openxmlformats.org/officeDocument/2006/relationships/slideLayout" Target="../slideLayouts/slideLayout389.xml"/><Relationship Id="rId77" Type="http://schemas.openxmlformats.org/officeDocument/2006/relationships/image" Target="../media/image2.svg"/><Relationship Id="rId8" Type="http://schemas.openxmlformats.org/officeDocument/2006/relationships/slideLayout" Target="../slideLayouts/slideLayout328.xml"/><Relationship Id="rId51" Type="http://schemas.openxmlformats.org/officeDocument/2006/relationships/slideLayout" Target="../slideLayouts/slideLayout371.xml"/><Relationship Id="rId72" Type="http://schemas.openxmlformats.org/officeDocument/2006/relationships/slideLayout" Target="../slideLayouts/slideLayout392.xml"/><Relationship Id="rId3" Type="http://schemas.openxmlformats.org/officeDocument/2006/relationships/slideLayout" Target="../slideLayouts/slideLayout323.xml"/><Relationship Id="rId12" Type="http://schemas.openxmlformats.org/officeDocument/2006/relationships/slideLayout" Target="../slideLayouts/slideLayout332.xml"/><Relationship Id="rId17" Type="http://schemas.openxmlformats.org/officeDocument/2006/relationships/slideLayout" Target="../slideLayouts/slideLayout337.xml"/><Relationship Id="rId25" Type="http://schemas.openxmlformats.org/officeDocument/2006/relationships/slideLayout" Target="../slideLayouts/slideLayout345.xml"/><Relationship Id="rId33" Type="http://schemas.openxmlformats.org/officeDocument/2006/relationships/slideLayout" Target="../slideLayouts/slideLayout353.xml"/><Relationship Id="rId38" Type="http://schemas.openxmlformats.org/officeDocument/2006/relationships/slideLayout" Target="../slideLayouts/slideLayout358.xml"/><Relationship Id="rId46" Type="http://schemas.openxmlformats.org/officeDocument/2006/relationships/slideLayout" Target="../slideLayouts/slideLayout366.xml"/><Relationship Id="rId59" Type="http://schemas.openxmlformats.org/officeDocument/2006/relationships/slideLayout" Target="../slideLayouts/slideLayout379.xml"/><Relationship Id="rId67" Type="http://schemas.openxmlformats.org/officeDocument/2006/relationships/slideLayout" Target="../slideLayouts/slideLayout387.xml"/><Relationship Id="rId20" Type="http://schemas.openxmlformats.org/officeDocument/2006/relationships/slideLayout" Target="../slideLayouts/slideLayout340.xml"/><Relationship Id="rId41" Type="http://schemas.openxmlformats.org/officeDocument/2006/relationships/slideLayout" Target="../slideLayouts/slideLayout361.xml"/><Relationship Id="rId54" Type="http://schemas.openxmlformats.org/officeDocument/2006/relationships/slideLayout" Target="../slideLayouts/slideLayout374.xml"/><Relationship Id="rId62" Type="http://schemas.openxmlformats.org/officeDocument/2006/relationships/slideLayout" Target="../slideLayouts/slideLayout382.xml"/><Relationship Id="rId70" Type="http://schemas.openxmlformats.org/officeDocument/2006/relationships/slideLayout" Target="../slideLayouts/slideLayout390.xml"/><Relationship Id="rId75" Type="http://schemas.openxmlformats.org/officeDocument/2006/relationships/theme" Target="../theme/theme8.xml"/><Relationship Id="rId1" Type="http://schemas.openxmlformats.org/officeDocument/2006/relationships/slideLayout" Target="../slideLayouts/slideLayout321.xml"/><Relationship Id="rId6" Type="http://schemas.openxmlformats.org/officeDocument/2006/relationships/slideLayout" Target="../slideLayouts/slideLayout326.xml"/><Relationship Id="rId15" Type="http://schemas.openxmlformats.org/officeDocument/2006/relationships/slideLayout" Target="../slideLayouts/slideLayout335.xml"/><Relationship Id="rId23" Type="http://schemas.openxmlformats.org/officeDocument/2006/relationships/slideLayout" Target="../slideLayouts/slideLayout343.xml"/><Relationship Id="rId28" Type="http://schemas.openxmlformats.org/officeDocument/2006/relationships/slideLayout" Target="../slideLayouts/slideLayout348.xml"/><Relationship Id="rId36" Type="http://schemas.openxmlformats.org/officeDocument/2006/relationships/slideLayout" Target="../slideLayouts/slideLayout356.xml"/><Relationship Id="rId49" Type="http://schemas.openxmlformats.org/officeDocument/2006/relationships/slideLayout" Target="../slideLayouts/slideLayout369.xml"/><Relationship Id="rId57" Type="http://schemas.openxmlformats.org/officeDocument/2006/relationships/slideLayout" Target="../slideLayouts/slideLayout377.xml"/><Relationship Id="rId10" Type="http://schemas.openxmlformats.org/officeDocument/2006/relationships/slideLayout" Target="../slideLayouts/slideLayout330.xml"/><Relationship Id="rId31" Type="http://schemas.openxmlformats.org/officeDocument/2006/relationships/slideLayout" Target="../slideLayouts/slideLayout351.xml"/><Relationship Id="rId44" Type="http://schemas.openxmlformats.org/officeDocument/2006/relationships/slideLayout" Target="../slideLayouts/slideLayout364.xml"/><Relationship Id="rId52" Type="http://schemas.openxmlformats.org/officeDocument/2006/relationships/slideLayout" Target="../slideLayouts/slideLayout372.xml"/><Relationship Id="rId60" Type="http://schemas.openxmlformats.org/officeDocument/2006/relationships/slideLayout" Target="../slideLayouts/slideLayout380.xml"/><Relationship Id="rId65" Type="http://schemas.openxmlformats.org/officeDocument/2006/relationships/slideLayout" Target="../slideLayouts/slideLayout385.xml"/><Relationship Id="rId73" Type="http://schemas.openxmlformats.org/officeDocument/2006/relationships/slideLayout" Target="../slideLayouts/slideLayout393.xml"/><Relationship Id="rId78" Type="http://schemas.openxmlformats.org/officeDocument/2006/relationships/image" Target="../media/image3.emf"/><Relationship Id="rId4" Type="http://schemas.openxmlformats.org/officeDocument/2006/relationships/slideLayout" Target="../slideLayouts/slideLayout324.xml"/><Relationship Id="rId9" Type="http://schemas.openxmlformats.org/officeDocument/2006/relationships/slideLayout" Target="../slideLayouts/slideLayout329.xml"/><Relationship Id="rId13" Type="http://schemas.openxmlformats.org/officeDocument/2006/relationships/slideLayout" Target="../slideLayouts/slideLayout333.xml"/><Relationship Id="rId18" Type="http://schemas.openxmlformats.org/officeDocument/2006/relationships/slideLayout" Target="../slideLayouts/slideLayout338.xml"/><Relationship Id="rId39" Type="http://schemas.openxmlformats.org/officeDocument/2006/relationships/slideLayout" Target="../slideLayouts/slideLayout359.xml"/><Relationship Id="rId34" Type="http://schemas.openxmlformats.org/officeDocument/2006/relationships/slideLayout" Target="../slideLayouts/slideLayout354.xml"/><Relationship Id="rId50" Type="http://schemas.openxmlformats.org/officeDocument/2006/relationships/slideLayout" Target="../slideLayouts/slideLayout370.xml"/><Relationship Id="rId55" Type="http://schemas.openxmlformats.org/officeDocument/2006/relationships/slideLayout" Target="../slideLayouts/slideLayout375.xml"/><Relationship Id="rId76" Type="http://schemas.openxmlformats.org/officeDocument/2006/relationships/image" Target="../media/image1.png"/><Relationship Id="rId7" Type="http://schemas.openxmlformats.org/officeDocument/2006/relationships/slideLayout" Target="../slideLayouts/slideLayout327.xml"/><Relationship Id="rId71" Type="http://schemas.openxmlformats.org/officeDocument/2006/relationships/slideLayout" Target="../slideLayouts/slideLayout391.xml"/><Relationship Id="rId2" Type="http://schemas.openxmlformats.org/officeDocument/2006/relationships/slideLayout" Target="../slideLayouts/slideLayout322.xml"/><Relationship Id="rId29" Type="http://schemas.openxmlformats.org/officeDocument/2006/relationships/slideLayout" Target="../slideLayouts/slideLayout34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402.xml"/><Relationship Id="rId13" Type="http://schemas.openxmlformats.org/officeDocument/2006/relationships/slideLayout" Target="../slideLayouts/slideLayout407.xml"/><Relationship Id="rId18" Type="http://schemas.openxmlformats.org/officeDocument/2006/relationships/slideLayout" Target="../slideLayouts/slideLayout412.xml"/><Relationship Id="rId3" Type="http://schemas.openxmlformats.org/officeDocument/2006/relationships/slideLayout" Target="../slideLayouts/slideLayout397.xml"/><Relationship Id="rId21" Type="http://schemas.openxmlformats.org/officeDocument/2006/relationships/slideLayout" Target="../slideLayouts/slideLayout415.xml"/><Relationship Id="rId7" Type="http://schemas.openxmlformats.org/officeDocument/2006/relationships/slideLayout" Target="../slideLayouts/slideLayout401.xml"/><Relationship Id="rId12" Type="http://schemas.openxmlformats.org/officeDocument/2006/relationships/slideLayout" Target="../slideLayouts/slideLayout406.xml"/><Relationship Id="rId17" Type="http://schemas.openxmlformats.org/officeDocument/2006/relationships/slideLayout" Target="../slideLayouts/slideLayout411.xml"/><Relationship Id="rId2" Type="http://schemas.openxmlformats.org/officeDocument/2006/relationships/slideLayout" Target="../slideLayouts/slideLayout396.xml"/><Relationship Id="rId16" Type="http://schemas.openxmlformats.org/officeDocument/2006/relationships/slideLayout" Target="../slideLayouts/slideLayout410.xml"/><Relationship Id="rId20" Type="http://schemas.openxmlformats.org/officeDocument/2006/relationships/slideLayout" Target="../slideLayouts/slideLayout414.xml"/><Relationship Id="rId1" Type="http://schemas.openxmlformats.org/officeDocument/2006/relationships/slideLayout" Target="../slideLayouts/slideLayout395.xml"/><Relationship Id="rId6" Type="http://schemas.openxmlformats.org/officeDocument/2006/relationships/slideLayout" Target="../slideLayouts/slideLayout400.xml"/><Relationship Id="rId11" Type="http://schemas.openxmlformats.org/officeDocument/2006/relationships/slideLayout" Target="../slideLayouts/slideLayout405.xml"/><Relationship Id="rId5" Type="http://schemas.openxmlformats.org/officeDocument/2006/relationships/slideLayout" Target="../slideLayouts/slideLayout399.xml"/><Relationship Id="rId15" Type="http://schemas.openxmlformats.org/officeDocument/2006/relationships/slideLayout" Target="../slideLayouts/slideLayout409.xml"/><Relationship Id="rId23" Type="http://schemas.openxmlformats.org/officeDocument/2006/relationships/image" Target="../media/image66.emf"/><Relationship Id="rId10" Type="http://schemas.openxmlformats.org/officeDocument/2006/relationships/slideLayout" Target="../slideLayouts/slideLayout404.xml"/><Relationship Id="rId19" Type="http://schemas.openxmlformats.org/officeDocument/2006/relationships/slideLayout" Target="../slideLayouts/slideLayout413.xml"/><Relationship Id="rId4" Type="http://schemas.openxmlformats.org/officeDocument/2006/relationships/slideLayout" Target="../slideLayouts/slideLayout398.xml"/><Relationship Id="rId9" Type="http://schemas.openxmlformats.org/officeDocument/2006/relationships/slideLayout" Target="../slideLayouts/slideLayout403.xml"/><Relationship Id="rId14" Type="http://schemas.openxmlformats.org/officeDocument/2006/relationships/slideLayout" Target="../slideLayouts/slideLayout408.xml"/><Relationship Id="rId22"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10096460" y="2458379"/>
            <a:ext cx="6994526" cy="2059998"/>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84">
              <a:extLst>
                <a:ext uri="{96DAC541-7B7A-43D3-8B79-37D633B846F1}">
                  <asvg:svgBlip xmlns:asvg="http://schemas.microsoft.com/office/drawing/2016/SVG/main" r:embed="rId85"/>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86"/>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3746029279"/>
      </p:ext>
    </p:extLst>
  </p:cSld>
  <p:clrMap bg1="lt1" tx1="dk1" bg2="lt2" tx2="dk2" accent1="accent1" accent2="accent2" accent3="accent3" accent4="accent4" accent5="accent5" accent6="accent6" hlink="hlink" folHlink="folHlink"/>
  <p:sldLayoutIdLst>
    <p:sldLayoutId id="2147484591" r:id="rId1"/>
    <p:sldLayoutId id="2147484592" r:id="rId2"/>
    <p:sldLayoutId id="2147484593" r:id="rId3"/>
    <p:sldLayoutId id="2147484594" r:id="rId4"/>
    <p:sldLayoutId id="2147484595" r:id="rId5"/>
    <p:sldLayoutId id="2147484596" r:id="rId6"/>
    <p:sldLayoutId id="2147484597" r:id="rId7"/>
    <p:sldLayoutId id="2147484598" r:id="rId8"/>
    <p:sldLayoutId id="2147484599" r:id="rId9"/>
    <p:sldLayoutId id="2147484600" r:id="rId10"/>
    <p:sldLayoutId id="2147484601" r:id="rId11"/>
    <p:sldLayoutId id="2147484602" r:id="rId12"/>
    <p:sldLayoutId id="2147484603" r:id="rId13"/>
    <p:sldLayoutId id="2147484604" r:id="rId14"/>
    <p:sldLayoutId id="2147484605" r:id="rId15"/>
    <p:sldLayoutId id="2147484606" r:id="rId16"/>
    <p:sldLayoutId id="2147484607" r:id="rId17"/>
    <p:sldLayoutId id="2147484608" r:id="rId18"/>
    <p:sldLayoutId id="2147484609" r:id="rId19"/>
    <p:sldLayoutId id="2147484610" r:id="rId20"/>
    <p:sldLayoutId id="2147484611" r:id="rId21"/>
    <p:sldLayoutId id="2147484612" r:id="rId22"/>
    <p:sldLayoutId id="2147484613" r:id="rId23"/>
    <p:sldLayoutId id="2147484614" r:id="rId24"/>
    <p:sldLayoutId id="2147484615" r:id="rId25"/>
    <p:sldLayoutId id="2147484616" r:id="rId26"/>
    <p:sldLayoutId id="2147484617" r:id="rId27"/>
    <p:sldLayoutId id="2147484618" r:id="rId28"/>
    <p:sldLayoutId id="2147484619" r:id="rId29"/>
    <p:sldLayoutId id="2147484620" r:id="rId30"/>
    <p:sldLayoutId id="2147484621" r:id="rId31"/>
    <p:sldLayoutId id="2147484622" r:id="rId32"/>
    <p:sldLayoutId id="2147484623" r:id="rId33"/>
    <p:sldLayoutId id="2147484624" r:id="rId34"/>
    <p:sldLayoutId id="2147484625" r:id="rId35"/>
    <p:sldLayoutId id="2147484626" r:id="rId36"/>
    <p:sldLayoutId id="2147484627" r:id="rId37"/>
    <p:sldLayoutId id="2147484628" r:id="rId38"/>
    <p:sldLayoutId id="2147484629" r:id="rId39"/>
    <p:sldLayoutId id="2147484630" r:id="rId40"/>
    <p:sldLayoutId id="2147484631" r:id="rId41"/>
    <p:sldLayoutId id="2147484632" r:id="rId42"/>
    <p:sldLayoutId id="2147484633" r:id="rId43"/>
    <p:sldLayoutId id="2147484634" r:id="rId44"/>
    <p:sldLayoutId id="2147484635" r:id="rId45"/>
    <p:sldLayoutId id="2147484636" r:id="rId46"/>
    <p:sldLayoutId id="2147484637" r:id="rId47"/>
    <p:sldLayoutId id="2147484638" r:id="rId48"/>
    <p:sldLayoutId id="2147484639" r:id="rId49"/>
    <p:sldLayoutId id="2147484640" r:id="rId50"/>
    <p:sldLayoutId id="2147484641" r:id="rId51"/>
    <p:sldLayoutId id="2147484642" r:id="rId52"/>
    <p:sldLayoutId id="2147484643" r:id="rId53"/>
    <p:sldLayoutId id="2147484644" r:id="rId54"/>
    <p:sldLayoutId id="2147484645" r:id="rId55"/>
    <p:sldLayoutId id="2147484646" r:id="rId56"/>
    <p:sldLayoutId id="2147484647" r:id="rId57"/>
    <p:sldLayoutId id="2147484648" r:id="rId58"/>
    <p:sldLayoutId id="2147484649" r:id="rId59"/>
    <p:sldLayoutId id="2147484650" r:id="rId60"/>
    <p:sldLayoutId id="2147484651" r:id="rId61"/>
    <p:sldLayoutId id="2147484652" r:id="rId62"/>
    <p:sldLayoutId id="2147484653" r:id="rId63"/>
    <p:sldLayoutId id="2147484654" r:id="rId64"/>
    <p:sldLayoutId id="2147484655" r:id="rId65"/>
    <p:sldLayoutId id="2147484656" r:id="rId66"/>
    <p:sldLayoutId id="2147484657" r:id="rId67"/>
    <p:sldLayoutId id="2147484658" r:id="rId68"/>
    <p:sldLayoutId id="2147484659" r:id="rId69"/>
    <p:sldLayoutId id="2147484660" r:id="rId70"/>
    <p:sldLayoutId id="2147484661" r:id="rId71"/>
    <p:sldLayoutId id="2147484662" r:id="rId72"/>
    <p:sldLayoutId id="2147484663" r:id="rId73"/>
    <p:sldLayoutId id="2147485060" r:id="rId74"/>
    <p:sldLayoutId id="2147485061" r:id="rId75"/>
    <p:sldLayoutId id="2147485062" r:id="rId76"/>
    <p:sldLayoutId id="2147485104" r:id="rId77"/>
    <p:sldLayoutId id="2147485291" r:id="rId78"/>
    <p:sldLayoutId id="2147485292" r:id="rId79"/>
    <p:sldLayoutId id="2147485313" r:id="rId80"/>
    <p:sldLayoutId id="2147485314" r:id="rId81"/>
    <p:sldLayoutId id="2147485327" r:id="rId82"/>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2"/>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51"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51"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10096460" y="2458380"/>
            <a:ext cx="6994526" cy="2059998"/>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76">
              <a:extLst>
                <a:ext uri="{96DAC541-7B7A-43D3-8B79-37D633B846F1}">
                  <asvg:svgBlip xmlns:asvg="http://schemas.microsoft.com/office/drawing/2016/SVG/main" r:embed="rId77"/>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78"/>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3161611264"/>
      </p:ext>
    </p:extLst>
  </p:cSld>
  <p:clrMap bg1="lt1" tx1="dk1" bg2="lt2" tx2="dk2" accent1="accent1" accent2="accent2" accent3="accent3" accent4="accent4" accent5="accent5" accent6="accent6" hlink="hlink" folHlink="folHlink"/>
  <p:sldLayoutIdLst>
    <p:sldLayoutId id="2147485106" r:id="rId1"/>
    <p:sldLayoutId id="2147485107" r:id="rId2"/>
    <p:sldLayoutId id="2147485108" r:id="rId3"/>
    <p:sldLayoutId id="2147485109" r:id="rId4"/>
    <p:sldLayoutId id="2147485110" r:id="rId5"/>
    <p:sldLayoutId id="2147485111" r:id="rId6"/>
    <p:sldLayoutId id="2147485112" r:id="rId7"/>
    <p:sldLayoutId id="2147485113" r:id="rId8"/>
    <p:sldLayoutId id="2147485114" r:id="rId9"/>
    <p:sldLayoutId id="2147485115" r:id="rId10"/>
    <p:sldLayoutId id="2147485116" r:id="rId11"/>
    <p:sldLayoutId id="2147485117" r:id="rId12"/>
    <p:sldLayoutId id="2147485118" r:id="rId13"/>
    <p:sldLayoutId id="2147485119" r:id="rId14"/>
    <p:sldLayoutId id="2147485120" r:id="rId15"/>
    <p:sldLayoutId id="2147485121" r:id="rId16"/>
    <p:sldLayoutId id="2147485122" r:id="rId17"/>
    <p:sldLayoutId id="2147485123" r:id="rId18"/>
    <p:sldLayoutId id="2147485124" r:id="rId19"/>
    <p:sldLayoutId id="2147485125" r:id="rId20"/>
    <p:sldLayoutId id="2147485126" r:id="rId21"/>
    <p:sldLayoutId id="2147485127" r:id="rId22"/>
    <p:sldLayoutId id="2147485128" r:id="rId23"/>
    <p:sldLayoutId id="2147485129" r:id="rId24"/>
    <p:sldLayoutId id="2147485130" r:id="rId25"/>
    <p:sldLayoutId id="2147485131" r:id="rId26"/>
    <p:sldLayoutId id="2147485132" r:id="rId27"/>
    <p:sldLayoutId id="2147485133" r:id="rId28"/>
    <p:sldLayoutId id="2147485134" r:id="rId29"/>
    <p:sldLayoutId id="2147485135" r:id="rId30"/>
    <p:sldLayoutId id="2147485136" r:id="rId31"/>
    <p:sldLayoutId id="2147485137" r:id="rId32"/>
    <p:sldLayoutId id="2147485138" r:id="rId33"/>
    <p:sldLayoutId id="2147485139" r:id="rId34"/>
    <p:sldLayoutId id="2147485140" r:id="rId35"/>
    <p:sldLayoutId id="2147485141" r:id="rId36"/>
    <p:sldLayoutId id="2147485142" r:id="rId37"/>
    <p:sldLayoutId id="2147485143" r:id="rId38"/>
    <p:sldLayoutId id="2147485144" r:id="rId39"/>
    <p:sldLayoutId id="2147485145" r:id="rId40"/>
    <p:sldLayoutId id="2147485146" r:id="rId41"/>
    <p:sldLayoutId id="2147485147" r:id="rId42"/>
    <p:sldLayoutId id="2147485148" r:id="rId43"/>
    <p:sldLayoutId id="2147485149" r:id="rId44"/>
    <p:sldLayoutId id="2147485150" r:id="rId45"/>
    <p:sldLayoutId id="2147485151" r:id="rId46"/>
    <p:sldLayoutId id="2147485152" r:id="rId47"/>
    <p:sldLayoutId id="2147485153" r:id="rId48"/>
    <p:sldLayoutId id="2147485154" r:id="rId49"/>
    <p:sldLayoutId id="2147485155" r:id="rId50"/>
    <p:sldLayoutId id="2147485156" r:id="rId51"/>
    <p:sldLayoutId id="2147485157" r:id="rId52"/>
    <p:sldLayoutId id="2147485158" r:id="rId53"/>
    <p:sldLayoutId id="2147485159" r:id="rId54"/>
    <p:sldLayoutId id="2147485160" r:id="rId55"/>
    <p:sldLayoutId id="2147485161" r:id="rId56"/>
    <p:sldLayoutId id="2147485162" r:id="rId57"/>
    <p:sldLayoutId id="2147485163" r:id="rId58"/>
    <p:sldLayoutId id="2147485164" r:id="rId59"/>
    <p:sldLayoutId id="2147485165" r:id="rId60"/>
    <p:sldLayoutId id="2147485166" r:id="rId61"/>
    <p:sldLayoutId id="2147485167" r:id="rId62"/>
    <p:sldLayoutId id="2147485168" r:id="rId63"/>
    <p:sldLayoutId id="2147485169" r:id="rId64"/>
    <p:sldLayoutId id="2147485170" r:id="rId65"/>
    <p:sldLayoutId id="2147485171" r:id="rId66"/>
    <p:sldLayoutId id="2147485172" r:id="rId67"/>
    <p:sldLayoutId id="2147485173" r:id="rId68"/>
    <p:sldLayoutId id="2147485174" r:id="rId69"/>
    <p:sldLayoutId id="2147485175" r:id="rId70"/>
    <p:sldLayoutId id="2147485176" r:id="rId71"/>
    <p:sldLayoutId id="2147485177" r:id="rId72"/>
    <p:sldLayoutId id="2147485178" r:id="rId73"/>
    <p:sldLayoutId id="2147485179" r:id="rId74"/>
  </p:sldLayoutIdLst>
  <p:transition>
    <p:fade/>
  </p:transition>
  <p:hf sldNum="0" hdr="0" ftr="0" dt="0"/>
  <p:txStyles>
    <p:titleStyle>
      <a:lvl1pPr algn="l" defTabSz="951026"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33081" marR="0" indent="-233081"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162" marR="0" indent="-233081"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108" marR="0" indent="-203946"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487" marR="0" indent="-184523"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009" marR="0" indent="-171574"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319" indent="-237757" algn="l" defTabSz="951026"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0835" indent="-237757" algn="l" defTabSz="951026"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6347" indent="-237757" algn="l" defTabSz="951026"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1862" indent="-237757" algn="l" defTabSz="951026"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026" rtl="0" eaLnBrk="1" latinLnBrk="0" hangingPunct="1">
        <a:defRPr sz="1836" kern="1200">
          <a:solidFill>
            <a:schemeClr val="tx1"/>
          </a:solidFill>
          <a:latin typeface="+mn-lt"/>
          <a:ea typeface="+mn-ea"/>
          <a:cs typeface="+mn-cs"/>
        </a:defRPr>
      </a:lvl1pPr>
      <a:lvl2pPr marL="475513" algn="l" defTabSz="951026" rtl="0" eaLnBrk="1" latinLnBrk="0" hangingPunct="1">
        <a:defRPr sz="1836" kern="1200">
          <a:solidFill>
            <a:schemeClr val="tx1"/>
          </a:solidFill>
          <a:latin typeface="+mn-lt"/>
          <a:ea typeface="+mn-ea"/>
          <a:cs typeface="+mn-cs"/>
        </a:defRPr>
      </a:lvl2pPr>
      <a:lvl3pPr marL="951026" algn="l" defTabSz="951026" rtl="0" eaLnBrk="1" latinLnBrk="0" hangingPunct="1">
        <a:defRPr sz="1836" kern="1200">
          <a:solidFill>
            <a:schemeClr val="tx1"/>
          </a:solidFill>
          <a:latin typeface="+mn-lt"/>
          <a:ea typeface="+mn-ea"/>
          <a:cs typeface="+mn-cs"/>
        </a:defRPr>
      </a:lvl3pPr>
      <a:lvl4pPr marL="1426538" algn="l" defTabSz="951026" rtl="0" eaLnBrk="1" latinLnBrk="0" hangingPunct="1">
        <a:defRPr sz="1836" kern="1200">
          <a:solidFill>
            <a:schemeClr val="tx1"/>
          </a:solidFill>
          <a:latin typeface="+mn-lt"/>
          <a:ea typeface="+mn-ea"/>
          <a:cs typeface="+mn-cs"/>
        </a:defRPr>
      </a:lvl4pPr>
      <a:lvl5pPr marL="1902052" algn="l" defTabSz="951026" rtl="0" eaLnBrk="1" latinLnBrk="0" hangingPunct="1">
        <a:defRPr sz="1836" kern="1200">
          <a:solidFill>
            <a:schemeClr val="tx1"/>
          </a:solidFill>
          <a:latin typeface="+mn-lt"/>
          <a:ea typeface="+mn-ea"/>
          <a:cs typeface="+mn-cs"/>
        </a:defRPr>
      </a:lvl5pPr>
      <a:lvl6pPr marL="2377565" algn="l" defTabSz="951026" rtl="0" eaLnBrk="1" latinLnBrk="0" hangingPunct="1">
        <a:defRPr sz="1836" kern="1200">
          <a:solidFill>
            <a:schemeClr val="tx1"/>
          </a:solidFill>
          <a:latin typeface="+mn-lt"/>
          <a:ea typeface="+mn-ea"/>
          <a:cs typeface="+mn-cs"/>
        </a:defRPr>
      </a:lvl6pPr>
      <a:lvl7pPr marL="2853078" algn="l" defTabSz="951026" rtl="0" eaLnBrk="1" latinLnBrk="0" hangingPunct="1">
        <a:defRPr sz="1836" kern="1200">
          <a:solidFill>
            <a:schemeClr val="tx1"/>
          </a:solidFill>
          <a:latin typeface="+mn-lt"/>
          <a:ea typeface="+mn-ea"/>
          <a:cs typeface="+mn-cs"/>
        </a:defRPr>
      </a:lvl7pPr>
      <a:lvl8pPr marL="3328590" algn="l" defTabSz="951026" rtl="0" eaLnBrk="1" latinLnBrk="0" hangingPunct="1">
        <a:defRPr sz="1836" kern="1200">
          <a:solidFill>
            <a:schemeClr val="tx1"/>
          </a:solidFill>
          <a:latin typeface="+mn-lt"/>
          <a:ea typeface="+mn-ea"/>
          <a:cs typeface="+mn-cs"/>
        </a:defRPr>
      </a:lvl8pPr>
      <a:lvl9pPr marL="3804104" algn="l" defTabSz="951026"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5840" y="466302"/>
            <a:ext cx="6991387"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6994219"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4"/>
          <a:srcRect l="762"/>
          <a:stretch/>
        </p:blipFill>
        <p:spPr>
          <a:xfrm rot="5400000">
            <a:off x="9699263" y="2900378"/>
            <a:ext cx="6994525" cy="1193773"/>
          </a:xfrm>
          <a:prstGeom prst="rect">
            <a:avLst/>
          </a:prstGeom>
        </p:spPr>
      </p:pic>
      <p:sp>
        <p:nvSpPr>
          <p:cNvPr id="5" name="Rectangle 4" hidden="1">
            <a:extLst>
              <a:ext uri="{FF2B5EF4-FFF2-40B4-BE49-F238E27FC236}">
                <a16:creationId xmlns:a16="http://schemas.microsoft.com/office/drawing/2014/main" id="{7BABC6C7-AADF-4DBF-97D6-92EBD74E163E}"/>
              </a:ext>
            </a:extLst>
          </p:cNvPr>
          <p:cNvSpPr/>
          <p:nvPr userDrawn="1"/>
        </p:nvSpPr>
        <p:spPr bwMode="auto">
          <a:xfrm>
            <a:off x="0" y="-141475"/>
            <a:ext cx="4252731" cy="4662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a:solidFill>
                <a:srgbClr val="000000"/>
              </a:solidFill>
              <a:ea typeface="Segoe UI" pitchFamily="34" charset="0"/>
              <a:cs typeface="Segoe UI" pitchFamily="34" charset="0"/>
            </a:endParaRPr>
          </a:p>
        </p:txBody>
      </p:sp>
      <p:pic>
        <p:nvPicPr>
          <p:cNvPr id="54" name="Ignite light" descr="Ignite event illustration light" hidden="1">
            <a:extLst>
              <a:ext uri="{FF2B5EF4-FFF2-40B4-BE49-F238E27FC236}">
                <a16:creationId xmlns:a16="http://schemas.microsoft.com/office/drawing/2014/main" id="{DCD3C119-3C31-44E9-ACEF-74B542216E46}"/>
              </a:ext>
            </a:extLst>
          </p:cNvPr>
          <p:cNvPicPr>
            <a:picLocks noChangeAspect="1"/>
          </p:cNvPicPr>
          <p:nvPr userDrawn="1"/>
        </p:nvPicPr>
        <p:blipFill rotWithShape="1">
          <a:blip r:embed="rId45"/>
          <a:srcRect l="52412" r="13395"/>
          <a:stretch/>
        </p:blipFill>
        <p:spPr>
          <a:xfrm>
            <a:off x="1" y="1"/>
            <a:ext cx="4251823" cy="6994524"/>
          </a:xfrm>
          <a:prstGeom prst="rect">
            <a:avLst/>
          </a:prstGeom>
        </p:spPr>
      </p:pic>
      <p:grpSp>
        <p:nvGrpSpPr>
          <p:cNvPr id="11" name="Group 10">
            <a:extLst>
              <a:ext uri="{FF2B5EF4-FFF2-40B4-BE49-F238E27FC236}">
                <a16:creationId xmlns:a16="http://schemas.microsoft.com/office/drawing/2014/main" id="{CFC16F23-E575-8B43-9911-1740D4458536}"/>
              </a:ext>
            </a:extLst>
          </p:cNvPr>
          <p:cNvGrpSpPr/>
          <p:nvPr userDrawn="1"/>
        </p:nvGrpSpPr>
        <p:grpSpPr>
          <a:xfrm>
            <a:off x="11813752" y="222990"/>
            <a:ext cx="453739" cy="165394"/>
            <a:chOff x="695390" y="1849514"/>
            <a:chExt cx="10353479" cy="3774046"/>
          </a:xfrm>
        </p:grpSpPr>
        <p:sp>
          <p:nvSpPr>
            <p:cNvPr id="12" name="Rounded Rectangle 11">
              <a:extLst>
                <a:ext uri="{FF2B5EF4-FFF2-40B4-BE49-F238E27FC236}">
                  <a16:creationId xmlns:a16="http://schemas.microsoft.com/office/drawing/2014/main" id="{259DDC6C-DDEC-5345-A497-EF5D104F0EF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13" name="Rounded Rectangle 12">
              <a:extLst>
                <a:ext uri="{FF2B5EF4-FFF2-40B4-BE49-F238E27FC236}">
                  <a16:creationId xmlns:a16="http://schemas.microsoft.com/office/drawing/2014/main" id="{8DCC2967-169C-CE48-9558-EC6E1746937F}"/>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42ABC42A-352D-B447-8BEC-20A05C690FC8}"/>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5" name="Rectangle 14">
            <a:hlinkClick r:id="" action="ppaction://noaction"/>
            <a:extLst>
              <a:ext uri="{FF2B5EF4-FFF2-40B4-BE49-F238E27FC236}">
                <a16:creationId xmlns:a16="http://schemas.microsoft.com/office/drawing/2014/main" id="{7493B4A8-7264-854C-9A26-1F14C3F8240A}"/>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626430381"/>
      </p:ext>
    </p:extLst>
  </p:cSld>
  <p:clrMap bg1="lt1" tx1="dk1" bg2="lt2" tx2="dk2" accent1="accent1" accent2="accent2" accent3="accent3" accent4="accent4" accent5="accent5" accent6="accent6" hlink="hlink" folHlink="folHlink"/>
  <p:sldLayoutIdLst>
    <p:sldLayoutId id="2147485249" r:id="rId1"/>
    <p:sldLayoutId id="2147485250" r:id="rId2"/>
    <p:sldLayoutId id="2147485251" r:id="rId3"/>
    <p:sldLayoutId id="2147485252" r:id="rId4"/>
    <p:sldLayoutId id="2147485253" r:id="rId5"/>
    <p:sldLayoutId id="2147485254" r:id="rId6"/>
    <p:sldLayoutId id="2147485255" r:id="rId7"/>
    <p:sldLayoutId id="2147485256" r:id="rId8"/>
    <p:sldLayoutId id="2147485257" r:id="rId9"/>
    <p:sldLayoutId id="2147485258" r:id="rId10"/>
    <p:sldLayoutId id="2147485259" r:id="rId11"/>
    <p:sldLayoutId id="2147485260" r:id="rId12"/>
    <p:sldLayoutId id="2147485261" r:id="rId13"/>
    <p:sldLayoutId id="2147485262" r:id="rId14"/>
    <p:sldLayoutId id="2147485263" r:id="rId15"/>
    <p:sldLayoutId id="2147485264" r:id="rId16"/>
    <p:sldLayoutId id="2147485265" r:id="rId17"/>
    <p:sldLayoutId id="2147485266" r:id="rId18"/>
    <p:sldLayoutId id="2147485267" r:id="rId19"/>
    <p:sldLayoutId id="2147485268" r:id="rId20"/>
    <p:sldLayoutId id="2147485269" r:id="rId21"/>
    <p:sldLayoutId id="2147485270" r:id="rId22"/>
    <p:sldLayoutId id="2147485271" r:id="rId23"/>
    <p:sldLayoutId id="2147485272" r:id="rId24"/>
    <p:sldLayoutId id="2147485273" r:id="rId25"/>
    <p:sldLayoutId id="2147485274" r:id="rId26"/>
    <p:sldLayoutId id="2147485275" r:id="rId27"/>
    <p:sldLayoutId id="2147485276" r:id="rId28"/>
    <p:sldLayoutId id="2147485277" r:id="rId29"/>
    <p:sldLayoutId id="2147485278" r:id="rId30"/>
    <p:sldLayoutId id="2147485279" r:id="rId31"/>
    <p:sldLayoutId id="2147485280" r:id="rId32"/>
    <p:sldLayoutId id="2147485281" r:id="rId33"/>
    <p:sldLayoutId id="2147485282" r:id="rId34"/>
    <p:sldLayoutId id="2147485283" r:id="rId35"/>
    <p:sldLayoutId id="2147485284" r:id="rId36"/>
    <p:sldLayoutId id="2147485285" r:id="rId37"/>
    <p:sldLayoutId id="2147485286" r:id="rId38"/>
    <p:sldLayoutId id="2147485287" r:id="rId39"/>
    <p:sldLayoutId id="2147485288" r:id="rId40"/>
    <p:sldLayoutId id="2147485289" r:id="rId41"/>
    <p:sldLayoutId id="2147485290" r:id="rId42"/>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guide id="31" pos="2626" userDrawn="1">
          <p15:clr>
            <a:srgbClr val="C35EA4"/>
          </p15:clr>
        </p15:guide>
        <p15:guide id="32" pos="2995" userDrawn="1">
          <p15:clr>
            <a:srgbClr val="5ACBF0"/>
          </p15:clr>
        </p15:guide>
        <p15:guide id="33" pos="2811" userDrawn="1">
          <p15:clr>
            <a:srgbClr val="A4A3A4"/>
          </p15:clr>
        </p15:guide>
        <p15:guide id="34" orient="horz" pos="3744" userDrawn="1">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4899" y="372394"/>
            <a:ext cx="10725091"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4899" y="1861968"/>
            <a:ext cx="10725091" cy="44379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4898" y="6482889"/>
            <a:ext cx="2797850"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C764DE79-268F-4C1A-8933-263129D2AF90}" type="datetimeFigureOut">
              <a:rPr lang="en-US" dirty="0"/>
              <a:t>9/16/2022</a:t>
            </a:fld>
            <a:endParaRPr lang="en-US"/>
          </a:p>
        </p:txBody>
      </p:sp>
      <p:sp>
        <p:nvSpPr>
          <p:cNvPr id="5" name="Footer Placeholder 4"/>
          <p:cNvSpPr>
            <a:spLocks noGrp="1"/>
          </p:cNvSpPr>
          <p:nvPr>
            <p:ph type="ftr" sz="quarter" idx="3"/>
          </p:nvPr>
        </p:nvSpPr>
        <p:spPr>
          <a:xfrm>
            <a:off x="4119057" y="6482889"/>
            <a:ext cx="4196775"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2140" y="6482889"/>
            <a:ext cx="2797850"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48F63A3B-78C7-47BE-AE5E-E10140E04643}" type="slidenum">
              <a:rPr lang="en-US" dirty="0"/>
              <a:t>‹#›</a:t>
            </a:fld>
            <a:endParaRPr lang="en-US"/>
          </a:p>
        </p:txBody>
      </p:sp>
    </p:spTree>
    <p:extLst>
      <p:ext uri="{BB962C8B-B14F-4D97-AF65-F5344CB8AC3E}">
        <p14:creationId xmlns:p14="http://schemas.microsoft.com/office/powerpoint/2010/main" val="2254438762"/>
      </p:ext>
    </p:extLst>
  </p:cSld>
  <p:clrMap bg1="lt1" tx1="dk1" bg2="lt2" tx2="dk2" accent1="accent1" accent2="accent2" accent3="accent3" accent4="accent4" accent5="accent5" accent6="accent6" hlink="hlink" folHlink="folHlink"/>
  <p:sldLayoutIdLst>
    <p:sldLayoutId id="2147485316" r:id="rId1"/>
    <p:sldLayoutId id="2147485317" r:id="rId2"/>
    <p:sldLayoutId id="2147485318" r:id="rId3"/>
    <p:sldLayoutId id="2147485319" r:id="rId4"/>
    <p:sldLayoutId id="2147485320" r:id="rId5"/>
    <p:sldLayoutId id="2147485321" r:id="rId6"/>
    <p:sldLayoutId id="2147485322" r:id="rId7"/>
    <p:sldLayoutId id="2147485323" r:id="rId8"/>
    <p:sldLayoutId id="2147485324" r:id="rId9"/>
    <p:sldLayoutId id="2147485325" r:id="rId10"/>
    <p:sldLayoutId id="2147485326" r:id="rId11"/>
    <p:sldLayoutId id="2147485246" r:id="rId12"/>
  </p:sldLayoutIdLst>
  <p:hf sldNum="0" hdr="0" ftr="0" dt="0"/>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7"/>
            <a:ext cx="1188804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7" y="1212852"/>
            <a:ext cx="11885681"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4" name="Group 23">
            <a:extLst>
              <a:ext uri="{FF2B5EF4-FFF2-40B4-BE49-F238E27FC236}">
                <a16:creationId xmlns:a16="http://schemas.microsoft.com/office/drawing/2014/main" id="{6AD59570-D98B-4F7B-80B6-9471B2041BB8}"/>
              </a:ext>
            </a:extLst>
          </p:cNvPr>
          <p:cNvGrpSpPr/>
          <p:nvPr/>
        </p:nvGrpSpPr>
        <p:grpSpPr>
          <a:xfrm rot="5400000">
            <a:off x="10242268" y="2385632"/>
            <a:ext cx="5516729" cy="745472"/>
            <a:chOff x="3184538" y="0"/>
            <a:chExt cx="9389529" cy="1461567"/>
          </a:xfrm>
        </p:grpSpPr>
        <p:sp>
          <p:nvSpPr>
            <p:cNvPr id="25" name="Shape 4961">
              <a:extLst>
                <a:ext uri="{FF2B5EF4-FFF2-40B4-BE49-F238E27FC236}">
                  <a16:creationId xmlns:a16="http://schemas.microsoft.com/office/drawing/2014/main" id="{2E9321FE-8B80-4A65-A4F1-0A9A645DC267}"/>
                </a:ext>
              </a:extLst>
            </p:cNvPr>
            <p:cNvSpPr/>
            <p:nvPr userDrawn="1"/>
          </p:nvSpPr>
          <p:spPr>
            <a:xfrm>
              <a:off x="4189057" y="0"/>
              <a:ext cx="2006917" cy="881533"/>
            </a:xfrm>
            <a:custGeom>
              <a:avLst/>
              <a:gdLst/>
              <a:ahLst/>
              <a:cxnLst/>
              <a:rect l="0" t="0" r="0" b="0"/>
              <a:pathLst>
                <a:path w="2006917" h="881533">
                  <a:moveTo>
                    <a:pt x="0" y="881533"/>
                  </a:moveTo>
                  <a:lnTo>
                    <a:pt x="2006917" y="881533"/>
                  </a:lnTo>
                  <a:lnTo>
                    <a:pt x="2006917"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sp>
          <p:nvSpPr>
            <p:cNvPr id="26" name="Shape 34744">
              <a:extLst>
                <a:ext uri="{FF2B5EF4-FFF2-40B4-BE49-F238E27FC236}">
                  <a16:creationId xmlns:a16="http://schemas.microsoft.com/office/drawing/2014/main" id="{2A233076-34B9-428C-BA8D-CDA63AA548EE}"/>
                </a:ext>
              </a:extLst>
            </p:cNvPr>
            <p:cNvSpPr/>
            <p:nvPr userDrawn="1"/>
          </p:nvSpPr>
          <p:spPr>
            <a:xfrm>
              <a:off x="7381545"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27" name="Shape 34745">
              <a:extLst>
                <a:ext uri="{FF2B5EF4-FFF2-40B4-BE49-F238E27FC236}">
                  <a16:creationId xmlns:a16="http://schemas.microsoft.com/office/drawing/2014/main" id="{E534E280-234A-4D24-8D84-2EF3AE4ABD87}"/>
                </a:ext>
              </a:extLst>
            </p:cNvPr>
            <p:cNvSpPr/>
            <p:nvPr userDrawn="1"/>
          </p:nvSpPr>
          <p:spPr>
            <a:xfrm>
              <a:off x="10566082"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28" name="Shape 34746">
              <a:extLst>
                <a:ext uri="{FF2B5EF4-FFF2-40B4-BE49-F238E27FC236}">
                  <a16:creationId xmlns:a16="http://schemas.microsoft.com/office/drawing/2014/main" id="{D6C72A1A-A69A-4D6B-93DB-F5A42D5DC3A4}"/>
                </a:ext>
              </a:extLst>
            </p:cNvPr>
            <p:cNvSpPr/>
            <p:nvPr userDrawn="1"/>
          </p:nvSpPr>
          <p:spPr>
            <a:xfrm>
              <a:off x="3184538"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29" name="Shape 34747">
              <a:extLst>
                <a:ext uri="{FF2B5EF4-FFF2-40B4-BE49-F238E27FC236}">
                  <a16:creationId xmlns:a16="http://schemas.microsoft.com/office/drawing/2014/main" id="{DFCB0D70-8AB5-4852-A6CD-D0898F48DC48}"/>
                </a:ext>
              </a:extLst>
            </p:cNvPr>
            <p:cNvSpPr/>
            <p:nvPr userDrawn="1"/>
          </p:nvSpPr>
          <p:spPr>
            <a:xfrm>
              <a:off x="3184538"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30" name="Shape 34748">
              <a:extLst>
                <a:ext uri="{FF2B5EF4-FFF2-40B4-BE49-F238E27FC236}">
                  <a16:creationId xmlns:a16="http://schemas.microsoft.com/office/drawing/2014/main" id="{FF3E8AEE-5EB8-4FCB-9345-7436A01B5037}"/>
                </a:ext>
              </a:extLst>
            </p:cNvPr>
            <p:cNvSpPr/>
            <p:nvPr userDrawn="1"/>
          </p:nvSpPr>
          <p:spPr>
            <a:xfrm>
              <a:off x="418746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1" name="Shape 34749">
              <a:extLst>
                <a:ext uri="{FF2B5EF4-FFF2-40B4-BE49-F238E27FC236}">
                  <a16:creationId xmlns:a16="http://schemas.microsoft.com/office/drawing/2014/main" id="{0F6F9298-4267-424F-9DE8-A04E5D92C3F2}"/>
                </a:ext>
              </a:extLst>
            </p:cNvPr>
            <p:cNvSpPr/>
            <p:nvPr userDrawn="1"/>
          </p:nvSpPr>
          <p:spPr>
            <a:xfrm>
              <a:off x="7378370"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2" name="Shape 34750">
              <a:extLst>
                <a:ext uri="{FF2B5EF4-FFF2-40B4-BE49-F238E27FC236}">
                  <a16:creationId xmlns:a16="http://schemas.microsoft.com/office/drawing/2014/main" id="{F3A82740-A27D-419A-9071-C99151F8EC7A}"/>
                </a:ext>
              </a:extLst>
            </p:cNvPr>
            <p:cNvSpPr/>
            <p:nvPr userDrawn="1"/>
          </p:nvSpPr>
          <p:spPr>
            <a:xfrm>
              <a:off x="10569257"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75757A"/>
            </a:fillRef>
            <a:effectRef idx="0">
              <a:scrgbClr r="0" g="0" b="0"/>
            </a:effectRef>
            <a:fontRef idx="none"/>
          </p:style>
          <p:txBody>
            <a:bodyPr/>
            <a:lstStyle/>
            <a:p>
              <a:endParaRPr lang="en-US" sz="1836"/>
            </a:p>
          </p:txBody>
        </p:sp>
        <p:sp>
          <p:nvSpPr>
            <p:cNvPr id="33" name="Shape 34751">
              <a:extLst>
                <a:ext uri="{FF2B5EF4-FFF2-40B4-BE49-F238E27FC236}">
                  <a16:creationId xmlns:a16="http://schemas.microsoft.com/office/drawing/2014/main" id="{C6EC78F6-2F73-4674-9D1F-BAAF8641F52B}"/>
                </a:ext>
              </a:extLst>
            </p:cNvPr>
            <p:cNvSpPr/>
            <p:nvPr userDrawn="1"/>
          </p:nvSpPr>
          <p:spPr>
            <a:xfrm>
              <a:off x="5189347"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34" name="Shape 34752">
              <a:extLst>
                <a:ext uri="{FF2B5EF4-FFF2-40B4-BE49-F238E27FC236}">
                  <a16:creationId xmlns:a16="http://schemas.microsoft.com/office/drawing/2014/main" id="{61B8BD4B-7E5A-4D1B-A617-35C9B0BB9FFB}"/>
                </a:ext>
              </a:extLst>
            </p:cNvPr>
            <p:cNvSpPr/>
            <p:nvPr userDrawn="1"/>
          </p:nvSpPr>
          <p:spPr>
            <a:xfrm>
              <a:off x="8380235"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35" name="Shape 34753">
              <a:extLst>
                <a:ext uri="{FF2B5EF4-FFF2-40B4-BE49-F238E27FC236}">
                  <a16:creationId xmlns:a16="http://schemas.microsoft.com/office/drawing/2014/main" id="{CDF8ED96-44E3-4FF9-BD37-088F4E4B7590}"/>
                </a:ext>
              </a:extLst>
            </p:cNvPr>
            <p:cNvSpPr/>
            <p:nvPr userDrawn="1"/>
          </p:nvSpPr>
          <p:spPr>
            <a:xfrm>
              <a:off x="9567380"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6" name="Shape 34754">
              <a:extLst>
                <a:ext uri="{FF2B5EF4-FFF2-40B4-BE49-F238E27FC236}">
                  <a16:creationId xmlns:a16="http://schemas.microsoft.com/office/drawing/2014/main" id="{33639B97-4EC8-4A96-8674-EC0CA6D35CCB}"/>
                </a:ext>
              </a:extLst>
            </p:cNvPr>
            <p:cNvSpPr/>
            <p:nvPr userDrawn="1"/>
          </p:nvSpPr>
          <p:spPr>
            <a:xfrm>
              <a:off x="9561564"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7" name="Shape 4980">
              <a:extLst>
                <a:ext uri="{FF2B5EF4-FFF2-40B4-BE49-F238E27FC236}">
                  <a16:creationId xmlns:a16="http://schemas.microsoft.com/office/drawing/2014/main" id="{7FEE606F-FA83-4898-9AAC-BAFFAA27B3D5}"/>
                </a:ext>
              </a:extLst>
            </p:cNvPr>
            <p:cNvSpPr/>
            <p:nvPr userDrawn="1"/>
          </p:nvSpPr>
          <p:spPr>
            <a:xfrm>
              <a:off x="6375438" y="1061517"/>
              <a:ext cx="1001878" cy="400050"/>
            </a:xfrm>
            <a:custGeom>
              <a:avLst/>
              <a:gdLst/>
              <a:ahLst/>
              <a:cxnLst/>
              <a:rect l="0" t="0" r="0" b="0"/>
              <a:pathLst>
                <a:path w="1001878" h="400050">
                  <a:moveTo>
                    <a:pt x="0" y="400050"/>
                  </a:moveTo>
                  <a:lnTo>
                    <a:pt x="1001878" y="400050"/>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sp>
          <p:nvSpPr>
            <p:cNvPr id="38" name="Shape 34755">
              <a:extLst>
                <a:ext uri="{FF2B5EF4-FFF2-40B4-BE49-F238E27FC236}">
                  <a16:creationId xmlns:a16="http://schemas.microsoft.com/office/drawing/2014/main" id="{AB6B6F4D-58DB-4DC8-BF07-D5A6F9C97644}"/>
                </a:ext>
              </a:extLst>
            </p:cNvPr>
            <p:cNvSpPr/>
            <p:nvPr userDrawn="1"/>
          </p:nvSpPr>
          <p:spPr>
            <a:xfrm>
              <a:off x="1157218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3175" cap="flat">
              <a:noFill/>
              <a:miter lim="100000"/>
            </a:ln>
          </p:spPr>
          <p:style>
            <a:lnRef idx="1">
              <a:srgbClr val="3C3C41"/>
            </a:lnRef>
            <a:fillRef idx="1">
              <a:srgbClr val="3C3C41"/>
            </a:fillRef>
            <a:effectRef idx="0">
              <a:scrgbClr r="0" g="0" b="0"/>
            </a:effectRef>
            <a:fontRef idx="none"/>
          </p:style>
          <p:txBody>
            <a:bodyPr/>
            <a:lstStyle/>
            <a:p>
              <a:endParaRPr lang="en-US" sz="1836"/>
            </a:p>
          </p:txBody>
        </p:sp>
        <p:sp>
          <p:nvSpPr>
            <p:cNvPr id="39" name="Shape 4982">
              <a:extLst>
                <a:ext uri="{FF2B5EF4-FFF2-40B4-BE49-F238E27FC236}">
                  <a16:creationId xmlns:a16="http://schemas.microsoft.com/office/drawing/2014/main" id="{AC2E100E-184C-4DCF-9EDC-71E58BA5A30A}"/>
                </a:ext>
              </a:extLst>
            </p:cNvPr>
            <p:cNvSpPr/>
            <p:nvPr userDrawn="1"/>
          </p:nvSpPr>
          <p:spPr>
            <a:xfrm>
              <a:off x="6377026" y="0"/>
              <a:ext cx="1001878" cy="881533"/>
            </a:xfrm>
            <a:custGeom>
              <a:avLst/>
              <a:gdLst/>
              <a:ahLst/>
              <a:cxnLst/>
              <a:rect l="0" t="0" r="0" b="0"/>
              <a:pathLst>
                <a:path w="1001878" h="881533">
                  <a:moveTo>
                    <a:pt x="0" y="881533"/>
                  </a:moveTo>
                  <a:lnTo>
                    <a:pt x="1001878" y="881533"/>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grpSp>
      <p:graphicFrame>
        <p:nvGraphicFramePr>
          <p:cNvPr id="40" name="Table 39">
            <a:extLst>
              <a:ext uri="{FF2B5EF4-FFF2-40B4-BE49-F238E27FC236}">
                <a16:creationId xmlns:a16="http://schemas.microsoft.com/office/drawing/2014/main" id="{61EF8645-8B66-48E7-B17B-6F3D48D699CB}"/>
              </a:ext>
            </a:extLst>
          </p:cNvPr>
          <p:cNvGraphicFramePr>
            <a:graphicFrameLocks noGrp="1"/>
          </p:cNvGraphicFramePr>
          <p:nvPr/>
        </p:nvGraphicFramePr>
        <p:xfrm>
          <a:off x="13664117" y="-17272"/>
          <a:ext cx="2550469" cy="5524029"/>
        </p:xfrm>
        <a:graphic>
          <a:graphicData uri="http://schemas.openxmlformats.org/drawingml/2006/table">
            <a:tbl>
              <a:tblPr firstRow="1" firstCol="1" bandRow="1"/>
              <a:tblGrid>
                <a:gridCol w="2550469">
                  <a:extLst>
                    <a:ext uri="{9D8B030D-6E8A-4147-A177-3AD203B41FA5}">
                      <a16:colId xmlns:a16="http://schemas.microsoft.com/office/drawing/2014/main" val="2676493096"/>
                    </a:ext>
                  </a:extLst>
                </a:gridCol>
              </a:tblGrid>
              <a:tr h="1841343">
                <a:tc>
                  <a:txBody>
                    <a:bodyPr/>
                    <a:lstStyle/>
                    <a:p>
                      <a:pPr marL="0" marR="0" algn="l">
                        <a:lnSpc>
                          <a:spcPct val="107000"/>
                        </a:lnSpc>
                        <a:spcBef>
                          <a:spcPts val="0"/>
                        </a:spcBef>
                        <a:spcAft>
                          <a:spcPts val="0"/>
                        </a:spcAft>
                      </a:pPr>
                      <a:r>
                        <a:rPr lang="en-US" sz="3600" b="1">
                          <a:solidFill>
                            <a:srgbClr val="008272"/>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1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57119204"/>
                  </a:ext>
                </a:extLst>
              </a:tr>
              <a:tr h="1841343">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600" b="1" kern="1200">
                          <a:solidFill>
                            <a:srgbClr val="FFFEFD"/>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600" b="1" kern="1200">
                        <a:solidFill>
                          <a:srgbClr val="FFFEFD"/>
                        </a:solidFill>
                        <a:effectLst/>
                        <a:latin typeface="Segoe UI" panose="020B0502040204020203"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1359116892"/>
                  </a:ext>
                </a:extLst>
              </a:tr>
              <a:tr h="1841343">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600" b="1" kern="1200">
                          <a:solidFill>
                            <a:srgbClr val="30E5D0"/>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600" b="1" kern="1200">
                        <a:solidFill>
                          <a:srgbClr val="30E5D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C3C41"/>
                    </a:solidFill>
                  </a:tcPr>
                </a:tc>
                <a:extLst>
                  <a:ext uri="{0D108BD9-81ED-4DB2-BD59-A6C34878D82A}">
                    <a16:rowId xmlns:a16="http://schemas.microsoft.com/office/drawing/2014/main" val="103630878"/>
                  </a:ext>
                </a:extLst>
              </a:tr>
            </a:tbl>
          </a:graphicData>
        </a:graphic>
      </p:graphicFrame>
      <p:graphicFrame>
        <p:nvGraphicFramePr>
          <p:cNvPr id="41" name="Table 40">
            <a:extLst>
              <a:ext uri="{FF2B5EF4-FFF2-40B4-BE49-F238E27FC236}">
                <a16:creationId xmlns:a16="http://schemas.microsoft.com/office/drawing/2014/main" id="{A0E4FBD6-C58B-4E81-8469-3BF05ED5AE18}"/>
              </a:ext>
            </a:extLst>
          </p:cNvPr>
          <p:cNvGraphicFramePr>
            <a:graphicFrameLocks noGrp="1"/>
          </p:cNvGraphicFramePr>
          <p:nvPr/>
        </p:nvGraphicFramePr>
        <p:xfrm>
          <a:off x="12627897" y="5605116"/>
          <a:ext cx="4047973" cy="1342353"/>
        </p:xfrm>
        <a:graphic>
          <a:graphicData uri="http://schemas.openxmlformats.org/drawingml/2006/table">
            <a:tbl>
              <a:tblPr firstRow="1" firstCol="1" bandRow="1"/>
              <a:tblGrid>
                <a:gridCol w="856396">
                  <a:extLst>
                    <a:ext uri="{9D8B030D-6E8A-4147-A177-3AD203B41FA5}">
                      <a16:colId xmlns:a16="http://schemas.microsoft.com/office/drawing/2014/main" val="1609752180"/>
                    </a:ext>
                  </a:extLst>
                </a:gridCol>
                <a:gridCol w="844951">
                  <a:extLst>
                    <a:ext uri="{9D8B030D-6E8A-4147-A177-3AD203B41FA5}">
                      <a16:colId xmlns:a16="http://schemas.microsoft.com/office/drawing/2014/main" val="1258621652"/>
                    </a:ext>
                  </a:extLst>
                </a:gridCol>
                <a:gridCol w="745115">
                  <a:extLst>
                    <a:ext uri="{9D8B030D-6E8A-4147-A177-3AD203B41FA5}">
                      <a16:colId xmlns:a16="http://schemas.microsoft.com/office/drawing/2014/main" val="1939155094"/>
                    </a:ext>
                  </a:extLst>
                </a:gridCol>
                <a:gridCol w="745115">
                  <a:extLst>
                    <a:ext uri="{9D8B030D-6E8A-4147-A177-3AD203B41FA5}">
                      <a16:colId xmlns:a16="http://schemas.microsoft.com/office/drawing/2014/main" val="1921586234"/>
                    </a:ext>
                  </a:extLst>
                </a:gridCol>
                <a:gridCol w="856396">
                  <a:extLst>
                    <a:ext uri="{9D8B030D-6E8A-4147-A177-3AD203B41FA5}">
                      <a16:colId xmlns:a16="http://schemas.microsoft.com/office/drawing/2014/main" val="1402456235"/>
                    </a:ext>
                  </a:extLst>
                </a:gridCol>
              </a:tblGrid>
              <a:tr h="107794">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nchor="b">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2689791449"/>
                  </a:ext>
                </a:extLst>
              </a:tr>
              <a:tr h="218882">
                <a:tc rowSpan="5">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5">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rowSpan="2">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41275"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3281177611"/>
                  </a:ext>
                </a:extLst>
              </a:tr>
              <a:tr h="53918">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30E5D0"/>
                    </a:solidFill>
                  </a:tcPr>
                </a:tc>
                <a:extLst>
                  <a:ext uri="{0D108BD9-81ED-4DB2-BD59-A6C34878D82A}">
                    <a16:rowId xmlns:a16="http://schemas.microsoft.com/office/drawing/2014/main" val="3605322679"/>
                  </a:ext>
                </a:extLst>
              </a:tr>
              <a:tr h="289108">
                <a:tc vMerge="1">
                  <a:txBody>
                    <a:bodyPr/>
                    <a:lstStyle/>
                    <a:p>
                      <a:endParaRPr lang="en-US"/>
                    </a:p>
                  </a:txBody>
                  <a:tcPr/>
                </a:tc>
                <a:tc vMerge="1">
                  <a:txBody>
                    <a:bodyPr/>
                    <a:lstStyle/>
                    <a:p>
                      <a:endParaRPr lang="en-US"/>
                    </a:p>
                  </a:txBody>
                  <a:tcPr/>
                </a:tc>
                <a:tc rowSpan="2">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75757A"/>
                    </a:solidFill>
                  </a:tcPr>
                </a:tc>
                <a:tc rowSpan="2">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75757A"/>
                    </a:solidFill>
                  </a:tcPr>
                </a:tc>
                <a:tc vMerge="1">
                  <a:txBody>
                    <a:bodyPr/>
                    <a:lstStyle/>
                    <a:p>
                      <a:endParaRPr lang="en-US"/>
                    </a:p>
                  </a:txBody>
                  <a:tcPr/>
                </a:tc>
                <a:extLst>
                  <a:ext uri="{0D108BD9-81ED-4DB2-BD59-A6C34878D82A}">
                    <a16:rowId xmlns:a16="http://schemas.microsoft.com/office/drawing/2014/main" val="2317867007"/>
                  </a:ext>
                </a:extLst>
              </a:tr>
              <a:tr h="53918">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447092800"/>
                  </a:ext>
                </a:extLst>
              </a:tr>
              <a:tr h="618733">
                <a:tc vMerge="1">
                  <a:txBody>
                    <a:bodyPr/>
                    <a:lstStyle/>
                    <a:p>
                      <a:endParaRPr lang="en-US"/>
                    </a:p>
                  </a:txBody>
                  <a:tcPr/>
                </a:tc>
                <a:tc vMerge="1">
                  <a:txBody>
                    <a:bodyPr/>
                    <a:lstStyle/>
                    <a:p>
                      <a:endParaRPr lang="en-US"/>
                    </a:p>
                  </a:txBody>
                  <a:tcPr/>
                </a:tc>
                <a:tc>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3C3C41"/>
                    </a:solidFill>
                  </a:tcPr>
                </a:tc>
                <a:tc>
                  <a:txBody>
                    <a:bodyPr/>
                    <a:lstStyle/>
                    <a:p>
                      <a:pPr marL="0" marR="854075"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a:noFill/>
                    </a:lnL>
                    <a:lnR>
                      <a:noFill/>
                    </a:lnR>
                    <a:lnT>
                      <a:noFill/>
                    </a:lnT>
                    <a:lnB>
                      <a:noFill/>
                    </a:lnB>
                    <a:lnTlToBr w="12700" cmpd="sng">
                      <a:noFill/>
                      <a:prstDash val="solid"/>
                    </a:lnTlToBr>
                    <a:lnBlToTr w="12700" cmpd="sng">
                      <a:noFill/>
                      <a:prstDash val="solid"/>
                    </a:lnBlToTr>
                    <a:solidFill>
                      <a:srgbClr val="3C3C41"/>
                    </a:solidFill>
                  </a:tcPr>
                </a:tc>
                <a:tc vMerge="1">
                  <a:txBody>
                    <a:bodyPr/>
                    <a:lstStyle/>
                    <a:p>
                      <a:endParaRPr lang="en-US"/>
                    </a:p>
                  </a:txBody>
                  <a:tcPr/>
                </a:tc>
                <a:extLst>
                  <a:ext uri="{0D108BD9-81ED-4DB2-BD59-A6C34878D82A}">
                    <a16:rowId xmlns:a16="http://schemas.microsoft.com/office/drawing/2014/main" val="1907068851"/>
                  </a:ext>
                </a:extLst>
              </a:tr>
            </a:tbl>
          </a:graphicData>
        </a:graphic>
      </p:graphicFrame>
      <p:pic>
        <p:nvPicPr>
          <p:cNvPr id="22" name="Picture 21">
            <a:extLst>
              <a:ext uri="{FF2B5EF4-FFF2-40B4-BE49-F238E27FC236}">
                <a16:creationId xmlns:a16="http://schemas.microsoft.com/office/drawing/2014/main" id="{2F3AEAC4-DC44-4D3F-BF46-3339379DD5D9}"/>
              </a:ext>
            </a:extLst>
          </p:cNvPr>
          <p:cNvPicPr>
            <a:picLocks noChangeAspect="1"/>
          </p:cNvPicPr>
          <p:nvPr/>
        </p:nvPicPr>
        <p:blipFill>
          <a:blip r:embed="rId39"/>
          <a:stretch>
            <a:fillRect/>
          </a:stretch>
        </p:blipFill>
        <p:spPr>
          <a:xfrm>
            <a:off x="12524006" y="193128"/>
            <a:ext cx="1227331" cy="6021057"/>
          </a:xfrm>
          <a:prstGeom prst="rect">
            <a:avLst/>
          </a:prstGeom>
        </p:spPr>
      </p:pic>
    </p:spTree>
    <p:extLst>
      <p:ext uri="{BB962C8B-B14F-4D97-AF65-F5344CB8AC3E}">
        <p14:creationId xmlns:p14="http://schemas.microsoft.com/office/powerpoint/2010/main" val="1534758556"/>
      </p:ext>
    </p:extLst>
  </p:cSld>
  <p:clrMap bg1="lt1" tx1="dk1" bg2="lt2" tx2="dk2" accent1="accent1" accent2="accent2" accent3="accent3" accent4="accent4" accent5="accent5" accent6="accent6" hlink="hlink" folHlink="folHlink"/>
  <p:sldLayoutIdLst>
    <p:sldLayoutId id="2147484665" r:id="rId1"/>
    <p:sldLayoutId id="2147484666" r:id="rId2"/>
    <p:sldLayoutId id="2147484667" r:id="rId3"/>
    <p:sldLayoutId id="2147484668" r:id="rId4"/>
    <p:sldLayoutId id="2147484669" r:id="rId5"/>
    <p:sldLayoutId id="2147484670" r:id="rId6"/>
    <p:sldLayoutId id="2147484671" r:id="rId7"/>
    <p:sldLayoutId id="2147484672" r:id="rId8"/>
    <p:sldLayoutId id="2147484673" r:id="rId9"/>
    <p:sldLayoutId id="2147484674" r:id="rId10"/>
    <p:sldLayoutId id="2147484675" r:id="rId11"/>
    <p:sldLayoutId id="2147484676" r:id="rId12"/>
    <p:sldLayoutId id="2147484677" r:id="rId13"/>
    <p:sldLayoutId id="2147484678" r:id="rId14"/>
    <p:sldLayoutId id="2147484679" r:id="rId15"/>
    <p:sldLayoutId id="2147484680" r:id="rId16"/>
    <p:sldLayoutId id="2147484681" r:id="rId17"/>
    <p:sldLayoutId id="2147484682" r:id="rId18"/>
    <p:sldLayoutId id="2147484683" r:id="rId19"/>
    <p:sldLayoutId id="2147484684" r:id="rId20"/>
    <p:sldLayoutId id="2147484685" r:id="rId21"/>
    <p:sldLayoutId id="2147484686" r:id="rId22"/>
    <p:sldLayoutId id="2147484687" r:id="rId23"/>
    <p:sldLayoutId id="2147484688" r:id="rId24"/>
    <p:sldLayoutId id="2147484689" r:id="rId25"/>
    <p:sldLayoutId id="2147484690" r:id="rId26"/>
    <p:sldLayoutId id="2147484691" r:id="rId27"/>
    <p:sldLayoutId id="2147484692" r:id="rId28"/>
    <p:sldLayoutId id="2147484693" r:id="rId29"/>
    <p:sldLayoutId id="2147484694" r:id="rId30"/>
    <p:sldLayoutId id="2147484695" r:id="rId31"/>
    <p:sldLayoutId id="2147484696" r:id="rId32"/>
    <p:sldLayoutId id="2147484697" r:id="rId33"/>
    <p:sldLayoutId id="2147484698" r:id="rId34"/>
    <p:sldLayoutId id="2147484699" r:id="rId35"/>
    <p:sldLayoutId id="2147484700" r:id="rId36"/>
    <p:sldLayoutId id="2147484701" r:id="rId3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32291" rtl="0" eaLnBrk="1" latinLnBrk="0" hangingPunct="1">
        <a:lnSpc>
          <a:spcPct val="90000"/>
        </a:lnSpc>
        <a:spcBef>
          <a:spcPct val="0"/>
        </a:spcBef>
        <a:buNone/>
        <a:defRPr lang="en-US" sz="4798" b="0" kern="1200" cap="none" spc="-102" baseline="0" dirty="0" smtClean="0">
          <a:ln w="3175">
            <a:noFill/>
          </a:ln>
          <a:solidFill>
            <a:schemeClr val="tx1"/>
          </a:solidFill>
          <a:effectLst/>
          <a:latin typeface="+mj-lt"/>
          <a:ea typeface="+mn-ea"/>
          <a:cs typeface="Segoe UI" pitchFamily="34" charset="0"/>
        </a:defRPr>
      </a:lvl1pPr>
    </p:titleStyle>
    <p:bodyStyle>
      <a:lvl1pPr marL="342734" marR="0" indent="-342734" algn="l" defTabSz="932291"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solidFill>
            <a:schemeClr val="tx1"/>
          </a:solidFill>
          <a:latin typeface="+mj-lt"/>
          <a:ea typeface="+mn-ea"/>
          <a:cs typeface="+mn-cs"/>
        </a:defRPr>
      </a:lvl1pPr>
      <a:lvl2pPr marL="583917" marR="0" indent="-241182" algn="l" defTabSz="932291"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1"/>
          </a:solidFill>
          <a:latin typeface="+mn-lt"/>
          <a:ea typeface="+mn-ea"/>
          <a:cs typeface="+mn-cs"/>
        </a:defRPr>
      </a:lvl2pPr>
      <a:lvl3pPr marL="799712" marR="0" indent="-228490" algn="l" defTabSz="932291"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1"/>
          </a:solidFill>
          <a:latin typeface="+mn-lt"/>
          <a:ea typeface="+mn-ea"/>
          <a:cs typeface="+mn-cs"/>
        </a:defRPr>
      </a:lvl3pPr>
      <a:lvl4pPr marL="1028202" marR="0" indent="-228490" algn="l" defTabSz="932291"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4pPr>
      <a:lvl5pPr marL="1256691" marR="0" indent="-228490" algn="l" defTabSz="932291"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5pPr>
      <a:lvl6pPr marL="2563799" indent="-233073" algn="l" defTabSz="93229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945" indent="-233073" algn="l" defTabSz="93229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091" indent="-233073" algn="l" defTabSz="93229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237" indent="-233073" algn="l" defTabSz="93229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291" rtl="0" eaLnBrk="1" latinLnBrk="0" hangingPunct="1">
        <a:defRPr sz="1800" kern="1200">
          <a:solidFill>
            <a:schemeClr val="tx1"/>
          </a:solidFill>
          <a:latin typeface="+mn-lt"/>
          <a:ea typeface="+mn-ea"/>
          <a:cs typeface="+mn-cs"/>
        </a:defRPr>
      </a:lvl1pPr>
      <a:lvl2pPr marL="466144" algn="l" defTabSz="932291" rtl="0" eaLnBrk="1" latinLnBrk="0" hangingPunct="1">
        <a:defRPr sz="1800" kern="1200">
          <a:solidFill>
            <a:schemeClr val="tx1"/>
          </a:solidFill>
          <a:latin typeface="+mn-lt"/>
          <a:ea typeface="+mn-ea"/>
          <a:cs typeface="+mn-cs"/>
        </a:defRPr>
      </a:lvl2pPr>
      <a:lvl3pPr marL="932291" algn="l" defTabSz="932291" rtl="0" eaLnBrk="1" latinLnBrk="0" hangingPunct="1">
        <a:defRPr sz="1800" kern="1200">
          <a:solidFill>
            <a:schemeClr val="tx1"/>
          </a:solidFill>
          <a:latin typeface="+mn-lt"/>
          <a:ea typeface="+mn-ea"/>
          <a:cs typeface="+mn-cs"/>
        </a:defRPr>
      </a:lvl3pPr>
      <a:lvl4pPr marL="1398436" algn="l" defTabSz="932291" rtl="0" eaLnBrk="1" latinLnBrk="0" hangingPunct="1">
        <a:defRPr sz="1800" kern="1200">
          <a:solidFill>
            <a:schemeClr val="tx1"/>
          </a:solidFill>
          <a:latin typeface="+mn-lt"/>
          <a:ea typeface="+mn-ea"/>
          <a:cs typeface="+mn-cs"/>
        </a:defRPr>
      </a:lvl4pPr>
      <a:lvl5pPr marL="1864582" algn="l" defTabSz="932291" rtl="0" eaLnBrk="1" latinLnBrk="0" hangingPunct="1">
        <a:defRPr sz="1800" kern="1200">
          <a:solidFill>
            <a:schemeClr val="tx1"/>
          </a:solidFill>
          <a:latin typeface="+mn-lt"/>
          <a:ea typeface="+mn-ea"/>
          <a:cs typeface="+mn-cs"/>
        </a:defRPr>
      </a:lvl5pPr>
      <a:lvl6pPr marL="2330727" algn="l" defTabSz="932291" rtl="0" eaLnBrk="1" latinLnBrk="0" hangingPunct="1">
        <a:defRPr sz="1800" kern="1200">
          <a:solidFill>
            <a:schemeClr val="tx1"/>
          </a:solidFill>
          <a:latin typeface="+mn-lt"/>
          <a:ea typeface="+mn-ea"/>
          <a:cs typeface="+mn-cs"/>
        </a:defRPr>
      </a:lvl6pPr>
      <a:lvl7pPr marL="2796872" algn="l" defTabSz="932291" rtl="0" eaLnBrk="1" latinLnBrk="0" hangingPunct="1">
        <a:defRPr sz="1800" kern="1200">
          <a:solidFill>
            <a:schemeClr val="tx1"/>
          </a:solidFill>
          <a:latin typeface="+mn-lt"/>
          <a:ea typeface="+mn-ea"/>
          <a:cs typeface="+mn-cs"/>
        </a:defRPr>
      </a:lvl7pPr>
      <a:lvl8pPr marL="3263017" algn="l" defTabSz="932291" rtl="0" eaLnBrk="1" latinLnBrk="0" hangingPunct="1">
        <a:defRPr sz="1800" kern="1200">
          <a:solidFill>
            <a:schemeClr val="tx1"/>
          </a:solidFill>
          <a:latin typeface="+mn-lt"/>
          <a:ea typeface="+mn-ea"/>
          <a:cs typeface="+mn-cs"/>
        </a:defRPr>
      </a:lvl8pPr>
      <a:lvl9pPr marL="3729164" algn="l" defTabSz="93229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3" userDrawn="1">
          <p15:clr>
            <a:srgbClr val="5ACBF0"/>
          </p15:clr>
        </p15:guide>
        <p15:guide id="10" pos="4779" userDrawn="1">
          <p15:clr>
            <a:srgbClr val="5ACBF0"/>
          </p15:clr>
        </p15:guide>
        <p15:guide id="11" pos="5355" userDrawn="1">
          <p15:clr>
            <a:srgbClr val="5ACBF0"/>
          </p15:clr>
        </p15:guide>
        <p15:guide id="12" pos="5931" userDrawn="1">
          <p15:clr>
            <a:srgbClr val="5ACBF0"/>
          </p15:clr>
        </p15:guide>
        <p15:guide id="13" pos="6507" userDrawn="1">
          <p15:clr>
            <a:srgbClr val="5ACBF0"/>
          </p15:clr>
        </p15:guide>
        <p15:guide id="14" pos="7083" userDrawn="1">
          <p15:clr>
            <a:srgbClr val="5ACBF0"/>
          </p15:clr>
        </p15:guide>
        <p15:guide id="15" pos="7659" userDrawn="1">
          <p15:clr>
            <a:srgbClr val="5ACBF0"/>
          </p15:clr>
        </p15:guide>
        <p15:guide id="16" pos="288" userDrawn="1">
          <p15:clr>
            <a:srgbClr val="C35EA4"/>
          </p15:clr>
        </p15:guide>
        <p15:guide id="17" pos="7390"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10096460" y="2458379"/>
            <a:ext cx="6994526" cy="2059998"/>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75">
              <a:extLst>
                <a:ext uri="{96DAC541-7B7A-43D3-8B79-37D633B846F1}">
                  <asvg:svgBlip xmlns:asvg="http://schemas.microsoft.com/office/drawing/2016/SVG/main" r:embed="rId76"/>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77"/>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129243606"/>
      </p:ext>
    </p:extLst>
  </p:cSld>
  <p:clrMap bg1="lt1" tx1="dk1" bg2="lt2" tx2="dk2" accent1="accent1" accent2="accent2" accent3="accent3" accent4="accent4" accent5="accent5" accent6="accent6" hlink="hlink" folHlink="folHlink"/>
  <p:sldLayoutIdLst>
    <p:sldLayoutId id="2147484704" r:id="rId1"/>
    <p:sldLayoutId id="2147484705" r:id="rId2"/>
    <p:sldLayoutId id="2147484706" r:id="rId3"/>
    <p:sldLayoutId id="2147484707" r:id="rId4"/>
    <p:sldLayoutId id="2147484708" r:id="rId5"/>
    <p:sldLayoutId id="2147484709" r:id="rId6"/>
    <p:sldLayoutId id="2147484710" r:id="rId7"/>
    <p:sldLayoutId id="2147484711" r:id="rId8"/>
    <p:sldLayoutId id="2147484712" r:id="rId9"/>
    <p:sldLayoutId id="2147484713" r:id="rId10"/>
    <p:sldLayoutId id="2147484714" r:id="rId11"/>
    <p:sldLayoutId id="2147484715" r:id="rId12"/>
    <p:sldLayoutId id="2147484716" r:id="rId13"/>
    <p:sldLayoutId id="2147484717" r:id="rId14"/>
    <p:sldLayoutId id="2147484718" r:id="rId15"/>
    <p:sldLayoutId id="2147484719" r:id="rId16"/>
    <p:sldLayoutId id="2147484720" r:id="rId17"/>
    <p:sldLayoutId id="2147484721" r:id="rId18"/>
    <p:sldLayoutId id="2147484722" r:id="rId19"/>
    <p:sldLayoutId id="2147484723" r:id="rId20"/>
    <p:sldLayoutId id="2147484724" r:id="rId21"/>
    <p:sldLayoutId id="2147484725" r:id="rId22"/>
    <p:sldLayoutId id="2147484726" r:id="rId23"/>
    <p:sldLayoutId id="2147484727" r:id="rId24"/>
    <p:sldLayoutId id="2147484728" r:id="rId25"/>
    <p:sldLayoutId id="2147484729" r:id="rId26"/>
    <p:sldLayoutId id="2147484730" r:id="rId27"/>
    <p:sldLayoutId id="2147484731" r:id="rId28"/>
    <p:sldLayoutId id="2147484732" r:id="rId29"/>
    <p:sldLayoutId id="2147484733" r:id="rId30"/>
    <p:sldLayoutId id="2147484734" r:id="rId31"/>
    <p:sldLayoutId id="2147484735" r:id="rId32"/>
    <p:sldLayoutId id="2147484736" r:id="rId33"/>
    <p:sldLayoutId id="2147484737" r:id="rId34"/>
    <p:sldLayoutId id="2147484738" r:id="rId35"/>
    <p:sldLayoutId id="2147484739" r:id="rId36"/>
    <p:sldLayoutId id="2147484740" r:id="rId37"/>
    <p:sldLayoutId id="2147484741" r:id="rId38"/>
    <p:sldLayoutId id="2147484742" r:id="rId39"/>
    <p:sldLayoutId id="2147484743" r:id="rId40"/>
    <p:sldLayoutId id="2147484744" r:id="rId41"/>
    <p:sldLayoutId id="2147484745" r:id="rId42"/>
    <p:sldLayoutId id="2147484746" r:id="rId43"/>
    <p:sldLayoutId id="2147484747" r:id="rId44"/>
    <p:sldLayoutId id="2147484748" r:id="rId45"/>
    <p:sldLayoutId id="2147484749" r:id="rId46"/>
    <p:sldLayoutId id="2147484750" r:id="rId47"/>
    <p:sldLayoutId id="2147484751" r:id="rId48"/>
    <p:sldLayoutId id="2147484752" r:id="rId49"/>
    <p:sldLayoutId id="2147484753" r:id="rId50"/>
    <p:sldLayoutId id="2147484754" r:id="rId51"/>
    <p:sldLayoutId id="2147484755" r:id="rId52"/>
    <p:sldLayoutId id="2147484756" r:id="rId53"/>
    <p:sldLayoutId id="2147484757" r:id="rId54"/>
    <p:sldLayoutId id="2147484758" r:id="rId55"/>
    <p:sldLayoutId id="2147484759" r:id="rId56"/>
    <p:sldLayoutId id="2147484760" r:id="rId57"/>
    <p:sldLayoutId id="2147484761" r:id="rId58"/>
    <p:sldLayoutId id="2147484762" r:id="rId59"/>
    <p:sldLayoutId id="2147484763" r:id="rId60"/>
    <p:sldLayoutId id="2147484764" r:id="rId61"/>
    <p:sldLayoutId id="2147484765" r:id="rId62"/>
    <p:sldLayoutId id="2147484766" r:id="rId63"/>
    <p:sldLayoutId id="2147484767" r:id="rId64"/>
    <p:sldLayoutId id="2147484768" r:id="rId65"/>
    <p:sldLayoutId id="2147484769" r:id="rId66"/>
    <p:sldLayoutId id="2147484770" r:id="rId67"/>
    <p:sldLayoutId id="2147484771" r:id="rId68"/>
    <p:sldLayoutId id="2147484772" r:id="rId69"/>
    <p:sldLayoutId id="2147484773" r:id="rId70"/>
    <p:sldLayoutId id="2147484774" r:id="rId71"/>
    <p:sldLayoutId id="2147484775" r:id="rId72"/>
    <p:sldLayoutId id="2147484776" r:id="rId73"/>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5" y="1212851"/>
            <a:ext cx="11885681"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5" cstate="print">
            <a:extLst>
              <a:ext uri="{28A0092B-C50C-407E-A947-70E740481C1C}">
                <a14:useLocalDpi xmlns:a14="http://schemas.microsoft.com/office/drawing/2010/main"/>
              </a:ext>
            </a:extLst>
          </a:blip>
          <a:stretch>
            <a:fillRect/>
          </a:stretch>
        </p:blipFill>
        <p:spPr>
          <a:xfrm rot="5400000">
            <a:off x="9370153" y="3072353"/>
            <a:ext cx="6995160" cy="849818"/>
          </a:xfrm>
          <a:prstGeom prst="rect">
            <a:avLst/>
          </a:prstGeom>
        </p:spPr>
      </p:pic>
    </p:spTree>
    <p:extLst>
      <p:ext uri="{BB962C8B-B14F-4D97-AF65-F5344CB8AC3E}">
        <p14:creationId xmlns:p14="http://schemas.microsoft.com/office/powerpoint/2010/main" val="3015616313"/>
      </p:ext>
    </p:extLst>
  </p:cSld>
  <p:clrMap bg1="lt1" tx1="dk1" bg2="lt2" tx2="dk2" accent1="accent1" accent2="accent2" accent3="accent3" accent4="accent4" accent5="accent5" accent6="accent6" hlink="hlink" folHlink="folHlink"/>
  <p:sldLayoutIdLst>
    <p:sldLayoutId id="2147484852" r:id="rId1"/>
    <p:sldLayoutId id="2147484853" r:id="rId2"/>
    <p:sldLayoutId id="2147484854" r:id="rId3"/>
    <p:sldLayoutId id="2147484855" r:id="rId4"/>
    <p:sldLayoutId id="2147484856" r:id="rId5"/>
    <p:sldLayoutId id="2147484857" r:id="rId6"/>
    <p:sldLayoutId id="2147484858" r:id="rId7"/>
    <p:sldLayoutId id="2147484859" r:id="rId8"/>
    <p:sldLayoutId id="2147484860" r:id="rId9"/>
    <p:sldLayoutId id="2147484861" r:id="rId10"/>
    <p:sldLayoutId id="2147484862" r:id="rId11"/>
    <p:sldLayoutId id="2147484863" r:id="rId12"/>
    <p:sldLayoutId id="2147484864" r:id="rId13"/>
    <p:sldLayoutId id="2147484865" r:id="rId14"/>
    <p:sldLayoutId id="2147484866" r:id="rId15"/>
    <p:sldLayoutId id="2147484867" r:id="rId16"/>
    <p:sldLayoutId id="2147484868" r:id="rId17"/>
    <p:sldLayoutId id="2147484869" r:id="rId18"/>
    <p:sldLayoutId id="2147484870" r:id="rId19"/>
    <p:sldLayoutId id="2147484871" r:id="rId20"/>
    <p:sldLayoutId id="2147484872" r:id="rId21"/>
    <p:sldLayoutId id="2147484873" r:id="rId22"/>
    <p:sldLayoutId id="2147484874" r:id="rId23"/>
  </p:sldLayoutIdLst>
  <p:transition>
    <p:fade/>
  </p:transition>
  <p:hf hdr="0" ftr="0" dt="0"/>
  <p:txStyles>
    <p:titleStyle>
      <a:lvl1pPr algn="l" defTabSz="932649" rtl="0" eaLnBrk="1" latinLnBrk="0" hangingPunct="1">
        <a:lnSpc>
          <a:spcPct val="90000"/>
        </a:lnSpc>
        <a:spcBef>
          <a:spcPct val="0"/>
        </a:spcBef>
        <a:buNone/>
        <a:defRPr lang="en-US" sz="4800" b="0" kern="1200" cap="none" spc="-102" baseline="0" dirty="0" smtClean="0">
          <a:ln w="3175">
            <a:noFill/>
          </a:ln>
          <a:solidFill>
            <a:schemeClr val="tx1"/>
          </a:solidFill>
          <a:effectLst/>
          <a:latin typeface="+mj-lt"/>
          <a:ea typeface="+mn-ea"/>
          <a:cs typeface="Segoe UI" pitchFamily="34" charset="0"/>
        </a:defRPr>
      </a:lvl1pPr>
    </p:titleStyle>
    <p:bodyStyle>
      <a:lvl1pPr marL="228577"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solidFill>
            <a:schemeClr val="tx1"/>
          </a:solidFill>
          <a:latin typeface="+mj-lt"/>
          <a:ea typeface="+mn-ea"/>
          <a:cs typeface="+mn-cs"/>
        </a:defRPr>
      </a:lvl1pPr>
      <a:lvl2pPr marL="457154"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mn-cs"/>
        </a:defRPr>
      </a:lvl2pPr>
      <a:lvl3pPr marL="685731"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3pPr>
      <a:lvl4pPr marL="914309"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solidFill>
            <a:schemeClr val="tx1"/>
          </a:solidFill>
          <a:latin typeface="+mn-lt"/>
          <a:ea typeface="+mn-ea"/>
          <a:cs typeface="+mn-cs"/>
        </a:defRPr>
      </a:lvl4pPr>
      <a:lvl5pPr marL="1142886"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solidFill>
            <a:schemeClr val="tx1"/>
          </a:solidFill>
          <a:latin typeface="+mn-lt"/>
          <a:ea typeface="+mn-ea"/>
          <a:cs typeface="+mn-cs"/>
        </a:defRPr>
      </a:lvl5pPr>
      <a:lvl6pPr marL="256478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0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43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75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49" rtl="0" eaLnBrk="1" latinLnBrk="0" hangingPunct="1">
        <a:defRPr sz="1800" kern="1200">
          <a:solidFill>
            <a:schemeClr val="tx1"/>
          </a:solidFill>
          <a:latin typeface="+mn-lt"/>
          <a:ea typeface="+mn-ea"/>
          <a:cs typeface="+mn-cs"/>
        </a:defRPr>
      </a:lvl1pPr>
      <a:lvl2pPr marL="466324" algn="l" defTabSz="932649" rtl="0" eaLnBrk="1" latinLnBrk="0" hangingPunct="1">
        <a:defRPr sz="1800" kern="1200">
          <a:solidFill>
            <a:schemeClr val="tx1"/>
          </a:solidFill>
          <a:latin typeface="+mn-lt"/>
          <a:ea typeface="+mn-ea"/>
          <a:cs typeface="+mn-cs"/>
        </a:defRPr>
      </a:lvl2pPr>
      <a:lvl3pPr marL="932649" algn="l" defTabSz="932649" rtl="0" eaLnBrk="1" latinLnBrk="0" hangingPunct="1">
        <a:defRPr sz="1800" kern="1200">
          <a:solidFill>
            <a:schemeClr val="tx1"/>
          </a:solidFill>
          <a:latin typeface="+mn-lt"/>
          <a:ea typeface="+mn-ea"/>
          <a:cs typeface="+mn-cs"/>
        </a:defRPr>
      </a:lvl3pPr>
      <a:lvl4pPr marL="1398973" algn="l" defTabSz="932649" rtl="0" eaLnBrk="1" latinLnBrk="0" hangingPunct="1">
        <a:defRPr sz="1800" kern="1200">
          <a:solidFill>
            <a:schemeClr val="tx1"/>
          </a:solidFill>
          <a:latin typeface="+mn-lt"/>
          <a:ea typeface="+mn-ea"/>
          <a:cs typeface="+mn-cs"/>
        </a:defRPr>
      </a:lvl4pPr>
      <a:lvl5pPr marL="1865297" algn="l" defTabSz="932649" rtl="0" eaLnBrk="1" latinLnBrk="0" hangingPunct="1">
        <a:defRPr sz="1800" kern="1200">
          <a:solidFill>
            <a:schemeClr val="tx1"/>
          </a:solidFill>
          <a:latin typeface="+mn-lt"/>
          <a:ea typeface="+mn-ea"/>
          <a:cs typeface="+mn-cs"/>
        </a:defRPr>
      </a:lvl5pPr>
      <a:lvl6pPr marL="2331623" algn="l" defTabSz="932649" rtl="0" eaLnBrk="1" latinLnBrk="0" hangingPunct="1">
        <a:defRPr sz="1800" kern="1200">
          <a:solidFill>
            <a:schemeClr val="tx1"/>
          </a:solidFill>
          <a:latin typeface="+mn-lt"/>
          <a:ea typeface="+mn-ea"/>
          <a:cs typeface="+mn-cs"/>
        </a:defRPr>
      </a:lvl6pPr>
      <a:lvl7pPr marL="2797946" algn="l" defTabSz="932649" rtl="0" eaLnBrk="1" latinLnBrk="0" hangingPunct="1">
        <a:defRPr sz="1800" kern="1200">
          <a:solidFill>
            <a:schemeClr val="tx1"/>
          </a:solidFill>
          <a:latin typeface="+mn-lt"/>
          <a:ea typeface="+mn-ea"/>
          <a:cs typeface="+mn-cs"/>
        </a:defRPr>
      </a:lvl7pPr>
      <a:lvl8pPr marL="3264271" algn="l" defTabSz="932649" rtl="0" eaLnBrk="1" latinLnBrk="0" hangingPunct="1">
        <a:defRPr sz="1800" kern="1200">
          <a:solidFill>
            <a:schemeClr val="tx1"/>
          </a:solidFill>
          <a:latin typeface="+mn-lt"/>
          <a:ea typeface="+mn-ea"/>
          <a:cs typeface="+mn-cs"/>
        </a:defRPr>
      </a:lvl8pPr>
      <a:lvl9pPr marL="3730596" algn="l" defTabSz="93264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3" userDrawn="1">
          <p15:clr>
            <a:srgbClr val="5ACBF0"/>
          </p15:clr>
        </p15:guide>
        <p15:guide id="10" pos="4779" userDrawn="1">
          <p15:clr>
            <a:srgbClr val="5ACBF0"/>
          </p15:clr>
        </p15:guide>
        <p15:guide id="11" pos="5355" userDrawn="1">
          <p15:clr>
            <a:srgbClr val="5ACBF0"/>
          </p15:clr>
        </p15:guide>
        <p15:guide id="12" pos="5931" userDrawn="1">
          <p15:clr>
            <a:srgbClr val="5ACBF0"/>
          </p15:clr>
        </p15:guide>
        <p15:guide id="13" pos="6507" userDrawn="1">
          <p15:clr>
            <a:srgbClr val="5ACBF0"/>
          </p15:clr>
        </p15:guide>
        <p15:guide id="14" pos="7083" userDrawn="1">
          <p15:clr>
            <a:srgbClr val="5ACBF0"/>
          </p15:clr>
        </p15:guide>
        <p15:guide id="15" pos="7659" userDrawn="1">
          <p15:clr>
            <a:srgbClr val="5ACBF0"/>
          </p15:clr>
        </p15:guide>
        <p15:guide id="16" pos="288" userDrawn="1">
          <p15:clr>
            <a:srgbClr val="C35EA4"/>
          </p15:clr>
        </p15:guide>
        <p15:guide id="17" pos="7544"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9699263" y="2900378"/>
            <a:ext cx="6994525" cy="1193773"/>
          </a:xfrm>
          <a:prstGeom prst="rect">
            <a:avLst/>
          </a:prstGeom>
        </p:spPr>
      </p:pic>
    </p:spTree>
    <p:extLst>
      <p:ext uri="{BB962C8B-B14F-4D97-AF65-F5344CB8AC3E}">
        <p14:creationId xmlns:p14="http://schemas.microsoft.com/office/powerpoint/2010/main" val="170804234"/>
      </p:ext>
    </p:extLst>
  </p:cSld>
  <p:clrMap bg1="dk1" tx1="lt1" bg2="dk2" tx2="lt2" accent1="accent1" accent2="accent2" accent3="accent3" accent4="accent4" accent5="accent5" accent6="accent6" hlink="hlink" folHlink="folHlink"/>
  <p:sldLayoutIdLst>
    <p:sldLayoutId id="2147484876" r:id="rId1"/>
    <p:sldLayoutId id="2147484877" r:id="rId2"/>
    <p:sldLayoutId id="2147484878" r:id="rId3"/>
    <p:sldLayoutId id="2147484879" r:id="rId4"/>
    <p:sldLayoutId id="2147484880" r:id="rId5"/>
    <p:sldLayoutId id="2147484881" r:id="rId6"/>
    <p:sldLayoutId id="2147484882" r:id="rId7"/>
    <p:sldLayoutId id="2147484883" r:id="rId8"/>
    <p:sldLayoutId id="2147484884" r:id="rId9"/>
    <p:sldLayoutId id="2147484885" r:id="rId10"/>
    <p:sldLayoutId id="2147484886" r:id="rId11"/>
    <p:sldLayoutId id="2147484887" r:id="rId12"/>
    <p:sldLayoutId id="2147484888" r:id="rId13"/>
    <p:sldLayoutId id="2147484889" r:id="rId14"/>
    <p:sldLayoutId id="2147484890" r:id="rId15"/>
    <p:sldLayoutId id="2147484891" r:id="rId16"/>
    <p:sldLayoutId id="2147484892" r:id="rId17"/>
    <p:sldLayoutId id="2147484893" r:id="rId18"/>
    <p:sldLayoutId id="2147484894" r:id="rId19"/>
    <p:sldLayoutId id="2147484895" r:id="rId20"/>
    <p:sldLayoutId id="2147484896" r:id="rId21"/>
    <p:sldLayoutId id="2147484897" r:id="rId22"/>
    <p:sldLayoutId id="2147484898" r:id="rId23"/>
    <p:sldLayoutId id="2147484899" r:id="rId24"/>
    <p:sldLayoutId id="2147484900" r:id="rId25"/>
    <p:sldLayoutId id="2147484901" r:id="rId26"/>
    <p:sldLayoutId id="2147484902" r:id="rId27"/>
    <p:sldLayoutId id="2147484903" r:id="rId28"/>
    <p:sldLayoutId id="2147484904" r:id="rId29"/>
    <p:sldLayoutId id="2147484905" r:id="rId30"/>
    <p:sldLayoutId id="2147484906" r:id="rId31"/>
    <p:sldLayoutId id="2147484907" r:id="rId32"/>
    <p:sldLayoutId id="2147484908" r:id="rId33"/>
    <p:sldLayoutId id="2147484909" r:id="rId34"/>
    <p:sldLayoutId id="2147484910" r:id="rId35"/>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35">
            <a:alphaModFix amt="0"/>
          </a:blip>
          <a:srcRect l="762"/>
          <a:stretch/>
        </p:blipFill>
        <p:spPr>
          <a:xfrm rot="5400000">
            <a:off x="9653101" y="2900378"/>
            <a:ext cx="6994525" cy="1193773"/>
          </a:xfrm>
          <a:prstGeom prst="rect">
            <a:avLst/>
          </a:prstGeom>
        </p:spPr>
      </p:pic>
    </p:spTree>
    <p:extLst>
      <p:ext uri="{BB962C8B-B14F-4D97-AF65-F5344CB8AC3E}">
        <p14:creationId xmlns:p14="http://schemas.microsoft.com/office/powerpoint/2010/main" val="2288376586"/>
      </p:ext>
    </p:extLst>
  </p:cSld>
  <p:clrMap bg1="dk1" tx1="lt1" bg2="dk2" tx2="lt2" accent1="accent1" accent2="accent2" accent3="accent3" accent4="accent4" accent5="accent5" accent6="accent6" hlink="hlink" folHlink="folHlink"/>
  <p:sldLayoutIdLst>
    <p:sldLayoutId id="2147484912" r:id="rId1"/>
    <p:sldLayoutId id="2147484913" r:id="rId2"/>
    <p:sldLayoutId id="2147484914" r:id="rId3"/>
    <p:sldLayoutId id="2147484915" r:id="rId4"/>
    <p:sldLayoutId id="2147484916" r:id="rId5"/>
    <p:sldLayoutId id="2147484917" r:id="rId6"/>
    <p:sldLayoutId id="2147484918" r:id="rId7"/>
    <p:sldLayoutId id="2147484919" r:id="rId8"/>
    <p:sldLayoutId id="2147484920" r:id="rId9"/>
    <p:sldLayoutId id="2147484921" r:id="rId10"/>
    <p:sldLayoutId id="2147484922" r:id="rId11"/>
    <p:sldLayoutId id="2147484923" r:id="rId12"/>
    <p:sldLayoutId id="2147484924" r:id="rId13"/>
    <p:sldLayoutId id="2147484925" r:id="rId14"/>
    <p:sldLayoutId id="2147484926" r:id="rId15"/>
    <p:sldLayoutId id="2147484927" r:id="rId16"/>
    <p:sldLayoutId id="2147484928" r:id="rId17"/>
    <p:sldLayoutId id="2147484929" r:id="rId18"/>
    <p:sldLayoutId id="2147484930" r:id="rId19"/>
    <p:sldLayoutId id="2147484931" r:id="rId20"/>
    <p:sldLayoutId id="2147484932" r:id="rId21"/>
    <p:sldLayoutId id="2147484933" r:id="rId22"/>
    <p:sldLayoutId id="2147484934" r:id="rId23"/>
    <p:sldLayoutId id="2147484935" r:id="rId24"/>
    <p:sldLayoutId id="2147484936" r:id="rId25"/>
    <p:sldLayoutId id="2147484937" r:id="rId26"/>
    <p:sldLayoutId id="2147484938" r:id="rId27"/>
    <p:sldLayoutId id="2147484939" r:id="rId28"/>
    <p:sldLayoutId id="2147484940" r:id="rId29"/>
    <p:sldLayoutId id="2147484941" r:id="rId30"/>
    <p:sldLayoutId id="2147484942" r:id="rId31"/>
    <p:sldLayoutId id="2147484943" r:id="rId32"/>
    <p:sldLayoutId id="2147484944" r:id="rId33"/>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8"/>
            <a:ext cx="1188804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8" y="1212852"/>
            <a:ext cx="11885681"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4" name="Group 23">
            <a:extLst>
              <a:ext uri="{FF2B5EF4-FFF2-40B4-BE49-F238E27FC236}">
                <a16:creationId xmlns:a16="http://schemas.microsoft.com/office/drawing/2014/main" id="{6AD59570-D98B-4F7B-80B6-9471B2041BB8}"/>
              </a:ext>
            </a:extLst>
          </p:cNvPr>
          <p:cNvGrpSpPr/>
          <p:nvPr/>
        </p:nvGrpSpPr>
        <p:grpSpPr>
          <a:xfrm rot="5400000">
            <a:off x="10242269" y="2385633"/>
            <a:ext cx="5516729" cy="745472"/>
            <a:chOff x="3184538" y="0"/>
            <a:chExt cx="9389529" cy="1461567"/>
          </a:xfrm>
        </p:grpSpPr>
        <p:sp>
          <p:nvSpPr>
            <p:cNvPr id="25" name="Shape 4961">
              <a:extLst>
                <a:ext uri="{FF2B5EF4-FFF2-40B4-BE49-F238E27FC236}">
                  <a16:creationId xmlns:a16="http://schemas.microsoft.com/office/drawing/2014/main" id="{2E9321FE-8B80-4A65-A4F1-0A9A645DC267}"/>
                </a:ext>
              </a:extLst>
            </p:cNvPr>
            <p:cNvSpPr/>
            <p:nvPr userDrawn="1"/>
          </p:nvSpPr>
          <p:spPr>
            <a:xfrm>
              <a:off x="4189057" y="0"/>
              <a:ext cx="2006917" cy="881533"/>
            </a:xfrm>
            <a:custGeom>
              <a:avLst/>
              <a:gdLst/>
              <a:ahLst/>
              <a:cxnLst/>
              <a:rect l="0" t="0" r="0" b="0"/>
              <a:pathLst>
                <a:path w="2006917" h="881533">
                  <a:moveTo>
                    <a:pt x="0" y="881533"/>
                  </a:moveTo>
                  <a:lnTo>
                    <a:pt x="2006917" y="881533"/>
                  </a:lnTo>
                  <a:lnTo>
                    <a:pt x="2006917"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sp>
          <p:nvSpPr>
            <p:cNvPr id="26" name="Shape 34744">
              <a:extLst>
                <a:ext uri="{FF2B5EF4-FFF2-40B4-BE49-F238E27FC236}">
                  <a16:creationId xmlns:a16="http://schemas.microsoft.com/office/drawing/2014/main" id="{2A233076-34B9-428C-BA8D-CDA63AA548EE}"/>
                </a:ext>
              </a:extLst>
            </p:cNvPr>
            <p:cNvSpPr/>
            <p:nvPr userDrawn="1"/>
          </p:nvSpPr>
          <p:spPr>
            <a:xfrm>
              <a:off x="7381545"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27" name="Shape 34745">
              <a:extLst>
                <a:ext uri="{FF2B5EF4-FFF2-40B4-BE49-F238E27FC236}">
                  <a16:creationId xmlns:a16="http://schemas.microsoft.com/office/drawing/2014/main" id="{E534E280-234A-4D24-8D84-2EF3AE4ABD87}"/>
                </a:ext>
              </a:extLst>
            </p:cNvPr>
            <p:cNvSpPr/>
            <p:nvPr userDrawn="1"/>
          </p:nvSpPr>
          <p:spPr>
            <a:xfrm>
              <a:off x="10566082"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28" name="Shape 34746">
              <a:extLst>
                <a:ext uri="{FF2B5EF4-FFF2-40B4-BE49-F238E27FC236}">
                  <a16:creationId xmlns:a16="http://schemas.microsoft.com/office/drawing/2014/main" id="{D6C72A1A-A69A-4D6B-93DB-F5A42D5DC3A4}"/>
                </a:ext>
              </a:extLst>
            </p:cNvPr>
            <p:cNvSpPr/>
            <p:nvPr userDrawn="1"/>
          </p:nvSpPr>
          <p:spPr>
            <a:xfrm>
              <a:off x="3184538"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29" name="Shape 34747">
              <a:extLst>
                <a:ext uri="{FF2B5EF4-FFF2-40B4-BE49-F238E27FC236}">
                  <a16:creationId xmlns:a16="http://schemas.microsoft.com/office/drawing/2014/main" id="{DFCB0D70-8AB5-4852-A6CD-D0898F48DC48}"/>
                </a:ext>
              </a:extLst>
            </p:cNvPr>
            <p:cNvSpPr/>
            <p:nvPr userDrawn="1"/>
          </p:nvSpPr>
          <p:spPr>
            <a:xfrm>
              <a:off x="3184538"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30" name="Shape 34748">
              <a:extLst>
                <a:ext uri="{FF2B5EF4-FFF2-40B4-BE49-F238E27FC236}">
                  <a16:creationId xmlns:a16="http://schemas.microsoft.com/office/drawing/2014/main" id="{FF3E8AEE-5EB8-4FCB-9345-7436A01B5037}"/>
                </a:ext>
              </a:extLst>
            </p:cNvPr>
            <p:cNvSpPr/>
            <p:nvPr userDrawn="1"/>
          </p:nvSpPr>
          <p:spPr>
            <a:xfrm>
              <a:off x="418746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1" name="Shape 34749">
              <a:extLst>
                <a:ext uri="{FF2B5EF4-FFF2-40B4-BE49-F238E27FC236}">
                  <a16:creationId xmlns:a16="http://schemas.microsoft.com/office/drawing/2014/main" id="{0F6F9298-4267-424F-9DE8-A04E5D92C3F2}"/>
                </a:ext>
              </a:extLst>
            </p:cNvPr>
            <p:cNvSpPr/>
            <p:nvPr userDrawn="1"/>
          </p:nvSpPr>
          <p:spPr>
            <a:xfrm>
              <a:off x="7378370"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2" name="Shape 34750">
              <a:extLst>
                <a:ext uri="{FF2B5EF4-FFF2-40B4-BE49-F238E27FC236}">
                  <a16:creationId xmlns:a16="http://schemas.microsoft.com/office/drawing/2014/main" id="{F3A82740-A27D-419A-9071-C99151F8EC7A}"/>
                </a:ext>
              </a:extLst>
            </p:cNvPr>
            <p:cNvSpPr/>
            <p:nvPr userDrawn="1"/>
          </p:nvSpPr>
          <p:spPr>
            <a:xfrm>
              <a:off x="10569257"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75757A"/>
            </a:fillRef>
            <a:effectRef idx="0">
              <a:scrgbClr r="0" g="0" b="0"/>
            </a:effectRef>
            <a:fontRef idx="none"/>
          </p:style>
          <p:txBody>
            <a:bodyPr/>
            <a:lstStyle/>
            <a:p>
              <a:endParaRPr lang="en-US" sz="1836"/>
            </a:p>
          </p:txBody>
        </p:sp>
        <p:sp>
          <p:nvSpPr>
            <p:cNvPr id="33" name="Shape 34751">
              <a:extLst>
                <a:ext uri="{FF2B5EF4-FFF2-40B4-BE49-F238E27FC236}">
                  <a16:creationId xmlns:a16="http://schemas.microsoft.com/office/drawing/2014/main" id="{C6EC78F6-2F73-4674-9D1F-BAAF8641F52B}"/>
                </a:ext>
              </a:extLst>
            </p:cNvPr>
            <p:cNvSpPr/>
            <p:nvPr userDrawn="1"/>
          </p:nvSpPr>
          <p:spPr>
            <a:xfrm>
              <a:off x="5189347"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34" name="Shape 34752">
              <a:extLst>
                <a:ext uri="{FF2B5EF4-FFF2-40B4-BE49-F238E27FC236}">
                  <a16:creationId xmlns:a16="http://schemas.microsoft.com/office/drawing/2014/main" id="{61B8BD4B-7E5A-4D1B-A617-35C9B0BB9FFB}"/>
                </a:ext>
              </a:extLst>
            </p:cNvPr>
            <p:cNvSpPr/>
            <p:nvPr userDrawn="1"/>
          </p:nvSpPr>
          <p:spPr>
            <a:xfrm>
              <a:off x="8380235"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35" name="Shape 34753">
              <a:extLst>
                <a:ext uri="{FF2B5EF4-FFF2-40B4-BE49-F238E27FC236}">
                  <a16:creationId xmlns:a16="http://schemas.microsoft.com/office/drawing/2014/main" id="{CDF8ED96-44E3-4FF9-BD37-088F4E4B7590}"/>
                </a:ext>
              </a:extLst>
            </p:cNvPr>
            <p:cNvSpPr/>
            <p:nvPr userDrawn="1"/>
          </p:nvSpPr>
          <p:spPr>
            <a:xfrm>
              <a:off x="9567380"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6" name="Shape 34754">
              <a:extLst>
                <a:ext uri="{FF2B5EF4-FFF2-40B4-BE49-F238E27FC236}">
                  <a16:creationId xmlns:a16="http://schemas.microsoft.com/office/drawing/2014/main" id="{33639B97-4EC8-4A96-8674-EC0CA6D35CCB}"/>
                </a:ext>
              </a:extLst>
            </p:cNvPr>
            <p:cNvSpPr/>
            <p:nvPr userDrawn="1"/>
          </p:nvSpPr>
          <p:spPr>
            <a:xfrm>
              <a:off x="9561564"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7" name="Shape 4980">
              <a:extLst>
                <a:ext uri="{FF2B5EF4-FFF2-40B4-BE49-F238E27FC236}">
                  <a16:creationId xmlns:a16="http://schemas.microsoft.com/office/drawing/2014/main" id="{7FEE606F-FA83-4898-9AAC-BAFFAA27B3D5}"/>
                </a:ext>
              </a:extLst>
            </p:cNvPr>
            <p:cNvSpPr/>
            <p:nvPr userDrawn="1"/>
          </p:nvSpPr>
          <p:spPr>
            <a:xfrm>
              <a:off x="6375438" y="1061517"/>
              <a:ext cx="1001878" cy="400050"/>
            </a:xfrm>
            <a:custGeom>
              <a:avLst/>
              <a:gdLst/>
              <a:ahLst/>
              <a:cxnLst/>
              <a:rect l="0" t="0" r="0" b="0"/>
              <a:pathLst>
                <a:path w="1001878" h="400050">
                  <a:moveTo>
                    <a:pt x="0" y="400050"/>
                  </a:moveTo>
                  <a:lnTo>
                    <a:pt x="1001878" y="400050"/>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sp>
          <p:nvSpPr>
            <p:cNvPr id="38" name="Shape 34755">
              <a:extLst>
                <a:ext uri="{FF2B5EF4-FFF2-40B4-BE49-F238E27FC236}">
                  <a16:creationId xmlns:a16="http://schemas.microsoft.com/office/drawing/2014/main" id="{AB6B6F4D-58DB-4DC8-BF07-D5A6F9C97644}"/>
                </a:ext>
              </a:extLst>
            </p:cNvPr>
            <p:cNvSpPr/>
            <p:nvPr userDrawn="1"/>
          </p:nvSpPr>
          <p:spPr>
            <a:xfrm>
              <a:off x="1157218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3175" cap="flat">
              <a:noFill/>
              <a:miter lim="100000"/>
            </a:ln>
          </p:spPr>
          <p:style>
            <a:lnRef idx="1">
              <a:srgbClr val="3C3C41"/>
            </a:lnRef>
            <a:fillRef idx="1">
              <a:srgbClr val="3C3C41"/>
            </a:fillRef>
            <a:effectRef idx="0">
              <a:scrgbClr r="0" g="0" b="0"/>
            </a:effectRef>
            <a:fontRef idx="none"/>
          </p:style>
          <p:txBody>
            <a:bodyPr/>
            <a:lstStyle/>
            <a:p>
              <a:endParaRPr lang="en-US" sz="1836"/>
            </a:p>
          </p:txBody>
        </p:sp>
        <p:sp>
          <p:nvSpPr>
            <p:cNvPr id="39" name="Shape 4982">
              <a:extLst>
                <a:ext uri="{FF2B5EF4-FFF2-40B4-BE49-F238E27FC236}">
                  <a16:creationId xmlns:a16="http://schemas.microsoft.com/office/drawing/2014/main" id="{AC2E100E-184C-4DCF-9EDC-71E58BA5A30A}"/>
                </a:ext>
              </a:extLst>
            </p:cNvPr>
            <p:cNvSpPr/>
            <p:nvPr userDrawn="1"/>
          </p:nvSpPr>
          <p:spPr>
            <a:xfrm>
              <a:off x="6377026" y="0"/>
              <a:ext cx="1001878" cy="881533"/>
            </a:xfrm>
            <a:custGeom>
              <a:avLst/>
              <a:gdLst/>
              <a:ahLst/>
              <a:cxnLst/>
              <a:rect l="0" t="0" r="0" b="0"/>
              <a:pathLst>
                <a:path w="1001878" h="881533">
                  <a:moveTo>
                    <a:pt x="0" y="881533"/>
                  </a:moveTo>
                  <a:lnTo>
                    <a:pt x="1001878" y="881533"/>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grpSp>
      <p:graphicFrame>
        <p:nvGraphicFramePr>
          <p:cNvPr id="40" name="Table 39">
            <a:extLst>
              <a:ext uri="{FF2B5EF4-FFF2-40B4-BE49-F238E27FC236}">
                <a16:creationId xmlns:a16="http://schemas.microsoft.com/office/drawing/2014/main" id="{61EF8645-8B66-48E7-B17B-6F3D48D699CB}"/>
              </a:ext>
            </a:extLst>
          </p:cNvPr>
          <p:cNvGraphicFramePr>
            <a:graphicFrameLocks noGrp="1"/>
          </p:cNvGraphicFramePr>
          <p:nvPr/>
        </p:nvGraphicFramePr>
        <p:xfrm>
          <a:off x="13664117" y="-17271"/>
          <a:ext cx="2550469" cy="5524029"/>
        </p:xfrm>
        <a:graphic>
          <a:graphicData uri="http://schemas.openxmlformats.org/drawingml/2006/table">
            <a:tbl>
              <a:tblPr firstRow="1" firstCol="1" bandRow="1"/>
              <a:tblGrid>
                <a:gridCol w="2550469">
                  <a:extLst>
                    <a:ext uri="{9D8B030D-6E8A-4147-A177-3AD203B41FA5}">
                      <a16:colId xmlns:a16="http://schemas.microsoft.com/office/drawing/2014/main" val="2676493096"/>
                    </a:ext>
                  </a:extLst>
                </a:gridCol>
              </a:tblGrid>
              <a:tr h="1841343">
                <a:tc>
                  <a:txBody>
                    <a:bodyPr/>
                    <a:lstStyle/>
                    <a:p>
                      <a:pPr marL="0" marR="0" algn="l">
                        <a:lnSpc>
                          <a:spcPct val="107000"/>
                        </a:lnSpc>
                        <a:spcBef>
                          <a:spcPts val="0"/>
                        </a:spcBef>
                        <a:spcAft>
                          <a:spcPts val="0"/>
                        </a:spcAft>
                      </a:pPr>
                      <a:r>
                        <a:rPr lang="en-US" sz="3600" b="1">
                          <a:solidFill>
                            <a:srgbClr val="008272"/>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1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57119204"/>
                  </a:ext>
                </a:extLst>
              </a:tr>
              <a:tr h="1841343">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600" b="1" kern="1200">
                          <a:solidFill>
                            <a:srgbClr val="FFFEFD"/>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600" b="1" kern="1200">
                        <a:solidFill>
                          <a:srgbClr val="FFFEFD"/>
                        </a:solidFill>
                        <a:effectLst/>
                        <a:latin typeface="Segoe UI" panose="020B0502040204020203"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1359116892"/>
                  </a:ext>
                </a:extLst>
              </a:tr>
              <a:tr h="1841343">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600" b="1" kern="1200">
                          <a:solidFill>
                            <a:srgbClr val="30E5D0"/>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600" b="1" kern="1200">
                        <a:solidFill>
                          <a:srgbClr val="30E5D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C3C41"/>
                    </a:solidFill>
                  </a:tcPr>
                </a:tc>
                <a:extLst>
                  <a:ext uri="{0D108BD9-81ED-4DB2-BD59-A6C34878D82A}">
                    <a16:rowId xmlns:a16="http://schemas.microsoft.com/office/drawing/2014/main" val="103630878"/>
                  </a:ext>
                </a:extLst>
              </a:tr>
            </a:tbl>
          </a:graphicData>
        </a:graphic>
      </p:graphicFrame>
      <p:graphicFrame>
        <p:nvGraphicFramePr>
          <p:cNvPr id="41" name="Table 40">
            <a:extLst>
              <a:ext uri="{FF2B5EF4-FFF2-40B4-BE49-F238E27FC236}">
                <a16:creationId xmlns:a16="http://schemas.microsoft.com/office/drawing/2014/main" id="{A0E4FBD6-C58B-4E81-8469-3BF05ED5AE18}"/>
              </a:ext>
            </a:extLst>
          </p:cNvPr>
          <p:cNvGraphicFramePr>
            <a:graphicFrameLocks noGrp="1"/>
          </p:cNvGraphicFramePr>
          <p:nvPr/>
        </p:nvGraphicFramePr>
        <p:xfrm>
          <a:off x="12627898" y="5605117"/>
          <a:ext cx="4047973" cy="1342353"/>
        </p:xfrm>
        <a:graphic>
          <a:graphicData uri="http://schemas.openxmlformats.org/drawingml/2006/table">
            <a:tbl>
              <a:tblPr firstRow="1" firstCol="1" bandRow="1"/>
              <a:tblGrid>
                <a:gridCol w="856396">
                  <a:extLst>
                    <a:ext uri="{9D8B030D-6E8A-4147-A177-3AD203B41FA5}">
                      <a16:colId xmlns:a16="http://schemas.microsoft.com/office/drawing/2014/main" val="1609752180"/>
                    </a:ext>
                  </a:extLst>
                </a:gridCol>
                <a:gridCol w="844951">
                  <a:extLst>
                    <a:ext uri="{9D8B030D-6E8A-4147-A177-3AD203B41FA5}">
                      <a16:colId xmlns:a16="http://schemas.microsoft.com/office/drawing/2014/main" val="1258621652"/>
                    </a:ext>
                  </a:extLst>
                </a:gridCol>
                <a:gridCol w="745115">
                  <a:extLst>
                    <a:ext uri="{9D8B030D-6E8A-4147-A177-3AD203B41FA5}">
                      <a16:colId xmlns:a16="http://schemas.microsoft.com/office/drawing/2014/main" val="1939155094"/>
                    </a:ext>
                  </a:extLst>
                </a:gridCol>
                <a:gridCol w="745115">
                  <a:extLst>
                    <a:ext uri="{9D8B030D-6E8A-4147-A177-3AD203B41FA5}">
                      <a16:colId xmlns:a16="http://schemas.microsoft.com/office/drawing/2014/main" val="1921586234"/>
                    </a:ext>
                  </a:extLst>
                </a:gridCol>
                <a:gridCol w="856396">
                  <a:extLst>
                    <a:ext uri="{9D8B030D-6E8A-4147-A177-3AD203B41FA5}">
                      <a16:colId xmlns:a16="http://schemas.microsoft.com/office/drawing/2014/main" val="1402456235"/>
                    </a:ext>
                  </a:extLst>
                </a:gridCol>
              </a:tblGrid>
              <a:tr h="107794">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nchor="b">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2689791449"/>
                  </a:ext>
                </a:extLst>
              </a:tr>
              <a:tr h="218882">
                <a:tc rowSpan="5">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5">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rowSpan="2">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41275"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3281177611"/>
                  </a:ext>
                </a:extLst>
              </a:tr>
              <a:tr h="53918">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30E5D0"/>
                    </a:solidFill>
                  </a:tcPr>
                </a:tc>
                <a:extLst>
                  <a:ext uri="{0D108BD9-81ED-4DB2-BD59-A6C34878D82A}">
                    <a16:rowId xmlns:a16="http://schemas.microsoft.com/office/drawing/2014/main" val="3605322679"/>
                  </a:ext>
                </a:extLst>
              </a:tr>
              <a:tr h="289108">
                <a:tc vMerge="1">
                  <a:txBody>
                    <a:bodyPr/>
                    <a:lstStyle/>
                    <a:p>
                      <a:endParaRPr lang="en-US"/>
                    </a:p>
                  </a:txBody>
                  <a:tcPr/>
                </a:tc>
                <a:tc vMerge="1">
                  <a:txBody>
                    <a:bodyPr/>
                    <a:lstStyle/>
                    <a:p>
                      <a:endParaRPr lang="en-US"/>
                    </a:p>
                  </a:txBody>
                  <a:tcPr/>
                </a:tc>
                <a:tc rowSpan="2">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75757A"/>
                    </a:solidFill>
                  </a:tcPr>
                </a:tc>
                <a:tc rowSpan="2">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75757A"/>
                    </a:solidFill>
                  </a:tcPr>
                </a:tc>
                <a:tc vMerge="1">
                  <a:txBody>
                    <a:bodyPr/>
                    <a:lstStyle/>
                    <a:p>
                      <a:endParaRPr lang="en-US"/>
                    </a:p>
                  </a:txBody>
                  <a:tcPr/>
                </a:tc>
                <a:extLst>
                  <a:ext uri="{0D108BD9-81ED-4DB2-BD59-A6C34878D82A}">
                    <a16:rowId xmlns:a16="http://schemas.microsoft.com/office/drawing/2014/main" val="2317867007"/>
                  </a:ext>
                </a:extLst>
              </a:tr>
              <a:tr h="53918">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447092800"/>
                  </a:ext>
                </a:extLst>
              </a:tr>
              <a:tr h="618733">
                <a:tc vMerge="1">
                  <a:txBody>
                    <a:bodyPr/>
                    <a:lstStyle/>
                    <a:p>
                      <a:endParaRPr lang="en-US"/>
                    </a:p>
                  </a:txBody>
                  <a:tcPr/>
                </a:tc>
                <a:tc vMerge="1">
                  <a:txBody>
                    <a:bodyPr/>
                    <a:lstStyle/>
                    <a:p>
                      <a:endParaRPr lang="en-US"/>
                    </a:p>
                  </a:txBody>
                  <a:tcPr/>
                </a:tc>
                <a:tc>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3C3C41"/>
                    </a:solidFill>
                  </a:tcPr>
                </a:tc>
                <a:tc>
                  <a:txBody>
                    <a:bodyPr/>
                    <a:lstStyle/>
                    <a:p>
                      <a:pPr marL="0" marR="854075"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a:noFill/>
                    </a:lnL>
                    <a:lnR>
                      <a:noFill/>
                    </a:lnR>
                    <a:lnT>
                      <a:noFill/>
                    </a:lnT>
                    <a:lnB>
                      <a:noFill/>
                    </a:lnB>
                    <a:lnTlToBr w="12700" cmpd="sng">
                      <a:noFill/>
                      <a:prstDash val="solid"/>
                    </a:lnTlToBr>
                    <a:lnBlToTr w="12700" cmpd="sng">
                      <a:noFill/>
                      <a:prstDash val="solid"/>
                    </a:lnBlToTr>
                    <a:solidFill>
                      <a:srgbClr val="3C3C41"/>
                    </a:solidFill>
                  </a:tcPr>
                </a:tc>
                <a:tc vMerge="1">
                  <a:txBody>
                    <a:bodyPr/>
                    <a:lstStyle/>
                    <a:p>
                      <a:endParaRPr lang="en-US"/>
                    </a:p>
                  </a:txBody>
                  <a:tcPr/>
                </a:tc>
                <a:extLst>
                  <a:ext uri="{0D108BD9-81ED-4DB2-BD59-A6C34878D82A}">
                    <a16:rowId xmlns:a16="http://schemas.microsoft.com/office/drawing/2014/main" val="1907068851"/>
                  </a:ext>
                </a:extLst>
              </a:tr>
            </a:tbl>
          </a:graphicData>
        </a:graphic>
      </p:graphicFrame>
      <p:pic>
        <p:nvPicPr>
          <p:cNvPr id="22" name="Picture 21">
            <a:extLst>
              <a:ext uri="{FF2B5EF4-FFF2-40B4-BE49-F238E27FC236}">
                <a16:creationId xmlns:a16="http://schemas.microsoft.com/office/drawing/2014/main" id="{2F3AEAC4-DC44-4D3F-BF46-3339379DD5D9}"/>
              </a:ext>
            </a:extLst>
          </p:cNvPr>
          <p:cNvPicPr>
            <a:picLocks noChangeAspect="1"/>
          </p:cNvPicPr>
          <p:nvPr/>
        </p:nvPicPr>
        <p:blipFill>
          <a:blip r:embed="rId39">
            <a:extLst>
              <a:ext uri="{28A0092B-C50C-407E-A947-70E740481C1C}">
                <a14:useLocalDpi xmlns:a14="http://schemas.microsoft.com/office/drawing/2010/main"/>
              </a:ext>
            </a:extLst>
          </a:blip>
          <a:stretch>
            <a:fillRect/>
          </a:stretch>
        </p:blipFill>
        <p:spPr>
          <a:xfrm>
            <a:off x="12524006" y="193129"/>
            <a:ext cx="1227331" cy="6021057"/>
          </a:xfrm>
          <a:prstGeom prst="rect">
            <a:avLst/>
          </a:prstGeom>
        </p:spPr>
      </p:pic>
    </p:spTree>
    <p:extLst>
      <p:ext uri="{BB962C8B-B14F-4D97-AF65-F5344CB8AC3E}">
        <p14:creationId xmlns:p14="http://schemas.microsoft.com/office/powerpoint/2010/main" val="1710111642"/>
      </p:ext>
    </p:extLst>
  </p:cSld>
  <p:clrMap bg1="lt1" tx1="dk1" bg2="lt2" tx2="dk2" accent1="accent1" accent2="accent2" accent3="accent3" accent4="accent4" accent5="accent5" accent6="accent6" hlink="hlink" folHlink="folHlink"/>
  <p:sldLayoutIdLst>
    <p:sldLayoutId id="2147484946" r:id="rId1"/>
    <p:sldLayoutId id="2147484947" r:id="rId2"/>
    <p:sldLayoutId id="2147484948" r:id="rId3"/>
    <p:sldLayoutId id="2147484949" r:id="rId4"/>
    <p:sldLayoutId id="2147484950" r:id="rId5"/>
    <p:sldLayoutId id="2147484951" r:id="rId6"/>
    <p:sldLayoutId id="2147484952" r:id="rId7"/>
    <p:sldLayoutId id="2147484953" r:id="rId8"/>
    <p:sldLayoutId id="2147484954" r:id="rId9"/>
    <p:sldLayoutId id="2147484955" r:id="rId10"/>
    <p:sldLayoutId id="2147484956" r:id="rId11"/>
    <p:sldLayoutId id="2147484957" r:id="rId12"/>
    <p:sldLayoutId id="2147484958" r:id="rId13"/>
    <p:sldLayoutId id="2147484959" r:id="rId14"/>
    <p:sldLayoutId id="2147484960" r:id="rId15"/>
    <p:sldLayoutId id="2147484961" r:id="rId16"/>
    <p:sldLayoutId id="2147484962" r:id="rId17"/>
    <p:sldLayoutId id="2147484963" r:id="rId18"/>
    <p:sldLayoutId id="2147484964" r:id="rId19"/>
    <p:sldLayoutId id="2147484965" r:id="rId20"/>
    <p:sldLayoutId id="2147484966" r:id="rId21"/>
    <p:sldLayoutId id="2147484967" r:id="rId22"/>
    <p:sldLayoutId id="2147484968" r:id="rId23"/>
    <p:sldLayoutId id="2147484969" r:id="rId24"/>
    <p:sldLayoutId id="2147484970" r:id="rId25"/>
    <p:sldLayoutId id="2147484971" r:id="rId26"/>
    <p:sldLayoutId id="2147484972" r:id="rId27"/>
    <p:sldLayoutId id="2147484973" r:id="rId28"/>
    <p:sldLayoutId id="2147484974" r:id="rId29"/>
    <p:sldLayoutId id="2147484975" r:id="rId30"/>
    <p:sldLayoutId id="2147484976" r:id="rId31"/>
    <p:sldLayoutId id="2147484977" r:id="rId32"/>
    <p:sldLayoutId id="2147484978" r:id="rId33"/>
    <p:sldLayoutId id="2147484979" r:id="rId34"/>
    <p:sldLayoutId id="2147484980" r:id="rId35"/>
    <p:sldLayoutId id="2147484981" r:id="rId36"/>
    <p:sldLayoutId id="2147484982" r:id="rId3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32112" rtl="0" eaLnBrk="1" latinLnBrk="0" hangingPunct="1">
        <a:lnSpc>
          <a:spcPct val="90000"/>
        </a:lnSpc>
        <a:spcBef>
          <a:spcPct val="0"/>
        </a:spcBef>
        <a:buNone/>
        <a:defRPr lang="en-US" sz="4797" b="0" kern="1200" cap="none" spc="-102" baseline="0" dirty="0" smtClean="0">
          <a:ln w="3175">
            <a:noFill/>
          </a:ln>
          <a:solidFill>
            <a:schemeClr val="tx1"/>
          </a:solidFill>
          <a:effectLst/>
          <a:latin typeface="+mj-lt"/>
          <a:ea typeface="+mn-ea"/>
          <a:cs typeface="Segoe UI" pitchFamily="34" charset="0"/>
        </a:defRPr>
      </a:lvl1pPr>
    </p:titleStyle>
    <p:bodyStyle>
      <a:lvl1pPr marL="342668" marR="0" indent="-342668" algn="l" defTabSz="932112" rtl="0" eaLnBrk="1" fontAlgn="auto" latinLnBrk="0" hangingPunct="1">
        <a:lnSpc>
          <a:spcPct val="90000"/>
        </a:lnSpc>
        <a:spcBef>
          <a:spcPct val="20000"/>
        </a:spcBef>
        <a:spcAft>
          <a:spcPts val="0"/>
        </a:spcAft>
        <a:buClrTx/>
        <a:buSzPct val="90000"/>
        <a:buFont typeface="Arial" pitchFamily="34" charset="0"/>
        <a:buChar char="•"/>
        <a:tabLst/>
        <a:defRPr sz="3997" kern="1200" spc="0" baseline="0">
          <a:solidFill>
            <a:schemeClr val="tx1"/>
          </a:solidFill>
          <a:latin typeface="+mj-lt"/>
          <a:ea typeface="+mn-ea"/>
          <a:cs typeface="+mn-cs"/>
        </a:defRPr>
      </a:lvl1pPr>
      <a:lvl2pPr marL="583805" marR="0" indent="-241135" algn="l" defTabSz="93211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1"/>
          </a:solidFill>
          <a:latin typeface="+mn-lt"/>
          <a:ea typeface="+mn-ea"/>
          <a:cs typeface="+mn-cs"/>
        </a:defRPr>
      </a:lvl2pPr>
      <a:lvl3pPr marL="799558" marR="0" indent="-228446" algn="l" defTabSz="93211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1"/>
          </a:solidFill>
          <a:latin typeface="+mn-lt"/>
          <a:ea typeface="+mn-ea"/>
          <a:cs typeface="+mn-cs"/>
        </a:defRPr>
      </a:lvl3pPr>
      <a:lvl4pPr marL="1028004" marR="0" indent="-228446" algn="l" defTabSz="93211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4pPr>
      <a:lvl5pPr marL="1256450" marR="0" indent="-228446" algn="l" defTabSz="93211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5pPr>
      <a:lvl6pPr marL="2563307" indent="-233028" algn="l" defTabSz="93211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363" indent="-233028" algn="l" defTabSz="93211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5419" indent="-233028" algn="l" defTabSz="93211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1476" indent="-233028" algn="l" defTabSz="93211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112" rtl="0" eaLnBrk="1" latinLnBrk="0" hangingPunct="1">
        <a:defRPr sz="1800" kern="1200">
          <a:solidFill>
            <a:schemeClr val="tx1"/>
          </a:solidFill>
          <a:latin typeface="+mn-lt"/>
          <a:ea typeface="+mn-ea"/>
          <a:cs typeface="+mn-cs"/>
        </a:defRPr>
      </a:lvl1pPr>
      <a:lvl2pPr marL="466054" algn="l" defTabSz="932112" rtl="0" eaLnBrk="1" latinLnBrk="0" hangingPunct="1">
        <a:defRPr sz="1800" kern="1200">
          <a:solidFill>
            <a:schemeClr val="tx1"/>
          </a:solidFill>
          <a:latin typeface="+mn-lt"/>
          <a:ea typeface="+mn-ea"/>
          <a:cs typeface="+mn-cs"/>
        </a:defRPr>
      </a:lvl2pPr>
      <a:lvl3pPr marL="932112" algn="l" defTabSz="932112" rtl="0" eaLnBrk="1" latinLnBrk="0" hangingPunct="1">
        <a:defRPr sz="1800" kern="1200">
          <a:solidFill>
            <a:schemeClr val="tx1"/>
          </a:solidFill>
          <a:latin typeface="+mn-lt"/>
          <a:ea typeface="+mn-ea"/>
          <a:cs typeface="+mn-cs"/>
        </a:defRPr>
      </a:lvl3pPr>
      <a:lvl4pPr marL="1398167" algn="l" defTabSz="932112" rtl="0" eaLnBrk="1" latinLnBrk="0" hangingPunct="1">
        <a:defRPr sz="1800" kern="1200">
          <a:solidFill>
            <a:schemeClr val="tx1"/>
          </a:solidFill>
          <a:latin typeface="+mn-lt"/>
          <a:ea typeface="+mn-ea"/>
          <a:cs typeface="+mn-cs"/>
        </a:defRPr>
      </a:lvl4pPr>
      <a:lvl5pPr marL="1864224" algn="l" defTabSz="932112" rtl="0" eaLnBrk="1" latinLnBrk="0" hangingPunct="1">
        <a:defRPr sz="1800" kern="1200">
          <a:solidFill>
            <a:schemeClr val="tx1"/>
          </a:solidFill>
          <a:latin typeface="+mn-lt"/>
          <a:ea typeface="+mn-ea"/>
          <a:cs typeface="+mn-cs"/>
        </a:defRPr>
      </a:lvl5pPr>
      <a:lvl6pPr marL="2330279" algn="l" defTabSz="932112" rtl="0" eaLnBrk="1" latinLnBrk="0" hangingPunct="1">
        <a:defRPr sz="1800" kern="1200">
          <a:solidFill>
            <a:schemeClr val="tx1"/>
          </a:solidFill>
          <a:latin typeface="+mn-lt"/>
          <a:ea typeface="+mn-ea"/>
          <a:cs typeface="+mn-cs"/>
        </a:defRPr>
      </a:lvl6pPr>
      <a:lvl7pPr marL="2796335" algn="l" defTabSz="932112" rtl="0" eaLnBrk="1" latinLnBrk="0" hangingPunct="1">
        <a:defRPr sz="1800" kern="1200">
          <a:solidFill>
            <a:schemeClr val="tx1"/>
          </a:solidFill>
          <a:latin typeface="+mn-lt"/>
          <a:ea typeface="+mn-ea"/>
          <a:cs typeface="+mn-cs"/>
        </a:defRPr>
      </a:lvl7pPr>
      <a:lvl8pPr marL="3262390" algn="l" defTabSz="932112" rtl="0" eaLnBrk="1" latinLnBrk="0" hangingPunct="1">
        <a:defRPr sz="1800" kern="1200">
          <a:solidFill>
            <a:schemeClr val="tx1"/>
          </a:solidFill>
          <a:latin typeface="+mn-lt"/>
          <a:ea typeface="+mn-ea"/>
          <a:cs typeface="+mn-cs"/>
        </a:defRPr>
      </a:lvl8pPr>
      <a:lvl9pPr marL="3728448" algn="l" defTabSz="93211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3" userDrawn="1">
          <p15:clr>
            <a:srgbClr val="5ACBF0"/>
          </p15:clr>
        </p15:guide>
        <p15:guide id="10" pos="4779" userDrawn="1">
          <p15:clr>
            <a:srgbClr val="5ACBF0"/>
          </p15:clr>
        </p15:guide>
        <p15:guide id="11" pos="5355" userDrawn="1">
          <p15:clr>
            <a:srgbClr val="5ACBF0"/>
          </p15:clr>
        </p15:guide>
        <p15:guide id="12" pos="5931" userDrawn="1">
          <p15:clr>
            <a:srgbClr val="5ACBF0"/>
          </p15:clr>
        </p15:guide>
        <p15:guide id="13" pos="6507" userDrawn="1">
          <p15:clr>
            <a:srgbClr val="5ACBF0"/>
          </p15:clr>
        </p15:guide>
        <p15:guide id="14" pos="7083" userDrawn="1">
          <p15:clr>
            <a:srgbClr val="5ACBF0"/>
          </p15:clr>
        </p15:guide>
        <p15:guide id="15" pos="7659" userDrawn="1">
          <p15:clr>
            <a:srgbClr val="5ACBF0"/>
          </p15:clr>
        </p15:guide>
        <p15:guide id="16" pos="288" userDrawn="1">
          <p15:clr>
            <a:srgbClr val="C35EA4"/>
          </p15:clr>
        </p15:guide>
        <p15:guide id="17" pos="7390"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10096460" y="2458379"/>
            <a:ext cx="6994526" cy="2059998"/>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76" cstate="screen">
              <a:extLst>
                <a:ext uri="{28A0092B-C50C-407E-A947-70E740481C1C}">
                  <a14:useLocalDpi xmlns:a14="http://schemas.microsoft.com/office/drawing/2010/main"/>
                </a:ext>
                <a:ext uri="{96DAC541-7B7A-43D3-8B79-37D633B846F1}">
                  <asvg:svgBlip xmlns:asvg="http://schemas.microsoft.com/office/drawing/2016/SVG/main" r:embed="rId77"/>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78" cstate="screen">
              <a:extLst>
                <a:ext uri="{28A0092B-C50C-407E-A947-70E740481C1C}">
                  <a14:useLocalDpi xmlns:a14="http://schemas.microsoft.com/office/drawing/2010/main"/>
                </a:ext>
              </a:extLst>
            </a:blip>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4219596264"/>
      </p:ext>
    </p:extLst>
  </p:cSld>
  <p:clrMap bg1="lt1" tx1="dk1" bg2="lt2" tx2="dk2" accent1="accent1" accent2="accent2" accent3="accent3" accent4="accent4" accent5="accent5" accent6="accent6" hlink="hlink" folHlink="folHlink"/>
  <p:sldLayoutIdLst>
    <p:sldLayoutId id="2147484985" r:id="rId1"/>
    <p:sldLayoutId id="2147484986" r:id="rId2"/>
    <p:sldLayoutId id="2147484987" r:id="rId3"/>
    <p:sldLayoutId id="2147484988" r:id="rId4"/>
    <p:sldLayoutId id="2147484989" r:id="rId5"/>
    <p:sldLayoutId id="2147484990" r:id="rId6"/>
    <p:sldLayoutId id="2147484991" r:id="rId7"/>
    <p:sldLayoutId id="2147484992" r:id="rId8"/>
    <p:sldLayoutId id="2147484993" r:id="rId9"/>
    <p:sldLayoutId id="2147484994" r:id="rId10"/>
    <p:sldLayoutId id="2147484995" r:id="rId11"/>
    <p:sldLayoutId id="2147484996" r:id="rId12"/>
    <p:sldLayoutId id="2147484997" r:id="rId13"/>
    <p:sldLayoutId id="2147484998" r:id="rId14"/>
    <p:sldLayoutId id="2147484999" r:id="rId15"/>
    <p:sldLayoutId id="2147485000" r:id="rId16"/>
    <p:sldLayoutId id="2147485001" r:id="rId17"/>
    <p:sldLayoutId id="2147485002" r:id="rId18"/>
    <p:sldLayoutId id="2147485003" r:id="rId19"/>
    <p:sldLayoutId id="2147485004" r:id="rId20"/>
    <p:sldLayoutId id="2147485005" r:id="rId21"/>
    <p:sldLayoutId id="2147485006" r:id="rId22"/>
    <p:sldLayoutId id="2147485007" r:id="rId23"/>
    <p:sldLayoutId id="2147485008" r:id="rId24"/>
    <p:sldLayoutId id="2147485009" r:id="rId25"/>
    <p:sldLayoutId id="2147485010" r:id="rId26"/>
    <p:sldLayoutId id="2147485011" r:id="rId27"/>
    <p:sldLayoutId id="2147485012" r:id="rId28"/>
    <p:sldLayoutId id="2147485013" r:id="rId29"/>
    <p:sldLayoutId id="2147485014" r:id="rId30"/>
    <p:sldLayoutId id="2147485015" r:id="rId31"/>
    <p:sldLayoutId id="2147485016" r:id="rId32"/>
    <p:sldLayoutId id="2147485017" r:id="rId33"/>
    <p:sldLayoutId id="2147485018" r:id="rId34"/>
    <p:sldLayoutId id="2147485019" r:id="rId35"/>
    <p:sldLayoutId id="2147485020" r:id="rId36"/>
    <p:sldLayoutId id="2147485021" r:id="rId37"/>
    <p:sldLayoutId id="2147485022" r:id="rId38"/>
    <p:sldLayoutId id="2147485023" r:id="rId39"/>
    <p:sldLayoutId id="2147485024" r:id="rId40"/>
    <p:sldLayoutId id="2147485025" r:id="rId41"/>
    <p:sldLayoutId id="2147485026" r:id="rId42"/>
    <p:sldLayoutId id="2147485027" r:id="rId43"/>
    <p:sldLayoutId id="2147485028" r:id="rId44"/>
    <p:sldLayoutId id="2147485029" r:id="rId45"/>
    <p:sldLayoutId id="2147485030" r:id="rId46"/>
    <p:sldLayoutId id="2147485031" r:id="rId47"/>
    <p:sldLayoutId id="2147485032" r:id="rId48"/>
    <p:sldLayoutId id="2147485033" r:id="rId49"/>
    <p:sldLayoutId id="2147485034" r:id="rId50"/>
    <p:sldLayoutId id="2147485035" r:id="rId51"/>
    <p:sldLayoutId id="2147485036" r:id="rId52"/>
    <p:sldLayoutId id="2147485037" r:id="rId53"/>
    <p:sldLayoutId id="2147485038" r:id="rId54"/>
    <p:sldLayoutId id="2147485039" r:id="rId55"/>
    <p:sldLayoutId id="2147485040" r:id="rId56"/>
    <p:sldLayoutId id="2147485041" r:id="rId57"/>
    <p:sldLayoutId id="2147485042" r:id="rId58"/>
    <p:sldLayoutId id="2147485043" r:id="rId59"/>
    <p:sldLayoutId id="2147485044" r:id="rId60"/>
    <p:sldLayoutId id="2147485045" r:id="rId61"/>
    <p:sldLayoutId id="2147485046" r:id="rId62"/>
    <p:sldLayoutId id="2147485047" r:id="rId63"/>
    <p:sldLayoutId id="2147485048" r:id="rId64"/>
    <p:sldLayoutId id="2147485049" r:id="rId65"/>
    <p:sldLayoutId id="2147485050" r:id="rId66"/>
    <p:sldLayoutId id="2147485051" r:id="rId67"/>
    <p:sldLayoutId id="2147485052" r:id="rId68"/>
    <p:sldLayoutId id="2147485053" r:id="rId69"/>
    <p:sldLayoutId id="2147485054" r:id="rId70"/>
    <p:sldLayoutId id="2147485055" r:id="rId71"/>
    <p:sldLayoutId id="2147485056" r:id="rId72"/>
    <p:sldLayoutId id="2147485057" r:id="rId73"/>
    <p:sldLayoutId id="2147485058" r:id="rId74"/>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3"/>
          <a:stretch>
            <a:fillRect/>
          </a:stretch>
        </p:blipFill>
        <p:spPr>
          <a:xfrm rot="5400000">
            <a:off x="9474093" y="3001218"/>
            <a:ext cx="6994525" cy="992090"/>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1655860"/>
      </p:ext>
    </p:extLst>
  </p:cSld>
  <p:clrMap bg1="lt1" tx1="dk1" bg2="lt2" tx2="dk2" accent1="accent1" accent2="accent2" accent3="accent3" accent4="accent4" accent5="accent5" accent6="accent6" hlink="hlink" folHlink="folHlink"/>
  <p:sldLayoutIdLst>
    <p:sldLayoutId id="2147485076" r:id="rId1"/>
    <p:sldLayoutId id="2147485077" r:id="rId2"/>
    <p:sldLayoutId id="2147485078" r:id="rId3"/>
    <p:sldLayoutId id="2147485079" r:id="rId4"/>
    <p:sldLayoutId id="2147485080" r:id="rId5"/>
    <p:sldLayoutId id="2147485081" r:id="rId6"/>
    <p:sldLayoutId id="2147485082" r:id="rId7"/>
    <p:sldLayoutId id="2147485083" r:id="rId8"/>
    <p:sldLayoutId id="2147485084" r:id="rId9"/>
    <p:sldLayoutId id="2147485085" r:id="rId10"/>
    <p:sldLayoutId id="2147485086" r:id="rId11"/>
    <p:sldLayoutId id="2147485087" r:id="rId12"/>
    <p:sldLayoutId id="2147485088" r:id="rId13"/>
    <p:sldLayoutId id="2147485089" r:id="rId14"/>
    <p:sldLayoutId id="2147485090" r:id="rId15"/>
    <p:sldLayoutId id="2147485091" r:id="rId16"/>
    <p:sldLayoutId id="2147485092" r:id="rId17"/>
    <p:sldLayoutId id="2147485094" r:id="rId18"/>
    <p:sldLayoutId id="2147485095" r:id="rId19"/>
    <p:sldLayoutId id="2147485101" r:id="rId20"/>
    <p:sldLayoutId id="2147485103" r:id="rId21"/>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s://github.com/itsnotaboutthecell/powerquerym/blob/master/SplitTextByDelimiter.pq" TargetMode="External"/><Relationship Id="rId13" Type="http://schemas.openxmlformats.org/officeDocument/2006/relationships/hyperlink" Target="https://docs.microsoft.com/users/heyrob/collections/o4dhk4z8xpr8q" TargetMode="External"/><Relationship Id="rId18" Type="http://schemas.openxmlformats.org/officeDocument/2006/relationships/hyperlink" Target="https://aka.ms/pbiguidance" TargetMode="External"/><Relationship Id="rId3" Type="http://schemas.openxmlformats.org/officeDocument/2006/relationships/hyperlink" Target="https://docs.microsoft.com/power-bi/transform-model/dataflows/dataflows-premium-features" TargetMode="External"/><Relationship Id="rId7" Type="http://schemas.openxmlformats.org/officeDocument/2006/relationships/hyperlink" Target="https://github.com/itsnotaboutthecell/powerquerym/blob/master/SplitTextByCharacterPosition.pq" TargetMode="External"/><Relationship Id="rId12" Type="http://schemas.openxmlformats.org/officeDocument/2006/relationships/hyperlink" Target="https://www.sqlbi.com/training/" TargetMode="External"/><Relationship Id="rId17" Type="http://schemas.openxmlformats.org/officeDocument/2006/relationships/hyperlink" Target="https://www.microsoft.com/store/workshops-training-and-events/professionals#topic=413870014" TargetMode="External"/><Relationship Id="rId2" Type="http://schemas.openxmlformats.org/officeDocument/2006/relationships/hyperlink" Target="https://aka.ms/pbiworkshops" TargetMode="External"/><Relationship Id="rId16" Type="http://schemas.openxmlformats.org/officeDocument/2006/relationships/hyperlink" Target="https://powerbi.microsoft.com/en-us/customer-showcase/" TargetMode="External"/><Relationship Id="rId1" Type="http://schemas.openxmlformats.org/officeDocument/2006/relationships/slideLayout" Target="../slideLayouts/slideLayout10.xml"/><Relationship Id="rId6" Type="http://schemas.openxmlformats.org/officeDocument/2006/relationships/hyperlink" Target="https://radacad.com/power-query-library-of-functions-shared-keyword" TargetMode="External"/><Relationship Id="rId11" Type="http://schemas.openxmlformats.org/officeDocument/2006/relationships/hyperlink" Target="https://www.microsoftpressstore.com/articles/article.aspx?p=2449192" TargetMode="External"/><Relationship Id="rId5" Type="http://schemas.openxmlformats.org/officeDocument/2006/relationships/hyperlink" Target="https://marketplace.visualstudio.com/items?itemName=PowerQuery.vscode-powerquery" TargetMode="External"/><Relationship Id="rId15" Type="http://schemas.openxmlformats.org/officeDocument/2006/relationships/hyperlink" Target="https://ssbipolar.com/building-a-data-culture/" TargetMode="External"/><Relationship Id="rId10" Type="http://schemas.openxmlformats.org/officeDocument/2006/relationships/hyperlink" Target="https://www.youtube.com/watch?v=s0j6d3UAw9U&amp;list=PLv2BtOtLblH3lwpQ5NBq6kD6fsVziO9sE" TargetMode="External"/><Relationship Id="rId4" Type="http://schemas.openxmlformats.org/officeDocument/2006/relationships/hyperlink" Target="https://docs.microsoft.com/en-us/power-query/installingsdk" TargetMode="External"/><Relationship Id="rId9" Type="http://schemas.openxmlformats.org/officeDocument/2006/relationships/hyperlink" Target="https://powerbi.tips/product/business-ops/" TargetMode="External"/><Relationship Id="rId14" Type="http://schemas.openxmlformats.org/officeDocument/2006/relationships/hyperlink" Target="https://alluringbi.com/2020/05/05/themeable-backgrounds-for-power-bi/" TargetMode="External"/></Relationships>
</file>

<file path=ppt/slides/_rels/slide10.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image" Target="../media/image83.png"/><Relationship Id="rId7" Type="http://schemas.openxmlformats.org/officeDocument/2006/relationships/image" Target="../media/image86.wmf"/><Relationship Id="rId2" Type="http://schemas.openxmlformats.org/officeDocument/2006/relationships/notesSlide" Target="../notesSlides/notesSlide6.xml"/><Relationship Id="rId1" Type="http://schemas.openxmlformats.org/officeDocument/2006/relationships/slideLayout" Target="../slideLayouts/slideLayout77.xml"/><Relationship Id="rId6" Type="http://schemas.openxmlformats.org/officeDocument/2006/relationships/oleObject" Target="../embeddings/oleObject1.bin"/><Relationship Id="rId11" Type="http://schemas.openxmlformats.org/officeDocument/2006/relationships/image" Target="../media/image89.png"/><Relationship Id="rId5" Type="http://schemas.openxmlformats.org/officeDocument/2006/relationships/image" Target="../media/image85.png"/><Relationship Id="rId10" Type="http://schemas.openxmlformats.org/officeDocument/2006/relationships/image" Target="../media/image88.png"/><Relationship Id="rId4" Type="http://schemas.openxmlformats.org/officeDocument/2006/relationships/image" Target="../media/image84.jpeg"/><Relationship Id="rId9" Type="http://schemas.openxmlformats.org/officeDocument/2006/relationships/image" Target="../media/image87.png"/></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74.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02.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hyperlink" Target="https://docs.microsoft.com/en-us/learn/paths/power-bi-effective/" TargetMode="External"/><Relationship Id="rId1" Type="http://schemas.openxmlformats.org/officeDocument/2006/relationships/slideLayout" Target="../slideLayouts/slideLayout28.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04.xml.rels><?xml version="1.0" encoding="UTF-8" standalone="yes"?>
<Relationships xmlns="http://schemas.openxmlformats.org/package/2006/relationships"><Relationship Id="rId2" Type="http://schemas.openxmlformats.org/officeDocument/2006/relationships/image" Target="../media/image159.jpeg"/><Relationship Id="rId1" Type="http://schemas.openxmlformats.org/officeDocument/2006/relationships/slideLayout" Target="../slideLayouts/slideLayout28.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07.xml.rels><?xml version="1.0" encoding="UTF-8" standalone="yes"?>
<Relationships xmlns="http://schemas.openxmlformats.org/package/2006/relationships"><Relationship Id="rId3" Type="http://schemas.openxmlformats.org/officeDocument/2006/relationships/hyperlink" Target="https://msit.powerbi.com/view?r=eyJrIjoiNTRjNGVlYTYtYTIxNC00MGQyLTlhODItNjE5NzQwZmYxMzEyIiwidCI6IjcyZjk4OGJmLTg2ZjEtNDFhZi05MWFiLTJkN2NkMDExZGI0NyIsImMiOjV9" TargetMode="External"/><Relationship Id="rId2" Type="http://schemas.openxmlformats.org/officeDocument/2006/relationships/notesSlide" Target="../notesSlides/notesSlide51.xml"/><Relationship Id="rId1" Type="http://schemas.openxmlformats.org/officeDocument/2006/relationships/slideLayout" Target="../slideLayouts/slideLayout30.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75.xml"/></Relationships>
</file>

<file path=ppt/slides/_rels/slide109.xml.rels><?xml version="1.0" encoding="UTF-8" standalone="yes"?>
<Relationships xmlns="http://schemas.openxmlformats.org/package/2006/relationships"><Relationship Id="rId2" Type="http://schemas.openxmlformats.org/officeDocument/2006/relationships/image" Target="../media/image160.png"/><Relationship Id="rId1" Type="http://schemas.openxmlformats.org/officeDocument/2006/relationships/slideLayout" Target="../slideLayouts/slideLayout28.xml"/></Relationships>
</file>

<file path=ppt/slides/_rels/slide11.xml.rels><?xml version="1.0" encoding="UTF-8" standalone="yes"?>
<Relationships xmlns="http://schemas.openxmlformats.org/package/2006/relationships"><Relationship Id="rId26" Type="http://schemas.openxmlformats.org/officeDocument/2006/relationships/tags" Target="../tags/tag26.xml"/><Relationship Id="rId21" Type="http://schemas.openxmlformats.org/officeDocument/2006/relationships/tags" Target="../tags/tag21.xml"/><Relationship Id="rId42" Type="http://schemas.openxmlformats.org/officeDocument/2006/relationships/tags" Target="../tags/tag42.xml"/><Relationship Id="rId47" Type="http://schemas.openxmlformats.org/officeDocument/2006/relationships/tags" Target="../tags/tag47.xml"/><Relationship Id="rId63" Type="http://schemas.openxmlformats.org/officeDocument/2006/relationships/tags" Target="../tags/tag63.xml"/><Relationship Id="rId68" Type="http://schemas.openxmlformats.org/officeDocument/2006/relationships/tags" Target="../tags/tag68.xml"/><Relationship Id="rId84" Type="http://schemas.openxmlformats.org/officeDocument/2006/relationships/tags" Target="../tags/tag84.xml"/><Relationship Id="rId89" Type="http://schemas.openxmlformats.org/officeDocument/2006/relationships/tags" Target="../tags/tag89.xml"/><Relationship Id="rId16" Type="http://schemas.openxmlformats.org/officeDocument/2006/relationships/tags" Target="../tags/tag16.xml"/><Relationship Id="rId11" Type="http://schemas.openxmlformats.org/officeDocument/2006/relationships/tags" Target="../tags/tag11.xml"/><Relationship Id="rId32" Type="http://schemas.openxmlformats.org/officeDocument/2006/relationships/tags" Target="../tags/tag32.xml"/><Relationship Id="rId37" Type="http://schemas.openxmlformats.org/officeDocument/2006/relationships/tags" Target="../tags/tag37.xml"/><Relationship Id="rId53" Type="http://schemas.openxmlformats.org/officeDocument/2006/relationships/tags" Target="../tags/tag53.xml"/><Relationship Id="rId58" Type="http://schemas.openxmlformats.org/officeDocument/2006/relationships/tags" Target="../tags/tag58.xml"/><Relationship Id="rId74" Type="http://schemas.openxmlformats.org/officeDocument/2006/relationships/tags" Target="../tags/tag74.xml"/><Relationship Id="rId79" Type="http://schemas.openxmlformats.org/officeDocument/2006/relationships/tags" Target="../tags/tag79.xml"/><Relationship Id="rId5" Type="http://schemas.openxmlformats.org/officeDocument/2006/relationships/tags" Target="../tags/tag5.xml"/><Relationship Id="rId90" Type="http://schemas.openxmlformats.org/officeDocument/2006/relationships/tags" Target="../tags/tag90.xml"/><Relationship Id="rId95" Type="http://schemas.openxmlformats.org/officeDocument/2006/relationships/image" Target="../media/image86.wmf"/><Relationship Id="rId22" Type="http://schemas.openxmlformats.org/officeDocument/2006/relationships/tags" Target="../tags/tag22.xml"/><Relationship Id="rId27" Type="http://schemas.openxmlformats.org/officeDocument/2006/relationships/tags" Target="../tags/tag27.xml"/><Relationship Id="rId43" Type="http://schemas.openxmlformats.org/officeDocument/2006/relationships/tags" Target="../tags/tag43.xml"/><Relationship Id="rId48" Type="http://schemas.openxmlformats.org/officeDocument/2006/relationships/tags" Target="../tags/tag48.xml"/><Relationship Id="rId64" Type="http://schemas.openxmlformats.org/officeDocument/2006/relationships/tags" Target="../tags/tag64.xml"/><Relationship Id="rId69" Type="http://schemas.openxmlformats.org/officeDocument/2006/relationships/tags" Target="../tags/tag69.xml"/><Relationship Id="rId8" Type="http://schemas.openxmlformats.org/officeDocument/2006/relationships/tags" Target="../tags/tag8.xml"/><Relationship Id="rId51" Type="http://schemas.openxmlformats.org/officeDocument/2006/relationships/tags" Target="../tags/tag51.xml"/><Relationship Id="rId72" Type="http://schemas.openxmlformats.org/officeDocument/2006/relationships/tags" Target="../tags/tag72.xml"/><Relationship Id="rId80" Type="http://schemas.openxmlformats.org/officeDocument/2006/relationships/tags" Target="../tags/tag80.xml"/><Relationship Id="rId85" Type="http://schemas.openxmlformats.org/officeDocument/2006/relationships/tags" Target="../tags/tag85.xml"/><Relationship Id="rId93" Type="http://schemas.openxmlformats.org/officeDocument/2006/relationships/notesSlide" Target="../notesSlides/notesSlide7.xml"/><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59" Type="http://schemas.openxmlformats.org/officeDocument/2006/relationships/tags" Target="../tags/tag59.xml"/><Relationship Id="rId67" Type="http://schemas.openxmlformats.org/officeDocument/2006/relationships/tags" Target="../tags/tag67.xml"/><Relationship Id="rId20" Type="http://schemas.openxmlformats.org/officeDocument/2006/relationships/tags" Target="../tags/tag20.xml"/><Relationship Id="rId41" Type="http://schemas.openxmlformats.org/officeDocument/2006/relationships/tags" Target="../tags/tag41.xml"/><Relationship Id="rId54" Type="http://schemas.openxmlformats.org/officeDocument/2006/relationships/tags" Target="../tags/tag54.xml"/><Relationship Id="rId62" Type="http://schemas.openxmlformats.org/officeDocument/2006/relationships/tags" Target="../tags/tag62.xml"/><Relationship Id="rId70" Type="http://schemas.openxmlformats.org/officeDocument/2006/relationships/tags" Target="../tags/tag70.xml"/><Relationship Id="rId75" Type="http://schemas.openxmlformats.org/officeDocument/2006/relationships/tags" Target="../tags/tag75.xml"/><Relationship Id="rId83" Type="http://schemas.openxmlformats.org/officeDocument/2006/relationships/tags" Target="../tags/tag83.xml"/><Relationship Id="rId88" Type="http://schemas.openxmlformats.org/officeDocument/2006/relationships/tags" Target="../tags/tag88.xml"/><Relationship Id="rId91" Type="http://schemas.openxmlformats.org/officeDocument/2006/relationships/tags" Target="../tags/tag91.xml"/><Relationship Id="rId1" Type="http://schemas.openxmlformats.org/officeDocument/2006/relationships/tags" Target="../tags/tag1.xml"/><Relationship Id="rId6" Type="http://schemas.openxmlformats.org/officeDocument/2006/relationships/tags" Target="../tags/tag6.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tags" Target="../tags/tag49.xml"/><Relationship Id="rId57" Type="http://schemas.openxmlformats.org/officeDocument/2006/relationships/tags" Target="../tags/tag57.xml"/><Relationship Id="rId10" Type="http://schemas.openxmlformats.org/officeDocument/2006/relationships/tags" Target="../tags/tag10.xml"/><Relationship Id="rId31" Type="http://schemas.openxmlformats.org/officeDocument/2006/relationships/tags" Target="../tags/tag31.xml"/><Relationship Id="rId44" Type="http://schemas.openxmlformats.org/officeDocument/2006/relationships/tags" Target="../tags/tag44.xml"/><Relationship Id="rId52" Type="http://schemas.openxmlformats.org/officeDocument/2006/relationships/tags" Target="../tags/tag52.xml"/><Relationship Id="rId60" Type="http://schemas.openxmlformats.org/officeDocument/2006/relationships/tags" Target="../tags/tag60.xml"/><Relationship Id="rId65" Type="http://schemas.openxmlformats.org/officeDocument/2006/relationships/tags" Target="../tags/tag65.xml"/><Relationship Id="rId73" Type="http://schemas.openxmlformats.org/officeDocument/2006/relationships/tags" Target="../tags/tag73.xml"/><Relationship Id="rId78" Type="http://schemas.openxmlformats.org/officeDocument/2006/relationships/tags" Target="../tags/tag78.xml"/><Relationship Id="rId81" Type="http://schemas.openxmlformats.org/officeDocument/2006/relationships/tags" Target="../tags/tag81.xml"/><Relationship Id="rId86" Type="http://schemas.openxmlformats.org/officeDocument/2006/relationships/tags" Target="../tags/tag86.xml"/><Relationship Id="rId94" Type="http://schemas.openxmlformats.org/officeDocument/2006/relationships/oleObject" Target="../embeddings/oleObject3.bin"/><Relationship Id="rId4" Type="http://schemas.openxmlformats.org/officeDocument/2006/relationships/tags" Target="../tags/tag4.xml"/><Relationship Id="rId9" Type="http://schemas.openxmlformats.org/officeDocument/2006/relationships/tags" Target="../tags/tag9.xml"/><Relationship Id="rId13" Type="http://schemas.openxmlformats.org/officeDocument/2006/relationships/tags" Target="../tags/tag13.xml"/><Relationship Id="rId18" Type="http://schemas.openxmlformats.org/officeDocument/2006/relationships/tags" Target="../tags/tag18.xml"/><Relationship Id="rId39" Type="http://schemas.openxmlformats.org/officeDocument/2006/relationships/tags" Target="../tags/tag39.xml"/><Relationship Id="rId34" Type="http://schemas.openxmlformats.org/officeDocument/2006/relationships/tags" Target="../tags/tag34.xml"/><Relationship Id="rId50" Type="http://schemas.openxmlformats.org/officeDocument/2006/relationships/tags" Target="../tags/tag50.xml"/><Relationship Id="rId55" Type="http://schemas.openxmlformats.org/officeDocument/2006/relationships/tags" Target="../tags/tag55.xml"/><Relationship Id="rId76" Type="http://schemas.openxmlformats.org/officeDocument/2006/relationships/tags" Target="../tags/tag76.xml"/><Relationship Id="rId7" Type="http://schemas.openxmlformats.org/officeDocument/2006/relationships/tags" Target="../tags/tag7.xml"/><Relationship Id="rId71" Type="http://schemas.openxmlformats.org/officeDocument/2006/relationships/tags" Target="../tags/tag71.xml"/><Relationship Id="rId92" Type="http://schemas.openxmlformats.org/officeDocument/2006/relationships/slideLayout" Target="../slideLayouts/slideLayout9.xml"/><Relationship Id="rId2" Type="http://schemas.openxmlformats.org/officeDocument/2006/relationships/tags" Target="../tags/tag2.xml"/><Relationship Id="rId29" Type="http://schemas.openxmlformats.org/officeDocument/2006/relationships/tags" Target="../tags/tag29.xml"/><Relationship Id="rId24" Type="http://schemas.openxmlformats.org/officeDocument/2006/relationships/tags" Target="../tags/tag24.xml"/><Relationship Id="rId40" Type="http://schemas.openxmlformats.org/officeDocument/2006/relationships/tags" Target="../tags/tag40.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61" Type="http://schemas.openxmlformats.org/officeDocument/2006/relationships/tags" Target="../tags/tag61.xml"/><Relationship Id="rId82" Type="http://schemas.openxmlformats.org/officeDocument/2006/relationships/tags" Target="../tags/tag82.xml"/><Relationship Id="rId19" Type="http://schemas.openxmlformats.org/officeDocument/2006/relationships/tags" Target="../tags/tag19.xml"/><Relationship Id="rId14" Type="http://schemas.openxmlformats.org/officeDocument/2006/relationships/tags" Target="../tags/tag14.xml"/><Relationship Id="rId30" Type="http://schemas.openxmlformats.org/officeDocument/2006/relationships/tags" Target="../tags/tag30.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s>
</file>

<file path=ppt/slides/_rels/slide110.xml.rels><?xml version="1.0" encoding="UTF-8" standalone="yes"?>
<Relationships xmlns="http://schemas.openxmlformats.org/package/2006/relationships"><Relationship Id="rId3" Type="http://schemas.openxmlformats.org/officeDocument/2006/relationships/image" Target="../media/image161.gif"/><Relationship Id="rId2" Type="http://schemas.openxmlformats.org/officeDocument/2006/relationships/notesSlide" Target="../notesSlides/notesSlide53.xml"/><Relationship Id="rId1" Type="http://schemas.openxmlformats.org/officeDocument/2006/relationships/slideLayout" Target="../slideLayouts/slideLayout28.xml"/></Relationships>
</file>

<file path=ppt/slides/_rels/slide111.xml.rels><?xml version="1.0" encoding="UTF-8" standalone="yes"?>
<Relationships xmlns="http://schemas.openxmlformats.org/package/2006/relationships"><Relationship Id="rId2" Type="http://schemas.openxmlformats.org/officeDocument/2006/relationships/image" Target="../media/image162.png"/><Relationship Id="rId1" Type="http://schemas.openxmlformats.org/officeDocument/2006/relationships/slideLayout" Target="../slideLayouts/slideLayout76.xml"/></Relationships>
</file>

<file path=ppt/slides/_rels/slide112.xml.rels><?xml version="1.0" encoding="UTF-8" standalone="yes"?>
<Relationships xmlns="http://schemas.openxmlformats.org/package/2006/relationships"><Relationship Id="rId2" Type="http://schemas.openxmlformats.org/officeDocument/2006/relationships/image" Target="../media/image163.png"/><Relationship Id="rId1" Type="http://schemas.openxmlformats.org/officeDocument/2006/relationships/slideLayout" Target="../slideLayouts/slideLayout76.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14.xml.rels><?xml version="1.0" encoding="UTF-8" standalone="yes"?>
<Relationships xmlns="http://schemas.openxmlformats.org/package/2006/relationships"><Relationship Id="rId2" Type="http://schemas.openxmlformats.org/officeDocument/2006/relationships/image" Target="../media/image164.png"/><Relationship Id="rId1" Type="http://schemas.openxmlformats.org/officeDocument/2006/relationships/slideLayout" Target="../slideLayouts/slideLayout76.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75.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76.xml"/></Relationships>
</file>

<file path=ppt/slides/_rels/slide117.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56.xml"/><Relationship Id="rId1" Type="http://schemas.openxmlformats.org/officeDocument/2006/relationships/slideLayout" Target="../slideLayouts/slideLayout76.xml"/><Relationship Id="rId4" Type="http://schemas.openxmlformats.org/officeDocument/2006/relationships/image" Target="../media/image166.png"/></Relationships>
</file>

<file path=ppt/slides/_rels/slide118.xml.rels><?xml version="1.0" encoding="UTF-8" standalone="yes"?>
<Relationships xmlns="http://schemas.openxmlformats.org/package/2006/relationships"><Relationship Id="rId2" Type="http://schemas.openxmlformats.org/officeDocument/2006/relationships/image" Target="../media/image167.png"/><Relationship Id="rId1" Type="http://schemas.openxmlformats.org/officeDocument/2006/relationships/slideLayout" Target="../slideLayouts/slideLayout76.xml"/></Relationships>
</file>

<file path=ppt/slides/_rels/slide119.xml.rels><?xml version="1.0" encoding="UTF-8" standalone="yes"?>
<Relationships xmlns="http://schemas.openxmlformats.org/package/2006/relationships"><Relationship Id="rId2" Type="http://schemas.openxmlformats.org/officeDocument/2006/relationships/image" Target="../media/image168.png"/><Relationship Id="rId1" Type="http://schemas.openxmlformats.org/officeDocument/2006/relationships/slideLayout" Target="../slideLayouts/slideLayout7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8.xml"/></Relationships>
</file>

<file path=ppt/slides/_rels/slide120.xml.rels><?xml version="1.0" encoding="UTF-8" standalone="yes"?>
<Relationships xmlns="http://schemas.openxmlformats.org/package/2006/relationships"><Relationship Id="rId2" Type="http://schemas.openxmlformats.org/officeDocument/2006/relationships/image" Target="../media/image169.png"/><Relationship Id="rId1" Type="http://schemas.openxmlformats.org/officeDocument/2006/relationships/slideLayout" Target="../slideLayouts/slideLayout76.xml"/></Relationships>
</file>

<file path=ppt/slides/_rels/slide121.xml.rels><?xml version="1.0" encoding="UTF-8" standalone="yes"?>
<Relationships xmlns="http://schemas.openxmlformats.org/package/2006/relationships"><Relationship Id="rId2" Type="http://schemas.openxmlformats.org/officeDocument/2006/relationships/image" Target="../media/image170.png"/><Relationship Id="rId1" Type="http://schemas.openxmlformats.org/officeDocument/2006/relationships/slideLayout" Target="../slideLayouts/slideLayout76.xml"/></Relationships>
</file>

<file path=ppt/slides/_rels/slide122.xml.rels><?xml version="1.0" encoding="UTF-8" standalone="yes"?>
<Relationships xmlns="http://schemas.openxmlformats.org/package/2006/relationships"><Relationship Id="rId2" Type="http://schemas.openxmlformats.org/officeDocument/2006/relationships/image" Target="../media/image171.png"/><Relationship Id="rId1" Type="http://schemas.openxmlformats.org/officeDocument/2006/relationships/slideLayout" Target="../slideLayouts/slideLayout76.xml"/></Relationships>
</file>

<file path=ppt/slides/_rels/slide123.xml.rels><?xml version="1.0" encoding="UTF-8" standalone="yes"?>
<Relationships xmlns="http://schemas.openxmlformats.org/package/2006/relationships"><Relationship Id="rId2" Type="http://schemas.openxmlformats.org/officeDocument/2006/relationships/image" Target="../media/image172.png"/><Relationship Id="rId1" Type="http://schemas.openxmlformats.org/officeDocument/2006/relationships/slideLayout" Target="../slideLayouts/slideLayout76.xml"/></Relationships>
</file>

<file path=ppt/slides/_rels/slide124.xml.rels><?xml version="1.0" encoding="UTF-8" standalone="yes"?>
<Relationships xmlns="http://schemas.openxmlformats.org/package/2006/relationships"><Relationship Id="rId2" Type="http://schemas.openxmlformats.org/officeDocument/2006/relationships/image" Target="../media/image173.png"/><Relationship Id="rId1" Type="http://schemas.openxmlformats.org/officeDocument/2006/relationships/slideLayout" Target="../slideLayouts/slideLayout76.xml"/></Relationships>
</file>

<file path=ppt/slides/_rels/slide125.xml.rels><?xml version="1.0" encoding="UTF-8" standalone="yes"?>
<Relationships xmlns="http://schemas.openxmlformats.org/package/2006/relationships"><Relationship Id="rId3" Type="http://schemas.openxmlformats.org/officeDocument/2006/relationships/hyperlink" Target="https://msit.powerbi.com/view?r=eyJrIjoiNTEyY2M3M2UtNmMxMy00NTdhLWI2NmItMjIwNWM3ZGIxYjQ3IiwidCI6IjcyZjk4OGJmLTg2ZjEtNDFhZi05MWFiLTJkN2NkMDExZGI0NyIsImMiOjV9&amp;pageName=ReportSection91fba351496ead734ab1" TargetMode="External"/><Relationship Id="rId2" Type="http://schemas.openxmlformats.org/officeDocument/2006/relationships/notesSlide" Target="../notesSlides/notesSlide57.xml"/><Relationship Id="rId1" Type="http://schemas.openxmlformats.org/officeDocument/2006/relationships/slideLayout" Target="../slideLayouts/slideLayout30.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75.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28.xml.rels><?xml version="1.0" encoding="UTF-8" standalone="yes"?>
<Relationships xmlns="http://schemas.openxmlformats.org/package/2006/relationships"><Relationship Id="rId2" Type="http://schemas.openxmlformats.org/officeDocument/2006/relationships/image" Target="../media/image174.png"/><Relationship Id="rId1" Type="http://schemas.openxmlformats.org/officeDocument/2006/relationships/slideLayout" Target="../slideLayouts/slideLayout76.xml"/></Relationships>
</file>

<file path=ppt/slides/_rels/slide129.xml.rels><?xml version="1.0" encoding="UTF-8" standalone="yes"?>
<Relationships xmlns="http://schemas.openxmlformats.org/package/2006/relationships"><Relationship Id="rId3" Type="http://schemas.openxmlformats.org/officeDocument/2006/relationships/hyperlink" Target="https://msit.powerbi.com/view?r=eyJrIjoiMTNmNjkwNTgtMjZkNS00Yzc2LWJkYmYtN2ZkZjIzOWU1ZjVjIiwidCI6IjcyZjk4OGJmLTg2ZjEtNDFhZi05MWFiLTJkN2NkMDExZGI0NyIsImMiOjV9&amp;pageName=ReportSectionedfc36430c7a93cc07e3" TargetMode="External"/><Relationship Id="rId2" Type="http://schemas.openxmlformats.org/officeDocument/2006/relationships/notesSlide" Target="../notesSlides/notesSlide59.xml"/><Relationship Id="rId1" Type="http://schemas.openxmlformats.org/officeDocument/2006/relationships/slideLayout" Target="../slideLayouts/slideLayout3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30.xml.rels><?xml version="1.0" encoding="UTF-8" standalone="yes"?>
<Relationships xmlns="http://schemas.openxmlformats.org/package/2006/relationships"><Relationship Id="rId2" Type="http://schemas.openxmlformats.org/officeDocument/2006/relationships/image" Target="../media/image175.png"/><Relationship Id="rId1" Type="http://schemas.openxmlformats.org/officeDocument/2006/relationships/slideLayout" Target="../slideLayouts/slideLayout76.xml"/></Relationships>
</file>

<file path=ppt/slides/_rels/slide131.xml.rels><?xml version="1.0" encoding="UTF-8" standalone="yes"?>
<Relationships xmlns="http://schemas.openxmlformats.org/package/2006/relationships"><Relationship Id="rId2" Type="http://schemas.openxmlformats.org/officeDocument/2006/relationships/image" Target="../media/image176.png"/><Relationship Id="rId1" Type="http://schemas.openxmlformats.org/officeDocument/2006/relationships/slideLayout" Target="../slideLayouts/slideLayout76.xml"/></Relationships>
</file>

<file path=ppt/slides/_rels/slide132.xml.rels><?xml version="1.0" encoding="UTF-8" standalone="yes"?>
<Relationships xmlns="http://schemas.openxmlformats.org/package/2006/relationships"><Relationship Id="rId2" Type="http://schemas.openxmlformats.org/officeDocument/2006/relationships/image" Target="../media/image177.png"/><Relationship Id="rId1" Type="http://schemas.openxmlformats.org/officeDocument/2006/relationships/slideLayout" Target="../slideLayouts/slideLayout76.xml"/></Relationships>
</file>

<file path=ppt/slides/_rels/slide133.xml.rels><?xml version="1.0" encoding="UTF-8" standalone="yes"?>
<Relationships xmlns="http://schemas.openxmlformats.org/package/2006/relationships"><Relationship Id="rId2" Type="http://schemas.openxmlformats.org/officeDocument/2006/relationships/image" Target="../media/image178.png"/><Relationship Id="rId1" Type="http://schemas.openxmlformats.org/officeDocument/2006/relationships/slideLayout" Target="../slideLayouts/slideLayout76.xml"/></Relationships>
</file>

<file path=ppt/slides/_rels/slide134.xml.rels><?xml version="1.0" encoding="UTF-8" standalone="yes"?>
<Relationships xmlns="http://schemas.openxmlformats.org/package/2006/relationships"><Relationship Id="rId2" Type="http://schemas.openxmlformats.org/officeDocument/2006/relationships/image" Target="../media/image179.png"/><Relationship Id="rId1" Type="http://schemas.openxmlformats.org/officeDocument/2006/relationships/slideLayout" Target="../slideLayouts/slideLayout76.xml"/></Relationships>
</file>

<file path=ppt/slides/_rels/slide135.xml.rels><?xml version="1.0" encoding="UTF-8" standalone="yes"?>
<Relationships xmlns="http://schemas.openxmlformats.org/package/2006/relationships"><Relationship Id="rId2" Type="http://schemas.openxmlformats.org/officeDocument/2006/relationships/image" Target="../media/image180.png"/><Relationship Id="rId1" Type="http://schemas.openxmlformats.org/officeDocument/2006/relationships/slideLayout" Target="../slideLayouts/slideLayout76.xml"/></Relationships>
</file>

<file path=ppt/slides/_rels/slide136.xml.rels><?xml version="1.0" encoding="UTF-8" standalone="yes"?>
<Relationships xmlns="http://schemas.openxmlformats.org/package/2006/relationships"><Relationship Id="rId2" Type="http://schemas.openxmlformats.org/officeDocument/2006/relationships/image" Target="../media/image181.png"/><Relationship Id="rId1" Type="http://schemas.openxmlformats.org/officeDocument/2006/relationships/slideLayout" Target="../slideLayouts/slideLayout76.xml"/></Relationships>
</file>

<file path=ppt/slides/_rels/slide137.xml.rels><?xml version="1.0" encoding="UTF-8" standalone="yes"?>
<Relationships xmlns="http://schemas.openxmlformats.org/package/2006/relationships"><Relationship Id="rId2" Type="http://schemas.openxmlformats.org/officeDocument/2006/relationships/image" Target="../media/image182.png"/><Relationship Id="rId1" Type="http://schemas.openxmlformats.org/officeDocument/2006/relationships/slideLayout" Target="../slideLayouts/slideLayout76.xml"/></Relationships>
</file>

<file path=ppt/slides/_rels/slide138.xml.rels><?xml version="1.0" encoding="UTF-8" standalone="yes"?>
<Relationships xmlns="http://schemas.openxmlformats.org/package/2006/relationships"><Relationship Id="rId2" Type="http://schemas.openxmlformats.org/officeDocument/2006/relationships/image" Target="../media/image183.png"/><Relationship Id="rId1" Type="http://schemas.openxmlformats.org/officeDocument/2006/relationships/slideLayout" Target="../slideLayouts/slideLayout76.xm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4.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9.xml"/><Relationship Id="rId1" Type="http://schemas.openxmlformats.org/officeDocument/2006/relationships/slideLayout" Target="../slideLayouts/slideLayout74.xml"/></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42.xml.rels><?xml version="1.0" encoding="UTF-8" standalone="yes"?>
<Relationships xmlns="http://schemas.openxmlformats.org/package/2006/relationships"><Relationship Id="rId2" Type="http://schemas.openxmlformats.org/officeDocument/2006/relationships/image" Target="../media/image184.png"/><Relationship Id="rId1" Type="http://schemas.openxmlformats.org/officeDocument/2006/relationships/slideLayout" Target="../slideLayouts/slideLayout76.xml"/></Relationships>
</file>

<file path=ppt/slides/_rels/slide143.xml.rels><?xml version="1.0" encoding="UTF-8" standalone="yes"?>
<Relationships xmlns="http://schemas.openxmlformats.org/package/2006/relationships"><Relationship Id="rId2" Type="http://schemas.openxmlformats.org/officeDocument/2006/relationships/image" Target="../media/image184.png"/><Relationship Id="rId1" Type="http://schemas.openxmlformats.org/officeDocument/2006/relationships/slideLayout" Target="../slideLayouts/slideLayout76.xml"/></Relationships>
</file>

<file path=ppt/slides/_rels/slide144.xml.rels><?xml version="1.0" encoding="UTF-8" standalone="yes"?>
<Relationships xmlns="http://schemas.openxmlformats.org/package/2006/relationships"><Relationship Id="rId2" Type="http://schemas.openxmlformats.org/officeDocument/2006/relationships/image" Target="../media/image184.png"/><Relationship Id="rId1" Type="http://schemas.openxmlformats.org/officeDocument/2006/relationships/slideLayout" Target="../slideLayouts/slideLayout76.xml"/></Relationships>
</file>

<file path=ppt/slides/_rels/slide145.xml.rels><?xml version="1.0" encoding="UTF-8" standalone="yes"?>
<Relationships xmlns="http://schemas.openxmlformats.org/package/2006/relationships"><Relationship Id="rId2" Type="http://schemas.openxmlformats.org/officeDocument/2006/relationships/image" Target="../media/image185.png"/><Relationship Id="rId1" Type="http://schemas.openxmlformats.org/officeDocument/2006/relationships/slideLayout" Target="../slideLayouts/slideLayout76.xml"/></Relationships>
</file>

<file path=ppt/slides/_rels/slide146.xml.rels><?xml version="1.0" encoding="UTF-8" standalone="yes"?>
<Relationships xmlns="http://schemas.openxmlformats.org/package/2006/relationships"><Relationship Id="rId2" Type="http://schemas.openxmlformats.org/officeDocument/2006/relationships/image" Target="../media/image186.png"/><Relationship Id="rId1" Type="http://schemas.openxmlformats.org/officeDocument/2006/relationships/slideLayout" Target="../slideLayouts/slideLayout76.xml"/></Relationships>
</file>

<file path=ppt/slides/_rels/slide147.xml.rels><?xml version="1.0" encoding="UTF-8" standalone="yes"?>
<Relationships xmlns="http://schemas.openxmlformats.org/package/2006/relationships"><Relationship Id="rId2" Type="http://schemas.openxmlformats.org/officeDocument/2006/relationships/image" Target="../media/image187.png"/><Relationship Id="rId1" Type="http://schemas.openxmlformats.org/officeDocument/2006/relationships/slideLayout" Target="../slideLayouts/slideLayout76.xml"/></Relationships>
</file>

<file path=ppt/slides/_rels/slide148.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49.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5.xml.rels><?xml version="1.0" encoding="UTF-8" standalone="yes"?>
<Relationships xmlns="http://schemas.openxmlformats.org/package/2006/relationships"><Relationship Id="rId8" Type="http://schemas.openxmlformats.org/officeDocument/2006/relationships/image" Target="../media/image96.svg"/><Relationship Id="rId3" Type="http://schemas.openxmlformats.org/officeDocument/2006/relationships/image" Target="../media/image91.png"/><Relationship Id="rId7" Type="http://schemas.openxmlformats.org/officeDocument/2006/relationships/image" Target="../media/image95.png"/><Relationship Id="rId12" Type="http://schemas.openxmlformats.org/officeDocument/2006/relationships/image" Target="../media/image99.svg"/><Relationship Id="rId2" Type="http://schemas.openxmlformats.org/officeDocument/2006/relationships/notesSlide" Target="../notesSlides/notesSlide10.xml"/><Relationship Id="rId1" Type="http://schemas.openxmlformats.org/officeDocument/2006/relationships/slideLayout" Target="../slideLayouts/slideLayout74.xml"/><Relationship Id="rId6" Type="http://schemas.openxmlformats.org/officeDocument/2006/relationships/image" Target="../media/image94.png"/><Relationship Id="rId11" Type="http://schemas.openxmlformats.org/officeDocument/2006/relationships/image" Target="../media/image98.png"/><Relationship Id="rId5" Type="http://schemas.openxmlformats.org/officeDocument/2006/relationships/image" Target="../media/image93.png"/><Relationship Id="rId10" Type="http://schemas.microsoft.com/office/2007/relationships/hdphoto" Target="../media/hdphoto1.wdp"/><Relationship Id="rId4" Type="http://schemas.openxmlformats.org/officeDocument/2006/relationships/image" Target="../media/image92.png"/><Relationship Id="rId9" Type="http://schemas.openxmlformats.org/officeDocument/2006/relationships/image" Target="../media/image97.png"/></Relationships>
</file>

<file path=ppt/slides/_rels/slide150.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51.xml.rels><?xml version="1.0" encoding="UTF-8" standalone="yes"?>
<Relationships xmlns="http://schemas.openxmlformats.org/package/2006/relationships"><Relationship Id="rId2" Type="http://schemas.openxmlformats.org/officeDocument/2006/relationships/image" Target="../media/image188.gif"/><Relationship Id="rId1" Type="http://schemas.openxmlformats.org/officeDocument/2006/relationships/slideLayout" Target="../slideLayouts/slideLayout76.xml"/></Relationships>
</file>

<file path=ppt/slides/_rels/slide152.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53.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image" Target="../media/image189.png"/><Relationship Id="rId1" Type="http://schemas.openxmlformats.org/officeDocument/2006/relationships/slideLayout" Target="../slideLayouts/slideLayout76.xml"/></Relationships>
</file>

<file path=ppt/slides/_rels/slide154.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55.xml.rels><?xml version="1.0" encoding="UTF-8" standalone="yes"?>
<Relationships xmlns="http://schemas.openxmlformats.org/package/2006/relationships"><Relationship Id="rId2" Type="http://schemas.openxmlformats.org/officeDocument/2006/relationships/image" Target="../media/image191.png"/><Relationship Id="rId1" Type="http://schemas.openxmlformats.org/officeDocument/2006/relationships/slideLayout" Target="../slideLayouts/slideLayout76.xml"/></Relationships>
</file>

<file path=ppt/slides/_rels/slide156.xml.rels><?xml version="1.0" encoding="UTF-8" standalone="yes"?>
<Relationships xmlns="http://schemas.openxmlformats.org/package/2006/relationships"><Relationship Id="rId2" Type="http://schemas.openxmlformats.org/officeDocument/2006/relationships/image" Target="../media/image192.png"/><Relationship Id="rId1" Type="http://schemas.openxmlformats.org/officeDocument/2006/relationships/slideLayout" Target="../slideLayouts/slideLayout76.xml"/></Relationships>
</file>

<file path=ppt/slides/_rels/slide157.xml.rels><?xml version="1.0" encoding="UTF-8" standalone="yes"?>
<Relationships xmlns="http://schemas.openxmlformats.org/package/2006/relationships"><Relationship Id="rId2" Type="http://schemas.openxmlformats.org/officeDocument/2006/relationships/image" Target="../media/image193.png"/><Relationship Id="rId1" Type="http://schemas.openxmlformats.org/officeDocument/2006/relationships/slideLayout" Target="../slideLayouts/slideLayout76.xml"/></Relationships>
</file>

<file path=ppt/slides/_rels/slide158.xml.rels><?xml version="1.0" encoding="UTF-8" standalone="yes"?>
<Relationships xmlns="http://schemas.openxmlformats.org/package/2006/relationships"><Relationship Id="rId2" Type="http://schemas.openxmlformats.org/officeDocument/2006/relationships/image" Target="../media/image194.png"/><Relationship Id="rId1" Type="http://schemas.openxmlformats.org/officeDocument/2006/relationships/slideLayout" Target="../slideLayouts/slideLayout76.xml"/></Relationships>
</file>

<file path=ppt/slides/_rels/slide159.xml.rels><?xml version="1.0" encoding="UTF-8" standalone="yes"?>
<Relationships xmlns="http://schemas.openxmlformats.org/package/2006/relationships"><Relationship Id="rId2" Type="http://schemas.openxmlformats.org/officeDocument/2006/relationships/image" Target="../media/image195.png"/><Relationship Id="rId1" Type="http://schemas.openxmlformats.org/officeDocument/2006/relationships/slideLayout" Target="../slideLayouts/slideLayout7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0.xml"/></Relationships>
</file>

<file path=ppt/slides/_rels/slide160.xml.rels><?xml version="1.0" encoding="UTF-8" standalone="yes"?>
<Relationships xmlns="http://schemas.openxmlformats.org/package/2006/relationships"><Relationship Id="rId2" Type="http://schemas.openxmlformats.org/officeDocument/2006/relationships/image" Target="../media/image196.png"/><Relationship Id="rId1" Type="http://schemas.openxmlformats.org/officeDocument/2006/relationships/slideLayout" Target="../slideLayouts/slideLayout76.xml"/></Relationships>
</file>

<file path=ppt/slides/_rels/slide161.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62.xml.rels><?xml version="1.0" encoding="UTF-8" standalone="yes"?>
<Relationships xmlns="http://schemas.openxmlformats.org/package/2006/relationships"><Relationship Id="rId2" Type="http://schemas.openxmlformats.org/officeDocument/2006/relationships/image" Target="../media/image191.png"/><Relationship Id="rId1" Type="http://schemas.openxmlformats.org/officeDocument/2006/relationships/slideLayout" Target="../slideLayouts/slideLayout76.xml"/></Relationships>
</file>

<file path=ppt/slides/_rels/slide163.xml.rels><?xml version="1.0" encoding="UTF-8" standalone="yes"?>
<Relationships xmlns="http://schemas.openxmlformats.org/package/2006/relationships"><Relationship Id="rId2" Type="http://schemas.openxmlformats.org/officeDocument/2006/relationships/image" Target="../media/image197.png"/><Relationship Id="rId1" Type="http://schemas.openxmlformats.org/officeDocument/2006/relationships/slideLayout" Target="../slideLayouts/slideLayout76.xml"/></Relationships>
</file>

<file path=ppt/slides/_rels/slide164.xml.rels><?xml version="1.0" encoding="UTF-8" standalone="yes"?>
<Relationships xmlns="http://schemas.openxmlformats.org/package/2006/relationships"><Relationship Id="rId2" Type="http://schemas.openxmlformats.org/officeDocument/2006/relationships/image" Target="../media/image198.png"/><Relationship Id="rId1" Type="http://schemas.openxmlformats.org/officeDocument/2006/relationships/slideLayout" Target="../slideLayouts/slideLayout76.xml"/></Relationships>
</file>

<file path=ppt/slides/_rels/slide165.xml.rels><?xml version="1.0" encoding="UTF-8" standalone="yes"?>
<Relationships xmlns="http://schemas.openxmlformats.org/package/2006/relationships"><Relationship Id="rId2" Type="http://schemas.openxmlformats.org/officeDocument/2006/relationships/image" Target="../media/image199.png"/><Relationship Id="rId1" Type="http://schemas.openxmlformats.org/officeDocument/2006/relationships/slideLayout" Target="../slideLayouts/slideLayout76.xml"/></Relationships>
</file>

<file path=ppt/slides/_rels/slide166.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67.xml.rels><?xml version="1.0" encoding="UTF-8" standalone="yes"?>
<Relationships xmlns="http://schemas.openxmlformats.org/package/2006/relationships"><Relationship Id="rId2" Type="http://schemas.openxmlformats.org/officeDocument/2006/relationships/image" Target="../media/image200.png"/><Relationship Id="rId1" Type="http://schemas.openxmlformats.org/officeDocument/2006/relationships/slideLayout" Target="../slideLayouts/slideLayout76.xml"/></Relationships>
</file>

<file path=ppt/slides/_rels/slide168.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image" Target="../media/image201.png"/><Relationship Id="rId1" Type="http://schemas.openxmlformats.org/officeDocument/2006/relationships/slideLayout" Target="../slideLayouts/slideLayout76.xml"/></Relationships>
</file>

<file path=ppt/slides/_rels/slide169.xml.rels><?xml version="1.0" encoding="UTF-8" standalone="yes"?>
<Relationships xmlns="http://schemas.openxmlformats.org/package/2006/relationships"><Relationship Id="rId2" Type="http://schemas.openxmlformats.org/officeDocument/2006/relationships/image" Target="../media/image203.png"/><Relationship Id="rId1" Type="http://schemas.openxmlformats.org/officeDocument/2006/relationships/slideLayout" Target="../slideLayouts/slideLayout76.xml"/></Relationships>
</file>

<file path=ppt/slides/_rels/slide17.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2.xml"/><Relationship Id="rId1" Type="http://schemas.openxmlformats.org/officeDocument/2006/relationships/slideLayout" Target="../slideLayouts/slideLayout74.xml"/></Relationships>
</file>

<file path=ppt/slides/_rels/slide170.xml.rels><?xml version="1.0" encoding="UTF-8" standalone="yes"?>
<Relationships xmlns="http://schemas.openxmlformats.org/package/2006/relationships"><Relationship Id="rId2" Type="http://schemas.openxmlformats.org/officeDocument/2006/relationships/image" Target="../media/image204.png"/><Relationship Id="rId1" Type="http://schemas.openxmlformats.org/officeDocument/2006/relationships/slideLayout" Target="../slideLayouts/slideLayout76.xml"/></Relationships>
</file>

<file path=ppt/slides/_rels/slide171.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72.xml.rels><?xml version="1.0" encoding="UTF-8" standalone="yes"?>
<Relationships xmlns="http://schemas.openxmlformats.org/package/2006/relationships"><Relationship Id="rId3" Type="http://schemas.openxmlformats.org/officeDocument/2006/relationships/hyperlink" Target="https://powerbi.microsoft.com/en-us/blog/create-stunning-mobile-optimized-power-bi-reports-with-mobile-layouts-new-visual-formatting-pane-preview/" TargetMode="External"/><Relationship Id="rId2" Type="http://schemas.openxmlformats.org/officeDocument/2006/relationships/image" Target="../media/image205.png"/><Relationship Id="rId1" Type="http://schemas.openxmlformats.org/officeDocument/2006/relationships/slideLayout" Target="../slideLayouts/slideLayout76.xml"/><Relationship Id="rId4" Type="http://schemas.openxmlformats.org/officeDocument/2006/relationships/image" Target="../media/image206.png"/></Relationships>
</file>

<file path=ppt/slides/_rels/slide173.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74.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75.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76.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177.xml.rels><?xml version="1.0" encoding="UTF-8" standalone="yes"?>
<Relationships xmlns="http://schemas.openxmlformats.org/package/2006/relationships"><Relationship Id="rId3" Type="http://schemas.openxmlformats.org/officeDocument/2006/relationships/image" Target="../media/image207.jpeg"/><Relationship Id="rId2" Type="http://schemas.openxmlformats.org/officeDocument/2006/relationships/notesSlide" Target="../notesSlides/notesSlide60.xml"/><Relationship Id="rId1" Type="http://schemas.openxmlformats.org/officeDocument/2006/relationships/slideLayout" Target="../slideLayouts/slideLayout53.xml"/></Relationships>
</file>

<file path=ppt/slides/_rels/slide178.xml.rels><?xml version="1.0" encoding="UTF-8" standalone="yes"?>
<Relationships xmlns="http://schemas.openxmlformats.org/package/2006/relationships"><Relationship Id="rId3" Type="http://schemas.openxmlformats.org/officeDocument/2006/relationships/image" Target="../media/image207.jpeg"/><Relationship Id="rId2" Type="http://schemas.openxmlformats.org/officeDocument/2006/relationships/notesSlide" Target="../notesSlides/notesSlide61.xml"/><Relationship Id="rId1" Type="http://schemas.openxmlformats.org/officeDocument/2006/relationships/slideLayout" Target="../slideLayouts/slideLayout80.xml"/><Relationship Id="rId4" Type="http://schemas.openxmlformats.org/officeDocument/2006/relationships/image" Target="../media/image208.png"/></Relationships>
</file>

<file path=ppt/slides/_rels/slide179.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81.xml"/><Relationship Id="rId1" Type="http://schemas.openxmlformats.org/officeDocument/2006/relationships/video" Target="https://www.youtube.com/embed/DsWyGKgLPiI?feature=oembed" TargetMode="Externa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209.jpe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4.xml"/></Relationships>
</file>

<file path=ppt/slides/_rels/slide180.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81.xml"/><Relationship Id="rId1" Type="http://schemas.openxmlformats.org/officeDocument/2006/relationships/video" Target="https://www.youtube.com/embed/whMaMc-xq-g?feature=oembed" TargetMode="Externa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210.jpeg"/></Relationships>
</file>

<file path=ppt/slides/_rels/slide181.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81.xml"/><Relationship Id="rId1" Type="http://schemas.openxmlformats.org/officeDocument/2006/relationships/video" Target="https://www.youtube.com/embed/EmZORTeNN4s?feature=oembed" TargetMode="Externa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211.jpeg"/></Relationships>
</file>

<file path=ppt/slides/_rels/slide182.xml.rels><?xml version="1.0" encoding="UTF-8" standalone="yes"?>
<Relationships xmlns="http://schemas.openxmlformats.org/package/2006/relationships"><Relationship Id="rId3" Type="http://schemas.openxmlformats.org/officeDocument/2006/relationships/image" Target="../media/image207.jpeg"/><Relationship Id="rId2" Type="http://schemas.openxmlformats.org/officeDocument/2006/relationships/notesSlide" Target="../notesSlides/notesSlide65.xml"/><Relationship Id="rId1" Type="http://schemas.openxmlformats.org/officeDocument/2006/relationships/slideLayout" Target="../slideLayouts/slideLayout80.xml"/><Relationship Id="rId4" Type="http://schemas.openxmlformats.org/officeDocument/2006/relationships/image" Target="../media/image208.png"/></Relationships>
</file>

<file path=ppt/slides/_rels/slide18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6.xml"/><Relationship Id="rId1" Type="http://schemas.openxmlformats.org/officeDocument/2006/relationships/slideLayout" Target="../slideLayouts/slideLayout54.xml"/><Relationship Id="rId4" Type="http://schemas.openxmlformats.org/officeDocument/2006/relationships/image" Target="../media/image16.svg"/></Relationships>
</file>

<file path=ppt/slides/_rels/slide184.xml.rels><?xml version="1.0" encoding="UTF-8" standalone="yes"?>
<Relationships xmlns="http://schemas.openxmlformats.org/package/2006/relationships"><Relationship Id="rId3" Type="http://schemas.openxmlformats.org/officeDocument/2006/relationships/image" Target="../media/image207.jpeg"/><Relationship Id="rId2" Type="http://schemas.openxmlformats.org/officeDocument/2006/relationships/notesSlide" Target="../notesSlides/notesSlide67.xml"/><Relationship Id="rId1" Type="http://schemas.openxmlformats.org/officeDocument/2006/relationships/slideLayout" Target="../slideLayouts/slideLayout53.xml"/></Relationships>
</file>

<file path=ppt/slides/_rels/slide185.xml.rels><?xml version="1.0" encoding="UTF-8" standalone="yes"?>
<Relationships xmlns="http://schemas.openxmlformats.org/package/2006/relationships"><Relationship Id="rId3" Type="http://schemas.openxmlformats.org/officeDocument/2006/relationships/image" Target="../media/image207.jpeg"/><Relationship Id="rId2" Type="http://schemas.openxmlformats.org/officeDocument/2006/relationships/notesSlide" Target="../notesSlides/notesSlide68.xml"/><Relationship Id="rId1" Type="http://schemas.openxmlformats.org/officeDocument/2006/relationships/slideLayout" Target="../slideLayouts/slideLayout53.xml"/></Relationships>
</file>

<file path=ppt/slides/_rels/slide18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9.xml"/><Relationship Id="rId1" Type="http://schemas.openxmlformats.org/officeDocument/2006/relationships/slideLayout" Target="../slideLayouts/slideLayout45.xml"/><Relationship Id="rId4" Type="http://schemas.openxmlformats.org/officeDocument/2006/relationships/image" Target="../media/image16.svg"/></Relationships>
</file>

<file path=ppt/slides/_rels/slide18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0.xml"/><Relationship Id="rId1" Type="http://schemas.openxmlformats.org/officeDocument/2006/relationships/slideLayout" Target="../slideLayouts/slideLayout45.xml"/><Relationship Id="rId4" Type="http://schemas.openxmlformats.org/officeDocument/2006/relationships/image" Target="../media/image16.svg"/></Relationships>
</file>

<file path=ppt/slides/_rels/slide18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1.xml"/><Relationship Id="rId1" Type="http://schemas.openxmlformats.org/officeDocument/2006/relationships/slideLayout" Target="../slideLayouts/slideLayout45.xml"/><Relationship Id="rId4" Type="http://schemas.openxmlformats.org/officeDocument/2006/relationships/image" Target="../media/image16.svg"/></Relationships>
</file>

<file path=ppt/slides/_rels/slide189.xml.rels><?xml version="1.0" encoding="UTF-8" standalone="yes"?>
<Relationships xmlns="http://schemas.openxmlformats.org/package/2006/relationships"><Relationship Id="rId3" Type="http://schemas.openxmlformats.org/officeDocument/2006/relationships/image" Target="../media/image212.emf"/><Relationship Id="rId2" Type="http://schemas.openxmlformats.org/officeDocument/2006/relationships/notesSlide" Target="../notesSlides/notesSlide72.xml"/><Relationship Id="rId1" Type="http://schemas.openxmlformats.org/officeDocument/2006/relationships/slideLayout" Target="../slideLayouts/slideLayout74.xml"/><Relationship Id="rId5" Type="http://schemas.openxmlformats.org/officeDocument/2006/relationships/image" Target="../media/image16.svg"/><Relationship Id="rId4" Type="http://schemas.openxmlformats.org/officeDocument/2006/relationships/image" Target="../media/image15.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4.xml"/></Relationships>
</file>

<file path=ppt/slides/_rels/slide190.xml.rels><?xml version="1.0" encoding="UTF-8" standalone="yes"?>
<Relationships xmlns="http://schemas.openxmlformats.org/package/2006/relationships"><Relationship Id="rId8" Type="http://schemas.openxmlformats.org/officeDocument/2006/relationships/diagramLayout" Target="../diagrams/layout6.xml"/><Relationship Id="rId13" Type="http://schemas.openxmlformats.org/officeDocument/2006/relationships/image" Target="../media/image16.svg"/><Relationship Id="rId3" Type="http://schemas.openxmlformats.org/officeDocument/2006/relationships/diagramLayout" Target="../diagrams/layout5.xml"/><Relationship Id="rId7" Type="http://schemas.openxmlformats.org/officeDocument/2006/relationships/diagramData" Target="../diagrams/data6.xml"/><Relationship Id="rId12" Type="http://schemas.openxmlformats.org/officeDocument/2006/relationships/image" Target="../media/image15.png"/><Relationship Id="rId2" Type="http://schemas.openxmlformats.org/officeDocument/2006/relationships/diagramData" Target="../diagrams/data5.xml"/><Relationship Id="rId1" Type="http://schemas.openxmlformats.org/officeDocument/2006/relationships/slideLayout" Target="../slideLayouts/slideLayout28.xml"/><Relationship Id="rId6" Type="http://schemas.microsoft.com/office/2007/relationships/diagramDrawing" Target="../diagrams/drawing5.xml"/><Relationship Id="rId11" Type="http://schemas.microsoft.com/office/2007/relationships/diagramDrawing" Target="../diagrams/drawing6.xml"/><Relationship Id="rId5" Type="http://schemas.openxmlformats.org/officeDocument/2006/relationships/diagramColors" Target="../diagrams/colors5.xml"/><Relationship Id="rId10" Type="http://schemas.openxmlformats.org/officeDocument/2006/relationships/diagramColors" Target="../diagrams/colors6.xml"/><Relationship Id="rId4" Type="http://schemas.openxmlformats.org/officeDocument/2006/relationships/diagramQuickStyle" Target="../diagrams/quickStyle5.xml"/><Relationship Id="rId9" Type="http://schemas.openxmlformats.org/officeDocument/2006/relationships/diagramQuickStyle" Target="../diagrams/quickStyle6.xml"/></Relationships>
</file>

<file path=ppt/slides/_rels/slide191.xml.rels><?xml version="1.0" encoding="UTF-8" standalone="yes"?>
<Relationships xmlns="http://schemas.openxmlformats.org/package/2006/relationships"><Relationship Id="rId8" Type="http://schemas.openxmlformats.org/officeDocument/2006/relationships/diagramLayout" Target="../diagrams/layout8.xml"/><Relationship Id="rId13" Type="http://schemas.openxmlformats.org/officeDocument/2006/relationships/image" Target="../media/image16.svg"/><Relationship Id="rId3" Type="http://schemas.openxmlformats.org/officeDocument/2006/relationships/diagramLayout" Target="../diagrams/layout7.xml"/><Relationship Id="rId7" Type="http://schemas.openxmlformats.org/officeDocument/2006/relationships/diagramData" Target="../diagrams/data8.xml"/><Relationship Id="rId12" Type="http://schemas.openxmlformats.org/officeDocument/2006/relationships/image" Target="../media/image15.png"/><Relationship Id="rId2" Type="http://schemas.openxmlformats.org/officeDocument/2006/relationships/diagramData" Target="../diagrams/data7.xml"/><Relationship Id="rId1" Type="http://schemas.openxmlformats.org/officeDocument/2006/relationships/slideLayout" Target="../slideLayouts/slideLayout28.xml"/><Relationship Id="rId6" Type="http://schemas.microsoft.com/office/2007/relationships/diagramDrawing" Target="../diagrams/drawing7.xml"/><Relationship Id="rId11" Type="http://schemas.microsoft.com/office/2007/relationships/diagramDrawing" Target="../diagrams/drawing8.xml"/><Relationship Id="rId5" Type="http://schemas.openxmlformats.org/officeDocument/2006/relationships/diagramColors" Target="../diagrams/colors7.xml"/><Relationship Id="rId10" Type="http://schemas.openxmlformats.org/officeDocument/2006/relationships/diagramColors" Target="../diagrams/colors8.xml"/><Relationship Id="rId4" Type="http://schemas.openxmlformats.org/officeDocument/2006/relationships/diagramQuickStyle" Target="../diagrams/quickStyle7.xml"/><Relationship Id="rId9" Type="http://schemas.openxmlformats.org/officeDocument/2006/relationships/diagramQuickStyle" Target="../diagrams/quickStyle8.xml"/></Relationships>
</file>

<file path=ppt/slides/_rels/slide192.xml.rels><?xml version="1.0" encoding="UTF-8" standalone="yes"?>
<Relationships xmlns="http://schemas.openxmlformats.org/package/2006/relationships"><Relationship Id="rId3" Type="http://schemas.openxmlformats.org/officeDocument/2006/relationships/image" Target="../media/image207.jpeg"/><Relationship Id="rId2" Type="http://schemas.openxmlformats.org/officeDocument/2006/relationships/notesSlide" Target="../notesSlides/notesSlide73.xml"/><Relationship Id="rId1" Type="http://schemas.openxmlformats.org/officeDocument/2006/relationships/slideLayout" Target="../slideLayouts/slideLayout53.xml"/></Relationships>
</file>

<file path=ppt/slides/_rels/slide193.xml.rels><?xml version="1.0" encoding="UTF-8" standalone="yes"?>
<Relationships xmlns="http://schemas.openxmlformats.org/package/2006/relationships"><Relationship Id="rId3" Type="http://schemas.openxmlformats.org/officeDocument/2006/relationships/image" Target="../media/image214.jpeg"/><Relationship Id="rId2" Type="http://schemas.openxmlformats.org/officeDocument/2006/relationships/image" Target="../media/image213.jpeg"/><Relationship Id="rId1" Type="http://schemas.openxmlformats.org/officeDocument/2006/relationships/slideLayout" Target="../slideLayouts/slideLayout57.xml"/></Relationships>
</file>

<file path=ppt/slides/_rels/slide194.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image" Target="../media/image215.png"/><Relationship Id="rId1" Type="http://schemas.openxmlformats.org/officeDocument/2006/relationships/slideLayout" Target="../slideLayouts/slideLayout57.xml"/></Relationships>
</file>

<file path=ppt/slides/_rels/slide195.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196.xml.rels><?xml version="1.0" encoding="UTF-8" standalone="yes"?>
<Relationships xmlns="http://schemas.openxmlformats.org/package/2006/relationships"><Relationship Id="rId2" Type="http://schemas.openxmlformats.org/officeDocument/2006/relationships/image" Target="../media/image217.jpeg"/><Relationship Id="rId1" Type="http://schemas.openxmlformats.org/officeDocument/2006/relationships/slideLayout" Target="../slideLayouts/slideLayout55.xml"/></Relationships>
</file>

<file path=ppt/slides/_rels/slide197.xml.rels><?xml version="1.0" encoding="UTF-8" standalone="yes"?>
<Relationships xmlns="http://schemas.openxmlformats.org/package/2006/relationships"><Relationship Id="rId3" Type="http://schemas.openxmlformats.org/officeDocument/2006/relationships/hyperlink" Target="https://aka.ms/PowerBIAdpotionRoadmap" TargetMode="External"/><Relationship Id="rId7" Type="http://schemas.openxmlformats.org/officeDocument/2006/relationships/hyperlink" Target="https://customers.microsoft.com/en-us/story/857107-nestle-consumer-goods-azure-power-bi" TargetMode="External"/><Relationship Id="rId2" Type="http://schemas.openxmlformats.org/officeDocument/2006/relationships/notesSlide" Target="../notesSlides/notesSlide74.xml"/><Relationship Id="rId1" Type="http://schemas.openxmlformats.org/officeDocument/2006/relationships/slideLayout" Target="../slideLayouts/slideLayout57.xml"/><Relationship Id="rId6" Type="http://schemas.openxmlformats.org/officeDocument/2006/relationships/hyperlink" Target="https://ssbipolar.com/building-a-data-culture/" TargetMode="External"/><Relationship Id="rId5" Type="http://schemas.openxmlformats.org/officeDocument/2006/relationships/hyperlink" Target="https://docs.microsoft.com/en-us/power-bi/guidance/" TargetMode="External"/><Relationship Id="rId4" Type="http://schemas.openxmlformats.org/officeDocument/2006/relationships/hyperlink" Target="https://aka.ms/PowerBIImplementationPlanning" TargetMode="External"/></Relationships>
</file>

<file path=ppt/slides/_rels/slide198.xml.rels><?xml version="1.0" encoding="UTF-8" standalone="yes"?>
<Relationships xmlns="http://schemas.openxmlformats.org/package/2006/relationships"><Relationship Id="rId3" Type="http://schemas.openxmlformats.org/officeDocument/2006/relationships/image" Target="../media/image218.png"/><Relationship Id="rId2" Type="http://schemas.openxmlformats.org/officeDocument/2006/relationships/notesSlide" Target="../notesSlides/notesSlide75.xml"/><Relationship Id="rId1" Type="http://schemas.openxmlformats.org/officeDocument/2006/relationships/slideLayout" Target="../slideLayouts/slideLayout57.xml"/></Relationships>
</file>

<file path=ppt/slides/_rels/slide199.xml.rels><?xml version="1.0" encoding="UTF-8" standalone="yes"?>
<Relationships xmlns="http://schemas.openxmlformats.org/package/2006/relationships"><Relationship Id="rId3" Type="http://schemas.openxmlformats.org/officeDocument/2006/relationships/image" Target="../media/image219.png"/><Relationship Id="rId2" Type="http://schemas.openxmlformats.org/officeDocument/2006/relationships/notesSlide" Target="../notesSlides/notesSlide76.xml"/><Relationship Id="rId1" Type="http://schemas.openxmlformats.org/officeDocument/2006/relationships/slideLayout" Target="../slideLayouts/slideLayout5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4.xml"/></Relationships>
</file>

<file path=ppt/slides/_rels/slide200.xml.rels><?xml version="1.0" encoding="UTF-8" standalone="yes"?>
<Relationships xmlns="http://schemas.openxmlformats.org/package/2006/relationships"><Relationship Id="rId3" Type="http://schemas.openxmlformats.org/officeDocument/2006/relationships/image" Target="../media/image220.png"/><Relationship Id="rId2" Type="http://schemas.openxmlformats.org/officeDocument/2006/relationships/notesSlide" Target="../notesSlides/notesSlide77.xml"/><Relationship Id="rId1" Type="http://schemas.openxmlformats.org/officeDocument/2006/relationships/slideLayout" Target="../slideLayouts/slideLayout74.xml"/></Relationships>
</file>

<file path=ppt/slides/_rels/slide201.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202.xml.rels><?xml version="1.0" encoding="UTF-8" standalone="yes"?>
<Relationships xmlns="http://schemas.openxmlformats.org/package/2006/relationships"><Relationship Id="rId2" Type="http://schemas.openxmlformats.org/officeDocument/2006/relationships/image" Target="https://chart.apis.google.com/chart?cht=qr&amp;chs=300x300&amp;chl=https%3a%2f%2fsqlb.it%2f%3f7152" TargetMode="External"/><Relationship Id="rId1" Type="http://schemas.openxmlformats.org/officeDocument/2006/relationships/slideLayout" Target="../slideLayouts/slideLayout45.xml"/></Relationships>
</file>

<file path=ppt/slides/_rels/slide203.xml.rels><?xml version="1.0" encoding="UTF-8" standalone="yes"?>
<Relationships xmlns="http://schemas.openxmlformats.org/package/2006/relationships"><Relationship Id="rId3" Type="http://schemas.openxmlformats.org/officeDocument/2006/relationships/hyperlink" Target="http://aka.ms/azuresqlfundamentals" TargetMode="External"/><Relationship Id="rId2" Type="http://schemas.openxmlformats.org/officeDocument/2006/relationships/notesSlide" Target="../notesSlides/notesSlide78.xml"/><Relationship Id="rId1" Type="http://schemas.openxmlformats.org/officeDocument/2006/relationships/slideLayout" Target="../slideLayouts/slideLayout79.xml"/><Relationship Id="rId5" Type="http://schemas.openxmlformats.org/officeDocument/2006/relationships/hyperlink" Target="https://www.nigelfrank.com/microsoft-azure-salary-survey/" TargetMode="External"/><Relationship Id="rId4" Type="http://schemas.openxmlformats.org/officeDocument/2006/relationships/image" Target="../media/image221.png"/></Relationships>
</file>

<file path=ppt/slides/_rels/slide21.xml.rels><?xml version="1.0" encoding="UTF-8" standalone="yes"?>
<Relationships xmlns="http://schemas.openxmlformats.org/package/2006/relationships"><Relationship Id="rId3" Type="http://schemas.openxmlformats.org/officeDocument/2006/relationships/image" Target="../media/image100.gif"/><Relationship Id="rId2" Type="http://schemas.openxmlformats.org/officeDocument/2006/relationships/notesSlide" Target="../notesSlides/notesSlide16.xml"/><Relationship Id="rId1" Type="http://schemas.openxmlformats.org/officeDocument/2006/relationships/slideLayout" Target="../slideLayouts/slideLayout74.xml"/><Relationship Id="rId4" Type="http://schemas.openxmlformats.org/officeDocument/2006/relationships/hyperlink" Target="https://powerquery.microsoft.com/" TargetMode="Externa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0.xml"/></Relationships>
</file>

<file path=ppt/slides/_rels/slide23.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18.xml"/><Relationship Id="rId1" Type="http://schemas.openxmlformats.org/officeDocument/2006/relationships/slideLayout" Target="../slideLayouts/slideLayout74.xml"/><Relationship Id="rId5" Type="http://schemas.openxmlformats.org/officeDocument/2006/relationships/image" Target="../media/image102.png"/><Relationship Id="rId4" Type="http://schemas.microsoft.com/office/2007/relationships/hdphoto" Target="../media/hdphoto2.wdp"/></Relationships>
</file>

<file path=ppt/slides/_rels/slide24.xml.rels><?xml version="1.0" encoding="UTF-8" standalone="yes"?>
<Relationships xmlns="http://schemas.openxmlformats.org/package/2006/relationships"><Relationship Id="rId3" Type="http://schemas.openxmlformats.org/officeDocument/2006/relationships/image" Target="../media/image104.svg"/><Relationship Id="rId7" Type="http://schemas.openxmlformats.org/officeDocument/2006/relationships/image" Target="../media/image108.png"/><Relationship Id="rId2" Type="http://schemas.openxmlformats.org/officeDocument/2006/relationships/image" Target="../media/image103.png"/><Relationship Id="rId1" Type="http://schemas.openxmlformats.org/officeDocument/2006/relationships/slideLayout" Target="../slideLayouts/slideLayout76.xml"/><Relationship Id="rId6" Type="http://schemas.openxmlformats.org/officeDocument/2006/relationships/image" Target="../media/image107.png"/><Relationship Id="rId5" Type="http://schemas.openxmlformats.org/officeDocument/2006/relationships/image" Target="../media/image106.svg"/><Relationship Id="rId4" Type="http://schemas.openxmlformats.org/officeDocument/2006/relationships/image" Target="../media/image105.png"/></Relationships>
</file>

<file path=ppt/slides/_rels/slide25.xml.rels><?xml version="1.0" encoding="UTF-8" standalone="yes"?>
<Relationships xmlns="http://schemas.openxmlformats.org/package/2006/relationships"><Relationship Id="rId3" Type="http://schemas.openxmlformats.org/officeDocument/2006/relationships/image" Target="../media/image109.wmf"/><Relationship Id="rId2" Type="http://schemas.openxmlformats.org/officeDocument/2006/relationships/oleObject" Target="../embeddings/oleObject4.bin"/><Relationship Id="rId1" Type="http://schemas.openxmlformats.org/officeDocument/2006/relationships/slideLayout" Target="../slideLayouts/slideLayout76.xml"/><Relationship Id="rId4" Type="http://schemas.openxmlformats.org/officeDocument/2006/relationships/image" Target="../media/image110.png"/></Relationships>
</file>

<file path=ppt/slides/_rels/slide26.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19.xml"/><Relationship Id="rId1" Type="http://schemas.openxmlformats.org/officeDocument/2006/relationships/slideLayout" Target="../slideLayouts/slideLayout74.xml"/><Relationship Id="rId5" Type="http://schemas.openxmlformats.org/officeDocument/2006/relationships/image" Target="../media/image102.png"/><Relationship Id="rId4" Type="http://schemas.microsoft.com/office/2007/relationships/hdphoto" Target="../media/hdphoto2.wdp"/></Relationships>
</file>

<file path=ppt/slides/_rels/slide27.xml.rels><?xml version="1.0" encoding="UTF-8" standalone="yes"?>
<Relationships xmlns="http://schemas.openxmlformats.org/package/2006/relationships"><Relationship Id="rId8" Type="http://schemas.openxmlformats.org/officeDocument/2006/relationships/image" Target="../media/image114.png"/><Relationship Id="rId13" Type="http://schemas.openxmlformats.org/officeDocument/2006/relationships/image" Target="../media/image106.svg"/><Relationship Id="rId3" Type="http://schemas.openxmlformats.org/officeDocument/2006/relationships/image" Target="../media/image104.svg"/><Relationship Id="rId7" Type="http://schemas.openxmlformats.org/officeDocument/2006/relationships/image" Target="../media/image113.svg"/><Relationship Id="rId12" Type="http://schemas.openxmlformats.org/officeDocument/2006/relationships/image" Target="../media/image105.png"/><Relationship Id="rId2" Type="http://schemas.openxmlformats.org/officeDocument/2006/relationships/image" Target="../media/image103.png"/><Relationship Id="rId1" Type="http://schemas.openxmlformats.org/officeDocument/2006/relationships/slideLayout" Target="../slideLayouts/slideLayout76.xml"/><Relationship Id="rId6" Type="http://schemas.openxmlformats.org/officeDocument/2006/relationships/image" Target="../media/image112.png"/><Relationship Id="rId11" Type="http://schemas.openxmlformats.org/officeDocument/2006/relationships/image" Target="../media/image117.svg"/><Relationship Id="rId5" Type="http://schemas.openxmlformats.org/officeDocument/2006/relationships/image" Target="../media/image111.png"/><Relationship Id="rId10" Type="http://schemas.openxmlformats.org/officeDocument/2006/relationships/image" Target="../media/image116.png"/><Relationship Id="rId4" Type="http://schemas.openxmlformats.org/officeDocument/2006/relationships/image" Target="../media/image107.png"/><Relationship Id="rId9" Type="http://schemas.openxmlformats.org/officeDocument/2006/relationships/image" Target="../media/image115.svg"/></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0.xml"/><Relationship Id="rId1" Type="http://schemas.openxmlformats.org/officeDocument/2006/relationships/slideLayout" Target="../slideLayouts/slideLayout7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9.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7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jpeg"/><Relationship Id="rId1" Type="http://schemas.openxmlformats.org/officeDocument/2006/relationships/slideLayout" Target="../slideLayouts/slideLayout54.xml"/><Relationship Id="rId4" Type="http://schemas.openxmlformats.org/officeDocument/2006/relationships/image" Target="../media/image80.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0.xml"/></Relationships>
</file>

<file path=ppt/slides/_rels/slide3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18.png"/><Relationship Id="rId1" Type="http://schemas.openxmlformats.org/officeDocument/2006/relationships/slideLayout" Target="../slideLayouts/slideLayout74.xml"/><Relationship Id="rId4" Type="http://schemas.openxmlformats.org/officeDocument/2006/relationships/image" Target="../media/image119.jpe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3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3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3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3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3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3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82.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82.png"/><Relationship Id="rId4" Type="http://schemas.openxmlformats.org/officeDocument/2006/relationships/image" Target="../media/image81.emf"/></Relationships>
</file>

<file path=ppt/slides/_rels/slide40.xml.rels><?xml version="1.0" encoding="UTF-8" standalone="yes"?>
<Relationships xmlns="http://schemas.openxmlformats.org/package/2006/relationships"><Relationship Id="rId8" Type="http://schemas.openxmlformats.org/officeDocument/2006/relationships/image" Target="../media/image125.svg"/><Relationship Id="rId13" Type="http://schemas.openxmlformats.org/officeDocument/2006/relationships/image" Target="../media/image130.png"/><Relationship Id="rId18" Type="http://schemas.openxmlformats.org/officeDocument/2006/relationships/image" Target="../media/image135.svg"/><Relationship Id="rId3" Type="http://schemas.openxmlformats.org/officeDocument/2006/relationships/image" Target="../media/image120.png"/><Relationship Id="rId7" Type="http://schemas.openxmlformats.org/officeDocument/2006/relationships/image" Target="../media/image124.png"/><Relationship Id="rId12" Type="http://schemas.openxmlformats.org/officeDocument/2006/relationships/image" Target="../media/image129.svg"/><Relationship Id="rId17" Type="http://schemas.openxmlformats.org/officeDocument/2006/relationships/image" Target="../media/image134.png"/><Relationship Id="rId2" Type="http://schemas.openxmlformats.org/officeDocument/2006/relationships/notesSlide" Target="../notesSlides/notesSlide27.xml"/><Relationship Id="rId16" Type="http://schemas.openxmlformats.org/officeDocument/2006/relationships/image" Target="../media/image133.svg"/><Relationship Id="rId1" Type="http://schemas.openxmlformats.org/officeDocument/2006/relationships/slideLayout" Target="../slideLayouts/slideLayout537.xml"/><Relationship Id="rId6" Type="http://schemas.openxmlformats.org/officeDocument/2006/relationships/image" Target="../media/image123.svg"/><Relationship Id="rId11" Type="http://schemas.openxmlformats.org/officeDocument/2006/relationships/image" Target="../media/image128.png"/><Relationship Id="rId5" Type="http://schemas.openxmlformats.org/officeDocument/2006/relationships/image" Target="../media/image122.png"/><Relationship Id="rId15" Type="http://schemas.openxmlformats.org/officeDocument/2006/relationships/image" Target="../media/image132.png"/><Relationship Id="rId10" Type="http://schemas.openxmlformats.org/officeDocument/2006/relationships/image" Target="../media/image127.svg"/><Relationship Id="rId4" Type="http://schemas.openxmlformats.org/officeDocument/2006/relationships/image" Target="../media/image121.svg"/><Relationship Id="rId9" Type="http://schemas.openxmlformats.org/officeDocument/2006/relationships/image" Target="../media/image126.png"/><Relationship Id="rId14" Type="http://schemas.openxmlformats.org/officeDocument/2006/relationships/image" Target="../media/image131.svg"/></Relationships>
</file>

<file path=ppt/slides/_rels/slide41.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28.xml"/><Relationship Id="rId1" Type="http://schemas.openxmlformats.org/officeDocument/2006/relationships/slideLayout" Target="../slideLayouts/slideLayout9.xml"/><Relationship Id="rId6" Type="http://schemas.openxmlformats.org/officeDocument/2006/relationships/image" Target="../media/image137.png"/><Relationship Id="rId5" Type="http://schemas.openxmlformats.org/officeDocument/2006/relationships/image" Target="../media/image136.png"/><Relationship Id="rId4" Type="http://schemas.openxmlformats.org/officeDocument/2006/relationships/image" Target="../media/image121.sv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44.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0.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55.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74.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59.xml.rels><?xml version="1.0" encoding="UTF-8" standalone="yes"?>
<Relationships xmlns="http://schemas.openxmlformats.org/package/2006/relationships"><Relationship Id="rId2" Type="http://schemas.openxmlformats.org/officeDocument/2006/relationships/image" Target="../media/image140.png"/><Relationship Id="rId1" Type="http://schemas.openxmlformats.org/officeDocument/2006/relationships/slideLayout" Target="../slideLayouts/slideLayout7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8.xml"/></Relationships>
</file>

<file path=ppt/slides/_rels/slide60.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image" Target="../media/image141.png"/><Relationship Id="rId1" Type="http://schemas.openxmlformats.org/officeDocument/2006/relationships/slideLayout" Target="../slideLayouts/slideLayout74.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74.xml"/></Relationships>
</file>

<file path=ppt/slides/_rels/slide62.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143.png"/><Relationship Id="rId2" Type="http://schemas.openxmlformats.org/officeDocument/2006/relationships/diagramData" Target="../diagrams/data3.xml"/><Relationship Id="rId1" Type="http://schemas.openxmlformats.org/officeDocument/2006/relationships/slideLayout" Target="../slideLayouts/slideLayout7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6.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0.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74.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74.xml"/></Relationships>
</file>

<file path=ppt/slides/_rels/slide68.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7.xml"/><Relationship Id="rId1" Type="http://schemas.openxmlformats.org/officeDocument/2006/relationships/slideLayout" Target="../slideLayouts/slideLayout74.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74.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494.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0.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72.xml.rels><?xml version="1.0" encoding="UTF-8" standalone="yes"?>
<Relationships xmlns="http://schemas.openxmlformats.org/package/2006/relationships"><Relationship Id="rId3" Type="http://schemas.openxmlformats.org/officeDocument/2006/relationships/hyperlink" Target="https://daxstudio.org/" TargetMode="External"/><Relationship Id="rId2" Type="http://schemas.openxmlformats.org/officeDocument/2006/relationships/image" Target="../media/image152.png"/><Relationship Id="rId1" Type="http://schemas.openxmlformats.org/officeDocument/2006/relationships/slideLayout" Target="../slideLayouts/slideLayout74.xml"/></Relationships>
</file>

<file path=ppt/slides/_rels/slide73.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40.xml"/><Relationship Id="rId1" Type="http://schemas.openxmlformats.org/officeDocument/2006/relationships/slideLayout" Target="../slideLayouts/slideLayout74.xml"/><Relationship Id="rId4" Type="http://schemas.openxmlformats.org/officeDocument/2006/relationships/image" Target="../media/image154.png"/></Relationships>
</file>

<file path=ppt/slides/_rels/slide74.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41.xml"/><Relationship Id="rId1" Type="http://schemas.openxmlformats.org/officeDocument/2006/relationships/slideLayout" Target="../slideLayouts/slideLayout74.xml"/></Relationships>
</file>

<file path=ppt/slides/_rels/slide75.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42.xml"/><Relationship Id="rId1" Type="http://schemas.openxmlformats.org/officeDocument/2006/relationships/slideLayout" Target="../slideLayouts/slideLayout74.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6.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6.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94.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6.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82.xml.rels><?xml version="1.0" encoding="UTF-8" standalone="yes"?>
<Relationships xmlns="http://schemas.openxmlformats.org/package/2006/relationships"><Relationship Id="rId8" Type="http://schemas.openxmlformats.org/officeDocument/2006/relationships/hyperlink" Target="https://en.wikipedia.org/wiki/Data_aggregation" TargetMode="External"/><Relationship Id="rId3" Type="http://schemas.openxmlformats.org/officeDocument/2006/relationships/hyperlink" Target="https://en.wikipedia.org/wiki/PowerPivot" TargetMode="External"/><Relationship Id="rId7" Type="http://schemas.openxmlformats.org/officeDocument/2006/relationships/hyperlink" Target="https://en.wikipedia.org/wiki/Relational_model" TargetMode="External"/><Relationship Id="rId2" Type="http://schemas.openxmlformats.org/officeDocument/2006/relationships/hyperlink" Target="https://en.wikipedia.org/wiki/Microsoft" TargetMode="External"/><Relationship Id="rId1" Type="http://schemas.openxmlformats.org/officeDocument/2006/relationships/slideLayout" Target="../slideLayouts/slideLayout57.xml"/><Relationship Id="rId6" Type="http://schemas.openxmlformats.org/officeDocument/2006/relationships/hyperlink" Target="https://en.wikipedia.org/wiki/Microsoft_Excel" TargetMode="External"/><Relationship Id="rId5" Type="http://schemas.openxmlformats.org/officeDocument/2006/relationships/hyperlink" Target="https://en.wikipedia.org/wiki/Microsoft_Analysis_Services" TargetMode="External"/><Relationship Id="rId4" Type="http://schemas.openxmlformats.org/officeDocument/2006/relationships/hyperlink" Target="https://en.wikipedia.org/wiki/Power_BI" TargetMode="Externa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86.xml.rels><?xml version="1.0" encoding="UTF-8" standalone="yes"?>
<Relationships xmlns="http://schemas.openxmlformats.org/package/2006/relationships"><Relationship Id="rId2" Type="http://schemas.openxmlformats.org/officeDocument/2006/relationships/image" Target="../media/image157.png"/><Relationship Id="rId1" Type="http://schemas.openxmlformats.org/officeDocument/2006/relationships/slideLayout" Target="../slideLayouts/slideLayout74.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89.xml.rels><?xml version="1.0" encoding="UTF-8" standalone="yes"?>
<Relationships xmlns="http://schemas.openxmlformats.org/package/2006/relationships"><Relationship Id="rId2" Type="http://schemas.openxmlformats.org/officeDocument/2006/relationships/hyperlink" Target="https://www.sqlbi.com/articles/storage-differences-between-calculated-columns-and-calculated-tables/" TargetMode="External"/><Relationship Id="rId1" Type="http://schemas.openxmlformats.org/officeDocument/2006/relationships/slideLayout" Target="../slideLayouts/slideLayout7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94.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94.xml.rels><?xml version="1.0" encoding="UTF-8" standalone="yes"?>
<Relationships xmlns="http://schemas.openxmlformats.org/package/2006/relationships"><Relationship Id="rId2" Type="http://schemas.openxmlformats.org/officeDocument/2006/relationships/hyperlink" Target="https://www.sqlbi.com/articles/storage-differences-between-calculated-columns-and-calculated-tables/" TargetMode="External"/><Relationship Id="rId1" Type="http://schemas.openxmlformats.org/officeDocument/2006/relationships/slideLayout" Target="../slideLayouts/slideLayout74.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74.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98.xml.rels><?xml version="1.0" encoding="UTF-8" standalone="yes"?>
<Relationships xmlns="http://schemas.openxmlformats.org/package/2006/relationships"><Relationship Id="rId2" Type="http://schemas.openxmlformats.org/officeDocument/2006/relationships/hyperlink" Target="https://www.sqlbi.com/articles/storage-differences-between-calculated-columns-and-calculated-tables/" TargetMode="External"/><Relationship Id="rId1" Type="http://schemas.openxmlformats.org/officeDocument/2006/relationships/slideLayout" Target="../slideLayouts/slideLayout74.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7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8F1E3C8-B98E-45A3-87C1-4650493983B3}"/>
              </a:ext>
            </a:extLst>
          </p:cNvPr>
          <p:cNvSpPr>
            <a:spLocks noGrp="1"/>
          </p:cNvSpPr>
          <p:nvPr>
            <p:ph type="title"/>
          </p:nvPr>
        </p:nvSpPr>
        <p:spPr/>
        <p:txBody>
          <a:bodyPr/>
          <a:lstStyle/>
          <a:p>
            <a:r>
              <a:rPr lang="en-US" dirty="0"/>
              <a:t>Power Platform Conference Session resources</a:t>
            </a:r>
          </a:p>
        </p:txBody>
      </p:sp>
      <p:sp>
        <p:nvSpPr>
          <p:cNvPr id="5" name="TextBox 4">
            <a:extLst>
              <a:ext uri="{FF2B5EF4-FFF2-40B4-BE49-F238E27FC236}">
                <a16:creationId xmlns:a16="http://schemas.microsoft.com/office/drawing/2014/main" id="{032173C7-D62D-44EA-887D-AAA626A308F6}"/>
              </a:ext>
            </a:extLst>
          </p:cNvPr>
          <p:cNvSpPr txBox="1"/>
          <p:nvPr/>
        </p:nvSpPr>
        <p:spPr>
          <a:xfrm>
            <a:off x="595838" y="1223405"/>
            <a:ext cx="11556223" cy="5232202"/>
          </a:xfrm>
          <a:prstGeom prst="rect">
            <a:avLst/>
          </a:prstGeom>
          <a:noFill/>
        </p:spPr>
        <p:txBody>
          <a:bodyPr wrap="square" lIns="0" tIns="0" rIns="0" bIns="0" rtlCol="0">
            <a:spAutoFit/>
          </a:bodyPr>
          <a:lstStyle/>
          <a:p>
            <a:pPr algn="l"/>
            <a:r>
              <a:rPr lang="en-US" sz="2000" dirty="0">
                <a:hlinkClick r:id="rId2"/>
              </a:rPr>
              <a:t>GitHub (Day After Dashboard in a Day) </a:t>
            </a:r>
            <a:endParaRPr lang="en-US" sz="2000" dirty="0"/>
          </a:p>
          <a:p>
            <a:pPr algn="l"/>
            <a:r>
              <a:rPr lang="en-US" sz="2000" dirty="0">
                <a:hlinkClick r:id="rId3"/>
              </a:rPr>
              <a:t>Premium features of dataflows</a:t>
            </a:r>
            <a:endParaRPr lang="en-US" sz="2000" dirty="0"/>
          </a:p>
          <a:p>
            <a:pPr algn="l"/>
            <a:r>
              <a:rPr lang="en-US" sz="2000" dirty="0">
                <a:hlinkClick r:id="rId4"/>
              </a:rPr>
              <a:t>Power Query SDK </a:t>
            </a:r>
            <a:r>
              <a:rPr lang="en-US" sz="2000" dirty="0"/>
              <a:t>for Visual Studio</a:t>
            </a:r>
          </a:p>
          <a:p>
            <a:pPr algn="l"/>
            <a:r>
              <a:rPr lang="en-US" sz="2000" dirty="0">
                <a:hlinkClick r:id="rId5"/>
              </a:rPr>
              <a:t>Power Query M / VS Code </a:t>
            </a:r>
            <a:endParaRPr lang="en-US" sz="2000" dirty="0"/>
          </a:p>
          <a:p>
            <a:pPr algn="l"/>
            <a:r>
              <a:rPr lang="en-US" sz="2000" dirty="0">
                <a:hlinkClick r:id="rId6"/>
              </a:rPr>
              <a:t>#shared keyword for all Power Query functions</a:t>
            </a:r>
            <a:endParaRPr lang="en-US" sz="2000" dirty="0"/>
          </a:p>
          <a:p>
            <a:pPr algn="l"/>
            <a:r>
              <a:rPr lang="en-US" sz="2000" dirty="0">
                <a:hlinkClick r:id="rId7"/>
              </a:rPr>
              <a:t>Column </a:t>
            </a:r>
            <a:r>
              <a:rPr lang="en-US" sz="2000" dirty="0" err="1">
                <a:hlinkClick r:id="rId7"/>
              </a:rPr>
              <a:t>Renamer</a:t>
            </a:r>
            <a:r>
              <a:rPr lang="en-US" sz="2000" dirty="0">
                <a:hlinkClick r:id="rId7"/>
              </a:rPr>
              <a:t> Custom Function</a:t>
            </a:r>
            <a:r>
              <a:rPr lang="en-US" sz="2000" dirty="0"/>
              <a:t> (Pascal Case)</a:t>
            </a:r>
          </a:p>
          <a:p>
            <a:pPr algn="l"/>
            <a:r>
              <a:rPr lang="en-US" sz="2000" dirty="0">
                <a:hlinkClick r:id="rId8"/>
              </a:rPr>
              <a:t>Column </a:t>
            </a:r>
            <a:r>
              <a:rPr lang="en-US" sz="2000" dirty="0" err="1">
                <a:hlinkClick r:id="rId8"/>
              </a:rPr>
              <a:t>Renamer</a:t>
            </a:r>
            <a:r>
              <a:rPr lang="en-US" sz="2000" dirty="0">
                <a:hlinkClick r:id="rId8"/>
              </a:rPr>
              <a:t> Custom Function </a:t>
            </a:r>
            <a:r>
              <a:rPr lang="en-US" sz="2000" dirty="0"/>
              <a:t>(Underscore)</a:t>
            </a:r>
          </a:p>
          <a:p>
            <a:pPr algn="l"/>
            <a:r>
              <a:rPr lang="en-US" sz="2000" dirty="0">
                <a:hlinkClick r:id="rId9"/>
              </a:rPr>
              <a:t>PowerBI.tips Business Ops </a:t>
            </a:r>
            <a:r>
              <a:rPr lang="en-US" sz="2000" dirty="0"/>
              <a:t>(a community collection of External Tools)</a:t>
            </a:r>
          </a:p>
          <a:p>
            <a:pPr algn="l"/>
            <a:r>
              <a:rPr lang="en-US" sz="2000" dirty="0">
                <a:hlinkClick r:id="rId10"/>
              </a:rPr>
              <a:t>Everything you wanted to know about Incremental Refresh in Power BI</a:t>
            </a:r>
            <a:endParaRPr lang="en-US" sz="2000" dirty="0"/>
          </a:p>
          <a:p>
            <a:pPr algn="l"/>
            <a:r>
              <a:rPr lang="en-US" sz="2000" dirty="0">
                <a:hlinkClick r:id="rId11"/>
              </a:rPr>
              <a:t>The </a:t>
            </a:r>
            <a:r>
              <a:rPr lang="en-US" sz="2000" dirty="0" err="1">
                <a:hlinkClick r:id="rId11"/>
              </a:rPr>
              <a:t>VertiPaq</a:t>
            </a:r>
            <a:r>
              <a:rPr lang="en-US" sz="2000" dirty="0">
                <a:hlinkClick r:id="rId11"/>
              </a:rPr>
              <a:t> Engine in DAX</a:t>
            </a:r>
            <a:endParaRPr lang="en-US" sz="2000" dirty="0"/>
          </a:p>
          <a:p>
            <a:pPr algn="l"/>
            <a:r>
              <a:rPr lang="en-US" sz="2000" dirty="0">
                <a:hlinkClick r:id="rId12"/>
              </a:rPr>
              <a:t>SQLBI Training</a:t>
            </a:r>
            <a:endParaRPr lang="en-US" sz="2000" dirty="0"/>
          </a:p>
          <a:p>
            <a:pPr algn="l"/>
            <a:r>
              <a:rPr lang="en-US" sz="2000" dirty="0">
                <a:hlinkClick r:id="rId13"/>
              </a:rPr>
              <a:t>Design effective reports in Power BI </a:t>
            </a:r>
            <a:endParaRPr lang="en-US" sz="2000" dirty="0"/>
          </a:p>
          <a:p>
            <a:pPr algn="l"/>
            <a:r>
              <a:rPr lang="en-US" sz="2000" dirty="0">
                <a:hlinkClick r:id="rId14"/>
              </a:rPr>
              <a:t>Themeable backgrounds for Power BI </a:t>
            </a:r>
            <a:r>
              <a:rPr lang="en-US" sz="2000" dirty="0"/>
              <a:t>(PowerPoint)</a:t>
            </a:r>
          </a:p>
          <a:p>
            <a:pPr algn="l"/>
            <a:r>
              <a:rPr lang="en-US" sz="2000" dirty="0">
                <a:hlinkClick r:id="rId15"/>
              </a:rPr>
              <a:t>Building a Data Culture</a:t>
            </a:r>
            <a:endParaRPr lang="en-US" sz="2000" dirty="0"/>
          </a:p>
          <a:p>
            <a:pPr algn="l"/>
            <a:r>
              <a:rPr lang="en-US" sz="2000" dirty="0">
                <a:hlinkClick r:id="rId16"/>
              </a:rPr>
              <a:t>Customer Success Stories</a:t>
            </a:r>
            <a:endParaRPr lang="en-US" sz="2000" dirty="0"/>
          </a:p>
          <a:p>
            <a:pPr algn="l"/>
            <a:r>
              <a:rPr lang="en-US" sz="2000" dirty="0">
                <a:hlinkClick r:id="rId17"/>
              </a:rPr>
              <a:t>Microsoft Stores Training</a:t>
            </a:r>
            <a:endParaRPr lang="en-US" sz="2000" dirty="0"/>
          </a:p>
          <a:p>
            <a:pPr algn="l"/>
            <a:r>
              <a:rPr lang="en-US" sz="2000" dirty="0">
                <a:hlinkClick r:id="rId18"/>
              </a:rPr>
              <a:t>Power BI guidance</a:t>
            </a:r>
            <a:endParaRPr lang="en-US" sz="2000" dirty="0"/>
          </a:p>
        </p:txBody>
      </p:sp>
    </p:spTree>
    <p:extLst>
      <p:ext uri="{BB962C8B-B14F-4D97-AF65-F5344CB8AC3E}">
        <p14:creationId xmlns:p14="http://schemas.microsoft.com/office/powerpoint/2010/main" val="258087863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2" name="Straight Connector 61">
            <a:extLst>
              <a:ext uri="{FF2B5EF4-FFF2-40B4-BE49-F238E27FC236}">
                <a16:creationId xmlns:a16="http://schemas.microsoft.com/office/drawing/2014/main" id="{55DE2BC9-2397-4D3A-8567-0C35EAAF04BF}"/>
              </a:ext>
            </a:extLst>
          </p:cNvPr>
          <p:cNvCxnSpPr>
            <a:cxnSpLocks/>
          </p:cNvCxnSpPr>
          <p:nvPr/>
        </p:nvCxnSpPr>
        <p:spPr>
          <a:xfrm>
            <a:off x="2646" y="1194817"/>
            <a:ext cx="12431184"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1" name="Title 1">
            <a:extLst>
              <a:ext uri="{FF2B5EF4-FFF2-40B4-BE49-F238E27FC236}">
                <a16:creationId xmlns:a16="http://schemas.microsoft.com/office/drawing/2014/main" id="{1E84D47B-CAAB-4150-8848-B4671587EFD5}"/>
              </a:ext>
            </a:extLst>
          </p:cNvPr>
          <p:cNvSpPr txBox="1">
            <a:spLocks/>
          </p:cNvSpPr>
          <p:nvPr/>
        </p:nvSpPr>
        <p:spPr>
          <a:xfrm>
            <a:off x="275985" y="296638"/>
            <a:ext cx="11884506" cy="917184"/>
          </a:xfrm>
          <a:prstGeom prst="rect">
            <a:avLst/>
          </a:prstGeom>
        </p:spPr>
        <p:txBody>
          <a:bodyPr vert="horz" wrap="square" lIns="149156" tIns="93222" rIns="149156" bIns="93222"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112">
              <a:defRPr/>
            </a:pPr>
            <a:r>
              <a:rPr lang="en-US" sz="4080" spc="0">
                <a:solidFill>
                  <a:srgbClr val="FFC000"/>
                </a:solidFill>
              </a:rPr>
              <a:t>Enterprise Architecture</a:t>
            </a:r>
          </a:p>
        </p:txBody>
      </p:sp>
      <p:sp>
        <p:nvSpPr>
          <p:cNvPr id="28" name="TextBox 27">
            <a:extLst>
              <a:ext uri="{FF2B5EF4-FFF2-40B4-BE49-F238E27FC236}">
                <a16:creationId xmlns:a16="http://schemas.microsoft.com/office/drawing/2014/main" id="{9E374483-B2C0-4286-B823-20F29BF06326}"/>
              </a:ext>
            </a:extLst>
          </p:cNvPr>
          <p:cNvSpPr txBox="1"/>
          <p:nvPr/>
        </p:nvSpPr>
        <p:spPr>
          <a:xfrm flipH="1">
            <a:off x="10631077" y="6681171"/>
            <a:ext cx="1678450" cy="188212"/>
          </a:xfrm>
          <a:prstGeom prst="rect">
            <a:avLst/>
          </a:prstGeom>
          <a:noFill/>
        </p:spPr>
        <p:txBody>
          <a:bodyPr wrap="square" lIns="0" tIns="0" rIns="0" bIns="0" rtlCol="0">
            <a:spAutoFit/>
          </a:bodyPr>
          <a:lstStyle/>
          <a:p>
            <a:pPr algn="l"/>
            <a:r>
              <a:rPr lang="en-US" sz="1199">
                <a:solidFill>
                  <a:schemeClr val="bg1">
                    <a:lumMod val="65000"/>
                  </a:schemeClr>
                </a:solidFill>
              </a:rPr>
              <a:t>* Not currently available</a:t>
            </a:r>
          </a:p>
        </p:txBody>
      </p:sp>
      <p:grpSp>
        <p:nvGrpSpPr>
          <p:cNvPr id="90" name="Group 89">
            <a:extLst>
              <a:ext uri="{FF2B5EF4-FFF2-40B4-BE49-F238E27FC236}">
                <a16:creationId xmlns:a16="http://schemas.microsoft.com/office/drawing/2014/main" id="{A02C1347-F432-4150-ADA2-3B80DD5777E4}"/>
              </a:ext>
            </a:extLst>
          </p:cNvPr>
          <p:cNvGrpSpPr/>
          <p:nvPr/>
        </p:nvGrpSpPr>
        <p:grpSpPr>
          <a:xfrm>
            <a:off x="2699642" y="1389112"/>
            <a:ext cx="9690351" cy="5308367"/>
            <a:chOff x="2111213" y="1388842"/>
            <a:chExt cx="9691588" cy="5309045"/>
          </a:xfrm>
        </p:grpSpPr>
        <p:grpSp>
          <p:nvGrpSpPr>
            <p:cNvPr id="50" name="Group 49">
              <a:extLst>
                <a:ext uri="{FF2B5EF4-FFF2-40B4-BE49-F238E27FC236}">
                  <a16:creationId xmlns:a16="http://schemas.microsoft.com/office/drawing/2014/main" id="{3E3B905B-0517-47A8-8474-796FD2A883E9}"/>
                </a:ext>
              </a:extLst>
            </p:cNvPr>
            <p:cNvGrpSpPr/>
            <p:nvPr/>
          </p:nvGrpSpPr>
          <p:grpSpPr>
            <a:xfrm>
              <a:off x="7032511" y="1459880"/>
              <a:ext cx="4770290" cy="5238007"/>
              <a:chOff x="7032626" y="1459591"/>
              <a:chExt cx="4770966" cy="5238750"/>
            </a:xfrm>
          </p:grpSpPr>
          <p:grpSp>
            <p:nvGrpSpPr>
              <p:cNvPr id="49" name="Group 48">
                <a:extLst>
                  <a:ext uri="{FF2B5EF4-FFF2-40B4-BE49-F238E27FC236}">
                    <a16:creationId xmlns:a16="http://schemas.microsoft.com/office/drawing/2014/main" id="{0424C2D8-727E-4D34-B969-B1F63298F899}"/>
                  </a:ext>
                </a:extLst>
              </p:cNvPr>
              <p:cNvGrpSpPr/>
              <p:nvPr/>
            </p:nvGrpSpPr>
            <p:grpSpPr>
              <a:xfrm>
                <a:off x="7032626" y="1459591"/>
                <a:ext cx="4770966" cy="5238750"/>
                <a:chOff x="7032626" y="1459591"/>
                <a:chExt cx="4770966" cy="5238750"/>
              </a:xfrm>
            </p:grpSpPr>
            <p:pic>
              <p:nvPicPr>
                <p:cNvPr id="44" name="Picture 2" descr="Graphical user interface, application, timeline&#10;&#10;Description automatically generated">
                  <a:extLst>
                    <a:ext uri="{FF2B5EF4-FFF2-40B4-BE49-F238E27FC236}">
                      <a16:creationId xmlns:a16="http://schemas.microsoft.com/office/drawing/2014/main" id="{84C6C524-68A9-4E14-B702-29542CEE25F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32626" y="1459591"/>
                  <a:ext cx="4762500" cy="5238750"/>
                </a:xfrm>
                <a:prstGeom prst="rect">
                  <a:avLst/>
                </a:prstGeom>
                <a:noFill/>
              </p:spPr>
            </p:pic>
            <p:sp>
              <p:nvSpPr>
                <p:cNvPr id="46" name="Rectangle 45">
                  <a:extLst>
                    <a:ext uri="{FF2B5EF4-FFF2-40B4-BE49-F238E27FC236}">
                      <a16:creationId xmlns:a16="http://schemas.microsoft.com/office/drawing/2014/main" id="{AE386A15-8367-4AAE-933B-D2338FC1DA5F}"/>
                    </a:ext>
                  </a:extLst>
                </p:cNvPr>
                <p:cNvSpPr/>
                <p:nvPr/>
              </p:nvSpPr>
              <p:spPr bwMode="auto">
                <a:xfrm>
                  <a:off x="9206988" y="3596792"/>
                  <a:ext cx="2596604" cy="81703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5" name="Rectangle 44">
                <a:extLst>
                  <a:ext uri="{FF2B5EF4-FFF2-40B4-BE49-F238E27FC236}">
                    <a16:creationId xmlns:a16="http://schemas.microsoft.com/office/drawing/2014/main" id="{240391F7-E9BA-4CD2-B6BA-6011D0A8A85D}"/>
                  </a:ext>
                </a:extLst>
              </p:cNvPr>
              <p:cNvSpPr/>
              <p:nvPr/>
            </p:nvSpPr>
            <p:spPr bwMode="auto">
              <a:xfrm>
                <a:off x="8241788" y="1624189"/>
                <a:ext cx="2007114" cy="86077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7" name="Rectangle 46">
              <a:extLst>
                <a:ext uri="{FF2B5EF4-FFF2-40B4-BE49-F238E27FC236}">
                  <a16:creationId xmlns:a16="http://schemas.microsoft.com/office/drawing/2014/main" id="{F72BFC3D-B81F-4A47-A539-C612E0A68246}"/>
                </a:ext>
              </a:extLst>
            </p:cNvPr>
            <p:cNvSpPr/>
            <p:nvPr/>
          </p:nvSpPr>
          <p:spPr bwMode="auto">
            <a:xfrm>
              <a:off x="6790514" y="3603050"/>
              <a:ext cx="2469765" cy="8169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9" name="Group 38">
              <a:extLst>
                <a:ext uri="{FF2B5EF4-FFF2-40B4-BE49-F238E27FC236}">
                  <a16:creationId xmlns:a16="http://schemas.microsoft.com/office/drawing/2014/main" id="{671E296F-37E1-42F4-AA2B-C07E2C78281D}"/>
                </a:ext>
              </a:extLst>
            </p:cNvPr>
            <p:cNvGrpSpPr/>
            <p:nvPr/>
          </p:nvGrpSpPr>
          <p:grpSpPr>
            <a:xfrm>
              <a:off x="10242429" y="3595692"/>
              <a:ext cx="1033579" cy="862658"/>
              <a:chOff x="7844068" y="3809762"/>
              <a:chExt cx="1371600" cy="1144781"/>
            </a:xfrm>
          </p:grpSpPr>
          <p:grpSp>
            <p:nvGrpSpPr>
              <p:cNvPr id="14" name="Group 13">
                <a:extLst>
                  <a:ext uri="{FF2B5EF4-FFF2-40B4-BE49-F238E27FC236}">
                    <a16:creationId xmlns:a16="http://schemas.microsoft.com/office/drawing/2014/main" id="{EFBA5682-3143-44B3-A13D-8F5430E4B155}"/>
                  </a:ext>
                </a:extLst>
              </p:cNvPr>
              <p:cNvGrpSpPr/>
              <p:nvPr/>
            </p:nvGrpSpPr>
            <p:grpSpPr>
              <a:xfrm>
                <a:off x="8030905" y="3809762"/>
                <a:ext cx="997927" cy="823591"/>
                <a:chOff x="2645833" y="2870200"/>
                <a:chExt cx="1405467" cy="1159933"/>
              </a:xfrm>
            </p:grpSpPr>
            <p:sp>
              <p:nvSpPr>
                <p:cNvPr id="8" name="Rectangle 7">
                  <a:extLst>
                    <a:ext uri="{FF2B5EF4-FFF2-40B4-BE49-F238E27FC236}">
                      <a16:creationId xmlns:a16="http://schemas.microsoft.com/office/drawing/2014/main" id="{35671536-D6CA-42D2-8947-3041407A4A2C}"/>
                    </a:ext>
                  </a:extLst>
                </p:cNvPr>
                <p:cNvSpPr/>
                <p:nvPr/>
              </p:nvSpPr>
              <p:spPr bwMode="auto">
                <a:xfrm>
                  <a:off x="2645833" y="2870200"/>
                  <a:ext cx="1405467" cy="1159933"/>
                </a:xfrm>
                <a:prstGeom prst="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0" name="Rectangle 9">
                  <a:extLst>
                    <a:ext uri="{FF2B5EF4-FFF2-40B4-BE49-F238E27FC236}">
                      <a16:creationId xmlns:a16="http://schemas.microsoft.com/office/drawing/2014/main" id="{3FD0DF59-B18D-4AF7-B399-9FF3ADD320FE}"/>
                    </a:ext>
                  </a:extLst>
                </p:cNvPr>
                <p:cNvSpPr/>
                <p:nvPr/>
              </p:nvSpPr>
              <p:spPr bwMode="auto">
                <a:xfrm>
                  <a:off x="2798234" y="3387195"/>
                  <a:ext cx="321734" cy="639233"/>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41E2B655-FFC8-4F25-B800-9FF690A24487}"/>
                    </a:ext>
                  </a:extLst>
                </p:cNvPr>
                <p:cNvSpPr/>
                <p:nvPr/>
              </p:nvSpPr>
              <p:spPr bwMode="auto">
                <a:xfrm>
                  <a:off x="3187699" y="3543300"/>
                  <a:ext cx="321734" cy="483128"/>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Rectangle 12">
                  <a:extLst>
                    <a:ext uri="{FF2B5EF4-FFF2-40B4-BE49-F238E27FC236}">
                      <a16:creationId xmlns:a16="http://schemas.microsoft.com/office/drawing/2014/main" id="{EF32839B-7C0D-4669-84E2-0878E8FD1514}"/>
                    </a:ext>
                  </a:extLst>
                </p:cNvPr>
                <p:cNvSpPr/>
                <p:nvPr/>
              </p:nvSpPr>
              <p:spPr bwMode="auto">
                <a:xfrm>
                  <a:off x="3577164" y="3107268"/>
                  <a:ext cx="321734" cy="919160"/>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37" name="TextBox 36">
                <a:extLst>
                  <a:ext uri="{FF2B5EF4-FFF2-40B4-BE49-F238E27FC236}">
                    <a16:creationId xmlns:a16="http://schemas.microsoft.com/office/drawing/2014/main" id="{C882D750-BE51-4549-B869-AB7240691A68}"/>
                  </a:ext>
                </a:extLst>
              </p:cNvPr>
              <p:cNvSpPr txBox="1"/>
              <p:nvPr/>
            </p:nvSpPr>
            <p:spPr>
              <a:xfrm>
                <a:off x="7844068" y="4704779"/>
                <a:ext cx="1371600" cy="249764"/>
              </a:xfrm>
              <a:prstGeom prst="rect">
                <a:avLst/>
              </a:prstGeom>
              <a:noFill/>
            </p:spPr>
            <p:txBody>
              <a:bodyPr wrap="square" lIns="0" tIns="0" rIns="0" bIns="0" rtlCol="0">
                <a:spAutoFit/>
              </a:bodyPr>
              <a:lstStyle/>
              <a:p>
                <a:pPr algn="ctr"/>
                <a:r>
                  <a:rPr lang="en-US" sz="1199" b="1"/>
                  <a:t>Report</a:t>
                </a:r>
              </a:p>
            </p:txBody>
          </p:sp>
        </p:grpSp>
        <p:grpSp>
          <p:nvGrpSpPr>
            <p:cNvPr id="40" name="Group 39">
              <a:extLst>
                <a:ext uri="{FF2B5EF4-FFF2-40B4-BE49-F238E27FC236}">
                  <a16:creationId xmlns:a16="http://schemas.microsoft.com/office/drawing/2014/main" id="{1789B7DF-9B50-469F-B8A1-673A042FBE87}"/>
                </a:ext>
              </a:extLst>
            </p:cNvPr>
            <p:cNvGrpSpPr/>
            <p:nvPr/>
          </p:nvGrpSpPr>
          <p:grpSpPr>
            <a:xfrm>
              <a:off x="8530996" y="1568015"/>
              <a:ext cx="1973687" cy="1068565"/>
              <a:chOff x="4986609" y="3711128"/>
              <a:chExt cx="1703389" cy="922225"/>
            </a:xfrm>
          </p:grpSpPr>
          <p:pic>
            <p:nvPicPr>
              <p:cNvPr id="4" name="Picture 2" descr="Icon&#10;&#10;Description automatically generated">
                <a:extLst>
                  <a:ext uri="{FF2B5EF4-FFF2-40B4-BE49-F238E27FC236}">
                    <a16:creationId xmlns:a16="http://schemas.microsoft.com/office/drawing/2014/main" id="{34318212-1D5A-4607-885B-2069D3E74273}"/>
                  </a:ext>
                </a:extLst>
              </p:cNvPr>
              <p:cNvPicPr>
                <a:picLocks noChangeAspect="1" noChangeArrowheads="1"/>
              </p:cNvPicPr>
              <p:nvPr/>
            </p:nvPicPr>
            <p:blipFill rotWithShape="1">
              <a:blip r:embed="rId4">
                <a:biLevel thresh="75000"/>
                <a:extLst>
                  <a:ext uri="{28A0092B-C50C-407E-A947-70E740481C1C}">
                    <a14:useLocalDpi xmlns:a14="http://schemas.microsoft.com/office/drawing/2010/main" val="0"/>
                  </a:ext>
                </a:extLst>
              </a:blip>
              <a:srcRect l="15179" r="14947"/>
              <a:stretch/>
            </p:blipFill>
            <p:spPr bwMode="auto">
              <a:xfrm>
                <a:off x="4986609" y="3711128"/>
                <a:ext cx="1231628" cy="922225"/>
              </a:xfrm>
              <a:prstGeom prst="rect">
                <a:avLst/>
              </a:prstGeom>
              <a:noFill/>
            </p:spPr>
          </p:pic>
          <p:sp>
            <p:nvSpPr>
              <p:cNvPr id="35" name="TextBox 34">
                <a:extLst>
                  <a:ext uri="{FF2B5EF4-FFF2-40B4-BE49-F238E27FC236}">
                    <a16:creationId xmlns:a16="http://schemas.microsoft.com/office/drawing/2014/main" id="{5E18F239-4843-44C9-B43E-1EFCE09F1F38}"/>
                  </a:ext>
                </a:extLst>
              </p:cNvPr>
              <p:cNvSpPr txBox="1"/>
              <p:nvPr/>
            </p:nvSpPr>
            <p:spPr>
              <a:xfrm>
                <a:off x="5689600" y="4347567"/>
                <a:ext cx="1000398" cy="159266"/>
              </a:xfrm>
              <a:prstGeom prst="rect">
                <a:avLst/>
              </a:prstGeom>
              <a:noFill/>
            </p:spPr>
            <p:txBody>
              <a:bodyPr wrap="square" lIns="0" tIns="0" rIns="0" bIns="0" rtlCol="0">
                <a:spAutoFit/>
              </a:bodyPr>
              <a:lstStyle/>
              <a:p>
                <a:r>
                  <a:rPr lang="en-US" sz="1199" b="1"/>
                  <a:t>Dataset</a:t>
                </a:r>
              </a:p>
            </p:txBody>
          </p:sp>
        </p:grpSp>
        <p:sp>
          <p:nvSpPr>
            <p:cNvPr id="54" name="Rectangle 53">
              <a:extLst>
                <a:ext uri="{FF2B5EF4-FFF2-40B4-BE49-F238E27FC236}">
                  <a16:creationId xmlns:a16="http://schemas.microsoft.com/office/drawing/2014/main" id="{D34DFAB4-E676-4BCA-9454-05B3DCC513FF}"/>
                </a:ext>
              </a:extLst>
            </p:cNvPr>
            <p:cNvSpPr/>
            <p:nvPr/>
          </p:nvSpPr>
          <p:spPr bwMode="auto">
            <a:xfrm>
              <a:off x="7937852" y="4492531"/>
              <a:ext cx="855012" cy="104745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42" name="Group 41">
              <a:extLst>
                <a:ext uri="{FF2B5EF4-FFF2-40B4-BE49-F238E27FC236}">
                  <a16:creationId xmlns:a16="http://schemas.microsoft.com/office/drawing/2014/main" id="{18A2D266-7E13-47A8-95ED-AA155D90A233}"/>
                </a:ext>
              </a:extLst>
            </p:cNvPr>
            <p:cNvGrpSpPr/>
            <p:nvPr/>
          </p:nvGrpSpPr>
          <p:grpSpPr>
            <a:xfrm>
              <a:off x="7438976" y="3596776"/>
              <a:ext cx="1169779" cy="1105015"/>
              <a:chOff x="2692600" y="3639705"/>
              <a:chExt cx="1284333" cy="1213228"/>
            </a:xfrm>
          </p:grpSpPr>
          <p:pic>
            <p:nvPicPr>
              <p:cNvPr id="7" name="Picture 6" descr="Icon&#10;&#10;Description automatically generated">
                <a:extLst>
                  <a:ext uri="{FF2B5EF4-FFF2-40B4-BE49-F238E27FC236}">
                    <a16:creationId xmlns:a16="http://schemas.microsoft.com/office/drawing/2014/main" id="{7F06E1A9-0A28-4317-A6FA-7D4C9B48E363}"/>
                  </a:ext>
                </a:extLst>
              </p:cNvPr>
              <p:cNvPicPr>
                <a:picLocks noChangeAspect="1"/>
              </p:cNvPicPr>
              <p:nvPr/>
            </p:nvPicPr>
            <p:blipFill rotWithShape="1">
              <a:blip r:embed="rId5"/>
              <a:srcRect t="9307"/>
              <a:stretch/>
            </p:blipFill>
            <p:spPr>
              <a:xfrm>
                <a:off x="2717799" y="3639705"/>
                <a:ext cx="1174371" cy="1065073"/>
              </a:xfrm>
              <a:prstGeom prst="rect">
                <a:avLst/>
              </a:prstGeom>
            </p:spPr>
          </p:pic>
          <p:sp>
            <p:nvSpPr>
              <p:cNvPr id="33" name="TextBox 32">
                <a:extLst>
                  <a:ext uri="{FF2B5EF4-FFF2-40B4-BE49-F238E27FC236}">
                    <a16:creationId xmlns:a16="http://schemas.microsoft.com/office/drawing/2014/main" id="{E4F64060-06A3-4899-A4E4-F61B95CE46B3}"/>
                  </a:ext>
                </a:extLst>
              </p:cNvPr>
              <p:cNvSpPr txBox="1"/>
              <p:nvPr/>
            </p:nvSpPr>
            <p:spPr>
              <a:xfrm>
                <a:off x="2692600" y="4650324"/>
                <a:ext cx="1284333" cy="202609"/>
              </a:xfrm>
              <a:prstGeom prst="rect">
                <a:avLst/>
              </a:prstGeom>
              <a:noFill/>
            </p:spPr>
            <p:txBody>
              <a:bodyPr wrap="square" lIns="0" tIns="0" rIns="0" bIns="0" rtlCol="0">
                <a:spAutoFit/>
              </a:bodyPr>
              <a:lstStyle/>
              <a:p>
                <a:pPr algn="ctr"/>
                <a:r>
                  <a:rPr lang="en-US" sz="1199" b="1"/>
                  <a:t>Dataflow</a:t>
                </a:r>
              </a:p>
            </p:txBody>
          </p:sp>
        </p:grpSp>
        <p:sp>
          <p:nvSpPr>
            <p:cNvPr id="55" name="Isosceles Triangle 54">
              <a:extLst>
                <a:ext uri="{FF2B5EF4-FFF2-40B4-BE49-F238E27FC236}">
                  <a16:creationId xmlns:a16="http://schemas.microsoft.com/office/drawing/2014/main" id="{94533816-BC6B-4A4B-B6EE-47E9FC3412A4}"/>
                </a:ext>
              </a:extLst>
            </p:cNvPr>
            <p:cNvSpPr/>
            <p:nvPr/>
          </p:nvSpPr>
          <p:spPr bwMode="auto">
            <a:xfrm rot="5400000">
              <a:off x="8159141" y="2024727"/>
              <a:ext cx="76109" cy="119709"/>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6" name="TextBox 55">
              <a:extLst>
                <a:ext uri="{FF2B5EF4-FFF2-40B4-BE49-F238E27FC236}">
                  <a16:creationId xmlns:a16="http://schemas.microsoft.com/office/drawing/2014/main" id="{FE4BE72A-7E76-4C53-8311-395AA519431E}"/>
                </a:ext>
              </a:extLst>
            </p:cNvPr>
            <p:cNvSpPr txBox="1"/>
            <p:nvPr/>
          </p:nvSpPr>
          <p:spPr>
            <a:xfrm>
              <a:off x="9721903" y="2848798"/>
              <a:ext cx="2072432" cy="250992"/>
            </a:xfrm>
            <a:prstGeom prst="rect">
              <a:avLst/>
            </a:prstGeom>
            <a:solidFill>
              <a:schemeClr val="bg1"/>
            </a:solidFill>
          </p:spPr>
          <p:txBody>
            <a:bodyPr wrap="square" lIns="0" tIns="0" rIns="0" bIns="0" rtlCol="0">
              <a:spAutoFit/>
            </a:bodyPr>
            <a:lstStyle/>
            <a:p>
              <a:pPr algn="ctr"/>
              <a:r>
                <a:rPr lang="en-US" sz="1599" b="1"/>
                <a:t>INTERACTS</a:t>
              </a:r>
            </a:p>
          </p:txBody>
        </p:sp>
        <p:sp>
          <p:nvSpPr>
            <p:cNvPr id="58" name="TextBox 57">
              <a:extLst>
                <a:ext uri="{FF2B5EF4-FFF2-40B4-BE49-F238E27FC236}">
                  <a16:creationId xmlns:a16="http://schemas.microsoft.com/office/drawing/2014/main" id="{A8C212E9-E63F-4D19-AA2C-DF4FB6F76F0E}"/>
                </a:ext>
              </a:extLst>
            </p:cNvPr>
            <p:cNvSpPr txBox="1"/>
            <p:nvPr/>
          </p:nvSpPr>
          <p:spPr>
            <a:xfrm>
              <a:off x="7406058" y="2848670"/>
              <a:ext cx="1003478" cy="250992"/>
            </a:xfrm>
            <a:prstGeom prst="rect">
              <a:avLst/>
            </a:prstGeom>
            <a:solidFill>
              <a:schemeClr val="bg1"/>
            </a:solidFill>
          </p:spPr>
          <p:txBody>
            <a:bodyPr wrap="square" lIns="0" tIns="0" rIns="0" bIns="0" rtlCol="0">
              <a:spAutoFit/>
            </a:bodyPr>
            <a:lstStyle/>
            <a:p>
              <a:pPr algn="ctr"/>
              <a:r>
                <a:rPr lang="en-US" sz="1599" b="1"/>
                <a:t>READS</a:t>
              </a:r>
            </a:p>
          </p:txBody>
        </p:sp>
        <p:graphicFrame>
          <p:nvGraphicFramePr>
            <p:cNvPr id="59" name="Object 58">
              <a:extLst>
                <a:ext uri="{FF2B5EF4-FFF2-40B4-BE49-F238E27FC236}">
                  <a16:creationId xmlns:a16="http://schemas.microsoft.com/office/drawing/2014/main" id="{DB77EB55-3EE6-4D54-8125-1363BF6F12FC}"/>
                </a:ext>
              </a:extLst>
            </p:cNvPr>
            <p:cNvGraphicFramePr>
              <a:graphicFrameLocks noChangeAspect="1"/>
            </p:cNvGraphicFramePr>
            <p:nvPr>
              <p:extLst>
                <p:ext uri="{D42A27DB-BD31-4B8C-83A1-F6EECF244321}">
                  <p14:modId xmlns:p14="http://schemas.microsoft.com/office/powerpoint/2010/main" val="1255699878"/>
                </p:ext>
              </p:extLst>
            </p:nvPr>
          </p:nvGraphicFramePr>
          <p:xfrm>
            <a:off x="8191149" y="1454542"/>
            <a:ext cx="315395" cy="362705"/>
          </p:xfrm>
          <a:graphic>
            <a:graphicData uri="http://schemas.openxmlformats.org/presentationml/2006/ole">
              <mc:AlternateContent xmlns:mc="http://schemas.openxmlformats.org/markup-compatibility/2006">
                <mc:Choice xmlns:v="urn:schemas-microsoft-com:vml" Requires="v">
                  <p:oleObj name="Bitmap Image" r:id="rId6" imgW="1397160" imgH="1606680" progId="Paint.Picture.1">
                    <p:embed/>
                  </p:oleObj>
                </mc:Choice>
                <mc:Fallback>
                  <p:oleObj name="Bitmap Image" r:id="rId6" imgW="1397160" imgH="1606680" progId="Paint.Picture.1">
                    <p:embed/>
                    <p:pic>
                      <p:nvPicPr>
                        <p:cNvPr id="59" name="Object 58">
                          <a:extLst>
                            <a:ext uri="{FF2B5EF4-FFF2-40B4-BE49-F238E27FC236}">
                              <a16:creationId xmlns:a16="http://schemas.microsoft.com/office/drawing/2014/main" id="{DB77EB55-3EE6-4D54-8125-1363BF6F12FC}"/>
                            </a:ext>
                          </a:extLst>
                        </p:cNvPr>
                        <p:cNvPicPr/>
                        <p:nvPr/>
                      </p:nvPicPr>
                      <p:blipFill>
                        <a:blip r:embed="rId7"/>
                        <a:stretch>
                          <a:fillRect/>
                        </a:stretch>
                      </p:blipFill>
                      <p:spPr>
                        <a:xfrm>
                          <a:off x="8191149" y="1454542"/>
                          <a:ext cx="315395" cy="362705"/>
                        </a:xfrm>
                        <a:prstGeom prst="rect">
                          <a:avLst/>
                        </a:prstGeom>
                      </p:spPr>
                    </p:pic>
                  </p:oleObj>
                </mc:Fallback>
              </mc:AlternateContent>
            </a:graphicData>
          </a:graphic>
        </p:graphicFrame>
        <p:graphicFrame>
          <p:nvGraphicFramePr>
            <p:cNvPr id="60" name="Object 59">
              <a:extLst>
                <a:ext uri="{FF2B5EF4-FFF2-40B4-BE49-F238E27FC236}">
                  <a16:creationId xmlns:a16="http://schemas.microsoft.com/office/drawing/2014/main" id="{75BA24B2-CE25-4A35-B1B2-676AC42B0CE1}"/>
                </a:ext>
              </a:extLst>
            </p:cNvPr>
            <p:cNvGraphicFramePr>
              <a:graphicFrameLocks noChangeAspect="1"/>
            </p:cNvGraphicFramePr>
            <p:nvPr>
              <p:extLst>
                <p:ext uri="{D42A27DB-BD31-4B8C-83A1-F6EECF244321}">
                  <p14:modId xmlns:p14="http://schemas.microsoft.com/office/powerpoint/2010/main" val="986640706"/>
                </p:ext>
              </p:extLst>
            </p:nvPr>
          </p:nvGraphicFramePr>
          <p:xfrm>
            <a:off x="10011770" y="3519788"/>
            <a:ext cx="315395" cy="362705"/>
          </p:xfrm>
          <a:graphic>
            <a:graphicData uri="http://schemas.openxmlformats.org/presentationml/2006/ole">
              <mc:AlternateContent xmlns:mc="http://schemas.openxmlformats.org/markup-compatibility/2006">
                <mc:Choice xmlns:v="urn:schemas-microsoft-com:vml" Requires="v">
                  <p:oleObj name="Bitmap Image" r:id="rId8" imgW="1397160" imgH="1606680" progId="Paint.Picture.1">
                    <p:embed/>
                  </p:oleObj>
                </mc:Choice>
                <mc:Fallback>
                  <p:oleObj name="Bitmap Image" r:id="rId8" imgW="1397160" imgH="1606680" progId="Paint.Picture.1">
                    <p:embed/>
                    <p:pic>
                      <p:nvPicPr>
                        <p:cNvPr id="60" name="Object 59">
                          <a:extLst>
                            <a:ext uri="{FF2B5EF4-FFF2-40B4-BE49-F238E27FC236}">
                              <a16:creationId xmlns:a16="http://schemas.microsoft.com/office/drawing/2014/main" id="{75BA24B2-CE25-4A35-B1B2-676AC42B0CE1}"/>
                            </a:ext>
                          </a:extLst>
                        </p:cNvPr>
                        <p:cNvPicPr/>
                        <p:nvPr/>
                      </p:nvPicPr>
                      <p:blipFill>
                        <a:blip r:embed="rId7"/>
                        <a:stretch>
                          <a:fillRect/>
                        </a:stretch>
                      </p:blipFill>
                      <p:spPr>
                        <a:xfrm>
                          <a:off x="10011770" y="3519788"/>
                          <a:ext cx="315395" cy="362705"/>
                        </a:xfrm>
                        <a:prstGeom prst="rect">
                          <a:avLst/>
                        </a:prstGeom>
                      </p:spPr>
                    </p:pic>
                  </p:oleObj>
                </mc:Fallback>
              </mc:AlternateContent>
            </a:graphicData>
          </a:graphic>
        </p:graphicFrame>
        <p:sp>
          <p:nvSpPr>
            <p:cNvPr id="65" name="TextBox 64">
              <a:extLst>
                <a:ext uri="{FF2B5EF4-FFF2-40B4-BE49-F238E27FC236}">
                  <a16:creationId xmlns:a16="http://schemas.microsoft.com/office/drawing/2014/main" id="{98ECB16D-486B-4121-9027-D311CB8344F9}"/>
                </a:ext>
              </a:extLst>
            </p:cNvPr>
            <p:cNvSpPr txBox="1"/>
            <p:nvPr/>
          </p:nvSpPr>
          <p:spPr>
            <a:xfrm>
              <a:off x="8226543" y="1832067"/>
              <a:ext cx="271395" cy="125562"/>
            </a:xfrm>
            <a:prstGeom prst="rect">
              <a:avLst/>
            </a:prstGeom>
            <a:noFill/>
          </p:spPr>
          <p:txBody>
            <a:bodyPr wrap="none" lIns="0" tIns="0" rIns="0" bIns="0" rtlCol="0">
              <a:spAutoFit/>
            </a:bodyPr>
            <a:lstStyle/>
            <a:p>
              <a:pPr algn="ctr"/>
              <a:r>
                <a:rPr lang="en-US" sz="800"/>
                <a:t>XMLA</a:t>
              </a:r>
            </a:p>
          </p:txBody>
        </p:sp>
        <p:sp>
          <p:nvSpPr>
            <p:cNvPr id="43" name="Rectangle 42">
              <a:extLst>
                <a:ext uri="{FF2B5EF4-FFF2-40B4-BE49-F238E27FC236}">
                  <a16:creationId xmlns:a16="http://schemas.microsoft.com/office/drawing/2014/main" id="{9203A5C4-B981-4536-B1A0-61D1A890F4A7}"/>
                </a:ext>
              </a:extLst>
            </p:cNvPr>
            <p:cNvSpPr/>
            <p:nvPr/>
          </p:nvSpPr>
          <p:spPr bwMode="auto">
            <a:xfrm>
              <a:off x="2111213" y="3480001"/>
              <a:ext cx="2469765" cy="8169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6" name="TextBox 75">
              <a:extLst>
                <a:ext uri="{FF2B5EF4-FFF2-40B4-BE49-F238E27FC236}">
                  <a16:creationId xmlns:a16="http://schemas.microsoft.com/office/drawing/2014/main" id="{B4A4E8D6-ADD6-47D0-93C3-9F2714FB2EA8}"/>
                </a:ext>
              </a:extLst>
            </p:cNvPr>
            <p:cNvSpPr txBox="1"/>
            <p:nvPr/>
          </p:nvSpPr>
          <p:spPr>
            <a:xfrm>
              <a:off x="4302638" y="3203532"/>
              <a:ext cx="2072432" cy="250992"/>
            </a:xfrm>
            <a:prstGeom prst="rect">
              <a:avLst/>
            </a:prstGeom>
            <a:solidFill>
              <a:schemeClr val="bg1"/>
            </a:solidFill>
          </p:spPr>
          <p:txBody>
            <a:bodyPr wrap="square" lIns="0" tIns="0" rIns="0" bIns="0" rtlCol="0">
              <a:spAutoFit/>
            </a:bodyPr>
            <a:lstStyle/>
            <a:p>
              <a:pPr algn="ctr"/>
              <a:r>
                <a:rPr lang="en-US" sz="1599" b="1"/>
                <a:t>INTERACTS</a:t>
              </a:r>
            </a:p>
          </p:txBody>
        </p:sp>
        <p:pic>
          <p:nvPicPr>
            <p:cNvPr id="6" name="Picture 5" descr="A picture containing shape&#10;&#10;Description automatically generated">
              <a:extLst>
                <a:ext uri="{FF2B5EF4-FFF2-40B4-BE49-F238E27FC236}">
                  <a16:creationId xmlns:a16="http://schemas.microsoft.com/office/drawing/2014/main" id="{6DF7B88C-46A3-4491-9C62-C41E9EAED971}"/>
                </a:ext>
              </a:extLst>
            </p:cNvPr>
            <p:cNvPicPr>
              <a:picLocks noChangeAspect="1"/>
            </p:cNvPicPr>
            <p:nvPr/>
          </p:nvPicPr>
          <p:blipFill rotWithShape="1">
            <a:blip r:embed="rId9"/>
            <a:srcRect l="43288" b="64024"/>
            <a:stretch/>
          </p:blipFill>
          <p:spPr>
            <a:xfrm flipH="1">
              <a:off x="7403035" y="2052717"/>
              <a:ext cx="496922" cy="399747"/>
            </a:xfrm>
            <a:prstGeom prst="rect">
              <a:avLst/>
            </a:prstGeom>
          </p:spPr>
        </p:pic>
        <p:pic>
          <p:nvPicPr>
            <p:cNvPr id="9" name="Picture 8" descr="A picture containing shape&#10;&#10;Description automatically generated">
              <a:extLst>
                <a:ext uri="{FF2B5EF4-FFF2-40B4-BE49-F238E27FC236}">
                  <a16:creationId xmlns:a16="http://schemas.microsoft.com/office/drawing/2014/main" id="{478C1DA6-56C7-427D-8FCB-F1C052E37B06}"/>
                </a:ext>
              </a:extLst>
            </p:cNvPr>
            <p:cNvPicPr>
              <a:picLocks noChangeAspect="1"/>
            </p:cNvPicPr>
            <p:nvPr/>
          </p:nvPicPr>
          <p:blipFill rotWithShape="1">
            <a:blip r:embed="rId9"/>
            <a:srcRect l="29299" t="-1" r="-1" b="712"/>
            <a:stretch/>
          </p:blipFill>
          <p:spPr>
            <a:xfrm rot="10800000" flipV="1">
              <a:off x="4780787" y="2118299"/>
              <a:ext cx="687072" cy="1103251"/>
            </a:xfrm>
            <a:prstGeom prst="rect">
              <a:avLst/>
            </a:prstGeom>
          </p:spPr>
        </p:pic>
        <p:cxnSp>
          <p:nvCxnSpPr>
            <p:cNvPr id="15" name="Straight Connector 14">
              <a:extLst>
                <a:ext uri="{FF2B5EF4-FFF2-40B4-BE49-F238E27FC236}">
                  <a16:creationId xmlns:a16="http://schemas.microsoft.com/office/drawing/2014/main" id="{97052D40-8B65-4E90-AC6A-804CDE029073}"/>
                </a:ext>
              </a:extLst>
            </p:cNvPr>
            <p:cNvCxnSpPr/>
            <p:nvPr/>
          </p:nvCxnSpPr>
          <p:spPr>
            <a:xfrm>
              <a:off x="5364262" y="3488889"/>
              <a:ext cx="0" cy="330153"/>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7" name="Picture 16" descr="Graphical user interface, application&#10;&#10;Description automatically generated with medium confidence">
              <a:extLst>
                <a:ext uri="{FF2B5EF4-FFF2-40B4-BE49-F238E27FC236}">
                  <a16:creationId xmlns:a16="http://schemas.microsoft.com/office/drawing/2014/main" id="{C1E84FA3-1259-4F14-8473-DAA0F26C70AF}"/>
                </a:ext>
              </a:extLst>
            </p:cNvPr>
            <p:cNvPicPr>
              <a:picLocks noChangeAspect="1"/>
            </p:cNvPicPr>
            <p:nvPr/>
          </p:nvPicPr>
          <p:blipFill rotWithShape="1">
            <a:blip r:embed="rId10"/>
            <a:srcRect l="51672" t="47087" r="29436" b="12584"/>
            <a:stretch/>
          </p:blipFill>
          <p:spPr>
            <a:xfrm>
              <a:off x="3651977" y="5446476"/>
              <a:ext cx="926216" cy="900358"/>
            </a:xfrm>
            <a:prstGeom prst="rect">
              <a:avLst/>
            </a:prstGeom>
          </p:spPr>
        </p:pic>
        <p:pic>
          <p:nvPicPr>
            <p:cNvPr id="19" name="Picture 18" descr="A picture containing shape&#10;&#10;Description automatically generated">
              <a:extLst>
                <a:ext uri="{FF2B5EF4-FFF2-40B4-BE49-F238E27FC236}">
                  <a16:creationId xmlns:a16="http://schemas.microsoft.com/office/drawing/2014/main" id="{42BC1BDE-2E7A-4D91-AF88-AC7EFBFE7ABE}"/>
                </a:ext>
              </a:extLst>
            </p:cNvPr>
            <p:cNvPicPr>
              <a:picLocks noChangeAspect="1"/>
            </p:cNvPicPr>
            <p:nvPr/>
          </p:nvPicPr>
          <p:blipFill rotWithShape="1">
            <a:blip r:embed="rId9"/>
            <a:srcRect l="29299" t="-1" r="-1" b="26481"/>
            <a:stretch/>
          </p:blipFill>
          <p:spPr>
            <a:xfrm rot="10800000" flipH="1" flipV="1">
              <a:off x="4268441" y="4154652"/>
              <a:ext cx="619505" cy="816919"/>
            </a:xfrm>
            <a:prstGeom prst="rect">
              <a:avLst/>
            </a:prstGeom>
          </p:spPr>
        </p:pic>
        <p:sp>
          <p:nvSpPr>
            <p:cNvPr id="74" name="Rectangle 73">
              <a:extLst>
                <a:ext uri="{FF2B5EF4-FFF2-40B4-BE49-F238E27FC236}">
                  <a16:creationId xmlns:a16="http://schemas.microsoft.com/office/drawing/2014/main" id="{150B0078-5137-4570-A14C-BAD727578D1D}"/>
                </a:ext>
              </a:extLst>
            </p:cNvPr>
            <p:cNvSpPr/>
            <p:nvPr/>
          </p:nvSpPr>
          <p:spPr bwMode="auto">
            <a:xfrm>
              <a:off x="4465572" y="5308581"/>
              <a:ext cx="646042" cy="3004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A0EE2B87-169B-4AE4-B58B-1A2F5375E888}"/>
                </a:ext>
              </a:extLst>
            </p:cNvPr>
            <p:cNvCxnSpPr>
              <a:cxnSpLocks/>
            </p:cNvCxnSpPr>
            <p:nvPr/>
          </p:nvCxnSpPr>
          <p:spPr>
            <a:xfrm>
              <a:off x="4363675" y="5339760"/>
              <a:ext cx="0" cy="182749"/>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9F85365C-9877-49CB-8158-C6B3692A07BA}"/>
                </a:ext>
              </a:extLst>
            </p:cNvPr>
            <p:cNvSpPr txBox="1"/>
            <p:nvPr/>
          </p:nvSpPr>
          <p:spPr>
            <a:xfrm>
              <a:off x="3266423" y="5010919"/>
              <a:ext cx="2072432" cy="250992"/>
            </a:xfrm>
            <a:prstGeom prst="rect">
              <a:avLst/>
            </a:prstGeom>
            <a:solidFill>
              <a:schemeClr val="bg1"/>
            </a:solidFill>
          </p:spPr>
          <p:txBody>
            <a:bodyPr wrap="square" lIns="0" tIns="0" rIns="0" bIns="0" rtlCol="0">
              <a:spAutoFit/>
            </a:bodyPr>
            <a:lstStyle/>
            <a:p>
              <a:pPr algn="ctr"/>
              <a:r>
                <a:rPr lang="en-US" sz="1599" b="1"/>
                <a:t>USES</a:t>
              </a:r>
            </a:p>
          </p:txBody>
        </p:sp>
        <p:pic>
          <p:nvPicPr>
            <p:cNvPr id="6146" name="Picture 2" descr="Graphical user interface, icon&#10;&#10;Description automatically generated">
              <a:extLst>
                <a:ext uri="{FF2B5EF4-FFF2-40B4-BE49-F238E27FC236}">
                  <a16:creationId xmlns:a16="http://schemas.microsoft.com/office/drawing/2014/main" id="{35A50721-04BE-4566-A92E-F6DF11AE8A37}"/>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22407" t="9809" r="20589" b="13429"/>
            <a:stretch/>
          </p:blipFill>
          <p:spPr bwMode="auto">
            <a:xfrm>
              <a:off x="4822974" y="3774402"/>
              <a:ext cx="985389" cy="884608"/>
            </a:xfrm>
            <a:prstGeom prst="rect">
              <a:avLst/>
            </a:prstGeom>
            <a:noFill/>
          </p:spPr>
        </p:pic>
        <p:pic>
          <p:nvPicPr>
            <p:cNvPr id="3" name="Picture 2" descr="Graphical user interface, application&#10;&#10;Description automatically generated with medium confidence">
              <a:extLst>
                <a:ext uri="{FF2B5EF4-FFF2-40B4-BE49-F238E27FC236}">
                  <a16:creationId xmlns:a16="http://schemas.microsoft.com/office/drawing/2014/main" id="{0050E62D-49BE-4E44-9794-B7A96DD01A46}"/>
                </a:ext>
              </a:extLst>
            </p:cNvPr>
            <p:cNvPicPr>
              <a:picLocks noChangeAspect="1"/>
            </p:cNvPicPr>
            <p:nvPr/>
          </p:nvPicPr>
          <p:blipFill rotWithShape="1">
            <a:blip r:embed="rId10"/>
            <a:srcRect l="51672" t="47087" r="29436" b="12584"/>
            <a:stretch/>
          </p:blipFill>
          <p:spPr>
            <a:xfrm>
              <a:off x="5565514" y="5535088"/>
              <a:ext cx="926216" cy="900358"/>
            </a:xfrm>
            <a:prstGeom prst="rect">
              <a:avLst/>
            </a:prstGeom>
          </p:spPr>
        </p:pic>
        <p:sp>
          <p:nvSpPr>
            <p:cNvPr id="5" name="Rectangle 4">
              <a:extLst>
                <a:ext uri="{FF2B5EF4-FFF2-40B4-BE49-F238E27FC236}">
                  <a16:creationId xmlns:a16="http://schemas.microsoft.com/office/drawing/2014/main" id="{1378C111-0CB6-4C2D-92DE-B942AE02704C}"/>
                </a:ext>
              </a:extLst>
            </p:cNvPr>
            <p:cNvSpPr/>
            <p:nvPr/>
          </p:nvSpPr>
          <p:spPr bwMode="auto">
            <a:xfrm>
              <a:off x="6389383" y="5359841"/>
              <a:ext cx="646042" cy="3004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1" name="Picture 10" descr="A picture containing shape&#10;&#10;Description automatically generated">
              <a:extLst>
                <a:ext uri="{FF2B5EF4-FFF2-40B4-BE49-F238E27FC236}">
                  <a16:creationId xmlns:a16="http://schemas.microsoft.com/office/drawing/2014/main" id="{145F2571-824E-43E4-841A-4EEDCB138FF5}"/>
                </a:ext>
              </a:extLst>
            </p:cNvPr>
            <p:cNvPicPr>
              <a:picLocks noChangeAspect="1"/>
            </p:cNvPicPr>
            <p:nvPr/>
          </p:nvPicPr>
          <p:blipFill rotWithShape="1">
            <a:blip r:embed="rId9"/>
            <a:srcRect l="29299" t="-1" r="-1" b="26481"/>
            <a:stretch/>
          </p:blipFill>
          <p:spPr>
            <a:xfrm rot="10800000" flipV="1">
              <a:off x="5725798" y="4241875"/>
              <a:ext cx="619505" cy="816919"/>
            </a:xfrm>
            <a:prstGeom prst="rect">
              <a:avLst/>
            </a:prstGeom>
          </p:spPr>
        </p:pic>
        <p:cxnSp>
          <p:nvCxnSpPr>
            <p:cNvPr id="16" name="Straight Connector 15">
              <a:extLst>
                <a:ext uri="{FF2B5EF4-FFF2-40B4-BE49-F238E27FC236}">
                  <a16:creationId xmlns:a16="http://schemas.microsoft.com/office/drawing/2014/main" id="{356C4BA8-3F0B-4D2C-B6E7-A6F48886A04C}"/>
                </a:ext>
              </a:extLst>
            </p:cNvPr>
            <p:cNvCxnSpPr>
              <a:cxnSpLocks/>
            </p:cNvCxnSpPr>
            <p:nvPr/>
          </p:nvCxnSpPr>
          <p:spPr>
            <a:xfrm>
              <a:off x="6231051" y="5418685"/>
              <a:ext cx="0" cy="182749"/>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DEC1A8F5-8648-47CC-914D-8855D69170F9}"/>
                </a:ext>
              </a:extLst>
            </p:cNvPr>
            <p:cNvSpPr txBox="1"/>
            <p:nvPr/>
          </p:nvSpPr>
          <p:spPr>
            <a:xfrm>
              <a:off x="5133799" y="5089844"/>
              <a:ext cx="2072432" cy="250992"/>
            </a:xfrm>
            <a:prstGeom prst="rect">
              <a:avLst/>
            </a:prstGeom>
            <a:solidFill>
              <a:schemeClr val="bg1"/>
            </a:solidFill>
          </p:spPr>
          <p:txBody>
            <a:bodyPr wrap="square" lIns="0" tIns="0" rIns="0" bIns="0" rtlCol="0">
              <a:spAutoFit/>
            </a:bodyPr>
            <a:lstStyle/>
            <a:p>
              <a:pPr algn="ctr"/>
              <a:r>
                <a:rPr lang="en-US" sz="1599" b="1"/>
                <a:t>USES</a:t>
              </a:r>
            </a:p>
          </p:txBody>
        </p:sp>
        <p:cxnSp>
          <p:nvCxnSpPr>
            <p:cNvPr id="21" name="Straight Connector 20">
              <a:extLst>
                <a:ext uri="{FF2B5EF4-FFF2-40B4-BE49-F238E27FC236}">
                  <a16:creationId xmlns:a16="http://schemas.microsoft.com/office/drawing/2014/main" id="{95535692-B555-44D8-99DA-2EA5D9929F14}"/>
                </a:ext>
              </a:extLst>
            </p:cNvPr>
            <p:cNvCxnSpPr>
              <a:cxnSpLocks/>
            </p:cNvCxnSpPr>
            <p:nvPr/>
          </p:nvCxnSpPr>
          <p:spPr>
            <a:xfrm flipH="1">
              <a:off x="5792302" y="4078884"/>
              <a:ext cx="784528" cy="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Isosceles Triangle 23">
              <a:extLst>
                <a:ext uri="{FF2B5EF4-FFF2-40B4-BE49-F238E27FC236}">
                  <a16:creationId xmlns:a16="http://schemas.microsoft.com/office/drawing/2014/main" id="{B9DDBE45-532C-449B-87E0-1665F1FF1AA9}"/>
                </a:ext>
              </a:extLst>
            </p:cNvPr>
            <p:cNvSpPr/>
            <p:nvPr/>
          </p:nvSpPr>
          <p:spPr bwMode="auto">
            <a:xfrm rot="5400000">
              <a:off x="7346457" y="4015804"/>
              <a:ext cx="76109" cy="119709"/>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TextBox 24">
              <a:extLst>
                <a:ext uri="{FF2B5EF4-FFF2-40B4-BE49-F238E27FC236}">
                  <a16:creationId xmlns:a16="http://schemas.microsoft.com/office/drawing/2014/main" id="{249FA8ED-DAED-42A9-884B-ABEF937F79F4}"/>
                </a:ext>
              </a:extLst>
            </p:cNvPr>
            <p:cNvSpPr txBox="1"/>
            <p:nvPr/>
          </p:nvSpPr>
          <p:spPr>
            <a:xfrm>
              <a:off x="6447645" y="3954535"/>
              <a:ext cx="1003478" cy="250992"/>
            </a:xfrm>
            <a:prstGeom prst="rect">
              <a:avLst/>
            </a:prstGeom>
            <a:noFill/>
          </p:spPr>
          <p:txBody>
            <a:bodyPr wrap="square" lIns="0" tIns="0" rIns="0" bIns="0" rtlCol="0">
              <a:spAutoFit/>
            </a:bodyPr>
            <a:lstStyle/>
            <a:p>
              <a:pPr algn="ctr"/>
              <a:r>
                <a:rPr lang="en-US" sz="1599" b="1"/>
                <a:t>READS</a:t>
              </a:r>
            </a:p>
          </p:txBody>
        </p:sp>
        <p:sp>
          <p:nvSpPr>
            <p:cNvPr id="27" name="TextBox 26">
              <a:extLst>
                <a:ext uri="{FF2B5EF4-FFF2-40B4-BE49-F238E27FC236}">
                  <a16:creationId xmlns:a16="http://schemas.microsoft.com/office/drawing/2014/main" id="{C8E78701-D2C8-4E18-A35E-4BEB7BFC1EDD}"/>
                </a:ext>
              </a:extLst>
            </p:cNvPr>
            <p:cNvSpPr txBox="1"/>
            <p:nvPr/>
          </p:nvSpPr>
          <p:spPr>
            <a:xfrm flipH="1">
              <a:off x="6522611" y="3846766"/>
              <a:ext cx="97062" cy="313904"/>
            </a:xfrm>
            <a:prstGeom prst="rect">
              <a:avLst/>
            </a:prstGeom>
            <a:noFill/>
          </p:spPr>
          <p:txBody>
            <a:bodyPr wrap="square" lIns="0" tIns="0" rIns="0" bIns="0" rtlCol="0">
              <a:spAutoFit/>
            </a:bodyPr>
            <a:lstStyle/>
            <a:p>
              <a:pPr algn="l"/>
              <a:r>
                <a:rPr lang="en-US" sz="2000"/>
                <a:t>*</a:t>
              </a:r>
            </a:p>
          </p:txBody>
        </p:sp>
        <p:grpSp>
          <p:nvGrpSpPr>
            <p:cNvPr id="41" name="Group 40">
              <a:extLst>
                <a:ext uri="{FF2B5EF4-FFF2-40B4-BE49-F238E27FC236}">
                  <a16:creationId xmlns:a16="http://schemas.microsoft.com/office/drawing/2014/main" id="{ED927F52-5A5F-4E65-8060-38A95CABCC46}"/>
                </a:ext>
              </a:extLst>
            </p:cNvPr>
            <p:cNvGrpSpPr/>
            <p:nvPr/>
          </p:nvGrpSpPr>
          <p:grpSpPr>
            <a:xfrm>
              <a:off x="5533537" y="1500946"/>
              <a:ext cx="2313533" cy="1182041"/>
              <a:chOff x="5533537" y="1500946"/>
              <a:chExt cx="2313533" cy="1182041"/>
            </a:xfrm>
          </p:grpSpPr>
          <p:grpSp>
            <p:nvGrpSpPr>
              <p:cNvPr id="2" name="Group 1">
                <a:extLst>
                  <a:ext uri="{FF2B5EF4-FFF2-40B4-BE49-F238E27FC236}">
                    <a16:creationId xmlns:a16="http://schemas.microsoft.com/office/drawing/2014/main" id="{0851200E-A199-45C2-8AC6-8AA0F6A7A709}"/>
                  </a:ext>
                </a:extLst>
              </p:cNvPr>
              <p:cNvGrpSpPr/>
              <p:nvPr/>
            </p:nvGrpSpPr>
            <p:grpSpPr>
              <a:xfrm>
                <a:off x="5533537" y="1500946"/>
                <a:ext cx="2313533" cy="1182041"/>
                <a:chOff x="3511463" y="1331186"/>
                <a:chExt cx="2313862" cy="1182209"/>
              </a:xfrm>
            </p:grpSpPr>
            <p:grpSp>
              <p:nvGrpSpPr>
                <p:cNvPr id="68" name="Group 67">
                  <a:extLst>
                    <a:ext uri="{FF2B5EF4-FFF2-40B4-BE49-F238E27FC236}">
                      <a16:creationId xmlns:a16="http://schemas.microsoft.com/office/drawing/2014/main" id="{9AD8E69D-3D50-4ABB-A985-552377635451}"/>
                    </a:ext>
                  </a:extLst>
                </p:cNvPr>
                <p:cNvGrpSpPr/>
                <p:nvPr/>
              </p:nvGrpSpPr>
              <p:grpSpPr>
                <a:xfrm>
                  <a:off x="3851358" y="1444678"/>
                  <a:ext cx="1973967" cy="1068717"/>
                  <a:chOff x="4986609" y="3711128"/>
                  <a:chExt cx="1703389" cy="922225"/>
                </a:xfrm>
              </p:grpSpPr>
              <p:pic>
                <p:nvPicPr>
                  <p:cNvPr id="69" name="Picture 2" descr="Icon&#10;&#10;Description automatically generated">
                    <a:extLst>
                      <a:ext uri="{FF2B5EF4-FFF2-40B4-BE49-F238E27FC236}">
                        <a16:creationId xmlns:a16="http://schemas.microsoft.com/office/drawing/2014/main" id="{B9533031-8BC3-478D-8168-4A155D5E4F8B}"/>
                      </a:ext>
                    </a:extLst>
                  </p:cNvPr>
                  <p:cNvPicPr>
                    <a:picLocks noChangeAspect="1" noChangeArrowheads="1"/>
                  </p:cNvPicPr>
                  <p:nvPr/>
                </p:nvPicPr>
                <p:blipFill rotWithShape="1">
                  <a:blip r:embed="rId4">
                    <a:biLevel thresh="75000"/>
                    <a:extLst>
                      <a:ext uri="{28A0092B-C50C-407E-A947-70E740481C1C}">
                        <a14:useLocalDpi xmlns:a14="http://schemas.microsoft.com/office/drawing/2010/main" val="0"/>
                      </a:ext>
                    </a:extLst>
                  </a:blip>
                  <a:srcRect l="15179" r="14947"/>
                  <a:stretch/>
                </p:blipFill>
                <p:spPr bwMode="auto">
                  <a:xfrm>
                    <a:off x="4986609" y="3711128"/>
                    <a:ext cx="1231628" cy="922225"/>
                  </a:xfrm>
                  <a:prstGeom prst="rect">
                    <a:avLst/>
                  </a:prstGeom>
                  <a:noFill/>
                </p:spPr>
              </p:pic>
              <p:sp>
                <p:nvSpPr>
                  <p:cNvPr id="70" name="TextBox 69">
                    <a:extLst>
                      <a:ext uri="{FF2B5EF4-FFF2-40B4-BE49-F238E27FC236}">
                        <a16:creationId xmlns:a16="http://schemas.microsoft.com/office/drawing/2014/main" id="{980CD6AB-5ABA-4F82-9B7B-9A126D0535D7}"/>
                      </a:ext>
                    </a:extLst>
                  </p:cNvPr>
                  <p:cNvSpPr txBox="1"/>
                  <p:nvPr/>
                </p:nvSpPr>
                <p:spPr>
                  <a:xfrm>
                    <a:off x="5689600" y="4347567"/>
                    <a:ext cx="1000398" cy="159266"/>
                  </a:xfrm>
                  <a:prstGeom prst="rect">
                    <a:avLst/>
                  </a:prstGeom>
                  <a:noFill/>
                </p:spPr>
                <p:txBody>
                  <a:bodyPr wrap="square" lIns="0" tIns="0" rIns="0" bIns="0" rtlCol="0">
                    <a:spAutoFit/>
                  </a:bodyPr>
                  <a:lstStyle/>
                  <a:p>
                    <a:r>
                      <a:rPr lang="en-US" sz="1199" b="1"/>
                      <a:t>Dataset</a:t>
                    </a:r>
                  </a:p>
                </p:txBody>
              </p:sp>
            </p:grpSp>
            <p:graphicFrame>
              <p:nvGraphicFramePr>
                <p:cNvPr id="78" name="Object 77">
                  <a:extLst>
                    <a:ext uri="{FF2B5EF4-FFF2-40B4-BE49-F238E27FC236}">
                      <a16:creationId xmlns:a16="http://schemas.microsoft.com/office/drawing/2014/main" id="{87661617-D78F-4B75-9DE9-682A4E114DF7}"/>
                    </a:ext>
                  </a:extLst>
                </p:cNvPr>
                <p:cNvGraphicFramePr>
                  <a:graphicFrameLocks noChangeAspect="1"/>
                </p:cNvGraphicFramePr>
                <p:nvPr/>
              </p:nvGraphicFramePr>
              <p:xfrm>
                <a:off x="3511463" y="1331186"/>
                <a:ext cx="315440" cy="362756"/>
              </p:xfrm>
              <a:graphic>
                <a:graphicData uri="http://schemas.openxmlformats.org/presentationml/2006/ole">
                  <mc:AlternateContent xmlns:mc="http://schemas.openxmlformats.org/markup-compatibility/2006">
                    <mc:Choice xmlns:v="urn:schemas-microsoft-com:vml" Requires="v">
                      <p:oleObj name="Bitmap Image" r:id="rId6" imgW="1397160" imgH="1606680" progId="Paint.Picture.1">
                        <p:embed/>
                      </p:oleObj>
                    </mc:Choice>
                    <mc:Fallback>
                      <p:oleObj name="Bitmap Image" r:id="rId6" imgW="1397160" imgH="1606680" progId="Paint.Picture.1">
                        <p:embed/>
                        <p:pic>
                          <p:nvPicPr>
                            <p:cNvPr id="78" name="Object 77">
                              <a:extLst>
                                <a:ext uri="{FF2B5EF4-FFF2-40B4-BE49-F238E27FC236}">
                                  <a16:creationId xmlns:a16="http://schemas.microsoft.com/office/drawing/2014/main" id="{87661617-D78F-4B75-9DE9-682A4E114DF7}"/>
                                </a:ext>
                              </a:extLst>
                            </p:cNvPr>
                            <p:cNvPicPr/>
                            <p:nvPr/>
                          </p:nvPicPr>
                          <p:blipFill>
                            <a:blip r:embed="rId7"/>
                            <a:stretch>
                              <a:fillRect/>
                            </a:stretch>
                          </p:blipFill>
                          <p:spPr>
                            <a:xfrm>
                              <a:off x="3511463" y="1331186"/>
                              <a:ext cx="315440" cy="362756"/>
                            </a:xfrm>
                            <a:prstGeom prst="rect">
                              <a:avLst/>
                            </a:prstGeom>
                          </p:spPr>
                        </p:pic>
                      </p:oleObj>
                    </mc:Fallback>
                  </mc:AlternateContent>
                </a:graphicData>
              </a:graphic>
            </p:graphicFrame>
          </p:grpSp>
          <p:sp>
            <p:nvSpPr>
              <p:cNvPr id="30" name="TextBox 29">
                <a:extLst>
                  <a:ext uri="{FF2B5EF4-FFF2-40B4-BE49-F238E27FC236}">
                    <a16:creationId xmlns:a16="http://schemas.microsoft.com/office/drawing/2014/main" id="{2E4AD991-5E50-43B1-82F3-FCFFEEF44015}"/>
                  </a:ext>
                </a:extLst>
              </p:cNvPr>
              <p:cNvSpPr txBox="1"/>
              <p:nvPr/>
            </p:nvSpPr>
            <p:spPr>
              <a:xfrm>
                <a:off x="5570392" y="1885502"/>
                <a:ext cx="271395" cy="125562"/>
              </a:xfrm>
              <a:prstGeom prst="rect">
                <a:avLst/>
              </a:prstGeom>
              <a:noFill/>
            </p:spPr>
            <p:txBody>
              <a:bodyPr wrap="none" lIns="0" tIns="0" rIns="0" bIns="0" rtlCol="0">
                <a:spAutoFit/>
              </a:bodyPr>
              <a:lstStyle/>
              <a:p>
                <a:pPr algn="ctr"/>
                <a:r>
                  <a:rPr lang="en-US" sz="800"/>
                  <a:t>XMLA</a:t>
                </a:r>
              </a:p>
            </p:txBody>
          </p:sp>
        </p:grpSp>
        <p:cxnSp>
          <p:nvCxnSpPr>
            <p:cNvPr id="34" name="Straight Arrow Connector 33">
              <a:extLst>
                <a:ext uri="{FF2B5EF4-FFF2-40B4-BE49-F238E27FC236}">
                  <a16:creationId xmlns:a16="http://schemas.microsoft.com/office/drawing/2014/main" id="{231C7AB1-FF86-40B2-B369-C1B98261F10C}"/>
                </a:ext>
              </a:extLst>
            </p:cNvPr>
            <p:cNvCxnSpPr>
              <a:cxnSpLocks/>
            </p:cNvCxnSpPr>
            <p:nvPr/>
          </p:nvCxnSpPr>
          <p:spPr>
            <a:xfrm>
              <a:off x="4887946" y="2093076"/>
              <a:ext cx="651855" cy="0"/>
            </a:xfrm>
            <a:prstGeom prst="straightConnector1">
              <a:avLst/>
            </a:prstGeom>
            <a:ln w="28575" cap="flat" cmpd="sng" algn="ctr">
              <a:solidFill>
                <a:schemeClr val="dk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grpSp>
          <p:nvGrpSpPr>
            <p:cNvPr id="79" name="Group 78">
              <a:extLst>
                <a:ext uri="{FF2B5EF4-FFF2-40B4-BE49-F238E27FC236}">
                  <a16:creationId xmlns:a16="http://schemas.microsoft.com/office/drawing/2014/main" id="{B25710C8-4D32-43D1-9127-91D2F272C7F0}"/>
                </a:ext>
              </a:extLst>
            </p:cNvPr>
            <p:cNvGrpSpPr/>
            <p:nvPr/>
          </p:nvGrpSpPr>
          <p:grpSpPr>
            <a:xfrm>
              <a:off x="3013365" y="1388842"/>
              <a:ext cx="2273461" cy="1182041"/>
              <a:chOff x="5685193" y="1500946"/>
              <a:chExt cx="2273461" cy="1182041"/>
            </a:xfrm>
          </p:grpSpPr>
          <p:grpSp>
            <p:nvGrpSpPr>
              <p:cNvPr id="80" name="Group 79">
                <a:extLst>
                  <a:ext uri="{FF2B5EF4-FFF2-40B4-BE49-F238E27FC236}">
                    <a16:creationId xmlns:a16="http://schemas.microsoft.com/office/drawing/2014/main" id="{6284CB26-6A6B-43B6-B0B5-DF82B74DBE8A}"/>
                  </a:ext>
                </a:extLst>
              </p:cNvPr>
              <p:cNvGrpSpPr/>
              <p:nvPr/>
            </p:nvGrpSpPr>
            <p:grpSpPr>
              <a:xfrm>
                <a:off x="5685193" y="1500946"/>
                <a:ext cx="2273461" cy="1182041"/>
                <a:chOff x="3663137" y="1331186"/>
                <a:chExt cx="2273781" cy="1182209"/>
              </a:xfrm>
            </p:grpSpPr>
            <p:grpSp>
              <p:nvGrpSpPr>
                <p:cNvPr id="82" name="Group 81">
                  <a:extLst>
                    <a:ext uri="{FF2B5EF4-FFF2-40B4-BE49-F238E27FC236}">
                      <a16:creationId xmlns:a16="http://schemas.microsoft.com/office/drawing/2014/main" id="{9A2D76A3-D6E0-4552-A3FF-E3A643DEA3A3}"/>
                    </a:ext>
                  </a:extLst>
                </p:cNvPr>
                <p:cNvGrpSpPr/>
                <p:nvPr/>
              </p:nvGrpSpPr>
              <p:grpSpPr>
                <a:xfrm>
                  <a:off x="4003048" y="1444678"/>
                  <a:ext cx="1933870" cy="1068717"/>
                  <a:chOff x="5117485" y="3711128"/>
                  <a:chExt cx="1668783" cy="922225"/>
                </a:xfrm>
              </p:grpSpPr>
              <p:pic>
                <p:nvPicPr>
                  <p:cNvPr id="84" name="Picture 2" descr="Icon&#10;&#10;Description automatically generated">
                    <a:extLst>
                      <a:ext uri="{FF2B5EF4-FFF2-40B4-BE49-F238E27FC236}">
                        <a16:creationId xmlns:a16="http://schemas.microsoft.com/office/drawing/2014/main" id="{1D7C08FB-D061-4B36-B561-3187ECEB341E}"/>
                      </a:ext>
                    </a:extLst>
                  </p:cNvPr>
                  <p:cNvPicPr>
                    <a:picLocks noChangeAspect="1" noChangeArrowheads="1"/>
                  </p:cNvPicPr>
                  <p:nvPr/>
                </p:nvPicPr>
                <p:blipFill rotWithShape="1">
                  <a:blip r:embed="rId4">
                    <a:biLevel thresh="75000"/>
                    <a:extLst>
                      <a:ext uri="{28A0092B-C50C-407E-A947-70E740481C1C}">
                        <a14:useLocalDpi xmlns:a14="http://schemas.microsoft.com/office/drawing/2010/main" val="0"/>
                      </a:ext>
                    </a:extLst>
                  </a:blip>
                  <a:srcRect l="15179" r="14947"/>
                  <a:stretch/>
                </p:blipFill>
                <p:spPr bwMode="auto">
                  <a:xfrm>
                    <a:off x="5117485" y="3711128"/>
                    <a:ext cx="1231628" cy="922225"/>
                  </a:xfrm>
                  <a:prstGeom prst="rect">
                    <a:avLst/>
                  </a:prstGeom>
                  <a:noFill/>
                </p:spPr>
              </p:pic>
              <p:sp>
                <p:nvSpPr>
                  <p:cNvPr id="85" name="TextBox 84">
                    <a:extLst>
                      <a:ext uri="{FF2B5EF4-FFF2-40B4-BE49-F238E27FC236}">
                        <a16:creationId xmlns:a16="http://schemas.microsoft.com/office/drawing/2014/main" id="{F6D06464-7D59-480A-BCF0-EA45306E19E9}"/>
                      </a:ext>
                    </a:extLst>
                  </p:cNvPr>
                  <p:cNvSpPr txBox="1"/>
                  <p:nvPr/>
                </p:nvSpPr>
                <p:spPr>
                  <a:xfrm>
                    <a:off x="5785870" y="4366820"/>
                    <a:ext cx="1000398" cy="159266"/>
                  </a:xfrm>
                  <a:prstGeom prst="rect">
                    <a:avLst/>
                  </a:prstGeom>
                  <a:noFill/>
                </p:spPr>
                <p:txBody>
                  <a:bodyPr wrap="square" lIns="0" tIns="0" rIns="0" bIns="0" rtlCol="0">
                    <a:spAutoFit/>
                  </a:bodyPr>
                  <a:lstStyle/>
                  <a:p>
                    <a:r>
                      <a:rPr lang="en-US" sz="1199" b="1"/>
                      <a:t>Dataset</a:t>
                    </a:r>
                  </a:p>
                </p:txBody>
              </p:sp>
            </p:grpSp>
            <p:graphicFrame>
              <p:nvGraphicFramePr>
                <p:cNvPr id="83" name="Object 82">
                  <a:extLst>
                    <a:ext uri="{FF2B5EF4-FFF2-40B4-BE49-F238E27FC236}">
                      <a16:creationId xmlns:a16="http://schemas.microsoft.com/office/drawing/2014/main" id="{939368DB-50AD-49B0-ABAD-FDFADA5C2FBA}"/>
                    </a:ext>
                  </a:extLst>
                </p:cNvPr>
                <p:cNvGraphicFramePr>
                  <a:graphicFrameLocks noChangeAspect="1"/>
                </p:cNvGraphicFramePr>
                <p:nvPr>
                  <p:extLst>
                    <p:ext uri="{D42A27DB-BD31-4B8C-83A1-F6EECF244321}">
                      <p14:modId xmlns:p14="http://schemas.microsoft.com/office/powerpoint/2010/main" val="3464820433"/>
                    </p:ext>
                  </p:extLst>
                </p:nvPr>
              </p:nvGraphicFramePr>
              <p:xfrm>
                <a:off x="3663137" y="1331186"/>
                <a:ext cx="315440" cy="362756"/>
              </p:xfrm>
              <a:graphic>
                <a:graphicData uri="http://schemas.openxmlformats.org/presentationml/2006/ole">
                  <mc:AlternateContent xmlns:mc="http://schemas.openxmlformats.org/markup-compatibility/2006">
                    <mc:Choice xmlns:v="urn:schemas-microsoft-com:vml" Requires="v">
                      <p:oleObj name="Bitmap Image" r:id="rId6" imgW="1397160" imgH="1606680" progId="Paint.Picture.1">
                        <p:embed/>
                      </p:oleObj>
                    </mc:Choice>
                    <mc:Fallback>
                      <p:oleObj name="Bitmap Image" r:id="rId6" imgW="1397160" imgH="1606680" progId="Paint.Picture.1">
                        <p:embed/>
                        <p:pic>
                          <p:nvPicPr>
                            <p:cNvPr id="83" name="Object 82">
                              <a:extLst>
                                <a:ext uri="{FF2B5EF4-FFF2-40B4-BE49-F238E27FC236}">
                                  <a16:creationId xmlns:a16="http://schemas.microsoft.com/office/drawing/2014/main" id="{939368DB-50AD-49B0-ABAD-FDFADA5C2FBA}"/>
                                </a:ext>
                              </a:extLst>
                            </p:cNvPr>
                            <p:cNvPicPr/>
                            <p:nvPr/>
                          </p:nvPicPr>
                          <p:blipFill>
                            <a:blip r:embed="rId7"/>
                            <a:stretch>
                              <a:fillRect/>
                            </a:stretch>
                          </p:blipFill>
                          <p:spPr>
                            <a:xfrm>
                              <a:off x="3663137" y="1331186"/>
                              <a:ext cx="315440" cy="362756"/>
                            </a:xfrm>
                            <a:prstGeom prst="rect">
                              <a:avLst/>
                            </a:prstGeom>
                          </p:spPr>
                        </p:pic>
                      </p:oleObj>
                    </mc:Fallback>
                  </mc:AlternateContent>
                </a:graphicData>
              </a:graphic>
            </p:graphicFrame>
          </p:grpSp>
          <p:sp>
            <p:nvSpPr>
              <p:cNvPr id="81" name="TextBox 80">
                <a:extLst>
                  <a:ext uri="{FF2B5EF4-FFF2-40B4-BE49-F238E27FC236}">
                    <a16:creationId xmlns:a16="http://schemas.microsoft.com/office/drawing/2014/main" id="{7068EF77-9617-4C47-8FC8-1E5DBB2BB31F}"/>
                  </a:ext>
                </a:extLst>
              </p:cNvPr>
              <p:cNvSpPr txBox="1"/>
              <p:nvPr/>
            </p:nvSpPr>
            <p:spPr>
              <a:xfrm>
                <a:off x="5720305" y="1885061"/>
                <a:ext cx="271395" cy="125562"/>
              </a:xfrm>
              <a:prstGeom prst="rect">
                <a:avLst/>
              </a:prstGeom>
              <a:noFill/>
            </p:spPr>
            <p:txBody>
              <a:bodyPr wrap="none" lIns="0" tIns="0" rIns="0" bIns="0" rtlCol="0">
                <a:spAutoFit/>
              </a:bodyPr>
              <a:lstStyle/>
              <a:p>
                <a:pPr algn="ctr"/>
                <a:r>
                  <a:rPr lang="en-US" sz="800"/>
                  <a:t>XMLA</a:t>
                </a:r>
              </a:p>
            </p:txBody>
          </p:sp>
        </p:grpSp>
        <p:sp>
          <p:nvSpPr>
            <p:cNvPr id="57" name="Rectangle 56">
              <a:extLst>
                <a:ext uri="{FF2B5EF4-FFF2-40B4-BE49-F238E27FC236}">
                  <a16:creationId xmlns:a16="http://schemas.microsoft.com/office/drawing/2014/main" id="{B9F0E3D6-73F2-4028-9AE8-12E605D382C3}"/>
                </a:ext>
              </a:extLst>
            </p:cNvPr>
            <p:cNvSpPr/>
            <p:nvPr/>
          </p:nvSpPr>
          <p:spPr bwMode="auto">
            <a:xfrm>
              <a:off x="4358848" y="2502753"/>
              <a:ext cx="646042" cy="3004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91" name="TextBox 90">
            <a:extLst>
              <a:ext uri="{FF2B5EF4-FFF2-40B4-BE49-F238E27FC236}">
                <a16:creationId xmlns:a16="http://schemas.microsoft.com/office/drawing/2014/main" id="{BF232291-A2B1-440B-BB60-7EA4E52F60A6}"/>
              </a:ext>
              <a:ext uri="{C183D7F6-B498-43B3-948B-1728B52AA6E4}">
                <adec:decorative xmlns:adec="http://schemas.microsoft.com/office/drawing/2017/decorative" val="1"/>
              </a:ext>
            </a:extLst>
          </p:cNvPr>
          <p:cNvSpPr txBox="1"/>
          <p:nvPr/>
        </p:nvSpPr>
        <p:spPr>
          <a:xfrm>
            <a:off x="-4008" y="-1"/>
            <a:ext cx="1585727" cy="6994525"/>
          </a:xfrm>
          <a:prstGeom prst="rect">
            <a:avLst/>
          </a:prstGeom>
          <a:solidFill>
            <a:schemeClr val="accent4"/>
          </a:solidFill>
        </p:spPr>
        <p:txBody>
          <a:bodyPr wrap="square">
            <a:noAutofit/>
          </a:bodyPr>
          <a:lstStyle/>
          <a:p>
            <a:pPr algn="ctr" defTabSz="932470">
              <a:defRPr/>
            </a:pPr>
            <a:endParaRPr lang="en-US">
              <a:solidFill>
                <a:srgbClr val="353535"/>
              </a:solidFill>
              <a:latin typeface="SegoeUI"/>
            </a:endParaRPr>
          </a:p>
        </p:txBody>
      </p:sp>
      <p:sp>
        <p:nvSpPr>
          <p:cNvPr id="93" name="Oval 92">
            <a:extLst>
              <a:ext uri="{FF2B5EF4-FFF2-40B4-BE49-F238E27FC236}">
                <a16:creationId xmlns:a16="http://schemas.microsoft.com/office/drawing/2014/main" id="{DFBA8A4F-3F61-471C-900A-B74E3E819664}"/>
              </a:ext>
              <a:ext uri="{C183D7F6-B498-43B3-948B-1728B52AA6E4}">
                <adec:decorative xmlns:adec="http://schemas.microsoft.com/office/drawing/2017/decorative" val="1"/>
              </a:ext>
            </a:extLst>
          </p:cNvPr>
          <p:cNvSpPr/>
          <p:nvPr/>
        </p:nvSpPr>
        <p:spPr bwMode="auto">
          <a:xfrm>
            <a:off x="269949" y="1993810"/>
            <a:ext cx="3006905" cy="300690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sp>
        <p:nvSpPr>
          <p:cNvPr id="61" name="TextBox 60">
            <a:extLst>
              <a:ext uri="{FF2B5EF4-FFF2-40B4-BE49-F238E27FC236}">
                <a16:creationId xmlns:a16="http://schemas.microsoft.com/office/drawing/2014/main" id="{FE7C3B3B-A85B-4DA2-8FED-DAD84A1EF3B6}"/>
              </a:ext>
            </a:extLst>
          </p:cNvPr>
          <p:cNvSpPr txBox="1"/>
          <p:nvPr/>
        </p:nvSpPr>
        <p:spPr>
          <a:xfrm>
            <a:off x="897118" y="2567242"/>
            <a:ext cx="3537210" cy="2031325"/>
          </a:xfrm>
          <a:prstGeom prst="rect">
            <a:avLst/>
          </a:prstGeom>
          <a:noFill/>
        </p:spPr>
        <p:txBody>
          <a:bodyPr wrap="square">
            <a:spAutoFit/>
          </a:bodyPr>
          <a:lstStyle/>
          <a:p>
            <a:r>
              <a:rPr lang="en-US">
                <a:solidFill>
                  <a:srgbClr val="000000"/>
                </a:solidFill>
                <a:latin typeface="Segoe UI" panose="020B0502040204020203" pitchFamily="34" charset="0"/>
              </a:rPr>
              <a:t>Composite models</a:t>
            </a:r>
          </a:p>
          <a:p>
            <a:pPr lvl="0"/>
            <a:r>
              <a:rPr lang="en-US">
                <a:solidFill>
                  <a:srgbClr val="000000"/>
                </a:solidFill>
                <a:latin typeface="Segoe UI" panose="020B0502040204020203" pitchFamily="34" charset="0"/>
              </a:rPr>
              <a:t>Shared datasets</a:t>
            </a:r>
          </a:p>
          <a:p>
            <a:r>
              <a:rPr lang="en-US">
                <a:solidFill>
                  <a:srgbClr val="000000"/>
                </a:solidFill>
                <a:latin typeface="Segoe UI" panose="020B0502040204020203" pitchFamily="34" charset="0"/>
              </a:rPr>
              <a:t>Linked tables</a:t>
            </a:r>
          </a:p>
          <a:p>
            <a:r>
              <a:rPr lang="en-US">
                <a:solidFill>
                  <a:srgbClr val="000000"/>
                </a:solidFill>
                <a:latin typeface="Segoe UI" panose="020B0502040204020203" pitchFamily="34" charset="0"/>
              </a:rPr>
              <a:t>Office integrations</a:t>
            </a:r>
          </a:p>
          <a:p>
            <a:r>
              <a:rPr lang="en-US">
                <a:solidFill>
                  <a:srgbClr val="000000"/>
                </a:solidFill>
                <a:latin typeface="Segoe UI" panose="020B0502040204020203" pitchFamily="34" charset="0"/>
              </a:rPr>
              <a:t>Azure integrations</a:t>
            </a:r>
          </a:p>
          <a:p>
            <a:r>
              <a:rPr lang="en-US">
                <a:solidFill>
                  <a:srgbClr val="000000"/>
                </a:solidFill>
                <a:latin typeface="Segoe UI" panose="020B0502040204020203" pitchFamily="34" charset="0"/>
              </a:rPr>
              <a:t>Dynamics integrations</a:t>
            </a:r>
          </a:p>
          <a:p>
            <a:r>
              <a:rPr lang="en-US">
                <a:solidFill>
                  <a:srgbClr val="000000"/>
                </a:solidFill>
                <a:latin typeface="Segoe UI" panose="020B0502040204020203" pitchFamily="34" charset="0"/>
              </a:rPr>
              <a:t>  ...</a:t>
            </a:r>
          </a:p>
        </p:txBody>
      </p:sp>
    </p:spTree>
    <p:extLst>
      <p:ext uri="{BB962C8B-B14F-4D97-AF65-F5344CB8AC3E}">
        <p14:creationId xmlns:p14="http://schemas.microsoft.com/office/powerpoint/2010/main" val="18275044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B8369A30-A814-46DD-ABF0-B1D8C1BF2832}"/>
              </a:ext>
            </a:extLst>
          </p:cNvPr>
          <p:cNvSpPr>
            <a:spLocks noGrp="1"/>
          </p:cNvSpPr>
          <p:nvPr>
            <p:ph idx="1"/>
          </p:nvPr>
        </p:nvSpPr>
        <p:spPr>
          <a:xfrm>
            <a:off x="640695" y="1536839"/>
            <a:ext cx="10724938" cy="2892921"/>
          </a:xfrm>
        </p:spPr>
        <p:txBody>
          <a:bodyPr vert="horz" wrap="square" lIns="0" tIns="0" rIns="0" bIns="0" rtlCol="0" anchor="t">
            <a:normAutofit/>
          </a:bodyPr>
          <a:lstStyle/>
          <a:p>
            <a:pPr marL="466043" indent="-466043">
              <a:buFont typeface="+mj-lt"/>
              <a:buAutoNum type="arabicPeriod"/>
            </a:pPr>
            <a:r>
              <a:rPr lang="en-US" sz="2400">
                <a:latin typeface="Segoe UI"/>
                <a:cs typeface="Segoe UI"/>
              </a:rPr>
              <a:t>As far upstream as possible, as far downstream as necessary.</a:t>
            </a:r>
          </a:p>
          <a:p>
            <a:pPr marL="466043" indent="-466043">
              <a:buFont typeface="+mj-lt"/>
              <a:buAutoNum type="arabicPeriod"/>
            </a:pPr>
            <a:r>
              <a:rPr lang="en-US" sz="2400">
                <a:latin typeface="Segoe UI"/>
                <a:cs typeface="Segoe UI"/>
              </a:rPr>
              <a:t>Less is Always More. Only Bring in What You Need.</a:t>
            </a:r>
          </a:p>
          <a:p>
            <a:pPr marL="466043" indent="-466043">
              <a:buFont typeface="+mj-lt"/>
              <a:buAutoNum type="arabicPeriod"/>
            </a:pPr>
            <a:r>
              <a:rPr lang="en-US" sz="2400">
                <a:latin typeface="Segoe UI"/>
                <a:cs typeface="Segoe UI"/>
              </a:rPr>
              <a:t>Keep it Simple. Keep it Clean.</a:t>
            </a:r>
          </a:p>
          <a:p>
            <a:pPr marL="466043" indent="-466043">
              <a:buFont typeface="+mj-lt"/>
              <a:buAutoNum type="arabicPeriod"/>
            </a:pPr>
            <a:r>
              <a:rPr lang="en-US" sz="2400">
                <a:latin typeface="Segoe UI" panose="020B0502040204020203" pitchFamily="34" charset="0"/>
              </a:rPr>
              <a:t>There is no such thing as “</a:t>
            </a:r>
            <a:r>
              <a:rPr lang="en-US" sz="2400" b="1">
                <a:latin typeface="Segoe UI" panose="020B0502040204020203" pitchFamily="34" charset="0"/>
              </a:rPr>
              <a:t>Come Back To It</a:t>
            </a:r>
            <a:r>
              <a:rPr lang="en-US" sz="2400">
                <a:latin typeface="Segoe UI" panose="020B0502040204020203" pitchFamily="34" charset="0"/>
              </a:rPr>
              <a:t>”.</a:t>
            </a:r>
          </a:p>
          <a:p>
            <a:pPr marL="466043" indent="-466043">
              <a:buAutoNum type="arabicPeriod"/>
            </a:pPr>
            <a:r>
              <a:rPr lang="en-US" sz="2400">
                <a:latin typeface="Segoe UI"/>
                <a:cs typeface="Segoe UI"/>
              </a:rPr>
              <a:t>Nothing is Free. Resource Consumption.</a:t>
            </a:r>
          </a:p>
        </p:txBody>
      </p:sp>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Closing Thoughts on Data Modeling</a:t>
            </a:r>
          </a:p>
        </p:txBody>
      </p:sp>
    </p:spTree>
    <p:extLst>
      <p:ext uri="{BB962C8B-B14F-4D97-AF65-F5344CB8AC3E}">
        <p14:creationId xmlns:p14="http://schemas.microsoft.com/office/powerpoint/2010/main" val="961617863"/>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9302" y="2852207"/>
            <a:ext cx="11237870" cy="1554015"/>
          </a:xfrm>
        </p:spPr>
        <p:txBody>
          <a:bodyPr/>
          <a:lstStyle/>
          <a:p>
            <a:br>
              <a:rPr lang="en-US" sz="1400">
                <a:latin typeface="Segoe UI Bold" panose="020B0802040204020203" pitchFamily="34" charset="0"/>
                <a:ea typeface="Times New Roman" panose="02020603050405020304" pitchFamily="18" charset="0"/>
                <a:cs typeface="Segoe UI Bold" panose="020B0802040204020203" pitchFamily="34" charset="0"/>
              </a:rPr>
            </a:br>
            <a:r>
              <a:rPr lang="en-US" sz="1400">
                <a:latin typeface="Segoe UI Bold" panose="020B0802040204020203" pitchFamily="34" charset="0"/>
                <a:ea typeface="Times New Roman" panose="02020603050405020304" pitchFamily="18" charset="0"/>
                <a:cs typeface="Segoe UI Bold" panose="020B0802040204020203" pitchFamily="34" charset="0"/>
              </a:rPr>
              <a:t> </a:t>
            </a:r>
            <a:br>
              <a:rPr lang="en-US" sz="3649">
                <a:ea typeface="Times New Roman" panose="02020603050405020304" pitchFamily="18" charset="0"/>
                <a:cs typeface="Segoe UI"/>
              </a:rPr>
            </a:br>
            <a:br>
              <a:rPr lang="en-US" sz="3649">
                <a:ea typeface="Times New Roman" panose="02020603050405020304" pitchFamily="18" charset="0"/>
                <a:cs typeface="Segoe UI"/>
              </a:rPr>
            </a:br>
            <a:endParaRPr lang="en-US" sz="3649">
              <a:cs typeface="Segoe UI"/>
            </a:endParaRPr>
          </a:p>
        </p:txBody>
      </p:sp>
      <p:graphicFrame>
        <p:nvGraphicFramePr>
          <p:cNvPr id="3" name="Table 3">
            <a:extLst>
              <a:ext uri="{FF2B5EF4-FFF2-40B4-BE49-F238E27FC236}">
                <a16:creationId xmlns:a16="http://schemas.microsoft.com/office/drawing/2014/main" id="{81CF9FAA-7165-415E-AB1E-8075FE3ED399}"/>
              </a:ext>
            </a:extLst>
          </p:cNvPr>
          <p:cNvGraphicFramePr>
            <a:graphicFrameLocks noGrp="1"/>
          </p:cNvGraphicFramePr>
          <p:nvPr>
            <p:extLst>
              <p:ext uri="{D42A27DB-BD31-4B8C-83A1-F6EECF244321}">
                <p14:modId xmlns:p14="http://schemas.microsoft.com/office/powerpoint/2010/main" val="2966992487"/>
              </p:ext>
            </p:extLst>
          </p:nvPr>
        </p:nvGraphicFramePr>
        <p:xfrm>
          <a:off x="729740" y="1723502"/>
          <a:ext cx="10975593" cy="3256012"/>
        </p:xfrm>
        <a:graphic>
          <a:graphicData uri="http://schemas.openxmlformats.org/drawingml/2006/table">
            <a:tbl>
              <a:tblPr firstRow="1" bandRow="1">
                <a:tableStyleId>{2D5ABB26-0587-4C30-8999-92F81FD0307C}</a:tableStyleId>
              </a:tblPr>
              <a:tblGrid>
                <a:gridCol w="10975593">
                  <a:extLst>
                    <a:ext uri="{9D8B030D-6E8A-4147-A177-3AD203B41FA5}">
                      <a16:colId xmlns:a16="http://schemas.microsoft.com/office/drawing/2014/main" val="159140880"/>
                    </a:ext>
                  </a:extLst>
                </a:gridCol>
              </a:tblGrid>
              <a:tr h="700951">
                <a:tc>
                  <a:txBody>
                    <a:bodyPr/>
                    <a:lstStyle/>
                    <a:p>
                      <a:r>
                        <a:rPr kumimoji="0" lang="en-US" sz="40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Bold" panose="020B0802040204020203" pitchFamily="34" charset="0"/>
                          <a:ea typeface="Times New Roman" panose="02020603050405020304" pitchFamily="18" charset="0"/>
                          <a:cs typeface="Segoe UI Bold" panose="020B0802040204020203" pitchFamily="34" charset="0"/>
                        </a:rPr>
                        <a:t>Data Visualization</a:t>
                      </a:r>
                      <a:endParaRPr lang="en-US" sz="1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17299406"/>
                  </a:ext>
                </a:extLst>
              </a:tr>
              <a:tr h="238552">
                <a:tc>
                  <a:txBody>
                    <a:bodyPr/>
                    <a:lstStyle/>
                    <a:p>
                      <a:endParaRPr lang="en-US" sz="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90607938"/>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Times New Roman" panose="02020603050405020304" pitchFamily="18" charset="0"/>
                          <a:cs typeface="Segoe UI"/>
                        </a:rPr>
                        <a:t>Objective:</a:t>
                      </a:r>
                      <a:endParaRPr lang="en-US" sz="16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06375184"/>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Times New Roman" panose="02020603050405020304" pitchFamily="18" charset="0"/>
                          <a:cs typeface="Segoe UI"/>
                        </a:rPr>
                        <a:t>Audience, usage scenarios </a:t>
                      </a:r>
                      <a:r>
                        <a:rPr kumimoji="0" lang="en-US" sz="3200" b="1"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Times New Roman" panose="02020603050405020304" pitchFamily="18" charset="0"/>
                          <a:cs typeface="Segoe UI"/>
                        </a:rPr>
                        <a:t>(Understand)</a:t>
                      </a:r>
                      <a:endParaRPr kumimoji="0" lang="en-US" sz="3200" b="1"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112843642"/>
                  </a:ext>
                </a:extLst>
              </a:tr>
              <a:tr h="579046">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User experience, how to visualize </a:t>
                      </a:r>
                      <a:r>
                        <a:rPr kumimoji="0" lang="en-US" sz="3200" b="1"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Explore)</a:t>
                      </a:r>
                      <a:endParaRPr kumimoji="0" lang="en-US" sz="3200" b="1"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93632906"/>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User interface, test &amp; implement </a:t>
                      </a:r>
                      <a:r>
                        <a:rPr kumimoji="0" lang="en-US" sz="3200" b="1"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Materialize)</a:t>
                      </a:r>
                      <a:endParaRPr kumimoji="0" lang="en-US" sz="3200" b="1"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59052171"/>
                  </a:ext>
                </a:extLst>
              </a:tr>
            </a:tbl>
          </a:graphicData>
        </a:graphic>
      </p:graphicFrame>
    </p:spTree>
    <p:extLst>
      <p:ext uri="{BB962C8B-B14F-4D97-AF65-F5344CB8AC3E}">
        <p14:creationId xmlns:p14="http://schemas.microsoft.com/office/powerpoint/2010/main" val="3780904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Course Content</a:t>
            </a:r>
          </a:p>
        </p:txBody>
      </p:sp>
      <p:sp>
        <p:nvSpPr>
          <p:cNvPr id="6" name="Text Placeholder 2">
            <a:extLst>
              <a:ext uri="{FF2B5EF4-FFF2-40B4-BE49-F238E27FC236}">
                <a16:creationId xmlns:a16="http://schemas.microsoft.com/office/drawing/2014/main" id="{DC082D62-027F-4C5F-927C-774129B7310E}"/>
              </a:ext>
            </a:extLst>
          </p:cNvPr>
          <p:cNvSpPr txBox="1">
            <a:spLocks/>
          </p:cNvSpPr>
          <p:nvPr/>
        </p:nvSpPr>
        <p:spPr>
          <a:xfrm>
            <a:off x="595915" y="1397573"/>
            <a:ext cx="5327365" cy="4199378"/>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3200"/>
              <a:t>The content is based on </a:t>
            </a:r>
            <a:r>
              <a:rPr lang="en-US" sz="3200">
                <a:hlinkClick r:id="rId2"/>
              </a:rPr>
              <a:t>Design effective reports in Power BI – Learn</a:t>
            </a:r>
            <a:r>
              <a:rPr lang="en-US" sz="3200"/>
              <a:t>. </a:t>
            </a:r>
          </a:p>
          <a:p>
            <a:pPr marL="0" indent="0">
              <a:buNone/>
            </a:pPr>
            <a:endParaRPr lang="en-US" sz="3200"/>
          </a:p>
          <a:p>
            <a:pPr marL="0" indent="0">
              <a:buNone/>
            </a:pPr>
            <a:r>
              <a:rPr lang="en-US" sz="3200"/>
              <a:t>We highly encourage you to go through the course on your own.</a:t>
            </a:r>
          </a:p>
        </p:txBody>
      </p:sp>
      <p:pic>
        <p:nvPicPr>
          <p:cNvPr id="8" name="Picture 7">
            <a:extLst>
              <a:ext uri="{FF2B5EF4-FFF2-40B4-BE49-F238E27FC236}">
                <a16:creationId xmlns:a16="http://schemas.microsoft.com/office/drawing/2014/main" id="{512F2D75-AF2E-4101-8FEB-4D706D619077}"/>
              </a:ext>
            </a:extLst>
          </p:cNvPr>
          <p:cNvPicPr>
            <a:picLocks noChangeAspect="1"/>
          </p:cNvPicPr>
          <p:nvPr/>
        </p:nvPicPr>
        <p:blipFill>
          <a:blip r:embed="rId3"/>
          <a:stretch>
            <a:fillRect/>
          </a:stretch>
        </p:blipFill>
        <p:spPr>
          <a:xfrm>
            <a:off x="6025197" y="1397572"/>
            <a:ext cx="5992864" cy="4199379"/>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2524957959"/>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A2448F0F-750E-454F-8370-1E41DF6BCCB6}"/>
              </a:ext>
            </a:extLst>
          </p:cNvPr>
          <p:cNvSpPr/>
          <p:nvPr/>
        </p:nvSpPr>
        <p:spPr>
          <a:xfrm>
            <a:off x="1560078" y="631450"/>
            <a:ext cx="5488759" cy="548875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sp>
        <p:nvSpPr>
          <p:cNvPr id="43" name="Rectangle 42">
            <a:extLst>
              <a:ext uri="{FF2B5EF4-FFF2-40B4-BE49-F238E27FC236}">
                <a16:creationId xmlns:a16="http://schemas.microsoft.com/office/drawing/2014/main" id="{8BE93587-7EBF-453A-9E42-A743C659B286}"/>
              </a:ext>
            </a:extLst>
          </p:cNvPr>
          <p:cNvSpPr/>
          <p:nvPr/>
        </p:nvSpPr>
        <p:spPr>
          <a:xfrm rot="16200000">
            <a:off x="5343925" y="-2720097"/>
            <a:ext cx="1748627" cy="12434715"/>
          </a:xfrm>
          <a:prstGeom prst="rect">
            <a:avLst/>
          </a:prstGeom>
          <a:solidFill>
            <a:srgbClr val="EAEAEA">
              <a:alpha val="3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932649">
              <a:defRPr/>
            </a:pPr>
            <a:endParaRPr lang="en-US" sz="2448" b="1">
              <a:solidFill>
                <a:srgbClr val="000000"/>
              </a:solidFill>
              <a:latin typeface="Segoe UI Semibold" panose="020B0702040204020203" pitchFamily="34" charset="0"/>
              <a:cs typeface="Segoe UI Semibold" panose="020B0702040204020203" pitchFamily="34" charset="0"/>
            </a:endParaRPr>
          </a:p>
          <a:p>
            <a:pPr marL="2797946" lvl="6" defTabSz="932649">
              <a:defRPr/>
            </a:pPr>
            <a:endParaRPr lang="en-US" sz="2448" b="1">
              <a:solidFill>
                <a:srgbClr val="000000"/>
              </a:solidFill>
              <a:latin typeface="Segoe UI Semibold" panose="020B0702040204020203" pitchFamily="34" charset="0"/>
              <a:cs typeface="Segoe UI Semibold" panose="020B0702040204020203" pitchFamily="34" charset="0"/>
            </a:endParaRPr>
          </a:p>
          <a:p>
            <a:pPr marL="2797946" lvl="6" defTabSz="932649">
              <a:defRPr/>
            </a:pPr>
            <a:r>
              <a:rPr lang="en-US" sz="2448" b="1">
                <a:solidFill>
                  <a:srgbClr val="000000"/>
                </a:solidFill>
                <a:latin typeface="Segoe UI Semibold" panose="020B0702040204020203" pitchFamily="34" charset="0"/>
                <a:cs typeface="Segoe UI Semibold" panose="020B0702040204020203" pitchFamily="34" charset="0"/>
              </a:rPr>
              <a:t>POWER BI REPORT</a:t>
            </a:r>
          </a:p>
          <a:p>
            <a:pPr marL="2797946" lvl="6" defTabSz="932649">
              <a:defRPr/>
            </a:pPr>
            <a:r>
              <a:rPr lang="en-US" sz="1836" b="1" i="1">
                <a:solidFill>
                  <a:srgbClr val="000000"/>
                </a:solidFill>
                <a:latin typeface="Segoe UI Light" panose="020B0502040204020203" pitchFamily="34" charset="0"/>
                <a:cs typeface="Segoe UI Light" panose="020B0502040204020203" pitchFamily="34" charset="0"/>
              </a:rPr>
              <a:t>Design Thought Process</a:t>
            </a: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CA" sz="1836" b="1" i="1">
              <a:solidFill>
                <a:srgbClr val="000000"/>
              </a:solidFill>
              <a:latin typeface="Segoe UI Light" panose="020B0502040204020203" pitchFamily="34" charset="0"/>
              <a:cs typeface="Segoe UI Light" panose="020B0502040204020203" pitchFamily="34" charset="0"/>
            </a:endParaRPr>
          </a:p>
        </p:txBody>
      </p:sp>
      <p:grpSp>
        <p:nvGrpSpPr>
          <p:cNvPr id="10" name="Group 9">
            <a:extLst>
              <a:ext uri="{FF2B5EF4-FFF2-40B4-BE49-F238E27FC236}">
                <a16:creationId xmlns:a16="http://schemas.microsoft.com/office/drawing/2014/main" id="{E59C37C3-6240-473A-8CE2-B15C7C5A878C}"/>
              </a:ext>
            </a:extLst>
          </p:cNvPr>
          <p:cNvGrpSpPr/>
          <p:nvPr/>
        </p:nvGrpSpPr>
        <p:grpSpPr>
          <a:xfrm>
            <a:off x="1029224" y="103520"/>
            <a:ext cx="6491096" cy="6544649"/>
            <a:chOff x="3326931" y="650008"/>
            <a:chExt cx="5396156" cy="5440679"/>
          </a:xfrm>
        </p:grpSpPr>
        <p:sp>
          <p:nvSpPr>
            <p:cNvPr id="109" name="Freeform: Shape 108">
              <a:extLst>
                <a:ext uri="{FF2B5EF4-FFF2-40B4-BE49-F238E27FC236}">
                  <a16:creationId xmlns:a16="http://schemas.microsoft.com/office/drawing/2014/main" id="{1FB85140-7A29-46BE-85AC-ED00E605A6AB}"/>
                </a:ext>
              </a:extLst>
            </p:cNvPr>
            <p:cNvSpPr/>
            <p:nvPr/>
          </p:nvSpPr>
          <p:spPr>
            <a:xfrm rot="8100000">
              <a:off x="6500581" y="650008"/>
              <a:ext cx="805620" cy="1967534"/>
            </a:xfrm>
            <a:custGeom>
              <a:avLst/>
              <a:gdLst>
                <a:gd name="connsiteX0" fmla="*/ 655812 w 805620"/>
                <a:gd name="connsiteY0" fmla="*/ 1938563 h 1967534"/>
                <a:gd name="connsiteX1" fmla="*/ 10248 w 805620"/>
                <a:gd name="connsiteY1" fmla="*/ 140673 h 1967534"/>
                <a:gd name="connsiteX2" fmla="*/ 20562 w 805620"/>
                <a:gd name="connsiteY2" fmla="*/ 69196 h 1967534"/>
                <a:gd name="connsiteX3" fmla="*/ 119657 w 805620"/>
                <a:gd name="connsiteY3" fmla="*/ 0 h 1967534"/>
                <a:gd name="connsiteX4" fmla="*/ 190838 w 805620"/>
                <a:gd name="connsiteY4" fmla="*/ 101940 h 1967534"/>
                <a:gd name="connsiteX5" fmla="*/ 182850 w 805620"/>
                <a:gd name="connsiteY5" fmla="*/ 157294 h 1967534"/>
                <a:gd name="connsiteX6" fmla="*/ 778422 w 805620"/>
                <a:gd name="connsiteY6" fmla="*/ 1815955 h 1967534"/>
                <a:gd name="connsiteX7" fmla="*/ 805620 w 805620"/>
                <a:gd name="connsiteY7" fmla="*/ 1840539 h 1967534"/>
                <a:gd name="connsiteX8" fmla="*/ 687865 w 805620"/>
                <a:gd name="connsiteY8" fmla="*/ 1840539 h 1967534"/>
                <a:gd name="connsiteX9" fmla="*/ 687865 w 805620"/>
                <a:gd name="connsiteY9" fmla="*/ 1967534 h 1967534"/>
                <a:gd name="connsiteX10" fmla="*/ 655812 w 805620"/>
                <a:gd name="connsiteY10" fmla="*/ 1938563 h 1967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05620" h="1967534">
                  <a:moveTo>
                    <a:pt x="655812" y="1938563"/>
                  </a:moveTo>
                  <a:cubicBezTo>
                    <a:pt x="163954" y="1446705"/>
                    <a:pt x="-51235" y="782945"/>
                    <a:pt x="10248" y="140673"/>
                  </a:cubicBezTo>
                  <a:lnTo>
                    <a:pt x="20562" y="69196"/>
                  </a:lnTo>
                  <a:lnTo>
                    <a:pt x="119657" y="0"/>
                  </a:lnTo>
                  <a:lnTo>
                    <a:pt x="190838" y="101940"/>
                  </a:lnTo>
                  <a:lnTo>
                    <a:pt x="182850" y="157294"/>
                  </a:lnTo>
                  <a:cubicBezTo>
                    <a:pt x="126129" y="749828"/>
                    <a:pt x="324653" y="1362186"/>
                    <a:pt x="778422" y="1815955"/>
                  </a:cubicBezTo>
                  <a:lnTo>
                    <a:pt x="805620" y="1840539"/>
                  </a:lnTo>
                  <a:lnTo>
                    <a:pt x="687865" y="1840539"/>
                  </a:lnTo>
                  <a:lnTo>
                    <a:pt x="687865" y="1967534"/>
                  </a:lnTo>
                  <a:lnTo>
                    <a:pt x="655812" y="1938563"/>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108" name="Freeform: Shape 107">
              <a:extLst>
                <a:ext uri="{FF2B5EF4-FFF2-40B4-BE49-F238E27FC236}">
                  <a16:creationId xmlns:a16="http://schemas.microsoft.com/office/drawing/2014/main" id="{10DEF844-FB00-4656-89EF-969AEE368375}"/>
                </a:ext>
              </a:extLst>
            </p:cNvPr>
            <p:cNvSpPr/>
            <p:nvPr/>
          </p:nvSpPr>
          <p:spPr>
            <a:xfrm rot="8100000">
              <a:off x="4047195" y="1363690"/>
              <a:ext cx="1972966" cy="666051"/>
            </a:xfrm>
            <a:custGeom>
              <a:avLst/>
              <a:gdLst>
                <a:gd name="connsiteX0" fmla="*/ 0 w 1972966"/>
                <a:gd name="connsiteY0" fmla="*/ 125127 h 666051"/>
                <a:gd name="connsiteX1" fmla="*/ 0 w 1972966"/>
                <a:gd name="connsiteY1" fmla="*/ 0 h 666051"/>
                <a:gd name="connsiteX2" fmla="*/ 119822 w 1972966"/>
                <a:gd name="connsiteY2" fmla="*/ 0 h 666051"/>
                <a:gd name="connsiteX3" fmla="*/ 152388 w 1972966"/>
                <a:gd name="connsiteY3" fmla="*/ 29435 h 666051"/>
                <a:gd name="connsiteX4" fmla="*/ 1850696 w 1972966"/>
                <a:gd name="connsiteY4" fmla="*/ 454843 h 666051"/>
                <a:gd name="connsiteX5" fmla="*/ 1925581 w 1972966"/>
                <a:gd name="connsiteY5" fmla="*/ 436559 h 666051"/>
                <a:gd name="connsiteX6" fmla="*/ 1863309 w 1972966"/>
                <a:gd name="connsiteY6" fmla="*/ 530959 h 666051"/>
                <a:gd name="connsiteX7" fmla="*/ 1972966 w 1972966"/>
                <a:gd name="connsiteY7" fmla="*/ 603296 h 666051"/>
                <a:gd name="connsiteX8" fmla="*/ 1883812 w 1972966"/>
                <a:gd name="connsiteY8" fmla="*/ 625063 h 666051"/>
                <a:gd name="connsiteX9" fmla="*/ 42947 w 1972966"/>
                <a:gd name="connsiteY9" fmla="*/ 163946 h 666051"/>
                <a:gd name="connsiteX10" fmla="*/ 0 w 1972966"/>
                <a:gd name="connsiteY10" fmla="*/ 125127 h 66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72966" h="666051">
                  <a:moveTo>
                    <a:pt x="0" y="125127"/>
                  </a:moveTo>
                  <a:lnTo>
                    <a:pt x="0" y="0"/>
                  </a:lnTo>
                  <a:lnTo>
                    <a:pt x="119822" y="0"/>
                  </a:lnTo>
                  <a:lnTo>
                    <a:pt x="152388" y="29435"/>
                  </a:lnTo>
                  <a:cubicBezTo>
                    <a:pt x="639196" y="426482"/>
                    <a:pt x="1264769" y="568285"/>
                    <a:pt x="1850696" y="454843"/>
                  </a:cubicBezTo>
                  <a:lnTo>
                    <a:pt x="1925581" y="436559"/>
                  </a:lnTo>
                  <a:lnTo>
                    <a:pt x="1863309" y="530959"/>
                  </a:lnTo>
                  <a:lnTo>
                    <a:pt x="1972966" y="603296"/>
                  </a:lnTo>
                  <a:lnTo>
                    <a:pt x="1883812" y="625063"/>
                  </a:lnTo>
                  <a:cubicBezTo>
                    <a:pt x="1248703" y="748028"/>
                    <a:pt x="570619" y="594322"/>
                    <a:pt x="42947" y="163946"/>
                  </a:cubicBezTo>
                  <a:lnTo>
                    <a:pt x="0" y="125127"/>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104" name="Freeform: Shape 103">
              <a:extLst>
                <a:ext uri="{FF2B5EF4-FFF2-40B4-BE49-F238E27FC236}">
                  <a16:creationId xmlns:a16="http://schemas.microsoft.com/office/drawing/2014/main" id="{F44CE2A7-18AA-41D5-8F83-FC73910E3467}"/>
                </a:ext>
              </a:extLst>
            </p:cNvPr>
            <p:cNvSpPr/>
            <p:nvPr/>
          </p:nvSpPr>
          <p:spPr>
            <a:xfrm rot="8100000">
              <a:off x="7133906" y="2396566"/>
              <a:ext cx="1589181" cy="1743535"/>
            </a:xfrm>
            <a:custGeom>
              <a:avLst/>
              <a:gdLst>
                <a:gd name="connsiteX0" fmla="*/ 0 w 1589181"/>
                <a:gd name="connsiteY0" fmla="*/ 1708937 h 1743535"/>
                <a:gd name="connsiteX1" fmla="*/ 1822 w 1589181"/>
                <a:gd name="connsiteY1" fmla="*/ 1696310 h 1743535"/>
                <a:gd name="connsiteX2" fmla="*/ 616645 w 1589181"/>
                <a:gd name="connsiteY2" fmla="*/ 540692 h 1743535"/>
                <a:gd name="connsiteX3" fmla="*/ 1357346 w 1589181"/>
                <a:gd name="connsiteY3" fmla="*/ 48833 h 1743535"/>
                <a:gd name="connsiteX4" fmla="*/ 1496957 w 1589181"/>
                <a:gd name="connsiteY4" fmla="*/ 0 h 1743535"/>
                <a:gd name="connsiteX5" fmla="*/ 1589181 w 1589181"/>
                <a:gd name="connsiteY5" fmla="*/ 55238 h 1743535"/>
                <a:gd name="connsiteX6" fmla="*/ 1516424 w 1589181"/>
                <a:gd name="connsiteY6" fmla="*/ 176713 h 1743535"/>
                <a:gd name="connsiteX7" fmla="*/ 1422596 w 1589181"/>
                <a:gd name="connsiteY7" fmla="*/ 209533 h 1743535"/>
                <a:gd name="connsiteX8" fmla="*/ 739255 w 1589181"/>
                <a:gd name="connsiteY8" fmla="*/ 663301 h 1743535"/>
                <a:gd name="connsiteX9" fmla="*/ 172044 w 1589181"/>
                <a:gd name="connsiteY9" fmla="*/ 1729428 h 1743535"/>
                <a:gd name="connsiteX10" fmla="*/ 170008 w 1589181"/>
                <a:gd name="connsiteY10" fmla="*/ 1743535 h 1743535"/>
                <a:gd name="connsiteX11" fmla="*/ 98045 w 1589181"/>
                <a:gd name="connsiteY11" fmla="*/ 1640475 h 1743535"/>
                <a:gd name="connsiteX12" fmla="*/ 0 w 1589181"/>
                <a:gd name="connsiteY12" fmla="*/ 1708937 h 1743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89181" h="1743535">
                  <a:moveTo>
                    <a:pt x="0" y="1708937"/>
                  </a:moveTo>
                  <a:lnTo>
                    <a:pt x="1822" y="1696310"/>
                  </a:lnTo>
                  <a:cubicBezTo>
                    <a:pt x="83798" y="1272904"/>
                    <a:pt x="288739" y="868598"/>
                    <a:pt x="616645" y="540692"/>
                  </a:cubicBezTo>
                  <a:cubicBezTo>
                    <a:pt x="835249" y="322088"/>
                    <a:pt x="1087809" y="158135"/>
                    <a:pt x="1357346" y="48833"/>
                  </a:cubicBezTo>
                  <a:lnTo>
                    <a:pt x="1496957" y="0"/>
                  </a:lnTo>
                  <a:lnTo>
                    <a:pt x="1589181" y="55238"/>
                  </a:lnTo>
                  <a:lnTo>
                    <a:pt x="1516424" y="176713"/>
                  </a:lnTo>
                  <a:lnTo>
                    <a:pt x="1422596" y="209533"/>
                  </a:lnTo>
                  <a:cubicBezTo>
                    <a:pt x="1173931" y="310370"/>
                    <a:pt x="940930" y="461626"/>
                    <a:pt x="739255" y="663301"/>
                  </a:cubicBezTo>
                  <a:cubicBezTo>
                    <a:pt x="436742" y="965814"/>
                    <a:pt x="247672" y="1338810"/>
                    <a:pt x="172044" y="1729428"/>
                  </a:cubicBezTo>
                  <a:lnTo>
                    <a:pt x="170008" y="1743535"/>
                  </a:lnTo>
                  <a:lnTo>
                    <a:pt x="98045" y="1640475"/>
                  </a:lnTo>
                  <a:lnTo>
                    <a:pt x="0" y="1708937"/>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95" name="Freeform: Shape 94">
              <a:extLst>
                <a:ext uri="{FF2B5EF4-FFF2-40B4-BE49-F238E27FC236}">
                  <a16:creationId xmlns:a16="http://schemas.microsoft.com/office/drawing/2014/main" id="{0F2261B4-3BE6-4CD4-96C4-DEBF5FEFBBC1}"/>
                </a:ext>
              </a:extLst>
            </p:cNvPr>
            <p:cNvSpPr/>
            <p:nvPr/>
          </p:nvSpPr>
          <p:spPr>
            <a:xfrm rot="8100000">
              <a:off x="3326931" y="2579755"/>
              <a:ext cx="1616707" cy="1558840"/>
            </a:xfrm>
            <a:custGeom>
              <a:avLst/>
              <a:gdLst>
                <a:gd name="connsiteX0" fmla="*/ 0 w 1616707"/>
                <a:gd name="connsiteY0" fmla="*/ 1486622 h 1558840"/>
                <a:gd name="connsiteX1" fmla="*/ 62608 w 1616707"/>
                <a:gd name="connsiteY1" fmla="*/ 1391713 h 1558840"/>
                <a:gd name="connsiteX2" fmla="*/ 244554 w 1616707"/>
                <a:gd name="connsiteY2" fmla="*/ 1328072 h 1558840"/>
                <a:gd name="connsiteX3" fmla="*/ 927895 w 1616707"/>
                <a:gd name="connsiteY3" fmla="*/ 874303 h 1558840"/>
                <a:gd name="connsiteX4" fmla="*/ 1447839 w 1616707"/>
                <a:gd name="connsiteY4" fmla="*/ 1772 h 1558840"/>
                <a:gd name="connsiteX5" fmla="*/ 1448271 w 1616707"/>
                <a:gd name="connsiteY5" fmla="*/ 0 h 1558840"/>
                <a:gd name="connsiteX6" fmla="*/ 1513259 w 1616707"/>
                <a:gd name="connsiteY6" fmla="*/ 104660 h 1558840"/>
                <a:gd name="connsiteX7" fmla="*/ 1616707 w 1616707"/>
                <a:gd name="connsiteY7" fmla="*/ 40426 h 1558840"/>
                <a:gd name="connsiteX8" fmla="*/ 1614092 w 1616707"/>
                <a:gd name="connsiteY8" fmla="*/ 51139 h 1558840"/>
                <a:gd name="connsiteX9" fmla="*/ 1050503 w 1616707"/>
                <a:gd name="connsiteY9" fmla="*/ 996911 h 1558840"/>
                <a:gd name="connsiteX10" fmla="*/ 309803 w 1616707"/>
                <a:gd name="connsiteY10" fmla="*/ 1488770 h 1558840"/>
                <a:gd name="connsiteX11" fmla="*/ 109476 w 1616707"/>
                <a:gd name="connsiteY11" fmla="*/ 1558840 h 1558840"/>
                <a:gd name="connsiteX12" fmla="*/ 0 w 1616707"/>
                <a:gd name="connsiteY12" fmla="*/ 1486622 h 1558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16707" h="1558840">
                  <a:moveTo>
                    <a:pt x="0" y="1486622"/>
                  </a:moveTo>
                  <a:lnTo>
                    <a:pt x="62608" y="1391713"/>
                  </a:lnTo>
                  <a:lnTo>
                    <a:pt x="244554" y="1328072"/>
                  </a:lnTo>
                  <a:cubicBezTo>
                    <a:pt x="493219" y="1227234"/>
                    <a:pt x="726220" y="1075978"/>
                    <a:pt x="927895" y="874303"/>
                  </a:cubicBezTo>
                  <a:cubicBezTo>
                    <a:pt x="1179989" y="622209"/>
                    <a:pt x="1353304" y="321168"/>
                    <a:pt x="1447839" y="1772"/>
                  </a:cubicBezTo>
                  <a:lnTo>
                    <a:pt x="1448271" y="0"/>
                  </a:lnTo>
                  <a:lnTo>
                    <a:pt x="1513259" y="104660"/>
                  </a:lnTo>
                  <a:lnTo>
                    <a:pt x="1616707" y="40426"/>
                  </a:lnTo>
                  <a:lnTo>
                    <a:pt x="1614092" y="51139"/>
                  </a:lnTo>
                  <a:cubicBezTo>
                    <a:pt x="1511621" y="397346"/>
                    <a:pt x="1323758" y="723656"/>
                    <a:pt x="1050503" y="996911"/>
                  </a:cubicBezTo>
                  <a:cubicBezTo>
                    <a:pt x="831900" y="1215515"/>
                    <a:pt x="579340" y="1379468"/>
                    <a:pt x="309803" y="1488770"/>
                  </a:cubicBezTo>
                  <a:lnTo>
                    <a:pt x="109476" y="1558840"/>
                  </a:lnTo>
                  <a:lnTo>
                    <a:pt x="0" y="1486622"/>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90" name="Freeform: Shape 89">
              <a:extLst>
                <a:ext uri="{FF2B5EF4-FFF2-40B4-BE49-F238E27FC236}">
                  <a16:creationId xmlns:a16="http://schemas.microsoft.com/office/drawing/2014/main" id="{D6D3B965-EE9F-43FF-BA28-4B839231CE36}"/>
                </a:ext>
              </a:extLst>
            </p:cNvPr>
            <p:cNvSpPr/>
            <p:nvPr/>
          </p:nvSpPr>
          <p:spPr>
            <a:xfrm rot="8100000">
              <a:off x="5999029" y="4697061"/>
              <a:ext cx="2104462" cy="699340"/>
            </a:xfrm>
            <a:custGeom>
              <a:avLst/>
              <a:gdLst>
                <a:gd name="connsiteX0" fmla="*/ 23166 w 2104462"/>
                <a:gd name="connsiteY0" fmla="*/ 250773 h 699340"/>
                <a:gd name="connsiteX1" fmla="*/ 93156 w 2104462"/>
                <a:gd name="connsiteY1" fmla="*/ 133917 h 699340"/>
                <a:gd name="connsiteX2" fmla="*/ 0 w 2104462"/>
                <a:gd name="connsiteY2" fmla="*/ 78121 h 699340"/>
                <a:gd name="connsiteX3" fmla="*/ 152086 w 2104462"/>
                <a:gd name="connsiteY3" fmla="*/ 40989 h 699340"/>
                <a:gd name="connsiteX4" fmla="*/ 1992951 w 2104462"/>
                <a:gd name="connsiteY4" fmla="*/ 502106 h 699340"/>
                <a:gd name="connsiteX5" fmla="*/ 2104462 w 2104462"/>
                <a:gd name="connsiteY5" fmla="*/ 602897 h 699340"/>
                <a:gd name="connsiteX6" fmla="*/ 2098864 w 2104462"/>
                <a:gd name="connsiteY6" fmla="*/ 699340 h 699340"/>
                <a:gd name="connsiteX7" fmla="*/ 1942887 w 2104462"/>
                <a:gd name="connsiteY7" fmla="*/ 690285 h 699340"/>
                <a:gd name="connsiteX8" fmla="*/ 1883512 w 2104462"/>
                <a:gd name="connsiteY8" fmla="*/ 636619 h 699340"/>
                <a:gd name="connsiteX9" fmla="*/ 185204 w 2104462"/>
                <a:gd name="connsiteY9" fmla="*/ 211211 h 699340"/>
                <a:gd name="connsiteX10" fmla="*/ 23166 w 2104462"/>
                <a:gd name="connsiteY10" fmla="*/ 250773 h 699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04462" h="699340">
                  <a:moveTo>
                    <a:pt x="23166" y="250773"/>
                  </a:moveTo>
                  <a:lnTo>
                    <a:pt x="93156" y="133917"/>
                  </a:lnTo>
                  <a:lnTo>
                    <a:pt x="0" y="78121"/>
                  </a:lnTo>
                  <a:lnTo>
                    <a:pt x="152086" y="40989"/>
                  </a:lnTo>
                  <a:cubicBezTo>
                    <a:pt x="787195" y="-81976"/>
                    <a:pt x="1465280" y="71730"/>
                    <a:pt x="1992951" y="502106"/>
                  </a:cubicBezTo>
                  <a:lnTo>
                    <a:pt x="2104462" y="602897"/>
                  </a:lnTo>
                  <a:lnTo>
                    <a:pt x="2098864" y="699340"/>
                  </a:lnTo>
                  <a:lnTo>
                    <a:pt x="1942887" y="690285"/>
                  </a:lnTo>
                  <a:lnTo>
                    <a:pt x="1883512" y="636619"/>
                  </a:lnTo>
                  <a:cubicBezTo>
                    <a:pt x="1396704" y="239571"/>
                    <a:pt x="771130" y="97768"/>
                    <a:pt x="185204" y="211211"/>
                  </a:cubicBezTo>
                  <a:lnTo>
                    <a:pt x="23166" y="250773"/>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89" name="Freeform: Shape 88">
              <a:extLst>
                <a:ext uri="{FF2B5EF4-FFF2-40B4-BE49-F238E27FC236}">
                  <a16:creationId xmlns:a16="http://schemas.microsoft.com/office/drawing/2014/main" id="{D696A39B-4F4D-4E22-8369-50B2C17C881E}"/>
                </a:ext>
              </a:extLst>
            </p:cNvPr>
            <p:cNvSpPr/>
            <p:nvPr/>
          </p:nvSpPr>
          <p:spPr>
            <a:xfrm rot="8100000">
              <a:off x="4700877" y="3978390"/>
              <a:ext cx="773214" cy="2112297"/>
            </a:xfrm>
            <a:custGeom>
              <a:avLst/>
              <a:gdLst>
                <a:gd name="connsiteX0" fmla="*/ 604593 w 773214"/>
                <a:gd name="connsiteY0" fmla="*/ 2112297 h 2112297"/>
                <a:gd name="connsiteX1" fmla="*/ 544334 w 773214"/>
                <a:gd name="connsiteY1" fmla="*/ 2015252 h 2112297"/>
                <a:gd name="connsiteX2" fmla="*/ 562006 w 773214"/>
                <a:gd name="connsiteY2" fmla="*/ 1942872 h 2112297"/>
                <a:gd name="connsiteX3" fmla="*/ 136598 w 773214"/>
                <a:gd name="connsiteY3" fmla="*/ 244564 h 2112297"/>
                <a:gd name="connsiteX4" fmla="*/ 0 w 773214"/>
                <a:gd name="connsiteY4" fmla="*/ 93438 h 2112297"/>
                <a:gd name="connsiteX5" fmla="*/ 143069 w 773214"/>
                <a:gd name="connsiteY5" fmla="*/ 101743 h 2112297"/>
                <a:gd name="connsiteX6" fmla="*/ 148975 w 773214"/>
                <a:gd name="connsiteY6" fmla="*/ 0 h 2112297"/>
                <a:gd name="connsiteX7" fmla="*/ 271109 w 773214"/>
                <a:gd name="connsiteY7" fmla="*/ 135124 h 2112297"/>
                <a:gd name="connsiteX8" fmla="*/ 732226 w 773214"/>
                <a:gd name="connsiteY8" fmla="*/ 1975989 h 2112297"/>
                <a:gd name="connsiteX9" fmla="*/ 715807 w 773214"/>
                <a:gd name="connsiteY9" fmla="*/ 2043240 h 2112297"/>
                <a:gd name="connsiteX10" fmla="*/ 604593 w 773214"/>
                <a:gd name="connsiteY10" fmla="*/ 2112297 h 2112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3214" h="2112297">
                  <a:moveTo>
                    <a:pt x="604593" y="2112297"/>
                  </a:moveTo>
                  <a:lnTo>
                    <a:pt x="544334" y="2015252"/>
                  </a:lnTo>
                  <a:lnTo>
                    <a:pt x="562006" y="1942872"/>
                  </a:lnTo>
                  <a:cubicBezTo>
                    <a:pt x="675448" y="1356946"/>
                    <a:pt x="533646" y="731372"/>
                    <a:pt x="136598" y="244564"/>
                  </a:cubicBezTo>
                  <a:lnTo>
                    <a:pt x="0" y="93438"/>
                  </a:lnTo>
                  <a:lnTo>
                    <a:pt x="143069" y="101743"/>
                  </a:lnTo>
                  <a:lnTo>
                    <a:pt x="148975" y="0"/>
                  </a:lnTo>
                  <a:lnTo>
                    <a:pt x="271109" y="135124"/>
                  </a:lnTo>
                  <a:cubicBezTo>
                    <a:pt x="701486" y="662795"/>
                    <a:pt x="855191" y="1340880"/>
                    <a:pt x="732226" y="1975989"/>
                  </a:cubicBezTo>
                  <a:lnTo>
                    <a:pt x="715807" y="2043240"/>
                  </a:lnTo>
                  <a:lnTo>
                    <a:pt x="604593" y="2112297"/>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grpSp>
      <p:sp>
        <p:nvSpPr>
          <p:cNvPr id="148" name="Freeform: Shape 147">
            <a:extLst>
              <a:ext uri="{FF2B5EF4-FFF2-40B4-BE49-F238E27FC236}">
                <a16:creationId xmlns:a16="http://schemas.microsoft.com/office/drawing/2014/main" id="{40659ACA-1BBA-4BE7-8CE6-752D6CF7EBEC}"/>
              </a:ext>
            </a:extLst>
          </p:cNvPr>
          <p:cNvSpPr/>
          <p:nvPr/>
        </p:nvSpPr>
        <p:spPr>
          <a:xfrm rot="8100000">
            <a:off x="1291349" y="362721"/>
            <a:ext cx="6026213" cy="6026216"/>
          </a:xfrm>
          <a:custGeom>
            <a:avLst/>
            <a:gdLst>
              <a:gd name="connsiteX0" fmla="*/ 1682508 w 4478158"/>
              <a:gd name="connsiteY0" fmla="*/ 250772 h 4478160"/>
              <a:gd name="connsiteX1" fmla="*/ 1752498 w 4478158"/>
              <a:gd name="connsiteY1" fmla="*/ 133916 h 4478160"/>
              <a:gd name="connsiteX2" fmla="*/ 1659341 w 4478158"/>
              <a:gd name="connsiteY2" fmla="*/ 78120 h 4478160"/>
              <a:gd name="connsiteX3" fmla="*/ 1811428 w 4478158"/>
              <a:gd name="connsiteY3" fmla="*/ 40988 h 4478160"/>
              <a:gd name="connsiteX4" fmla="*/ 3652293 w 4478158"/>
              <a:gd name="connsiteY4" fmla="*/ 502105 h 4478160"/>
              <a:gd name="connsiteX5" fmla="*/ 3763804 w 4478158"/>
              <a:gd name="connsiteY5" fmla="*/ 602896 h 4478160"/>
              <a:gd name="connsiteX6" fmla="*/ 3822347 w 4478158"/>
              <a:gd name="connsiteY6" fmla="*/ 655811 h 4478160"/>
              <a:gd name="connsiteX7" fmla="*/ 3853919 w 4478158"/>
              <a:gd name="connsiteY7" fmla="*/ 690741 h 4478160"/>
              <a:gd name="connsiteX8" fmla="*/ 3848013 w 4478158"/>
              <a:gd name="connsiteY8" fmla="*/ 792483 h 4478160"/>
              <a:gd name="connsiteX9" fmla="*/ 3848013 w 4478158"/>
              <a:gd name="connsiteY9" fmla="*/ 792484 h 4478160"/>
              <a:gd name="connsiteX10" fmla="*/ 3853919 w 4478158"/>
              <a:gd name="connsiteY10" fmla="*/ 690741 h 4478160"/>
              <a:gd name="connsiteX11" fmla="*/ 3976054 w 4478158"/>
              <a:gd name="connsiteY11" fmla="*/ 825864 h 4478160"/>
              <a:gd name="connsiteX12" fmla="*/ 4437170 w 4478158"/>
              <a:gd name="connsiteY12" fmla="*/ 2666730 h 4478160"/>
              <a:gd name="connsiteX13" fmla="*/ 4420751 w 4478158"/>
              <a:gd name="connsiteY13" fmla="*/ 2733981 h 4478160"/>
              <a:gd name="connsiteX14" fmla="*/ 4309537 w 4478158"/>
              <a:gd name="connsiteY14" fmla="*/ 2803038 h 4478160"/>
              <a:gd name="connsiteX15" fmla="*/ 4249278 w 4478158"/>
              <a:gd name="connsiteY15" fmla="*/ 2705993 h 4478160"/>
              <a:gd name="connsiteX16" fmla="*/ 4266950 w 4478158"/>
              <a:gd name="connsiteY16" fmla="*/ 2633613 h 4478160"/>
              <a:gd name="connsiteX17" fmla="*/ 3841542 w 4478158"/>
              <a:gd name="connsiteY17" fmla="*/ 935304 h 4478160"/>
              <a:gd name="connsiteX18" fmla="*/ 3704945 w 4478158"/>
              <a:gd name="connsiteY18" fmla="*/ 784179 h 4478160"/>
              <a:gd name="connsiteX19" fmla="*/ 3704944 w 4478158"/>
              <a:gd name="connsiteY19" fmla="*/ 784179 h 4478160"/>
              <a:gd name="connsiteX20" fmla="*/ 3699739 w 4478158"/>
              <a:gd name="connsiteY20" fmla="*/ 778420 h 4478160"/>
              <a:gd name="connsiteX21" fmla="*/ 3602229 w 4478158"/>
              <a:gd name="connsiteY21" fmla="*/ 690284 h 4478160"/>
              <a:gd name="connsiteX22" fmla="*/ 3542854 w 4478158"/>
              <a:gd name="connsiteY22" fmla="*/ 636618 h 4478160"/>
              <a:gd name="connsiteX23" fmla="*/ 1844546 w 4478158"/>
              <a:gd name="connsiteY23" fmla="*/ 211210 h 4478160"/>
              <a:gd name="connsiteX24" fmla="*/ 39167 w 4478158"/>
              <a:gd name="connsiteY24" fmla="*/ 1824055 h 4478160"/>
              <a:gd name="connsiteX25" fmla="*/ 40988 w 4478158"/>
              <a:gd name="connsiteY25" fmla="*/ 1811428 h 4478160"/>
              <a:gd name="connsiteX26" fmla="*/ 655811 w 4478158"/>
              <a:gd name="connsiteY26" fmla="*/ 655811 h 4478160"/>
              <a:gd name="connsiteX27" fmla="*/ 1396512 w 4478158"/>
              <a:gd name="connsiteY27" fmla="*/ 163952 h 4478160"/>
              <a:gd name="connsiteX28" fmla="*/ 1536124 w 4478158"/>
              <a:gd name="connsiteY28" fmla="*/ 115118 h 4478160"/>
              <a:gd name="connsiteX29" fmla="*/ 1628348 w 4478158"/>
              <a:gd name="connsiteY29" fmla="*/ 170356 h 4478160"/>
              <a:gd name="connsiteX30" fmla="*/ 1555590 w 4478158"/>
              <a:gd name="connsiteY30" fmla="*/ 291831 h 4478160"/>
              <a:gd name="connsiteX31" fmla="*/ 1461762 w 4478158"/>
              <a:gd name="connsiteY31" fmla="*/ 324651 h 4478160"/>
              <a:gd name="connsiteX32" fmla="*/ 778421 w 4478158"/>
              <a:gd name="connsiteY32" fmla="*/ 778420 h 4478160"/>
              <a:gd name="connsiteX33" fmla="*/ 211210 w 4478158"/>
              <a:gd name="connsiteY33" fmla="*/ 1844547 h 4478160"/>
              <a:gd name="connsiteX34" fmla="*/ 209174 w 4478158"/>
              <a:gd name="connsiteY34" fmla="*/ 1858654 h 4478160"/>
              <a:gd name="connsiteX35" fmla="*/ 137211 w 4478158"/>
              <a:gd name="connsiteY35" fmla="*/ 1755594 h 4478160"/>
              <a:gd name="connsiteX36" fmla="*/ 782918 w 4478158"/>
              <a:gd name="connsiteY36" fmla="*/ 3937235 h 4478160"/>
              <a:gd name="connsiteX37" fmla="*/ 782918 w 4478158"/>
              <a:gd name="connsiteY37" fmla="*/ 3812109 h 4478160"/>
              <a:gd name="connsiteX38" fmla="*/ 902740 w 4478158"/>
              <a:gd name="connsiteY38" fmla="*/ 3812109 h 4478160"/>
              <a:gd name="connsiteX39" fmla="*/ 935306 w 4478158"/>
              <a:gd name="connsiteY39" fmla="*/ 3841544 h 4478160"/>
              <a:gd name="connsiteX40" fmla="*/ 2633614 w 4478158"/>
              <a:gd name="connsiteY40" fmla="*/ 4266952 h 4478160"/>
              <a:gd name="connsiteX41" fmla="*/ 2708498 w 4478158"/>
              <a:gd name="connsiteY41" fmla="*/ 4248668 h 4478160"/>
              <a:gd name="connsiteX42" fmla="*/ 2827208 w 4478158"/>
              <a:gd name="connsiteY42" fmla="*/ 4219684 h 4478160"/>
              <a:gd name="connsiteX43" fmla="*/ 2834453 w 4478158"/>
              <a:gd name="connsiteY43" fmla="*/ 4217151 h 4478160"/>
              <a:gd name="connsiteX44" fmla="*/ 3016398 w 4478158"/>
              <a:gd name="connsiteY44" fmla="*/ 4153510 h 4478160"/>
              <a:gd name="connsiteX45" fmla="*/ 3699739 w 4478158"/>
              <a:gd name="connsiteY45" fmla="*/ 3699741 h 4478160"/>
              <a:gd name="connsiteX46" fmla="*/ 4219683 w 4478158"/>
              <a:gd name="connsiteY46" fmla="*/ 2827210 h 4478160"/>
              <a:gd name="connsiteX47" fmla="*/ 4220115 w 4478158"/>
              <a:gd name="connsiteY47" fmla="*/ 2825438 h 4478160"/>
              <a:gd name="connsiteX48" fmla="*/ 4285103 w 4478158"/>
              <a:gd name="connsiteY48" fmla="*/ 2930098 h 4478160"/>
              <a:gd name="connsiteX49" fmla="*/ 4388551 w 4478158"/>
              <a:gd name="connsiteY49" fmla="*/ 2865864 h 4478160"/>
              <a:gd name="connsiteX50" fmla="*/ 4385936 w 4478158"/>
              <a:gd name="connsiteY50" fmla="*/ 2876577 h 4478160"/>
              <a:gd name="connsiteX51" fmla="*/ 3822347 w 4478158"/>
              <a:gd name="connsiteY51" fmla="*/ 3822349 h 4478160"/>
              <a:gd name="connsiteX52" fmla="*/ 3081647 w 4478158"/>
              <a:gd name="connsiteY52" fmla="*/ 4314208 h 4478160"/>
              <a:gd name="connsiteX53" fmla="*/ 2881320 w 4478158"/>
              <a:gd name="connsiteY53" fmla="*/ 4384278 h 4478160"/>
              <a:gd name="connsiteX54" fmla="*/ 2876575 w 4478158"/>
              <a:gd name="connsiteY54" fmla="*/ 4385937 h 4478160"/>
              <a:gd name="connsiteX55" fmla="*/ 2755884 w 4478158"/>
              <a:gd name="connsiteY55" fmla="*/ 4415405 h 4478160"/>
              <a:gd name="connsiteX56" fmla="*/ 2666730 w 4478158"/>
              <a:gd name="connsiteY56" fmla="*/ 4437172 h 4478160"/>
              <a:gd name="connsiteX57" fmla="*/ 825865 w 4478158"/>
              <a:gd name="connsiteY57" fmla="*/ 3976055 h 4478160"/>
              <a:gd name="connsiteX58" fmla="*/ 655810 w 4478158"/>
              <a:gd name="connsiteY58" fmla="*/ 3822348 h 4478160"/>
              <a:gd name="connsiteX59" fmla="*/ 10247 w 4478158"/>
              <a:gd name="connsiteY59" fmla="*/ 2024458 h 4478160"/>
              <a:gd name="connsiteX60" fmla="*/ 20560 w 4478158"/>
              <a:gd name="connsiteY60" fmla="*/ 1952981 h 4478160"/>
              <a:gd name="connsiteX61" fmla="*/ 20561 w 4478158"/>
              <a:gd name="connsiteY61" fmla="*/ 1952980 h 4478160"/>
              <a:gd name="connsiteX62" fmla="*/ 39166 w 4478158"/>
              <a:gd name="connsiteY62" fmla="*/ 1824056 h 4478160"/>
              <a:gd name="connsiteX63" fmla="*/ 137211 w 4478158"/>
              <a:gd name="connsiteY63" fmla="*/ 1755594 h 4478160"/>
              <a:gd name="connsiteX64" fmla="*/ 209174 w 4478158"/>
              <a:gd name="connsiteY64" fmla="*/ 1858654 h 4478160"/>
              <a:gd name="connsiteX65" fmla="*/ 190837 w 4478158"/>
              <a:gd name="connsiteY65" fmla="*/ 1985725 h 4478160"/>
              <a:gd name="connsiteX66" fmla="*/ 182848 w 4478158"/>
              <a:gd name="connsiteY66" fmla="*/ 2041079 h 4478160"/>
              <a:gd name="connsiteX67" fmla="*/ 778420 w 4478158"/>
              <a:gd name="connsiteY67" fmla="*/ 3699740 h 4478160"/>
              <a:gd name="connsiteX68" fmla="*/ 805619 w 4478158"/>
              <a:gd name="connsiteY68" fmla="*/ 3724324 h 4478160"/>
              <a:gd name="connsiteX69" fmla="*/ 687863 w 4478158"/>
              <a:gd name="connsiteY69" fmla="*/ 3724324 h 4478160"/>
              <a:gd name="connsiteX70" fmla="*/ 687863 w 4478158"/>
              <a:gd name="connsiteY70" fmla="*/ 3851319 h 4478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478158" h="4478160">
                <a:moveTo>
                  <a:pt x="1682508" y="250772"/>
                </a:moveTo>
                <a:lnTo>
                  <a:pt x="1752498" y="133916"/>
                </a:lnTo>
                <a:lnTo>
                  <a:pt x="1659341" y="78120"/>
                </a:lnTo>
                <a:lnTo>
                  <a:pt x="1811428" y="40988"/>
                </a:lnTo>
                <a:cubicBezTo>
                  <a:pt x="2446537" y="-81977"/>
                  <a:pt x="3124622" y="71729"/>
                  <a:pt x="3652293" y="502105"/>
                </a:cubicBezTo>
                <a:lnTo>
                  <a:pt x="3763804" y="602896"/>
                </a:lnTo>
                <a:lnTo>
                  <a:pt x="3822347" y="655811"/>
                </a:lnTo>
                <a:lnTo>
                  <a:pt x="3853919" y="690741"/>
                </a:lnTo>
                <a:lnTo>
                  <a:pt x="3848013" y="792483"/>
                </a:lnTo>
                <a:lnTo>
                  <a:pt x="3848013" y="792484"/>
                </a:lnTo>
                <a:lnTo>
                  <a:pt x="3853919" y="690741"/>
                </a:lnTo>
                <a:lnTo>
                  <a:pt x="3976054" y="825864"/>
                </a:lnTo>
                <a:cubicBezTo>
                  <a:pt x="4406430" y="1353535"/>
                  <a:pt x="4560135" y="2031620"/>
                  <a:pt x="4437170" y="2666730"/>
                </a:cubicBezTo>
                <a:lnTo>
                  <a:pt x="4420751" y="2733981"/>
                </a:lnTo>
                <a:lnTo>
                  <a:pt x="4309537" y="2803038"/>
                </a:lnTo>
                <a:lnTo>
                  <a:pt x="4249278" y="2705993"/>
                </a:lnTo>
                <a:lnTo>
                  <a:pt x="4266950" y="2633613"/>
                </a:lnTo>
                <a:cubicBezTo>
                  <a:pt x="4380392" y="2047687"/>
                  <a:pt x="4238590" y="1422112"/>
                  <a:pt x="3841542" y="935304"/>
                </a:cubicBezTo>
                <a:lnTo>
                  <a:pt x="3704945" y="784179"/>
                </a:lnTo>
                <a:lnTo>
                  <a:pt x="3704944" y="784179"/>
                </a:lnTo>
                <a:lnTo>
                  <a:pt x="3699739" y="778420"/>
                </a:lnTo>
                <a:lnTo>
                  <a:pt x="3602229" y="690284"/>
                </a:lnTo>
                <a:lnTo>
                  <a:pt x="3542854" y="636618"/>
                </a:lnTo>
                <a:cubicBezTo>
                  <a:pt x="3056046" y="239570"/>
                  <a:pt x="2430472" y="97767"/>
                  <a:pt x="1844546" y="211210"/>
                </a:cubicBezTo>
                <a:close/>
                <a:moveTo>
                  <a:pt x="39167" y="1824055"/>
                </a:moveTo>
                <a:lnTo>
                  <a:pt x="40988" y="1811428"/>
                </a:lnTo>
                <a:cubicBezTo>
                  <a:pt x="122964" y="1388022"/>
                  <a:pt x="327906" y="983716"/>
                  <a:pt x="655811" y="655811"/>
                </a:cubicBezTo>
                <a:cubicBezTo>
                  <a:pt x="874415" y="437207"/>
                  <a:pt x="1126975" y="273253"/>
                  <a:pt x="1396512" y="163952"/>
                </a:cubicBezTo>
                <a:lnTo>
                  <a:pt x="1536124" y="115118"/>
                </a:lnTo>
                <a:lnTo>
                  <a:pt x="1628348" y="170356"/>
                </a:lnTo>
                <a:lnTo>
                  <a:pt x="1555590" y="291831"/>
                </a:lnTo>
                <a:lnTo>
                  <a:pt x="1461762" y="324651"/>
                </a:lnTo>
                <a:cubicBezTo>
                  <a:pt x="1213097" y="425489"/>
                  <a:pt x="980096" y="576745"/>
                  <a:pt x="778421" y="778420"/>
                </a:cubicBezTo>
                <a:cubicBezTo>
                  <a:pt x="475908" y="1080933"/>
                  <a:pt x="286838" y="1453928"/>
                  <a:pt x="211210" y="1844547"/>
                </a:cubicBezTo>
                <a:lnTo>
                  <a:pt x="209174" y="1858654"/>
                </a:lnTo>
                <a:lnTo>
                  <a:pt x="137211" y="1755594"/>
                </a:lnTo>
                <a:close/>
                <a:moveTo>
                  <a:pt x="782918" y="3937235"/>
                </a:moveTo>
                <a:lnTo>
                  <a:pt x="782918" y="3812109"/>
                </a:lnTo>
                <a:lnTo>
                  <a:pt x="902740" y="3812109"/>
                </a:lnTo>
                <a:lnTo>
                  <a:pt x="935306" y="3841544"/>
                </a:lnTo>
                <a:cubicBezTo>
                  <a:pt x="1422114" y="4238590"/>
                  <a:pt x="2047687" y="4380394"/>
                  <a:pt x="2633614" y="4266952"/>
                </a:cubicBezTo>
                <a:lnTo>
                  <a:pt x="2708498" y="4248668"/>
                </a:lnTo>
                <a:lnTo>
                  <a:pt x="2827208" y="4219684"/>
                </a:lnTo>
                <a:lnTo>
                  <a:pt x="2834453" y="4217151"/>
                </a:lnTo>
                <a:lnTo>
                  <a:pt x="3016398" y="4153510"/>
                </a:lnTo>
                <a:cubicBezTo>
                  <a:pt x="3265063" y="4052672"/>
                  <a:pt x="3498064" y="3901416"/>
                  <a:pt x="3699739" y="3699741"/>
                </a:cubicBezTo>
                <a:cubicBezTo>
                  <a:pt x="3951833" y="3447647"/>
                  <a:pt x="4125148" y="3146606"/>
                  <a:pt x="4219683" y="2827210"/>
                </a:cubicBezTo>
                <a:lnTo>
                  <a:pt x="4220115" y="2825438"/>
                </a:lnTo>
                <a:lnTo>
                  <a:pt x="4285103" y="2930098"/>
                </a:lnTo>
                <a:lnTo>
                  <a:pt x="4388551" y="2865864"/>
                </a:lnTo>
                <a:lnTo>
                  <a:pt x="4385936" y="2876577"/>
                </a:lnTo>
                <a:cubicBezTo>
                  <a:pt x="4283465" y="3222784"/>
                  <a:pt x="4095602" y="3549094"/>
                  <a:pt x="3822347" y="3822349"/>
                </a:cubicBezTo>
                <a:cubicBezTo>
                  <a:pt x="3603744" y="4040953"/>
                  <a:pt x="3351184" y="4204906"/>
                  <a:pt x="3081647" y="4314208"/>
                </a:cubicBezTo>
                <a:lnTo>
                  <a:pt x="2881320" y="4384278"/>
                </a:lnTo>
                <a:lnTo>
                  <a:pt x="2876575" y="4385937"/>
                </a:lnTo>
                <a:lnTo>
                  <a:pt x="2755884" y="4415405"/>
                </a:lnTo>
                <a:lnTo>
                  <a:pt x="2666730" y="4437172"/>
                </a:lnTo>
                <a:cubicBezTo>
                  <a:pt x="2031621" y="4560137"/>
                  <a:pt x="1353537" y="4406430"/>
                  <a:pt x="825865" y="3976055"/>
                </a:cubicBezTo>
                <a:close/>
                <a:moveTo>
                  <a:pt x="655810" y="3822348"/>
                </a:moveTo>
                <a:cubicBezTo>
                  <a:pt x="163953" y="3330490"/>
                  <a:pt x="-51237" y="2666730"/>
                  <a:pt x="10247" y="2024458"/>
                </a:cubicBezTo>
                <a:lnTo>
                  <a:pt x="20560" y="1952981"/>
                </a:lnTo>
                <a:lnTo>
                  <a:pt x="20561" y="1952980"/>
                </a:lnTo>
                <a:lnTo>
                  <a:pt x="39166" y="1824056"/>
                </a:lnTo>
                <a:lnTo>
                  <a:pt x="137211" y="1755594"/>
                </a:lnTo>
                <a:lnTo>
                  <a:pt x="209174" y="1858654"/>
                </a:lnTo>
                <a:lnTo>
                  <a:pt x="190837" y="1985725"/>
                </a:lnTo>
                <a:lnTo>
                  <a:pt x="182848" y="2041079"/>
                </a:lnTo>
                <a:cubicBezTo>
                  <a:pt x="126127" y="2633613"/>
                  <a:pt x="324652" y="3245971"/>
                  <a:pt x="778420" y="3699740"/>
                </a:cubicBezTo>
                <a:lnTo>
                  <a:pt x="805619" y="3724324"/>
                </a:lnTo>
                <a:lnTo>
                  <a:pt x="687863" y="3724324"/>
                </a:lnTo>
                <a:lnTo>
                  <a:pt x="687863" y="3851319"/>
                </a:lnTo>
                <a:close/>
              </a:path>
            </a:pathLst>
          </a:custGeom>
          <a:solidFill>
            <a:schemeClr val="bg1">
              <a:lumMod val="75000"/>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12" name="TextBox 11">
            <a:extLst>
              <a:ext uri="{FF2B5EF4-FFF2-40B4-BE49-F238E27FC236}">
                <a16:creationId xmlns:a16="http://schemas.microsoft.com/office/drawing/2014/main" id="{CE1B6C43-A200-4158-99F3-90B1BBDEC2D9}"/>
              </a:ext>
            </a:extLst>
          </p:cNvPr>
          <p:cNvSpPr txBox="1"/>
          <p:nvPr/>
        </p:nvSpPr>
        <p:spPr>
          <a:xfrm rot="3101169">
            <a:off x="5861527" y="1330472"/>
            <a:ext cx="1510792" cy="376684"/>
          </a:xfrm>
          <a:prstGeom prst="rect">
            <a:avLst/>
          </a:prstGeom>
          <a:noFill/>
        </p:spPr>
        <p:txBody>
          <a:bodyPr wrap="none" rtlCol="0">
            <a:prstTxWarp prst="textArchUp">
              <a:avLst/>
            </a:prstTxWarp>
            <a:spAutoFit/>
          </a:bodyPr>
          <a:lstStyle/>
          <a:p>
            <a:pPr algn="ctr" defTabSz="932649">
              <a:defRPr/>
            </a:pPr>
            <a:r>
              <a:rPr lang="en-CA" sz="1836">
                <a:solidFill>
                  <a:srgbClr val="000000"/>
                </a:solidFill>
                <a:latin typeface="Segoe UI"/>
              </a:rPr>
              <a:t>UNDERSTAND</a:t>
            </a:r>
          </a:p>
        </p:txBody>
      </p:sp>
      <p:sp>
        <p:nvSpPr>
          <p:cNvPr id="149" name="TextBox 148">
            <a:extLst>
              <a:ext uri="{FF2B5EF4-FFF2-40B4-BE49-F238E27FC236}">
                <a16:creationId xmlns:a16="http://schemas.microsoft.com/office/drawing/2014/main" id="{C38B9824-2B56-40C3-A86F-36F9996F5ED8}"/>
              </a:ext>
            </a:extLst>
          </p:cNvPr>
          <p:cNvSpPr txBox="1"/>
          <p:nvPr/>
        </p:nvSpPr>
        <p:spPr>
          <a:xfrm>
            <a:off x="3617062" y="6245487"/>
            <a:ext cx="1510792" cy="376684"/>
          </a:xfrm>
          <a:prstGeom prst="rect">
            <a:avLst/>
          </a:prstGeom>
          <a:noFill/>
        </p:spPr>
        <p:txBody>
          <a:bodyPr wrap="none" rtlCol="0">
            <a:prstTxWarp prst="textArchDown">
              <a:avLst>
                <a:gd name="adj" fmla="val 938077"/>
              </a:avLst>
            </a:prstTxWarp>
            <a:spAutoFit/>
          </a:bodyPr>
          <a:lstStyle/>
          <a:p>
            <a:pPr algn="ctr" defTabSz="932649">
              <a:defRPr/>
            </a:pPr>
            <a:r>
              <a:rPr lang="en-CA" sz="1836">
                <a:solidFill>
                  <a:srgbClr val="000000"/>
                </a:solidFill>
                <a:latin typeface="Segoe UI"/>
              </a:rPr>
              <a:t>EXPLORE</a:t>
            </a:r>
          </a:p>
        </p:txBody>
      </p:sp>
      <p:sp>
        <p:nvSpPr>
          <p:cNvPr id="150" name="TextBox 149">
            <a:extLst>
              <a:ext uri="{FF2B5EF4-FFF2-40B4-BE49-F238E27FC236}">
                <a16:creationId xmlns:a16="http://schemas.microsoft.com/office/drawing/2014/main" id="{D23C2F4F-480F-4D85-91F5-596D114FA5CB}"/>
              </a:ext>
            </a:extLst>
          </p:cNvPr>
          <p:cNvSpPr txBox="1"/>
          <p:nvPr/>
        </p:nvSpPr>
        <p:spPr>
          <a:xfrm rot="18074945">
            <a:off x="1023248" y="1637347"/>
            <a:ext cx="1510792" cy="376684"/>
          </a:xfrm>
          <a:prstGeom prst="rect">
            <a:avLst/>
          </a:prstGeom>
          <a:noFill/>
        </p:spPr>
        <p:txBody>
          <a:bodyPr wrap="none" rtlCol="0">
            <a:prstTxWarp prst="textArchUp">
              <a:avLst/>
            </a:prstTxWarp>
            <a:spAutoFit/>
          </a:bodyPr>
          <a:lstStyle/>
          <a:p>
            <a:pPr algn="ctr" defTabSz="932649">
              <a:defRPr/>
            </a:pPr>
            <a:r>
              <a:rPr lang="en-CA" sz="1836">
                <a:solidFill>
                  <a:srgbClr val="000000"/>
                </a:solidFill>
                <a:latin typeface="Segoe UI"/>
              </a:rPr>
              <a:t>MATERIALIZE</a:t>
            </a:r>
          </a:p>
        </p:txBody>
      </p:sp>
      <p:grpSp>
        <p:nvGrpSpPr>
          <p:cNvPr id="16" name="Group 15">
            <a:extLst>
              <a:ext uri="{FF2B5EF4-FFF2-40B4-BE49-F238E27FC236}">
                <a16:creationId xmlns:a16="http://schemas.microsoft.com/office/drawing/2014/main" id="{D37DE21A-CF59-4DE4-839C-C2A3433D3B72}"/>
              </a:ext>
            </a:extLst>
          </p:cNvPr>
          <p:cNvGrpSpPr/>
          <p:nvPr/>
        </p:nvGrpSpPr>
        <p:grpSpPr>
          <a:xfrm>
            <a:off x="5127200" y="754550"/>
            <a:ext cx="703811" cy="703811"/>
            <a:chOff x="4514418" y="598134"/>
            <a:chExt cx="690162" cy="690162"/>
          </a:xfrm>
        </p:grpSpPr>
        <p:grpSp>
          <p:nvGrpSpPr>
            <p:cNvPr id="14" name="Group 13">
              <a:extLst>
                <a:ext uri="{FF2B5EF4-FFF2-40B4-BE49-F238E27FC236}">
                  <a16:creationId xmlns:a16="http://schemas.microsoft.com/office/drawing/2014/main" id="{C22BAA06-8960-48AF-96A5-D9094147AE9F}"/>
                </a:ext>
              </a:extLst>
            </p:cNvPr>
            <p:cNvGrpSpPr/>
            <p:nvPr/>
          </p:nvGrpSpPr>
          <p:grpSpPr>
            <a:xfrm>
              <a:off x="4514418" y="598134"/>
              <a:ext cx="690162" cy="690162"/>
              <a:chOff x="6989114" y="876300"/>
              <a:chExt cx="1257300" cy="1257300"/>
            </a:xfrm>
          </p:grpSpPr>
          <p:sp>
            <p:nvSpPr>
              <p:cNvPr id="151" name="Oval 150">
                <a:extLst>
                  <a:ext uri="{FF2B5EF4-FFF2-40B4-BE49-F238E27FC236}">
                    <a16:creationId xmlns:a16="http://schemas.microsoft.com/office/drawing/2014/main" id="{611AE989-14DD-4A6F-8A25-60F792028DAC}"/>
                  </a:ext>
                </a:extLst>
              </p:cNvPr>
              <p:cNvSpPr/>
              <p:nvPr/>
            </p:nvSpPr>
            <p:spPr>
              <a:xfrm>
                <a:off x="6989114" y="876300"/>
                <a:ext cx="1257300" cy="1257300"/>
              </a:xfrm>
              <a:prstGeom prst="ellipse">
                <a:avLst/>
              </a:prstGeom>
              <a:solidFill>
                <a:srgbClr val="FFFFFF"/>
              </a:solidFill>
              <a:ln>
                <a:solidFill>
                  <a:srgbClr val="FFFFFF"/>
                </a:solidFill>
              </a:ln>
              <a:effectLst>
                <a:outerShdw blurRad="127000" sx="102000" sy="102000" algn="ctr"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649">
                  <a:defRPr/>
                </a:pPr>
                <a:endParaRPr lang="en-CA" sz="1836">
                  <a:solidFill>
                    <a:srgbClr val="FFFFFF"/>
                  </a:solidFill>
                  <a:latin typeface="Segoe UI"/>
                </a:endParaRPr>
              </a:p>
            </p:txBody>
          </p:sp>
          <p:sp>
            <p:nvSpPr>
              <p:cNvPr id="152" name="Chord 151">
                <a:extLst>
                  <a:ext uri="{FF2B5EF4-FFF2-40B4-BE49-F238E27FC236}">
                    <a16:creationId xmlns:a16="http://schemas.microsoft.com/office/drawing/2014/main" id="{5EB603AD-E3E8-4808-9C51-62A723FB5A32}"/>
                  </a:ext>
                </a:extLst>
              </p:cNvPr>
              <p:cNvSpPr/>
              <p:nvPr/>
            </p:nvSpPr>
            <p:spPr>
              <a:xfrm rot="17507038">
                <a:off x="7063406" y="950592"/>
                <a:ext cx="1108714" cy="1108714"/>
              </a:xfrm>
              <a:prstGeom prst="chord">
                <a:avLst/>
              </a:prstGeom>
              <a:solidFill>
                <a:srgbClr val="F2C811"/>
              </a:solidFill>
              <a:ln>
                <a:noFill/>
              </a:ln>
              <a:effectLst>
                <a:innerShdw blurRad="101600" dist="25400" dir="19800000">
                  <a:srgbClr val="E57C09">
                    <a:alpha val="49804"/>
                  </a:srgb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grpSp>
        <p:sp>
          <p:nvSpPr>
            <p:cNvPr id="15" name="TextBox 14">
              <a:extLst>
                <a:ext uri="{FF2B5EF4-FFF2-40B4-BE49-F238E27FC236}">
                  <a16:creationId xmlns:a16="http://schemas.microsoft.com/office/drawing/2014/main" id="{16D3FC5D-A516-434A-ADEA-D8708C45C6F4}"/>
                </a:ext>
              </a:extLst>
            </p:cNvPr>
            <p:cNvSpPr txBox="1"/>
            <p:nvPr/>
          </p:nvSpPr>
          <p:spPr>
            <a:xfrm>
              <a:off x="4673083" y="744334"/>
              <a:ext cx="360996" cy="531812"/>
            </a:xfrm>
            <a:prstGeom prst="rect">
              <a:avLst/>
            </a:prstGeom>
            <a:noFill/>
          </p:spPr>
          <p:txBody>
            <a:bodyPr wrap="none" rtlCol="0">
              <a:spAutoFit/>
            </a:bodyPr>
            <a:lstStyle/>
            <a:p>
              <a:pPr algn="ctr" defTabSz="932649">
                <a:defRPr/>
              </a:pPr>
              <a:r>
                <a:rPr lang="en-CA" sz="2856">
                  <a:solidFill>
                    <a:srgbClr val="FFFFFF"/>
                  </a:solidFill>
                  <a:latin typeface="Segoe UI Black" panose="020B0A02040204020203" pitchFamily="34" charset="0"/>
                  <a:ea typeface="Segoe UI Black" panose="020B0A02040204020203" pitchFamily="34" charset="0"/>
                </a:rPr>
                <a:t>1</a:t>
              </a:r>
            </a:p>
          </p:txBody>
        </p:sp>
      </p:grpSp>
      <p:grpSp>
        <p:nvGrpSpPr>
          <p:cNvPr id="192" name="Group 191">
            <a:extLst>
              <a:ext uri="{FF2B5EF4-FFF2-40B4-BE49-F238E27FC236}">
                <a16:creationId xmlns:a16="http://schemas.microsoft.com/office/drawing/2014/main" id="{6EC0DFF8-8992-4976-81C0-5D690EF86642}"/>
              </a:ext>
            </a:extLst>
          </p:cNvPr>
          <p:cNvGrpSpPr/>
          <p:nvPr/>
        </p:nvGrpSpPr>
        <p:grpSpPr>
          <a:xfrm>
            <a:off x="7900885" y="540674"/>
            <a:ext cx="3882945" cy="2604899"/>
            <a:chOff x="665628" y="2493869"/>
            <a:chExt cx="2572872" cy="2554381"/>
          </a:xfrm>
        </p:grpSpPr>
        <p:sp>
          <p:nvSpPr>
            <p:cNvPr id="193" name="Rectangle: Rounded Corners 192">
              <a:extLst>
                <a:ext uri="{FF2B5EF4-FFF2-40B4-BE49-F238E27FC236}">
                  <a16:creationId xmlns:a16="http://schemas.microsoft.com/office/drawing/2014/main" id="{BD2443E8-7532-4E99-8347-14BA6739A89C}"/>
                </a:ext>
              </a:extLst>
            </p:cNvPr>
            <p:cNvSpPr/>
            <p:nvPr/>
          </p:nvSpPr>
          <p:spPr>
            <a:xfrm>
              <a:off x="665629" y="2493869"/>
              <a:ext cx="2572871" cy="2554381"/>
            </a:xfrm>
            <a:prstGeom prst="roundRect">
              <a:avLst>
                <a:gd name="adj" fmla="val 4745"/>
              </a:avLst>
            </a:prstGeom>
            <a:solidFill>
              <a:srgbClr val="FFFFFF"/>
            </a:solidFill>
            <a:ln>
              <a:solidFill>
                <a:srgbClr val="FFFFFF"/>
              </a:solidFill>
            </a:ln>
            <a:effectLst>
              <a:outerShdw blurRad="127000" sx="102000" sy="102000" algn="ctr"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sp>
          <p:nvSpPr>
            <p:cNvPr id="194" name="Rectangle: Rounded Corners 193">
              <a:extLst>
                <a:ext uri="{FF2B5EF4-FFF2-40B4-BE49-F238E27FC236}">
                  <a16:creationId xmlns:a16="http://schemas.microsoft.com/office/drawing/2014/main" id="{086DEA2A-5534-4DCE-B50A-5A29DB1634CE}"/>
                </a:ext>
              </a:extLst>
            </p:cNvPr>
            <p:cNvSpPr/>
            <p:nvPr/>
          </p:nvSpPr>
          <p:spPr>
            <a:xfrm>
              <a:off x="665628" y="2493869"/>
              <a:ext cx="2572871" cy="373156"/>
            </a:xfrm>
            <a:prstGeom prst="roundRect">
              <a:avLst>
                <a:gd name="adj" fmla="val 32823"/>
              </a:avLst>
            </a:prstGeom>
            <a:solidFill>
              <a:srgbClr val="F2C811"/>
            </a:solidFill>
            <a:ln>
              <a:solidFill>
                <a:srgbClr val="F2C81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sp>
          <p:nvSpPr>
            <p:cNvPr id="195" name="Rectangle: Rounded Corners 194">
              <a:extLst>
                <a:ext uri="{FF2B5EF4-FFF2-40B4-BE49-F238E27FC236}">
                  <a16:creationId xmlns:a16="http://schemas.microsoft.com/office/drawing/2014/main" id="{0155F319-16A5-4198-B4A8-BC6D9EAAC093}"/>
                </a:ext>
              </a:extLst>
            </p:cNvPr>
            <p:cNvSpPr/>
            <p:nvPr/>
          </p:nvSpPr>
          <p:spPr>
            <a:xfrm>
              <a:off x="665628" y="2680446"/>
              <a:ext cx="2572871" cy="1948703"/>
            </a:xfrm>
            <a:prstGeom prst="roundRect">
              <a:avLst>
                <a:gd name="adj" fmla="val 0"/>
              </a:avLst>
            </a:prstGeom>
            <a:solidFill>
              <a:schemeClr val="bg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lnSpc>
                  <a:spcPts val="1836"/>
                </a:lnSpc>
                <a:defRPr/>
              </a:pPr>
              <a:endParaRPr lang="en-US" sz="1836">
                <a:solidFill>
                  <a:srgbClr val="000000"/>
                </a:solidFill>
                <a:latin typeface="Segoe UI Semibold" panose="020B0702040204020203" pitchFamily="34" charset="0"/>
                <a:cs typeface="Segoe UI Semibold" panose="020B0702040204020203" pitchFamily="34" charset="0"/>
              </a:endParaRPr>
            </a:p>
            <a:p>
              <a:pPr algn="ctr" defTabSz="932649">
                <a:lnSpc>
                  <a:spcPts val="1836"/>
                </a:lnSpc>
                <a:defRPr/>
              </a:pPr>
              <a:endParaRPr lang="en-US" sz="1836">
                <a:solidFill>
                  <a:srgbClr val="000000"/>
                </a:solidFill>
                <a:latin typeface="Segoe UI Semibold" panose="020B0702040204020203" pitchFamily="34" charset="0"/>
                <a:cs typeface="Segoe UI Semibold" panose="020B0702040204020203" pitchFamily="34" charset="0"/>
              </a:endParaRPr>
            </a:p>
            <a:p>
              <a:pPr algn="ctr" defTabSz="932649">
                <a:lnSpc>
                  <a:spcPts val="1836"/>
                </a:lnSpc>
                <a:defRPr/>
              </a:pPr>
              <a:r>
                <a:rPr lang="en-US" sz="1836" b="1">
                  <a:solidFill>
                    <a:srgbClr val="000000"/>
                  </a:solidFill>
                  <a:highlight>
                    <a:srgbClr val="F2C811"/>
                  </a:highlight>
                  <a:latin typeface="Nexa Heavy" panose="02000000000000000000" pitchFamily="2" charset="0"/>
                  <a:cs typeface="Segoe UI Semibold" panose="020B0702040204020203" pitchFamily="34" charset="0"/>
                </a:rPr>
                <a:t>EMPATHIZE</a:t>
              </a:r>
              <a:r>
                <a:rPr lang="en-US" sz="1836">
                  <a:solidFill>
                    <a:srgbClr val="000000"/>
                  </a:solidFill>
                  <a:latin typeface="Segoe UI Semibold" panose="020B0702040204020203" pitchFamily="34" charset="0"/>
                  <a:cs typeface="Segoe UI Semibold" panose="020B0702040204020203" pitchFamily="34" charset="0"/>
                </a:rPr>
                <a:t> </a:t>
              </a:r>
            </a:p>
            <a:p>
              <a:pPr algn="ctr" defTabSz="932649">
                <a:lnSpc>
                  <a:spcPts val="1836"/>
                </a:lnSpc>
                <a:defRPr/>
              </a:pPr>
              <a:r>
                <a:rPr lang="en-US" sz="1428">
                  <a:solidFill>
                    <a:srgbClr val="000000"/>
                  </a:solidFill>
                  <a:latin typeface="Segoe UI Semibold" panose="020B0702040204020203" pitchFamily="34" charset="0"/>
                  <a:cs typeface="Segoe UI Semibold" panose="020B0702040204020203" pitchFamily="34" charset="0"/>
                </a:rPr>
                <a:t>WITH YOUR </a:t>
              </a:r>
              <a:r>
                <a:rPr lang="en-US" sz="1836">
                  <a:solidFill>
                    <a:srgbClr val="000000"/>
                  </a:solidFill>
                  <a:latin typeface="Nexa Heavy" panose="02000000000000000000" pitchFamily="2" charset="0"/>
                  <a:cs typeface="Segoe UI Semibold" panose="020B0702040204020203" pitchFamily="34" charset="0"/>
                </a:rPr>
                <a:t>AUDIENCE</a:t>
              </a:r>
            </a:p>
            <a:p>
              <a:pPr algn="ctr" defTabSz="932649">
                <a:lnSpc>
                  <a:spcPts val="1836"/>
                </a:lnSpc>
                <a:defRPr/>
              </a:pPr>
              <a:r>
                <a:rPr lang="en-US" sz="1632" i="1">
                  <a:solidFill>
                    <a:srgbClr val="FFFFFF">
                      <a:lumMod val="65000"/>
                    </a:srgbClr>
                  </a:solidFill>
                  <a:latin typeface="Segoe UI Light" panose="020B0502040204020203" pitchFamily="34" charset="0"/>
                  <a:cs typeface="Segoe UI Light" panose="020B0502040204020203" pitchFamily="34" charset="0"/>
                </a:rPr>
                <a:t>Conduct research to develop an understanding of your users</a:t>
              </a:r>
              <a:endParaRPr lang="en-CA" sz="1632" i="1">
                <a:solidFill>
                  <a:srgbClr val="FFFFFF">
                    <a:lumMod val="65000"/>
                  </a:srgbClr>
                </a:solidFill>
                <a:latin typeface="Segoe UI Light" panose="020B0502040204020203" pitchFamily="34" charset="0"/>
                <a:cs typeface="Segoe UI Light" panose="020B0502040204020203" pitchFamily="34" charset="0"/>
              </a:endParaRPr>
            </a:p>
          </p:txBody>
        </p:sp>
      </p:grpSp>
    </p:spTree>
    <p:extLst>
      <p:ext uri="{BB962C8B-B14F-4D97-AF65-F5344CB8AC3E}">
        <p14:creationId xmlns:p14="http://schemas.microsoft.com/office/powerpoint/2010/main" val="1101427781"/>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Audience and Report Type</a:t>
            </a:r>
          </a:p>
        </p:txBody>
      </p:sp>
      <p:grpSp>
        <p:nvGrpSpPr>
          <p:cNvPr id="2" name="Group 1">
            <a:extLst>
              <a:ext uri="{FF2B5EF4-FFF2-40B4-BE49-F238E27FC236}">
                <a16:creationId xmlns:a16="http://schemas.microsoft.com/office/drawing/2014/main" id="{5B532201-43FF-4499-B410-B421CF0139ED}"/>
              </a:ext>
            </a:extLst>
          </p:cNvPr>
          <p:cNvGrpSpPr/>
          <p:nvPr/>
        </p:nvGrpSpPr>
        <p:grpSpPr>
          <a:xfrm>
            <a:off x="598430" y="1505825"/>
            <a:ext cx="11238029" cy="4735891"/>
            <a:chOff x="598505" y="1505571"/>
            <a:chExt cx="11239464" cy="4736496"/>
          </a:xfrm>
        </p:grpSpPr>
        <p:sp>
          <p:nvSpPr>
            <p:cNvPr id="7" name="Text Placeholder 2">
              <a:extLst>
                <a:ext uri="{FF2B5EF4-FFF2-40B4-BE49-F238E27FC236}">
                  <a16:creationId xmlns:a16="http://schemas.microsoft.com/office/drawing/2014/main" id="{E0C0E3CB-03B5-4FF1-94F0-9F57F8E57E61}"/>
                </a:ext>
              </a:extLst>
            </p:cNvPr>
            <p:cNvSpPr txBox="1">
              <a:spLocks/>
            </p:cNvSpPr>
            <p:nvPr/>
          </p:nvSpPr>
          <p:spPr>
            <a:xfrm>
              <a:off x="598505" y="1821883"/>
              <a:ext cx="11239464" cy="4420184"/>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a:t>Audience</a:t>
              </a:r>
            </a:p>
            <a:p>
              <a:pPr lvl="1"/>
              <a:r>
                <a:rPr lang="en-US"/>
                <a:t>Executive</a:t>
              </a:r>
            </a:p>
            <a:p>
              <a:pPr lvl="1"/>
              <a:r>
                <a:rPr lang="en-US"/>
                <a:t>Analyst</a:t>
              </a:r>
            </a:p>
            <a:p>
              <a:pPr lvl="1"/>
              <a:r>
                <a:rPr lang="en-US"/>
                <a:t>Information worker</a:t>
              </a:r>
            </a:p>
            <a:p>
              <a:r>
                <a:rPr lang="en-US"/>
                <a:t>Report type</a:t>
              </a:r>
            </a:p>
            <a:p>
              <a:pPr lvl="1"/>
              <a:r>
                <a:rPr lang="en-US"/>
                <a:t>Dashboard</a:t>
              </a:r>
            </a:p>
            <a:p>
              <a:pPr lvl="1"/>
              <a:r>
                <a:rPr lang="en-US"/>
                <a:t>Analytical</a:t>
              </a:r>
            </a:p>
            <a:p>
              <a:pPr lvl="1"/>
              <a:r>
                <a:rPr lang="en-US"/>
                <a:t>Operational</a:t>
              </a:r>
            </a:p>
            <a:p>
              <a:pPr lvl="1"/>
              <a:r>
                <a:rPr lang="en-US"/>
                <a:t>Educational</a:t>
              </a:r>
            </a:p>
          </p:txBody>
        </p:sp>
        <p:pic>
          <p:nvPicPr>
            <p:cNvPr id="9" name="Picture 2">
              <a:extLst>
                <a:ext uri="{FF2B5EF4-FFF2-40B4-BE49-F238E27FC236}">
                  <a16:creationId xmlns:a16="http://schemas.microsoft.com/office/drawing/2014/main" id="{5D629D13-9627-4DF7-86BF-7BC23574D22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32789" y="1505571"/>
              <a:ext cx="3976077" cy="469900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2F0D88BC-9BF9-49CA-A5F8-BBADDEF4B5A5}"/>
                </a:ext>
              </a:extLst>
            </p:cNvPr>
            <p:cNvSpPr/>
            <p:nvPr/>
          </p:nvSpPr>
          <p:spPr bwMode="auto">
            <a:xfrm>
              <a:off x="4344845" y="2711307"/>
              <a:ext cx="3770114" cy="1143764"/>
            </a:xfrm>
            <a:prstGeom prst="rect">
              <a:avLst/>
            </a:prstGeom>
            <a:noFill/>
            <a:ln w="5715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defRPr/>
              </a:pPr>
              <a:endParaRPr lang="en-DK" sz="2000" err="1">
                <a:solidFill>
                  <a:srgbClr val="FFFFFF"/>
                </a:soli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4037217630"/>
      </p:ext>
    </p:extLst>
  </p:cSld>
  <p:clrMapOvr>
    <a:masterClrMapping/>
  </p:clrMapOvr>
  <p:transition>
    <p:fade/>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A2448F0F-750E-454F-8370-1E41DF6BCCB6}"/>
              </a:ext>
            </a:extLst>
          </p:cNvPr>
          <p:cNvSpPr/>
          <p:nvPr/>
        </p:nvSpPr>
        <p:spPr>
          <a:xfrm>
            <a:off x="1560078" y="631450"/>
            <a:ext cx="5488759" cy="548875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sp>
        <p:nvSpPr>
          <p:cNvPr id="43" name="Rectangle 42">
            <a:extLst>
              <a:ext uri="{FF2B5EF4-FFF2-40B4-BE49-F238E27FC236}">
                <a16:creationId xmlns:a16="http://schemas.microsoft.com/office/drawing/2014/main" id="{8BE93587-7EBF-453A-9E42-A743C659B286}"/>
              </a:ext>
            </a:extLst>
          </p:cNvPr>
          <p:cNvSpPr/>
          <p:nvPr/>
        </p:nvSpPr>
        <p:spPr>
          <a:xfrm rot="16200000">
            <a:off x="5343925" y="-2720097"/>
            <a:ext cx="1748627" cy="12434715"/>
          </a:xfrm>
          <a:prstGeom prst="rect">
            <a:avLst/>
          </a:prstGeom>
          <a:solidFill>
            <a:srgbClr val="EAEAEA">
              <a:alpha val="3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2797946" lvl="6" defTabSz="932649">
              <a:defRPr/>
            </a:pPr>
            <a:endParaRPr lang="en-US" sz="2448" b="1">
              <a:solidFill>
                <a:srgbClr val="000000"/>
              </a:solidFill>
              <a:latin typeface="Segoe UI Semibold" panose="020B0702040204020203" pitchFamily="34" charset="0"/>
              <a:cs typeface="Segoe UI Semibold" panose="020B0702040204020203" pitchFamily="34" charset="0"/>
            </a:endParaRPr>
          </a:p>
          <a:p>
            <a:pPr marL="2797946" lvl="6" defTabSz="932649">
              <a:defRPr/>
            </a:pPr>
            <a:endParaRPr lang="en-US" sz="2448" b="1">
              <a:solidFill>
                <a:srgbClr val="000000"/>
              </a:solidFill>
              <a:latin typeface="Segoe UI Semibold" panose="020B0702040204020203" pitchFamily="34" charset="0"/>
              <a:cs typeface="Segoe UI Semibold" panose="020B0702040204020203" pitchFamily="34" charset="0"/>
            </a:endParaRPr>
          </a:p>
          <a:p>
            <a:pPr marL="2797946" lvl="6" defTabSz="932649">
              <a:defRPr/>
            </a:pPr>
            <a:r>
              <a:rPr lang="en-US" sz="2448" b="1">
                <a:solidFill>
                  <a:srgbClr val="000000"/>
                </a:solidFill>
                <a:latin typeface="Segoe UI Semibold" panose="020B0702040204020203" pitchFamily="34" charset="0"/>
                <a:cs typeface="Segoe UI Semibold" panose="020B0702040204020203" pitchFamily="34" charset="0"/>
              </a:rPr>
              <a:t>POWER BI REPORT</a:t>
            </a:r>
          </a:p>
          <a:p>
            <a:pPr marL="2797946" lvl="6" defTabSz="932649">
              <a:defRPr/>
            </a:pPr>
            <a:r>
              <a:rPr lang="en-US" sz="1836" b="1" i="1">
                <a:solidFill>
                  <a:srgbClr val="000000"/>
                </a:solidFill>
                <a:latin typeface="Segoe UI Light" panose="020B0502040204020203" pitchFamily="34" charset="0"/>
                <a:cs typeface="Segoe UI Light" panose="020B0502040204020203" pitchFamily="34" charset="0"/>
              </a:rPr>
              <a:t>Design Thought Process</a:t>
            </a: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CA" sz="1836" b="1" i="1">
              <a:solidFill>
                <a:srgbClr val="000000"/>
              </a:solidFill>
              <a:latin typeface="Segoe UI Light" panose="020B0502040204020203" pitchFamily="34" charset="0"/>
              <a:cs typeface="Segoe UI Light" panose="020B0502040204020203" pitchFamily="34" charset="0"/>
            </a:endParaRPr>
          </a:p>
        </p:txBody>
      </p:sp>
      <p:grpSp>
        <p:nvGrpSpPr>
          <p:cNvPr id="10" name="Group 9">
            <a:extLst>
              <a:ext uri="{FF2B5EF4-FFF2-40B4-BE49-F238E27FC236}">
                <a16:creationId xmlns:a16="http://schemas.microsoft.com/office/drawing/2014/main" id="{E59C37C3-6240-473A-8CE2-B15C7C5A878C}"/>
              </a:ext>
            </a:extLst>
          </p:cNvPr>
          <p:cNvGrpSpPr/>
          <p:nvPr/>
        </p:nvGrpSpPr>
        <p:grpSpPr>
          <a:xfrm>
            <a:off x="1029224" y="103520"/>
            <a:ext cx="6491096" cy="6544649"/>
            <a:chOff x="3326931" y="650008"/>
            <a:chExt cx="5396156" cy="5440679"/>
          </a:xfrm>
        </p:grpSpPr>
        <p:sp>
          <p:nvSpPr>
            <p:cNvPr id="109" name="Freeform: Shape 108">
              <a:extLst>
                <a:ext uri="{FF2B5EF4-FFF2-40B4-BE49-F238E27FC236}">
                  <a16:creationId xmlns:a16="http://schemas.microsoft.com/office/drawing/2014/main" id="{1FB85140-7A29-46BE-85AC-ED00E605A6AB}"/>
                </a:ext>
              </a:extLst>
            </p:cNvPr>
            <p:cNvSpPr/>
            <p:nvPr/>
          </p:nvSpPr>
          <p:spPr>
            <a:xfrm rot="8100000">
              <a:off x="6500581" y="650008"/>
              <a:ext cx="805620" cy="1967534"/>
            </a:xfrm>
            <a:custGeom>
              <a:avLst/>
              <a:gdLst>
                <a:gd name="connsiteX0" fmla="*/ 655812 w 805620"/>
                <a:gd name="connsiteY0" fmla="*/ 1938563 h 1967534"/>
                <a:gd name="connsiteX1" fmla="*/ 10248 w 805620"/>
                <a:gd name="connsiteY1" fmla="*/ 140673 h 1967534"/>
                <a:gd name="connsiteX2" fmla="*/ 20562 w 805620"/>
                <a:gd name="connsiteY2" fmla="*/ 69196 h 1967534"/>
                <a:gd name="connsiteX3" fmla="*/ 119657 w 805620"/>
                <a:gd name="connsiteY3" fmla="*/ 0 h 1967534"/>
                <a:gd name="connsiteX4" fmla="*/ 190838 w 805620"/>
                <a:gd name="connsiteY4" fmla="*/ 101940 h 1967534"/>
                <a:gd name="connsiteX5" fmla="*/ 182850 w 805620"/>
                <a:gd name="connsiteY5" fmla="*/ 157294 h 1967534"/>
                <a:gd name="connsiteX6" fmla="*/ 778422 w 805620"/>
                <a:gd name="connsiteY6" fmla="*/ 1815955 h 1967534"/>
                <a:gd name="connsiteX7" fmla="*/ 805620 w 805620"/>
                <a:gd name="connsiteY7" fmla="*/ 1840539 h 1967534"/>
                <a:gd name="connsiteX8" fmla="*/ 687865 w 805620"/>
                <a:gd name="connsiteY8" fmla="*/ 1840539 h 1967534"/>
                <a:gd name="connsiteX9" fmla="*/ 687865 w 805620"/>
                <a:gd name="connsiteY9" fmla="*/ 1967534 h 1967534"/>
                <a:gd name="connsiteX10" fmla="*/ 655812 w 805620"/>
                <a:gd name="connsiteY10" fmla="*/ 1938563 h 1967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05620" h="1967534">
                  <a:moveTo>
                    <a:pt x="655812" y="1938563"/>
                  </a:moveTo>
                  <a:cubicBezTo>
                    <a:pt x="163954" y="1446705"/>
                    <a:pt x="-51235" y="782945"/>
                    <a:pt x="10248" y="140673"/>
                  </a:cubicBezTo>
                  <a:lnTo>
                    <a:pt x="20562" y="69196"/>
                  </a:lnTo>
                  <a:lnTo>
                    <a:pt x="119657" y="0"/>
                  </a:lnTo>
                  <a:lnTo>
                    <a:pt x="190838" y="101940"/>
                  </a:lnTo>
                  <a:lnTo>
                    <a:pt x="182850" y="157294"/>
                  </a:lnTo>
                  <a:cubicBezTo>
                    <a:pt x="126129" y="749828"/>
                    <a:pt x="324653" y="1362186"/>
                    <a:pt x="778422" y="1815955"/>
                  </a:cubicBezTo>
                  <a:lnTo>
                    <a:pt x="805620" y="1840539"/>
                  </a:lnTo>
                  <a:lnTo>
                    <a:pt x="687865" y="1840539"/>
                  </a:lnTo>
                  <a:lnTo>
                    <a:pt x="687865" y="1967534"/>
                  </a:lnTo>
                  <a:lnTo>
                    <a:pt x="655812" y="1938563"/>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649">
                <a:defRPr/>
              </a:pPr>
              <a:endParaRPr lang="en-CA" sz="1836">
                <a:solidFill>
                  <a:srgbClr val="000000"/>
                </a:solidFill>
                <a:latin typeface="Segoe UI"/>
              </a:endParaRPr>
            </a:p>
          </p:txBody>
        </p:sp>
        <p:sp>
          <p:nvSpPr>
            <p:cNvPr id="108" name="Freeform: Shape 107">
              <a:extLst>
                <a:ext uri="{FF2B5EF4-FFF2-40B4-BE49-F238E27FC236}">
                  <a16:creationId xmlns:a16="http://schemas.microsoft.com/office/drawing/2014/main" id="{10DEF844-FB00-4656-89EF-969AEE368375}"/>
                </a:ext>
              </a:extLst>
            </p:cNvPr>
            <p:cNvSpPr/>
            <p:nvPr/>
          </p:nvSpPr>
          <p:spPr>
            <a:xfrm rot="8100000">
              <a:off x="4047195" y="1363690"/>
              <a:ext cx="1972966" cy="666051"/>
            </a:xfrm>
            <a:custGeom>
              <a:avLst/>
              <a:gdLst>
                <a:gd name="connsiteX0" fmla="*/ 0 w 1972966"/>
                <a:gd name="connsiteY0" fmla="*/ 125127 h 666051"/>
                <a:gd name="connsiteX1" fmla="*/ 0 w 1972966"/>
                <a:gd name="connsiteY1" fmla="*/ 0 h 666051"/>
                <a:gd name="connsiteX2" fmla="*/ 119822 w 1972966"/>
                <a:gd name="connsiteY2" fmla="*/ 0 h 666051"/>
                <a:gd name="connsiteX3" fmla="*/ 152388 w 1972966"/>
                <a:gd name="connsiteY3" fmla="*/ 29435 h 666051"/>
                <a:gd name="connsiteX4" fmla="*/ 1850696 w 1972966"/>
                <a:gd name="connsiteY4" fmla="*/ 454843 h 666051"/>
                <a:gd name="connsiteX5" fmla="*/ 1925581 w 1972966"/>
                <a:gd name="connsiteY5" fmla="*/ 436559 h 666051"/>
                <a:gd name="connsiteX6" fmla="*/ 1863309 w 1972966"/>
                <a:gd name="connsiteY6" fmla="*/ 530959 h 666051"/>
                <a:gd name="connsiteX7" fmla="*/ 1972966 w 1972966"/>
                <a:gd name="connsiteY7" fmla="*/ 603296 h 666051"/>
                <a:gd name="connsiteX8" fmla="*/ 1883812 w 1972966"/>
                <a:gd name="connsiteY8" fmla="*/ 625063 h 666051"/>
                <a:gd name="connsiteX9" fmla="*/ 42947 w 1972966"/>
                <a:gd name="connsiteY9" fmla="*/ 163946 h 666051"/>
                <a:gd name="connsiteX10" fmla="*/ 0 w 1972966"/>
                <a:gd name="connsiteY10" fmla="*/ 125127 h 66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72966" h="666051">
                  <a:moveTo>
                    <a:pt x="0" y="125127"/>
                  </a:moveTo>
                  <a:lnTo>
                    <a:pt x="0" y="0"/>
                  </a:lnTo>
                  <a:lnTo>
                    <a:pt x="119822" y="0"/>
                  </a:lnTo>
                  <a:lnTo>
                    <a:pt x="152388" y="29435"/>
                  </a:lnTo>
                  <a:cubicBezTo>
                    <a:pt x="639196" y="426482"/>
                    <a:pt x="1264769" y="568285"/>
                    <a:pt x="1850696" y="454843"/>
                  </a:cubicBezTo>
                  <a:lnTo>
                    <a:pt x="1925581" y="436559"/>
                  </a:lnTo>
                  <a:lnTo>
                    <a:pt x="1863309" y="530959"/>
                  </a:lnTo>
                  <a:lnTo>
                    <a:pt x="1972966" y="603296"/>
                  </a:lnTo>
                  <a:lnTo>
                    <a:pt x="1883812" y="625063"/>
                  </a:lnTo>
                  <a:cubicBezTo>
                    <a:pt x="1248703" y="748028"/>
                    <a:pt x="570619" y="594322"/>
                    <a:pt x="42947" y="163946"/>
                  </a:cubicBezTo>
                  <a:lnTo>
                    <a:pt x="0" y="125127"/>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104" name="Freeform: Shape 103">
              <a:extLst>
                <a:ext uri="{FF2B5EF4-FFF2-40B4-BE49-F238E27FC236}">
                  <a16:creationId xmlns:a16="http://schemas.microsoft.com/office/drawing/2014/main" id="{F44CE2A7-18AA-41D5-8F83-FC73910E3467}"/>
                </a:ext>
              </a:extLst>
            </p:cNvPr>
            <p:cNvSpPr/>
            <p:nvPr/>
          </p:nvSpPr>
          <p:spPr>
            <a:xfrm rot="8100000">
              <a:off x="7133906" y="2396566"/>
              <a:ext cx="1589181" cy="1743535"/>
            </a:xfrm>
            <a:custGeom>
              <a:avLst/>
              <a:gdLst>
                <a:gd name="connsiteX0" fmla="*/ 0 w 1589181"/>
                <a:gd name="connsiteY0" fmla="*/ 1708937 h 1743535"/>
                <a:gd name="connsiteX1" fmla="*/ 1822 w 1589181"/>
                <a:gd name="connsiteY1" fmla="*/ 1696310 h 1743535"/>
                <a:gd name="connsiteX2" fmla="*/ 616645 w 1589181"/>
                <a:gd name="connsiteY2" fmla="*/ 540692 h 1743535"/>
                <a:gd name="connsiteX3" fmla="*/ 1357346 w 1589181"/>
                <a:gd name="connsiteY3" fmla="*/ 48833 h 1743535"/>
                <a:gd name="connsiteX4" fmla="*/ 1496957 w 1589181"/>
                <a:gd name="connsiteY4" fmla="*/ 0 h 1743535"/>
                <a:gd name="connsiteX5" fmla="*/ 1589181 w 1589181"/>
                <a:gd name="connsiteY5" fmla="*/ 55238 h 1743535"/>
                <a:gd name="connsiteX6" fmla="*/ 1516424 w 1589181"/>
                <a:gd name="connsiteY6" fmla="*/ 176713 h 1743535"/>
                <a:gd name="connsiteX7" fmla="*/ 1422596 w 1589181"/>
                <a:gd name="connsiteY7" fmla="*/ 209533 h 1743535"/>
                <a:gd name="connsiteX8" fmla="*/ 739255 w 1589181"/>
                <a:gd name="connsiteY8" fmla="*/ 663301 h 1743535"/>
                <a:gd name="connsiteX9" fmla="*/ 172044 w 1589181"/>
                <a:gd name="connsiteY9" fmla="*/ 1729428 h 1743535"/>
                <a:gd name="connsiteX10" fmla="*/ 170008 w 1589181"/>
                <a:gd name="connsiteY10" fmla="*/ 1743535 h 1743535"/>
                <a:gd name="connsiteX11" fmla="*/ 98045 w 1589181"/>
                <a:gd name="connsiteY11" fmla="*/ 1640475 h 1743535"/>
                <a:gd name="connsiteX12" fmla="*/ 0 w 1589181"/>
                <a:gd name="connsiteY12" fmla="*/ 1708937 h 1743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89181" h="1743535">
                  <a:moveTo>
                    <a:pt x="0" y="1708937"/>
                  </a:moveTo>
                  <a:lnTo>
                    <a:pt x="1822" y="1696310"/>
                  </a:lnTo>
                  <a:cubicBezTo>
                    <a:pt x="83798" y="1272904"/>
                    <a:pt x="288739" y="868598"/>
                    <a:pt x="616645" y="540692"/>
                  </a:cubicBezTo>
                  <a:cubicBezTo>
                    <a:pt x="835249" y="322088"/>
                    <a:pt x="1087809" y="158135"/>
                    <a:pt x="1357346" y="48833"/>
                  </a:cubicBezTo>
                  <a:lnTo>
                    <a:pt x="1496957" y="0"/>
                  </a:lnTo>
                  <a:lnTo>
                    <a:pt x="1589181" y="55238"/>
                  </a:lnTo>
                  <a:lnTo>
                    <a:pt x="1516424" y="176713"/>
                  </a:lnTo>
                  <a:lnTo>
                    <a:pt x="1422596" y="209533"/>
                  </a:lnTo>
                  <a:cubicBezTo>
                    <a:pt x="1173931" y="310370"/>
                    <a:pt x="940930" y="461626"/>
                    <a:pt x="739255" y="663301"/>
                  </a:cubicBezTo>
                  <a:cubicBezTo>
                    <a:pt x="436742" y="965814"/>
                    <a:pt x="247672" y="1338810"/>
                    <a:pt x="172044" y="1729428"/>
                  </a:cubicBezTo>
                  <a:lnTo>
                    <a:pt x="170008" y="1743535"/>
                  </a:lnTo>
                  <a:lnTo>
                    <a:pt x="98045" y="1640475"/>
                  </a:lnTo>
                  <a:lnTo>
                    <a:pt x="0" y="1708937"/>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649">
                <a:defRPr/>
              </a:pPr>
              <a:endParaRPr lang="en-CA" sz="1836">
                <a:solidFill>
                  <a:srgbClr val="000000"/>
                </a:solidFill>
                <a:latin typeface="Segoe UI"/>
              </a:endParaRPr>
            </a:p>
          </p:txBody>
        </p:sp>
        <p:sp>
          <p:nvSpPr>
            <p:cNvPr id="95" name="Freeform: Shape 94">
              <a:extLst>
                <a:ext uri="{FF2B5EF4-FFF2-40B4-BE49-F238E27FC236}">
                  <a16:creationId xmlns:a16="http://schemas.microsoft.com/office/drawing/2014/main" id="{0F2261B4-3BE6-4CD4-96C4-DEBF5FEFBBC1}"/>
                </a:ext>
              </a:extLst>
            </p:cNvPr>
            <p:cNvSpPr/>
            <p:nvPr/>
          </p:nvSpPr>
          <p:spPr>
            <a:xfrm rot="8100000">
              <a:off x="3326931" y="2579755"/>
              <a:ext cx="1616707" cy="1558840"/>
            </a:xfrm>
            <a:custGeom>
              <a:avLst/>
              <a:gdLst>
                <a:gd name="connsiteX0" fmla="*/ 0 w 1616707"/>
                <a:gd name="connsiteY0" fmla="*/ 1486622 h 1558840"/>
                <a:gd name="connsiteX1" fmla="*/ 62608 w 1616707"/>
                <a:gd name="connsiteY1" fmla="*/ 1391713 h 1558840"/>
                <a:gd name="connsiteX2" fmla="*/ 244554 w 1616707"/>
                <a:gd name="connsiteY2" fmla="*/ 1328072 h 1558840"/>
                <a:gd name="connsiteX3" fmla="*/ 927895 w 1616707"/>
                <a:gd name="connsiteY3" fmla="*/ 874303 h 1558840"/>
                <a:gd name="connsiteX4" fmla="*/ 1447839 w 1616707"/>
                <a:gd name="connsiteY4" fmla="*/ 1772 h 1558840"/>
                <a:gd name="connsiteX5" fmla="*/ 1448271 w 1616707"/>
                <a:gd name="connsiteY5" fmla="*/ 0 h 1558840"/>
                <a:gd name="connsiteX6" fmla="*/ 1513259 w 1616707"/>
                <a:gd name="connsiteY6" fmla="*/ 104660 h 1558840"/>
                <a:gd name="connsiteX7" fmla="*/ 1616707 w 1616707"/>
                <a:gd name="connsiteY7" fmla="*/ 40426 h 1558840"/>
                <a:gd name="connsiteX8" fmla="*/ 1614092 w 1616707"/>
                <a:gd name="connsiteY8" fmla="*/ 51139 h 1558840"/>
                <a:gd name="connsiteX9" fmla="*/ 1050503 w 1616707"/>
                <a:gd name="connsiteY9" fmla="*/ 996911 h 1558840"/>
                <a:gd name="connsiteX10" fmla="*/ 309803 w 1616707"/>
                <a:gd name="connsiteY10" fmla="*/ 1488770 h 1558840"/>
                <a:gd name="connsiteX11" fmla="*/ 109476 w 1616707"/>
                <a:gd name="connsiteY11" fmla="*/ 1558840 h 1558840"/>
                <a:gd name="connsiteX12" fmla="*/ 0 w 1616707"/>
                <a:gd name="connsiteY12" fmla="*/ 1486622 h 1558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16707" h="1558840">
                  <a:moveTo>
                    <a:pt x="0" y="1486622"/>
                  </a:moveTo>
                  <a:lnTo>
                    <a:pt x="62608" y="1391713"/>
                  </a:lnTo>
                  <a:lnTo>
                    <a:pt x="244554" y="1328072"/>
                  </a:lnTo>
                  <a:cubicBezTo>
                    <a:pt x="493219" y="1227234"/>
                    <a:pt x="726220" y="1075978"/>
                    <a:pt x="927895" y="874303"/>
                  </a:cubicBezTo>
                  <a:cubicBezTo>
                    <a:pt x="1179989" y="622209"/>
                    <a:pt x="1353304" y="321168"/>
                    <a:pt x="1447839" y="1772"/>
                  </a:cubicBezTo>
                  <a:lnTo>
                    <a:pt x="1448271" y="0"/>
                  </a:lnTo>
                  <a:lnTo>
                    <a:pt x="1513259" y="104660"/>
                  </a:lnTo>
                  <a:lnTo>
                    <a:pt x="1616707" y="40426"/>
                  </a:lnTo>
                  <a:lnTo>
                    <a:pt x="1614092" y="51139"/>
                  </a:lnTo>
                  <a:cubicBezTo>
                    <a:pt x="1511621" y="397346"/>
                    <a:pt x="1323758" y="723656"/>
                    <a:pt x="1050503" y="996911"/>
                  </a:cubicBezTo>
                  <a:cubicBezTo>
                    <a:pt x="831900" y="1215515"/>
                    <a:pt x="579340" y="1379468"/>
                    <a:pt x="309803" y="1488770"/>
                  </a:cubicBezTo>
                  <a:lnTo>
                    <a:pt x="109476" y="1558840"/>
                  </a:lnTo>
                  <a:lnTo>
                    <a:pt x="0" y="1486622"/>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90" name="Freeform: Shape 89">
              <a:extLst>
                <a:ext uri="{FF2B5EF4-FFF2-40B4-BE49-F238E27FC236}">
                  <a16:creationId xmlns:a16="http://schemas.microsoft.com/office/drawing/2014/main" id="{D6D3B965-EE9F-43FF-BA28-4B839231CE36}"/>
                </a:ext>
              </a:extLst>
            </p:cNvPr>
            <p:cNvSpPr/>
            <p:nvPr/>
          </p:nvSpPr>
          <p:spPr>
            <a:xfrm rot="8100000">
              <a:off x="5999029" y="4697061"/>
              <a:ext cx="2104462" cy="699340"/>
            </a:xfrm>
            <a:custGeom>
              <a:avLst/>
              <a:gdLst>
                <a:gd name="connsiteX0" fmla="*/ 23166 w 2104462"/>
                <a:gd name="connsiteY0" fmla="*/ 250773 h 699340"/>
                <a:gd name="connsiteX1" fmla="*/ 93156 w 2104462"/>
                <a:gd name="connsiteY1" fmla="*/ 133917 h 699340"/>
                <a:gd name="connsiteX2" fmla="*/ 0 w 2104462"/>
                <a:gd name="connsiteY2" fmla="*/ 78121 h 699340"/>
                <a:gd name="connsiteX3" fmla="*/ 152086 w 2104462"/>
                <a:gd name="connsiteY3" fmla="*/ 40989 h 699340"/>
                <a:gd name="connsiteX4" fmla="*/ 1992951 w 2104462"/>
                <a:gd name="connsiteY4" fmla="*/ 502106 h 699340"/>
                <a:gd name="connsiteX5" fmla="*/ 2104462 w 2104462"/>
                <a:gd name="connsiteY5" fmla="*/ 602897 h 699340"/>
                <a:gd name="connsiteX6" fmla="*/ 2098864 w 2104462"/>
                <a:gd name="connsiteY6" fmla="*/ 699340 h 699340"/>
                <a:gd name="connsiteX7" fmla="*/ 1942887 w 2104462"/>
                <a:gd name="connsiteY7" fmla="*/ 690285 h 699340"/>
                <a:gd name="connsiteX8" fmla="*/ 1883512 w 2104462"/>
                <a:gd name="connsiteY8" fmla="*/ 636619 h 699340"/>
                <a:gd name="connsiteX9" fmla="*/ 185204 w 2104462"/>
                <a:gd name="connsiteY9" fmla="*/ 211211 h 699340"/>
                <a:gd name="connsiteX10" fmla="*/ 23166 w 2104462"/>
                <a:gd name="connsiteY10" fmla="*/ 250773 h 699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04462" h="699340">
                  <a:moveTo>
                    <a:pt x="23166" y="250773"/>
                  </a:moveTo>
                  <a:lnTo>
                    <a:pt x="93156" y="133917"/>
                  </a:lnTo>
                  <a:lnTo>
                    <a:pt x="0" y="78121"/>
                  </a:lnTo>
                  <a:lnTo>
                    <a:pt x="152086" y="40989"/>
                  </a:lnTo>
                  <a:cubicBezTo>
                    <a:pt x="787195" y="-81976"/>
                    <a:pt x="1465280" y="71730"/>
                    <a:pt x="1992951" y="502106"/>
                  </a:cubicBezTo>
                  <a:lnTo>
                    <a:pt x="2104462" y="602897"/>
                  </a:lnTo>
                  <a:lnTo>
                    <a:pt x="2098864" y="699340"/>
                  </a:lnTo>
                  <a:lnTo>
                    <a:pt x="1942887" y="690285"/>
                  </a:lnTo>
                  <a:lnTo>
                    <a:pt x="1883512" y="636619"/>
                  </a:lnTo>
                  <a:cubicBezTo>
                    <a:pt x="1396704" y="239571"/>
                    <a:pt x="771130" y="97768"/>
                    <a:pt x="185204" y="211211"/>
                  </a:cubicBezTo>
                  <a:lnTo>
                    <a:pt x="23166" y="250773"/>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89" name="Freeform: Shape 88">
              <a:extLst>
                <a:ext uri="{FF2B5EF4-FFF2-40B4-BE49-F238E27FC236}">
                  <a16:creationId xmlns:a16="http://schemas.microsoft.com/office/drawing/2014/main" id="{D696A39B-4F4D-4E22-8369-50B2C17C881E}"/>
                </a:ext>
              </a:extLst>
            </p:cNvPr>
            <p:cNvSpPr/>
            <p:nvPr/>
          </p:nvSpPr>
          <p:spPr>
            <a:xfrm rot="8100000">
              <a:off x="4700877" y="3978390"/>
              <a:ext cx="773214" cy="2112297"/>
            </a:xfrm>
            <a:custGeom>
              <a:avLst/>
              <a:gdLst>
                <a:gd name="connsiteX0" fmla="*/ 604593 w 773214"/>
                <a:gd name="connsiteY0" fmla="*/ 2112297 h 2112297"/>
                <a:gd name="connsiteX1" fmla="*/ 544334 w 773214"/>
                <a:gd name="connsiteY1" fmla="*/ 2015252 h 2112297"/>
                <a:gd name="connsiteX2" fmla="*/ 562006 w 773214"/>
                <a:gd name="connsiteY2" fmla="*/ 1942872 h 2112297"/>
                <a:gd name="connsiteX3" fmla="*/ 136598 w 773214"/>
                <a:gd name="connsiteY3" fmla="*/ 244564 h 2112297"/>
                <a:gd name="connsiteX4" fmla="*/ 0 w 773214"/>
                <a:gd name="connsiteY4" fmla="*/ 93438 h 2112297"/>
                <a:gd name="connsiteX5" fmla="*/ 143069 w 773214"/>
                <a:gd name="connsiteY5" fmla="*/ 101743 h 2112297"/>
                <a:gd name="connsiteX6" fmla="*/ 148975 w 773214"/>
                <a:gd name="connsiteY6" fmla="*/ 0 h 2112297"/>
                <a:gd name="connsiteX7" fmla="*/ 271109 w 773214"/>
                <a:gd name="connsiteY7" fmla="*/ 135124 h 2112297"/>
                <a:gd name="connsiteX8" fmla="*/ 732226 w 773214"/>
                <a:gd name="connsiteY8" fmla="*/ 1975989 h 2112297"/>
                <a:gd name="connsiteX9" fmla="*/ 715807 w 773214"/>
                <a:gd name="connsiteY9" fmla="*/ 2043240 h 2112297"/>
                <a:gd name="connsiteX10" fmla="*/ 604593 w 773214"/>
                <a:gd name="connsiteY10" fmla="*/ 2112297 h 2112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3214" h="2112297">
                  <a:moveTo>
                    <a:pt x="604593" y="2112297"/>
                  </a:moveTo>
                  <a:lnTo>
                    <a:pt x="544334" y="2015252"/>
                  </a:lnTo>
                  <a:lnTo>
                    <a:pt x="562006" y="1942872"/>
                  </a:lnTo>
                  <a:cubicBezTo>
                    <a:pt x="675448" y="1356946"/>
                    <a:pt x="533646" y="731372"/>
                    <a:pt x="136598" y="244564"/>
                  </a:cubicBezTo>
                  <a:lnTo>
                    <a:pt x="0" y="93438"/>
                  </a:lnTo>
                  <a:lnTo>
                    <a:pt x="143069" y="101743"/>
                  </a:lnTo>
                  <a:lnTo>
                    <a:pt x="148975" y="0"/>
                  </a:lnTo>
                  <a:lnTo>
                    <a:pt x="271109" y="135124"/>
                  </a:lnTo>
                  <a:cubicBezTo>
                    <a:pt x="701486" y="662795"/>
                    <a:pt x="855191" y="1340880"/>
                    <a:pt x="732226" y="1975989"/>
                  </a:cubicBezTo>
                  <a:lnTo>
                    <a:pt x="715807" y="2043240"/>
                  </a:lnTo>
                  <a:lnTo>
                    <a:pt x="604593" y="2112297"/>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grpSp>
      <p:sp>
        <p:nvSpPr>
          <p:cNvPr id="148" name="Freeform: Shape 147">
            <a:extLst>
              <a:ext uri="{FF2B5EF4-FFF2-40B4-BE49-F238E27FC236}">
                <a16:creationId xmlns:a16="http://schemas.microsoft.com/office/drawing/2014/main" id="{40659ACA-1BBA-4BE7-8CE6-752D6CF7EBEC}"/>
              </a:ext>
            </a:extLst>
          </p:cNvPr>
          <p:cNvSpPr/>
          <p:nvPr/>
        </p:nvSpPr>
        <p:spPr>
          <a:xfrm rot="8100000">
            <a:off x="1291349" y="362721"/>
            <a:ext cx="6026213" cy="6026216"/>
          </a:xfrm>
          <a:custGeom>
            <a:avLst/>
            <a:gdLst>
              <a:gd name="connsiteX0" fmla="*/ 1682508 w 4478158"/>
              <a:gd name="connsiteY0" fmla="*/ 250772 h 4478160"/>
              <a:gd name="connsiteX1" fmla="*/ 1752498 w 4478158"/>
              <a:gd name="connsiteY1" fmla="*/ 133916 h 4478160"/>
              <a:gd name="connsiteX2" fmla="*/ 1659341 w 4478158"/>
              <a:gd name="connsiteY2" fmla="*/ 78120 h 4478160"/>
              <a:gd name="connsiteX3" fmla="*/ 1811428 w 4478158"/>
              <a:gd name="connsiteY3" fmla="*/ 40988 h 4478160"/>
              <a:gd name="connsiteX4" fmla="*/ 3652293 w 4478158"/>
              <a:gd name="connsiteY4" fmla="*/ 502105 h 4478160"/>
              <a:gd name="connsiteX5" fmla="*/ 3763804 w 4478158"/>
              <a:gd name="connsiteY5" fmla="*/ 602896 h 4478160"/>
              <a:gd name="connsiteX6" fmla="*/ 3822347 w 4478158"/>
              <a:gd name="connsiteY6" fmla="*/ 655811 h 4478160"/>
              <a:gd name="connsiteX7" fmla="*/ 3853919 w 4478158"/>
              <a:gd name="connsiteY7" fmla="*/ 690741 h 4478160"/>
              <a:gd name="connsiteX8" fmla="*/ 3848013 w 4478158"/>
              <a:gd name="connsiteY8" fmla="*/ 792483 h 4478160"/>
              <a:gd name="connsiteX9" fmla="*/ 3848013 w 4478158"/>
              <a:gd name="connsiteY9" fmla="*/ 792484 h 4478160"/>
              <a:gd name="connsiteX10" fmla="*/ 3853919 w 4478158"/>
              <a:gd name="connsiteY10" fmla="*/ 690741 h 4478160"/>
              <a:gd name="connsiteX11" fmla="*/ 3976054 w 4478158"/>
              <a:gd name="connsiteY11" fmla="*/ 825864 h 4478160"/>
              <a:gd name="connsiteX12" fmla="*/ 4437170 w 4478158"/>
              <a:gd name="connsiteY12" fmla="*/ 2666730 h 4478160"/>
              <a:gd name="connsiteX13" fmla="*/ 4420751 w 4478158"/>
              <a:gd name="connsiteY13" fmla="*/ 2733981 h 4478160"/>
              <a:gd name="connsiteX14" fmla="*/ 4309537 w 4478158"/>
              <a:gd name="connsiteY14" fmla="*/ 2803038 h 4478160"/>
              <a:gd name="connsiteX15" fmla="*/ 4249278 w 4478158"/>
              <a:gd name="connsiteY15" fmla="*/ 2705993 h 4478160"/>
              <a:gd name="connsiteX16" fmla="*/ 4266950 w 4478158"/>
              <a:gd name="connsiteY16" fmla="*/ 2633613 h 4478160"/>
              <a:gd name="connsiteX17" fmla="*/ 3841542 w 4478158"/>
              <a:gd name="connsiteY17" fmla="*/ 935304 h 4478160"/>
              <a:gd name="connsiteX18" fmla="*/ 3704945 w 4478158"/>
              <a:gd name="connsiteY18" fmla="*/ 784179 h 4478160"/>
              <a:gd name="connsiteX19" fmla="*/ 3704944 w 4478158"/>
              <a:gd name="connsiteY19" fmla="*/ 784179 h 4478160"/>
              <a:gd name="connsiteX20" fmla="*/ 3699739 w 4478158"/>
              <a:gd name="connsiteY20" fmla="*/ 778420 h 4478160"/>
              <a:gd name="connsiteX21" fmla="*/ 3602229 w 4478158"/>
              <a:gd name="connsiteY21" fmla="*/ 690284 h 4478160"/>
              <a:gd name="connsiteX22" fmla="*/ 3542854 w 4478158"/>
              <a:gd name="connsiteY22" fmla="*/ 636618 h 4478160"/>
              <a:gd name="connsiteX23" fmla="*/ 1844546 w 4478158"/>
              <a:gd name="connsiteY23" fmla="*/ 211210 h 4478160"/>
              <a:gd name="connsiteX24" fmla="*/ 39167 w 4478158"/>
              <a:gd name="connsiteY24" fmla="*/ 1824055 h 4478160"/>
              <a:gd name="connsiteX25" fmla="*/ 40988 w 4478158"/>
              <a:gd name="connsiteY25" fmla="*/ 1811428 h 4478160"/>
              <a:gd name="connsiteX26" fmla="*/ 655811 w 4478158"/>
              <a:gd name="connsiteY26" fmla="*/ 655811 h 4478160"/>
              <a:gd name="connsiteX27" fmla="*/ 1396512 w 4478158"/>
              <a:gd name="connsiteY27" fmla="*/ 163952 h 4478160"/>
              <a:gd name="connsiteX28" fmla="*/ 1536124 w 4478158"/>
              <a:gd name="connsiteY28" fmla="*/ 115118 h 4478160"/>
              <a:gd name="connsiteX29" fmla="*/ 1628348 w 4478158"/>
              <a:gd name="connsiteY29" fmla="*/ 170356 h 4478160"/>
              <a:gd name="connsiteX30" fmla="*/ 1555590 w 4478158"/>
              <a:gd name="connsiteY30" fmla="*/ 291831 h 4478160"/>
              <a:gd name="connsiteX31" fmla="*/ 1461762 w 4478158"/>
              <a:gd name="connsiteY31" fmla="*/ 324651 h 4478160"/>
              <a:gd name="connsiteX32" fmla="*/ 778421 w 4478158"/>
              <a:gd name="connsiteY32" fmla="*/ 778420 h 4478160"/>
              <a:gd name="connsiteX33" fmla="*/ 211210 w 4478158"/>
              <a:gd name="connsiteY33" fmla="*/ 1844547 h 4478160"/>
              <a:gd name="connsiteX34" fmla="*/ 209174 w 4478158"/>
              <a:gd name="connsiteY34" fmla="*/ 1858654 h 4478160"/>
              <a:gd name="connsiteX35" fmla="*/ 137211 w 4478158"/>
              <a:gd name="connsiteY35" fmla="*/ 1755594 h 4478160"/>
              <a:gd name="connsiteX36" fmla="*/ 782918 w 4478158"/>
              <a:gd name="connsiteY36" fmla="*/ 3937235 h 4478160"/>
              <a:gd name="connsiteX37" fmla="*/ 782918 w 4478158"/>
              <a:gd name="connsiteY37" fmla="*/ 3812109 h 4478160"/>
              <a:gd name="connsiteX38" fmla="*/ 902740 w 4478158"/>
              <a:gd name="connsiteY38" fmla="*/ 3812109 h 4478160"/>
              <a:gd name="connsiteX39" fmla="*/ 935306 w 4478158"/>
              <a:gd name="connsiteY39" fmla="*/ 3841544 h 4478160"/>
              <a:gd name="connsiteX40" fmla="*/ 2633614 w 4478158"/>
              <a:gd name="connsiteY40" fmla="*/ 4266952 h 4478160"/>
              <a:gd name="connsiteX41" fmla="*/ 2708498 w 4478158"/>
              <a:gd name="connsiteY41" fmla="*/ 4248668 h 4478160"/>
              <a:gd name="connsiteX42" fmla="*/ 2827208 w 4478158"/>
              <a:gd name="connsiteY42" fmla="*/ 4219684 h 4478160"/>
              <a:gd name="connsiteX43" fmla="*/ 2834453 w 4478158"/>
              <a:gd name="connsiteY43" fmla="*/ 4217151 h 4478160"/>
              <a:gd name="connsiteX44" fmla="*/ 3016398 w 4478158"/>
              <a:gd name="connsiteY44" fmla="*/ 4153510 h 4478160"/>
              <a:gd name="connsiteX45" fmla="*/ 3699739 w 4478158"/>
              <a:gd name="connsiteY45" fmla="*/ 3699741 h 4478160"/>
              <a:gd name="connsiteX46" fmla="*/ 4219683 w 4478158"/>
              <a:gd name="connsiteY46" fmla="*/ 2827210 h 4478160"/>
              <a:gd name="connsiteX47" fmla="*/ 4220115 w 4478158"/>
              <a:gd name="connsiteY47" fmla="*/ 2825438 h 4478160"/>
              <a:gd name="connsiteX48" fmla="*/ 4285103 w 4478158"/>
              <a:gd name="connsiteY48" fmla="*/ 2930098 h 4478160"/>
              <a:gd name="connsiteX49" fmla="*/ 4388551 w 4478158"/>
              <a:gd name="connsiteY49" fmla="*/ 2865864 h 4478160"/>
              <a:gd name="connsiteX50" fmla="*/ 4385936 w 4478158"/>
              <a:gd name="connsiteY50" fmla="*/ 2876577 h 4478160"/>
              <a:gd name="connsiteX51" fmla="*/ 3822347 w 4478158"/>
              <a:gd name="connsiteY51" fmla="*/ 3822349 h 4478160"/>
              <a:gd name="connsiteX52" fmla="*/ 3081647 w 4478158"/>
              <a:gd name="connsiteY52" fmla="*/ 4314208 h 4478160"/>
              <a:gd name="connsiteX53" fmla="*/ 2881320 w 4478158"/>
              <a:gd name="connsiteY53" fmla="*/ 4384278 h 4478160"/>
              <a:gd name="connsiteX54" fmla="*/ 2876575 w 4478158"/>
              <a:gd name="connsiteY54" fmla="*/ 4385937 h 4478160"/>
              <a:gd name="connsiteX55" fmla="*/ 2755884 w 4478158"/>
              <a:gd name="connsiteY55" fmla="*/ 4415405 h 4478160"/>
              <a:gd name="connsiteX56" fmla="*/ 2666730 w 4478158"/>
              <a:gd name="connsiteY56" fmla="*/ 4437172 h 4478160"/>
              <a:gd name="connsiteX57" fmla="*/ 825865 w 4478158"/>
              <a:gd name="connsiteY57" fmla="*/ 3976055 h 4478160"/>
              <a:gd name="connsiteX58" fmla="*/ 655810 w 4478158"/>
              <a:gd name="connsiteY58" fmla="*/ 3822348 h 4478160"/>
              <a:gd name="connsiteX59" fmla="*/ 10247 w 4478158"/>
              <a:gd name="connsiteY59" fmla="*/ 2024458 h 4478160"/>
              <a:gd name="connsiteX60" fmla="*/ 20560 w 4478158"/>
              <a:gd name="connsiteY60" fmla="*/ 1952981 h 4478160"/>
              <a:gd name="connsiteX61" fmla="*/ 20561 w 4478158"/>
              <a:gd name="connsiteY61" fmla="*/ 1952980 h 4478160"/>
              <a:gd name="connsiteX62" fmla="*/ 39166 w 4478158"/>
              <a:gd name="connsiteY62" fmla="*/ 1824056 h 4478160"/>
              <a:gd name="connsiteX63" fmla="*/ 137211 w 4478158"/>
              <a:gd name="connsiteY63" fmla="*/ 1755594 h 4478160"/>
              <a:gd name="connsiteX64" fmla="*/ 209174 w 4478158"/>
              <a:gd name="connsiteY64" fmla="*/ 1858654 h 4478160"/>
              <a:gd name="connsiteX65" fmla="*/ 190837 w 4478158"/>
              <a:gd name="connsiteY65" fmla="*/ 1985725 h 4478160"/>
              <a:gd name="connsiteX66" fmla="*/ 182848 w 4478158"/>
              <a:gd name="connsiteY66" fmla="*/ 2041079 h 4478160"/>
              <a:gd name="connsiteX67" fmla="*/ 778420 w 4478158"/>
              <a:gd name="connsiteY67" fmla="*/ 3699740 h 4478160"/>
              <a:gd name="connsiteX68" fmla="*/ 805619 w 4478158"/>
              <a:gd name="connsiteY68" fmla="*/ 3724324 h 4478160"/>
              <a:gd name="connsiteX69" fmla="*/ 687863 w 4478158"/>
              <a:gd name="connsiteY69" fmla="*/ 3724324 h 4478160"/>
              <a:gd name="connsiteX70" fmla="*/ 687863 w 4478158"/>
              <a:gd name="connsiteY70" fmla="*/ 3851319 h 4478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478158" h="4478160">
                <a:moveTo>
                  <a:pt x="1682508" y="250772"/>
                </a:moveTo>
                <a:lnTo>
                  <a:pt x="1752498" y="133916"/>
                </a:lnTo>
                <a:lnTo>
                  <a:pt x="1659341" y="78120"/>
                </a:lnTo>
                <a:lnTo>
                  <a:pt x="1811428" y="40988"/>
                </a:lnTo>
                <a:cubicBezTo>
                  <a:pt x="2446537" y="-81977"/>
                  <a:pt x="3124622" y="71729"/>
                  <a:pt x="3652293" y="502105"/>
                </a:cubicBezTo>
                <a:lnTo>
                  <a:pt x="3763804" y="602896"/>
                </a:lnTo>
                <a:lnTo>
                  <a:pt x="3822347" y="655811"/>
                </a:lnTo>
                <a:lnTo>
                  <a:pt x="3853919" y="690741"/>
                </a:lnTo>
                <a:lnTo>
                  <a:pt x="3848013" y="792483"/>
                </a:lnTo>
                <a:lnTo>
                  <a:pt x="3848013" y="792484"/>
                </a:lnTo>
                <a:lnTo>
                  <a:pt x="3853919" y="690741"/>
                </a:lnTo>
                <a:lnTo>
                  <a:pt x="3976054" y="825864"/>
                </a:lnTo>
                <a:cubicBezTo>
                  <a:pt x="4406430" y="1353535"/>
                  <a:pt x="4560135" y="2031620"/>
                  <a:pt x="4437170" y="2666730"/>
                </a:cubicBezTo>
                <a:lnTo>
                  <a:pt x="4420751" y="2733981"/>
                </a:lnTo>
                <a:lnTo>
                  <a:pt x="4309537" y="2803038"/>
                </a:lnTo>
                <a:lnTo>
                  <a:pt x="4249278" y="2705993"/>
                </a:lnTo>
                <a:lnTo>
                  <a:pt x="4266950" y="2633613"/>
                </a:lnTo>
                <a:cubicBezTo>
                  <a:pt x="4380392" y="2047687"/>
                  <a:pt x="4238590" y="1422112"/>
                  <a:pt x="3841542" y="935304"/>
                </a:cubicBezTo>
                <a:lnTo>
                  <a:pt x="3704945" y="784179"/>
                </a:lnTo>
                <a:lnTo>
                  <a:pt x="3704944" y="784179"/>
                </a:lnTo>
                <a:lnTo>
                  <a:pt x="3699739" y="778420"/>
                </a:lnTo>
                <a:lnTo>
                  <a:pt x="3602229" y="690284"/>
                </a:lnTo>
                <a:lnTo>
                  <a:pt x="3542854" y="636618"/>
                </a:lnTo>
                <a:cubicBezTo>
                  <a:pt x="3056046" y="239570"/>
                  <a:pt x="2430472" y="97767"/>
                  <a:pt x="1844546" y="211210"/>
                </a:cubicBezTo>
                <a:close/>
                <a:moveTo>
                  <a:pt x="39167" y="1824055"/>
                </a:moveTo>
                <a:lnTo>
                  <a:pt x="40988" y="1811428"/>
                </a:lnTo>
                <a:cubicBezTo>
                  <a:pt x="122964" y="1388022"/>
                  <a:pt x="327906" y="983716"/>
                  <a:pt x="655811" y="655811"/>
                </a:cubicBezTo>
                <a:cubicBezTo>
                  <a:pt x="874415" y="437207"/>
                  <a:pt x="1126975" y="273253"/>
                  <a:pt x="1396512" y="163952"/>
                </a:cubicBezTo>
                <a:lnTo>
                  <a:pt x="1536124" y="115118"/>
                </a:lnTo>
                <a:lnTo>
                  <a:pt x="1628348" y="170356"/>
                </a:lnTo>
                <a:lnTo>
                  <a:pt x="1555590" y="291831"/>
                </a:lnTo>
                <a:lnTo>
                  <a:pt x="1461762" y="324651"/>
                </a:lnTo>
                <a:cubicBezTo>
                  <a:pt x="1213097" y="425489"/>
                  <a:pt x="980096" y="576745"/>
                  <a:pt x="778421" y="778420"/>
                </a:cubicBezTo>
                <a:cubicBezTo>
                  <a:pt x="475908" y="1080933"/>
                  <a:pt x="286838" y="1453928"/>
                  <a:pt x="211210" y="1844547"/>
                </a:cubicBezTo>
                <a:lnTo>
                  <a:pt x="209174" y="1858654"/>
                </a:lnTo>
                <a:lnTo>
                  <a:pt x="137211" y="1755594"/>
                </a:lnTo>
                <a:close/>
                <a:moveTo>
                  <a:pt x="782918" y="3937235"/>
                </a:moveTo>
                <a:lnTo>
                  <a:pt x="782918" y="3812109"/>
                </a:lnTo>
                <a:lnTo>
                  <a:pt x="902740" y="3812109"/>
                </a:lnTo>
                <a:lnTo>
                  <a:pt x="935306" y="3841544"/>
                </a:lnTo>
                <a:cubicBezTo>
                  <a:pt x="1422114" y="4238590"/>
                  <a:pt x="2047687" y="4380394"/>
                  <a:pt x="2633614" y="4266952"/>
                </a:cubicBezTo>
                <a:lnTo>
                  <a:pt x="2708498" y="4248668"/>
                </a:lnTo>
                <a:lnTo>
                  <a:pt x="2827208" y="4219684"/>
                </a:lnTo>
                <a:lnTo>
                  <a:pt x="2834453" y="4217151"/>
                </a:lnTo>
                <a:lnTo>
                  <a:pt x="3016398" y="4153510"/>
                </a:lnTo>
                <a:cubicBezTo>
                  <a:pt x="3265063" y="4052672"/>
                  <a:pt x="3498064" y="3901416"/>
                  <a:pt x="3699739" y="3699741"/>
                </a:cubicBezTo>
                <a:cubicBezTo>
                  <a:pt x="3951833" y="3447647"/>
                  <a:pt x="4125148" y="3146606"/>
                  <a:pt x="4219683" y="2827210"/>
                </a:cubicBezTo>
                <a:lnTo>
                  <a:pt x="4220115" y="2825438"/>
                </a:lnTo>
                <a:lnTo>
                  <a:pt x="4285103" y="2930098"/>
                </a:lnTo>
                <a:lnTo>
                  <a:pt x="4388551" y="2865864"/>
                </a:lnTo>
                <a:lnTo>
                  <a:pt x="4385936" y="2876577"/>
                </a:lnTo>
                <a:cubicBezTo>
                  <a:pt x="4283465" y="3222784"/>
                  <a:pt x="4095602" y="3549094"/>
                  <a:pt x="3822347" y="3822349"/>
                </a:cubicBezTo>
                <a:cubicBezTo>
                  <a:pt x="3603744" y="4040953"/>
                  <a:pt x="3351184" y="4204906"/>
                  <a:pt x="3081647" y="4314208"/>
                </a:cubicBezTo>
                <a:lnTo>
                  <a:pt x="2881320" y="4384278"/>
                </a:lnTo>
                <a:lnTo>
                  <a:pt x="2876575" y="4385937"/>
                </a:lnTo>
                <a:lnTo>
                  <a:pt x="2755884" y="4415405"/>
                </a:lnTo>
                <a:lnTo>
                  <a:pt x="2666730" y="4437172"/>
                </a:lnTo>
                <a:cubicBezTo>
                  <a:pt x="2031621" y="4560137"/>
                  <a:pt x="1353537" y="4406430"/>
                  <a:pt x="825865" y="3976055"/>
                </a:cubicBezTo>
                <a:close/>
                <a:moveTo>
                  <a:pt x="655810" y="3822348"/>
                </a:moveTo>
                <a:cubicBezTo>
                  <a:pt x="163953" y="3330490"/>
                  <a:pt x="-51237" y="2666730"/>
                  <a:pt x="10247" y="2024458"/>
                </a:cubicBezTo>
                <a:lnTo>
                  <a:pt x="20560" y="1952981"/>
                </a:lnTo>
                <a:lnTo>
                  <a:pt x="20561" y="1952980"/>
                </a:lnTo>
                <a:lnTo>
                  <a:pt x="39166" y="1824056"/>
                </a:lnTo>
                <a:lnTo>
                  <a:pt x="137211" y="1755594"/>
                </a:lnTo>
                <a:lnTo>
                  <a:pt x="209174" y="1858654"/>
                </a:lnTo>
                <a:lnTo>
                  <a:pt x="190837" y="1985725"/>
                </a:lnTo>
                <a:lnTo>
                  <a:pt x="182848" y="2041079"/>
                </a:lnTo>
                <a:cubicBezTo>
                  <a:pt x="126127" y="2633613"/>
                  <a:pt x="324652" y="3245971"/>
                  <a:pt x="778420" y="3699740"/>
                </a:cubicBezTo>
                <a:lnTo>
                  <a:pt x="805619" y="3724324"/>
                </a:lnTo>
                <a:lnTo>
                  <a:pt x="687863" y="3724324"/>
                </a:lnTo>
                <a:lnTo>
                  <a:pt x="687863" y="3851319"/>
                </a:lnTo>
                <a:close/>
              </a:path>
            </a:pathLst>
          </a:custGeom>
          <a:solidFill>
            <a:schemeClr val="bg1">
              <a:lumMod val="75000"/>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12" name="TextBox 11">
            <a:extLst>
              <a:ext uri="{FF2B5EF4-FFF2-40B4-BE49-F238E27FC236}">
                <a16:creationId xmlns:a16="http://schemas.microsoft.com/office/drawing/2014/main" id="{CE1B6C43-A200-4158-99F3-90B1BBDEC2D9}"/>
              </a:ext>
            </a:extLst>
          </p:cNvPr>
          <p:cNvSpPr txBox="1"/>
          <p:nvPr/>
        </p:nvSpPr>
        <p:spPr>
          <a:xfrm rot="3101169">
            <a:off x="5861527" y="1330472"/>
            <a:ext cx="1510792" cy="376684"/>
          </a:xfrm>
          <a:prstGeom prst="rect">
            <a:avLst/>
          </a:prstGeom>
          <a:noFill/>
        </p:spPr>
        <p:txBody>
          <a:bodyPr wrap="none" rtlCol="0">
            <a:prstTxWarp prst="textArchUp">
              <a:avLst/>
            </a:prstTxWarp>
            <a:spAutoFit/>
          </a:bodyPr>
          <a:lstStyle/>
          <a:p>
            <a:pPr algn="ctr" defTabSz="932649">
              <a:defRPr/>
            </a:pPr>
            <a:r>
              <a:rPr lang="en-CA" sz="1836">
                <a:solidFill>
                  <a:srgbClr val="000000"/>
                </a:solidFill>
                <a:latin typeface="Segoe UI"/>
              </a:rPr>
              <a:t>UNDERSTAND</a:t>
            </a:r>
          </a:p>
        </p:txBody>
      </p:sp>
      <p:sp>
        <p:nvSpPr>
          <p:cNvPr id="149" name="TextBox 148">
            <a:extLst>
              <a:ext uri="{FF2B5EF4-FFF2-40B4-BE49-F238E27FC236}">
                <a16:creationId xmlns:a16="http://schemas.microsoft.com/office/drawing/2014/main" id="{C38B9824-2B56-40C3-A86F-36F9996F5ED8}"/>
              </a:ext>
            </a:extLst>
          </p:cNvPr>
          <p:cNvSpPr txBox="1"/>
          <p:nvPr/>
        </p:nvSpPr>
        <p:spPr>
          <a:xfrm>
            <a:off x="3617062" y="6245487"/>
            <a:ext cx="1510792" cy="376684"/>
          </a:xfrm>
          <a:prstGeom prst="rect">
            <a:avLst/>
          </a:prstGeom>
          <a:noFill/>
        </p:spPr>
        <p:txBody>
          <a:bodyPr wrap="none" rtlCol="0">
            <a:prstTxWarp prst="textArchDown">
              <a:avLst>
                <a:gd name="adj" fmla="val 938077"/>
              </a:avLst>
            </a:prstTxWarp>
            <a:spAutoFit/>
          </a:bodyPr>
          <a:lstStyle/>
          <a:p>
            <a:pPr algn="ctr" defTabSz="932649">
              <a:defRPr/>
            </a:pPr>
            <a:r>
              <a:rPr lang="en-CA" sz="1836">
                <a:solidFill>
                  <a:srgbClr val="000000"/>
                </a:solidFill>
                <a:latin typeface="Segoe UI"/>
              </a:rPr>
              <a:t>EXPLORE</a:t>
            </a:r>
          </a:p>
        </p:txBody>
      </p:sp>
      <p:sp>
        <p:nvSpPr>
          <p:cNvPr id="150" name="TextBox 149">
            <a:extLst>
              <a:ext uri="{FF2B5EF4-FFF2-40B4-BE49-F238E27FC236}">
                <a16:creationId xmlns:a16="http://schemas.microsoft.com/office/drawing/2014/main" id="{D23C2F4F-480F-4D85-91F5-596D114FA5CB}"/>
              </a:ext>
            </a:extLst>
          </p:cNvPr>
          <p:cNvSpPr txBox="1"/>
          <p:nvPr/>
        </p:nvSpPr>
        <p:spPr>
          <a:xfrm rot="18074945">
            <a:off x="1023248" y="1637347"/>
            <a:ext cx="1510792" cy="376684"/>
          </a:xfrm>
          <a:prstGeom prst="rect">
            <a:avLst/>
          </a:prstGeom>
          <a:noFill/>
        </p:spPr>
        <p:txBody>
          <a:bodyPr wrap="none" rtlCol="0">
            <a:prstTxWarp prst="textArchUp">
              <a:avLst/>
            </a:prstTxWarp>
            <a:spAutoFit/>
          </a:bodyPr>
          <a:lstStyle/>
          <a:p>
            <a:pPr algn="ctr" defTabSz="932649">
              <a:defRPr/>
            </a:pPr>
            <a:r>
              <a:rPr lang="en-CA" sz="1836">
                <a:solidFill>
                  <a:srgbClr val="000000"/>
                </a:solidFill>
                <a:latin typeface="Segoe UI"/>
              </a:rPr>
              <a:t>MATERIALIZE</a:t>
            </a:r>
          </a:p>
        </p:txBody>
      </p:sp>
      <p:grpSp>
        <p:nvGrpSpPr>
          <p:cNvPr id="192" name="Group 191">
            <a:extLst>
              <a:ext uri="{FF2B5EF4-FFF2-40B4-BE49-F238E27FC236}">
                <a16:creationId xmlns:a16="http://schemas.microsoft.com/office/drawing/2014/main" id="{6EC0DFF8-8992-4976-81C0-5D690EF86642}"/>
              </a:ext>
            </a:extLst>
          </p:cNvPr>
          <p:cNvGrpSpPr/>
          <p:nvPr/>
        </p:nvGrpSpPr>
        <p:grpSpPr>
          <a:xfrm>
            <a:off x="7900885" y="540674"/>
            <a:ext cx="3882945" cy="2604899"/>
            <a:chOff x="665628" y="2493869"/>
            <a:chExt cx="2572872" cy="2554381"/>
          </a:xfrm>
        </p:grpSpPr>
        <p:sp>
          <p:nvSpPr>
            <p:cNvPr id="193" name="Rectangle: Rounded Corners 192">
              <a:extLst>
                <a:ext uri="{FF2B5EF4-FFF2-40B4-BE49-F238E27FC236}">
                  <a16:creationId xmlns:a16="http://schemas.microsoft.com/office/drawing/2014/main" id="{BD2443E8-7532-4E99-8347-14BA6739A89C}"/>
                </a:ext>
              </a:extLst>
            </p:cNvPr>
            <p:cNvSpPr/>
            <p:nvPr/>
          </p:nvSpPr>
          <p:spPr>
            <a:xfrm>
              <a:off x="665629" y="2493869"/>
              <a:ext cx="2572871" cy="2554381"/>
            </a:xfrm>
            <a:prstGeom prst="roundRect">
              <a:avLst>
                <a:gd name="adj" fmla="val 4745"/>
              </a:avLst>
            </a:prstGeom>
            <a:solidFill>
              <a:srgbClr val="FFFFFF"/>
            </a:solidFill>
            <a:ln>
              <a:solidFill>
                <a:srgbClr val="FFFFFF"/>
              </a:solidFill>
            </a:ln>
            <a:effectLst>
              <a:outerShdw blurRad="127000" sx="102000" sy="102000" algn="ctr"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sp>
          <p:nvSpPr>
            <p:cNvPr id="194" name="Rectangle: Rounded Corners 193">
              <a:extLst>
                <a:ext uri="{FF2B5EF4-FFF2-40B4-BE49-F238E27FC236}">
                  <a16:creationId xmlns:a16="http://schemas.microsoft.com/office/drawing/2014/main" id="{086DEA2A-5534-4DCE-B50A-5A29DB1634CE}"/>
                </a:ext>
              </a:extLst>
            </p:cNvPr>
            <p:cNvSpPr/>
            <p:nvPr/>
          </p:nvSpPr>
          <p:spPr>
            <a:xfrm>
              <a:off x="665628" y="2493869"/>
              <a:ext cx="2572871" cy="373156"/>
            </a:xfrm>
            <a:prstGeom prst="roundRect">
              <a:avLst>
                <a:gd name="adj" fmla="val 32823"/>
              </a:avLst>
            </a:prstGeom>
            <a:solidFill>
              <a:srgbClr val="ED7D31"/>
            </a:solidFill>
            <a:ln>
              <a:solidFill>
                <a:srgbClr val="ED7D3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sp>
          <p:nvSpPr>
            <p:cNvPr id="195" name="Rectangle: Rounded Corners 194">
              <a:extLst>
                <a:ext uri="{FF2B5EF4-FFF2-40B4-BE49-F238E27FC236}">
                  <a16:creationId xmlns:a16="http://schemas.microsoft.com/office/drawing/2014/main" id="{0155F319-16A5-4198-B4A8-BC6D9EAAC093}"/>
                </a:ext>
              </a:extLst>
            </p:cNvPr>
            <p:cNvSpPr/>
            <p:nvPr/>
          </p:nvSpPr>
          <p:spPr>
            <a:xfrm>
              <a:off x="665628" y="2680446"/>
              <a:ext cx="2572871" cy="1948703"/>
            </a:xfrm>
            <a:prstGeom prst="roundRect">
              <a:avLst>
                <a:gd name="adj" fmla="val 0"/>
              </a:avLst>
            </a:prstGeom>
            <a:solidFill>
              <a:schemeClr val="bg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lnSpc>
                  <a:spcPts val="1836"/>
                </a:lnSpc>
                <a:defRPr/>
              </a:pPr>
              <a:endParaRPr lang="en-US" sz="1836">
                <a:solidFill>
                  <a:srgbClr val="000000"/>
                </a:solidFill>
                <a:latin typeface="Segoe UI Semibold" panose="020B0702040204020203" pitchFamily="34" charset="0"/>
                <a:cs typeface="Segoe UI Semibold" panose="020B0702040204020203" pitchFamily="34" charset="0"/>
              </a:endParaRPr>
            </a:p>
            <a:p>
              <a:pPr algn="ctr" defTabSz="932649">
                <a:lnSpc>
                  <a:spcPts val="1836"/>
                </a:lnSpc>
                <a:defRPr/>
              </a:pPr>
              <a:endParaRPr lang="en-US" sz="1836">
                <a:solidFill>
                  <a:srgbClr val="000000"/>
                </a:solidFill>
                <a:latin typeface="Segoe UI Semibold" panose="020B0702040204020203" pitchFamily="34" charset="0"/>
                <a:cs typeface="Segoe UI Semibold" panose="020B0702040204020203" pitchFamily="34" charset="0"/>
              </a:endParaRPr>
            </a:p>
            <a:p>
              <a:pPr algn="ctr" defTabSz="932649">
                <a:lnSpc>
                  <a:spcPts val="1836"/>
                </a:lnSpc>
                <a:defRPr/>
              </a:pPr>
              <a:r>
                <a:rPr lang="en-US" sz="1836">
                  <a:solidFill>
                    <a:srgbClr val="FFFFFF"/>
                  </a:solidFill>
                  <a:highlight>
                    <a:srgbClr val="ED7D31"/>
                  </a:highlight>
                  <a:latin typeface="Nexa Heavy" panose="02000000000000000000" pitchFamily="2" charset="0"/>
                  <a:cs typeface="Segoe UI Semibold" panose="020B0702040204020203" pitchFamily="34" charset="0"/>
                </a:rPr>
                <a:t>DEFINE</a:t>
              </a:r>
              <a:r>
                <a:rPr lang="en-US" sz="1836">
                  <a:solidFill>
                    <a:srgbClr val="000000"/>
                  </a:solidFill>
                  <a:latin typeface="Segoe UI Semibold" panose="020B0702040204020203" pitchFamily="34" charset="0"/>
                  <a:cs typeface="Segoe UI Semibold" panose="020B0702040204020203" pitchFamily="34" charset="0"/>
                </a:rPr>
                <a:t> </a:t>
              </a:r>
            </a:p>
            <a:p>
              <a:pPr algn="ctr" defTabSz="932649">
                <a:lnSpc>
                  <a:spcPts val="1836"/>
                </a:lnSpc>
                <a:defRPr/>
              </a:pPr>
              <a:r>
                <a:rPr lang="en-US" sz="1428">
                  <a:solidFill>
                    <a:srgbClr val="000000"/>
                  </a:solidFill>
                  <a:latin typeface="Segoe UI Semibold" panose="020B0702040204020203" pitchFamily="34" charset="0"/>
                  <a:cs typeface="Segoe UI Semibold" panose="020B0702040204020203" pitchFamily="34" charset="0"/>
                </a:rPr>
                <a:t>THE </a:t>
              </a:r>
              <a:r>
                <a:rPr lang="en-US" sz="1836">
                  <a:solidFill>
                    <a:srgbClr val="000000"/>
                  </a:solidFill>
                  <a:latin typeface="Nexa Heavy" panose="02000000000000000000" pitchFamily="2" charset="0"/>
                  <a:cs typeface="Segoe UI Semibold" panose="020B0702040204020203" pitchFamily="34" charset="0"/>
                </a:rPr>
                <a:t>PLATFORM &amp; ENVIORMENT</a:t>
              </a:r>
            </a:p>
            <a:p>
              <a:pPr algn="ctr" defTabSz="932649">
                <a:lnSpc>
                  <a:spcPts val="1836"/>
                </a:lnSpc>
                <a:defRPr/>
              </a:pPr>
              <a:r>
                <a:rPr lang="en-US" sz="1632" i="1">
                  <a:solidFill>
                    <a:srgbClr val="FFFFFF">
                      <a:lumMod val="65000"/>
                    </a:srgbClr>
                  </a:solidFill>
                  <a:latin typeface="Segoe UI Light" panose="020B0502040204020203" pitchFamily="34" charset="0"/>
                  <a:cs typeface="Segoe UI Light" panose="020B0502040204020203" pitchFamily="34" charset="0"/>
                </a:rPr>
                <a:t>Combine all research and observe where your users’ problems &amp; needs will exist</a:t>
              </a:r>
              <a:endParaRPr lang="en-CA" sz="1632" i="1">
                <a:solidFill>
                  <a:srgbClr val="FFFFFF">
                    <a:lumMod val="65000"/>
                  </a:srgbClr>
                </a:solidFill>
                <a:latin typeface="Segoe UI Light" panose="020B0502040204020203" pitchFamily="34" charset="0"/>
                <a:cs typeface="Segoe UI Light" panose="020B0502040204020203" pitchFamily="34" charset="0"/>
              </a:endParaRPr>
            </a:p>
          </p:txBody>
        </p:sp>
      </p:grpSp>
      <p:grpSp>
        <p:nvGrpSpPr>
          <p:cNvPr id="41" name="Group 40">
            <a:extLst>
              <a:ext uri="{FF2B5EF4-FFF2-40B4-BE49-F238E27FC236}">
                <a16:creationId xmlns:a16="http://schemas.microsoft.com/office/drawing/2014/main" id="{BDAD0D20-CD34-4A44-8806-00DCEC4B25BA}"/>
              </a:ext>
            </a:extLst>
          </p:cNvPr>
          <p:cNvGrpSpPr/>
          <p:nvPr/>
        </p:nvGrpSpPr>
        <p:grpSpPr>
          <a:xfrm>
            <a:off x="6491910" y="2943729"/>
            <a:ext cx="703811" cy="703811"/>
            <a:chOff x="4514418" y="598134"/>
            <a:chExt cx="690162" cy="690162"/>
          </a:xfrm>
        </p:grpSpPr>
        <p:grpSp>
          <p:nvGrpSpPr>
            <p:cNvPr id="42" name="Group 41">
              <a:extLst>
                <a:ext uri="{FF2B5EF4-FFF2-40B4-BE49-F238E27FC236}">
                  <a16:creationId xmlns:a16="http://schemas.microsoft.com/office/drawing/2014/main" id="{9E1244FF-C1BB-4109-B920-0CDE191279FA}"/>
                </a:ext>
              </a:extLst>
            </p:cNvPr>
            <p:cNvGrpSpPr/>
            <p:nvPr/>
          </p:nvGrpSpPr>
          <p:grpSpPr>
            <a:xfrm>
              <a:off x="4514418" y="598134"/>
              <a:ext cx="690162" cy="690162"/>
              <a:chOff x="6989114" y="876300"/>
              <a:chExt cx="1257300" cy="1257300"/>
            </a:xfrm>
          </p:grpSpPr>
          <p:sp>
            <p:nvSpPr>
              <p:cNvPr id="45" name="Oval 44">
                <a:extLst>
                  <a:ext uri="{FF2B5EF4-FFF2-40B4-BE49-F238E27FC236}">
                    <a16:creationId xmlns:a16="http://schemas.microsoft.com/office/drawing/2014/main" id="{165A31EE-C2A9-43EA-BC9D-C6685B1F40B6}"/>
                  </a:ext>
                </a:extLst>
              </p:cNvPr>
              <p:cNvSpPr/>
              <p:nvPr/>
            </p:nvSpPr>
            <p:spPr>
              <a:xfrm>
                <a:off x="6989114" y="876300"/>
                <a:ext cx="1257300" cy="1257300"/>
              </a:xfrm>
              <a:prstGeom prst="ellipse">
                <a:avLst/>
              </a:prstGeom>
              <a:solidFill>
                <a:srgbClr val="FFFFFF"/>
              </a:solidFill>
              <a:ln>
                <a:solidFill>
                  <a:srgbClr val="FFFFFF"/>
                </a:solidFill>
              </a:ln>
              <a:effectLst>
                <a:outerShdw blurRad="127000" sx="102000" sy="102000" algn="ctr"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649">
                  <a:defRPr/>
                </a:pPr>
                <a:endParaRPr lang="en-CA" sz="1836">
                  <a:solidFill>
                    <a:srgbClr val="FFFFFF"/>
                  </a:solidFill>
                  <a:latin typeface="Segoe UI"/>
                </a:endParaRPr>
              </a:p>
            </p:txBody>
          </p:sp>
          <p:sp>
            <p:nvSpPr>
              <p:cNvPr id="46" name="Chord 45">
                <a:extLst>
                  <a:ext uri="{FF2B5EF4-FFF2-40B4-BE49-F238E27FC236}">
                    <a16:creationId xmlns:a16="http://schemas.microsoft.com/office/drawing/2014/main" id="{89AD42B7-3313-41AF-836E-F47CD5D2FA80}"/>
                  </a:ext>
                </a:extLst>
              </p:cNvPr>
              <p:cNvSpPr/>
              <p:nvPr/>
            </p:nvSpPr>
            <p:spPr>
              <a:xfrm rot="17507038">
                <a:off x="7063406" y="950592"/>
                <a:ext cx="1108714" cy="1108714"/>
              </a:xfrm>
              <a:prstGeom prst="chord">
                <a:avLst/>
              </a:prstGeom>
              <a:solidFill>
                <a:srgbClr val="ED7D31"/>
              </a:solidFill>
              <a:ln>
                <a:noFill/>
              </a:ln>
              <a:effectLst>
                <a:innerShdw blurRad="101600" dist="25400" dir="19800000">
                  <a:srgbClr val="C00000">
                    <a:alpha val="50000"/>
                  </a:srgb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grpSp>
        <p:sp>
          <p:nvSpPr>
            <p:cNvPr id="44" name="TextBox 43">
              <a:extLst>
                <a:ext uri="{FF2B5EF4-FFF2-40B4-BE49-F238E27FC236}">
                  <a16:creationId xmlns:a16="http://schemas.microsoft.com/office/drawing/2014/main" id="{76FBB58E-D02F-4BC5-8DA8-E85B6FB81730}"/>
                </a:ext>
              </a:extLst>
            </p:cNvPr>
            <p:cNvSpPr txBox="1"/>
            <p:nvPr/>
          </p:nvSpPr>
          <p:spPr>
            <a:xfrm>
              <a:off x="4651442" y="744334"/>
              <a:ext cx="404278" cy="531812"/>
            </a:xfrm>
            <a:prstGeom prst="rect">
              <a:avLst/>
            </a:prstGeom>
            <a:noFill/>
          </p:spPr>
          <p:txBody>
            <a:bodyPr wrap="none" rtlCol="0">
              <a:spAutoFit/>
            </a:bodyPr>
            <a:lstStyle/>
            <a:p>
              <a:pPr algn="ctr" defTabSz="932649">
                <a:defRPr/>
              </a:pPr>
              <a:r>
                <a:rPr lang="en-CA" sz="2856">
                  <a:solidFill>
                    <a:srgbClr val="FFFFFF"/>
                  </a:solidFill>
                  <a:latin typeface="Segoe UI Black" panose="020B0A02040204020203" pitchFamily="34" charset="0"/>
                  <a:ea typeface="Segoe UI Black" panose="020B0A02040204020203" pitchFamily="34" charset="0"/>
                </a:rPr>
                <a:t>2</a:t>
              </a:r>
            </a:p>
          </p:txBody>
        </p:sp>
      </p:grpSp>
    </p:spTree>
    <p:extLst>
      <p:ext uri="{BB962C8B-B14F-4D97-AF65-F5344CB8AC3E}">
        <p14:creationId xmlns:p14="http://schemas.microsoft.com/office/powerpoint/2010/main" val="1007087635"/>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UI and UX Requirements</a:t>
            </a:r>
          </a:p>
        </p:txBody>
      </p:sp>
      <p:sp>
        <p:nvSpPr>
          <p:cNvPr id="7" name="Text Placeholder 2">
            <a:extLst>
              <a:ext uri="{FF2B5EF4-FFF2-40B4-BE49-F238E27FC236}">
                <a16:creationId xmlns:a16="http://schemas.microsoft.com/office/drawing/2014/main" id="{4C3AEDD1-7AF0-4617-B9A5-3CB333EA9FC7}"/>
              </a:ext>
            </a:extLst>
          </p:cNvPr>
          <p:cNvSpPr txBox="1">
            <a:spLocks/>
          </p:cNvSpPr>
          <p:nvPr/>
        </p:nvSpPr>
        <p:spPr>
          <a:xfrm>
            <a:off x="595915" y="1464074"/>
            <a:ext cx="11239464" cy="5324278"/>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a:t>User interface requirements</a:t>
            </a:r>
          </a:p>
          <a:p>
            <a:pPr lvl="1"/>
            <a:r>
              <a:rPr lang="en-US"/>
              <a:t>Form factor (screen/device)</a:t>
            </a:r>
          </a:p>
          <a:p>
            <a:pPr lvl="1"/>
            <a:r>
              <a:rPr lang="en-US"/>
              <a:t>Input method (device)</a:t>
            </a:r>
          </a:p>
          <a:p>
            <a:pPr lvl="1"/>
            <a:r>
              <a:rPr lang="en-US"/>
              <a:t>Style and theme (branding)</a:t>
            </a:r>
          </a:p>
          <a:p>
            <a:pPr lvl="1"/>
            <a:r>
              <a:rPr lang="en-US"/>
              <a:t>Accessibility (physical disability)</a:t>
            </a:r>
          </a:p>
          <a:p>
            <a:r>
              <a:rPr lang="en-US"/>
              <a:t>User experience requirements</a:t>
            </a:r>
          </a:p>
          <a:p>
            <a:pPr lvl="1"/>
            <a:r>
              <a:rPr lang="en-US"/>
              <a:t>Interactions</a:t>
            </a:r>
          </a:p>
          <a:p>
            <a:pPr lvl="1"/>
            <a:r>
              <a:rPr lang="en-US"/>
              <a:t>Input/actions</a:t>
            </a:r>
          </a:p>
          <a:p>
            <a:pPr lvl="1"/>
            <a:r>
              <a:rPr lang="en-US"/>
              <a:t>Alerts</a:t>
            </a:r>
          </a:p>
          <a:p>
            <a:pPr lvl="1"/>
            <a:r>
              <a:rPr lang="en-US"/>
              <a:t>Links</a:t>
            </a:r>
          </a:p>
          <a:p>
            <a:pPr lvl="1"/>
            <a:r>
              <a:rPr lang="en-US"/>
              <a:t>Subscribing</a:t>
            </a:r>
          </a:p>
        </p:txBody>
      </p:sp>
    </p:spTree>
    <p:extLst>
      <p:ext uri="{BB962C8B-B14F-4D97-AF65-F5344CB8AC3E}">
        <p14:creationId xmlns:p14="http://schemas.microsoft.com/office/powerpoint/2010/main" val="23082927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7">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7">
                                            <p:txEl>
                                              <p:pRg st="8" end="8"/>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7">
                                            <p:txEl>
                                              <p:pRg st="9" end="9"/>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7">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534837"/>
            <a:ext cx="7384111" cy="1107996"/>
          </a:xfrm>
        </p:spPr>
        <p:txBody>
          <a:bodyPr/>
          <a:lstStyle/>
          <a:p>
            <a:r>
              <a:rPr lang="en-US" sz="4800"/>
              <a:t>DEMO</a:t>
            </a:r>
            <a:br>
              <a:rPr lang="en-US" sz="4800"/>
            </a:br>
            <a:r>
              <a:rPr lang="en-US" sz="2400">
                <a:hlinkClick r:id="rId3"/>
              </a:rPr>
              <a:t>Microsoft Power BI</a:t>
            </a:r>
            <a:endParaRPr lang="en-US" sz="2400"/>
          </a:p>
        </p:txBody>
      </p:sp>
    </p:spTree>
    <p:extLst>
      <p:ext uri="{BB962C8B-B14F-4D97-AF65-F5344CB8AC3E}">
        <p14:creationId xmlns:p14="http://schemas.microsoft.com/office/powerpoint/2010/main" val="2792166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A2448F0F-750E-454F-8370-1E41DF6BCCB6}"/>
              </a:ext>
            </a:extLst>
          </p:cNvPr>
          <p:cNvSpPr/>
          <p:nvPr/>
        </p:nvSpPr>
        <p:spPr>
          <a:xfrm>
            <a:off x="1560078" y="631450"/>
            <a:ext cx="5488759" cy="548875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sp>
        <p:nvSpPr>
          <p:cNvPr id="43" name="Rectangle 42">
            <a:extLst>
              <a:ext uri="{FF2B5EF4-FFF2-40B4-BE49-F238E27FC236}">
                <a16:creationId xmlns:a16="http://schemas.microsoft.com/office/drawing/2014/main" id="{8BE93587-7EBF-453A-9E42-A743C659B286}"/>
              </a:ext>
            </a:extLst>
          </p:cNvPr>
          <p:cNvSpPr/>
          <p:nvPr/>
        </p:nvSpPr>
        <p:spPr>
          <a:xfrm rot="16200000">
            <a:off x="5343925" y="-2720097"/>
            <a:ext cx="1748627" cy="12434715"/>
          </a:xfrm>
          <a:prstGeom prst="rect">
            <a:avLst/>
          </a:prstGeom>
          <a:solidFill>
            <a:srgbClr val="EAEAEA">
              <a:alpha val="3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932649">
              <a:defRPr/>
            </a:pPr>
            <a:endParaRPr lang="en-US" sz="2448" b="1">
              <a:solidFill>
                <a:srgbClr val="000000"/>
              </a:solidFill>
              <a:latin typeface="Segoe UI Semibold" panose="020B0702040204020203" pitchFamily="34" charset="0"/>
              <a:cs typeface="Segoe UI Semibold" panose="020B0702040204020203" pitchFamily="34" charset="0"/>
            </a:endParaRPr>
          </a:p>
          <a:p>
            <a:pPr marL="2797946" lvl="6" defTabSz="932649">
              <a:defRPr/>
            </a:pPr>
            <a:endParaRPr lang="en-US" sz="2448" b="1">
              <a:solidFill>
                <a:srgbClr val="000000"/>
              </a:solidFill>
              <a:latin typeface="Segoe UI Semibold" panose="020B0702040204020203" pitchFamily="34" charset="0"/>
              <a:cs typeface="Segoe UI Semibold" panose="020B0702040204020203" pitchFamily="34" charset="0"/>
            </a:endParaRPr>
          </a:p>
          <a:p>
            <a:pPr marL="2797946" lvl="6" defTabSz="932649">
              <a:defRPr/>
            </a:pPr>
            <a:r>
              <a:rPr lang="en-US" sz="2448" b="1">
                <a:solidFill>
                  <a:srgbClr val="000000"/>
                </a:solidFill>
                <a:latin typeface="Segoe UI Semibold" panose="020B0702040204020203" pitchFamily="34" charset="0"/>
                <a:cs typeface="Segoe UI Semibold" panose="020B0702040204020203" pitchFamily="34" charset="0"/>
              </a:rPr>
              <a:t>POWER BI REPORT</a:t>
            </a:r>
          </a:p>
          <a:p>
            <a:pPr marL="2797946" lvl="6" defTabSz="932649">
              <a:defRPr/>
            </a:pPr>
            <a:r>
              <a:rPr lang="en-US" sz="1836" b="1" i="1">
                <a:solidFill>
                  <a:srgbClr val="000000"/>
                </a:solidFill>
                <a:latin typeface="Segoe UI Light" panose="020B0502040204020203" pitchFamily="34" charset="0"/>
                <a:cs typeface="Segoe UI Light" panose="020B0502040204020203" pitchFamily="34" charset="0"/>
              </a:rPr>
              <a:t>Design Thought Process</a:t>
            </a: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CA" sz="1836" b="1" i="1">
              <a:solidFill>
                <a:srgbClr val="000000"/>
              </a:solidFill>
              <a:latin typeface="Segoe UI Light" panose="020B0502040204020203" pitchFamily="34" charset="0"/>
              <a:cs typeface="Segoe UI Light" panose="020B0502040204020203" pitchFamily="34" charset="0"/>
            </a:endParaRPr>
          </a:p>
        </p:txBody>
      </p:sp>
      <p:sp>
        <p:nvSpPr>
          <p:cNvPr id="148" name="Freeform: Shape 147">
            <a:extLst>
              <a:ext uri="{FF2B5EF4-FFF2-40B4-BE49-F238E27FC236}">
                <a16:creationId xmlns:a16="http://schemas.microsoft.com/office/drawing/2014/main" id="{40659ACA-1BBA-4BE7-8CE6-752D6CF7EBEC}"/>
              </a:ext>
            </a:extLst>
          </p:cNvPr>
          <p:cNvSpPr/>
          <p:nvPr/>
        </p:nvSpPr>
        <p:spPr>
          <a:xfrm rot="8100000">
            <a:off x="1291349" y="362721"/>
            <a:ext cx="6026213" cy="6026216"/>
          </a:xfrm>
          <a:custGeom>
            <a:avLst/>
            <a:gdLst>
              <a:gd name="connsiteX0" fmla="*/ 1682508 w 4478158"/>
              <a:gd name="connsiteY0" fmla="*/ 250772 h 4478160"/>
              <a:gd name="connsiteX1" fmla="*/ 1752498 w 4478158"/>
              <a:gd name="connsiteY1" fmla="*/ 133916 h 4478160"/>
              <a:gd name="connsiteX2" fmla="*/ 1659341 w 4478158"/>
              <a:gd name="connsiteY2" fmla="*/ 78120 h 4478160"/>
              <a:gd name="connsiteX3" fmla="*/ 1811428 w 4478158"/>
              <a:gd name="connsiteY3" fmla="*/ 40988 h 4478160"/>
              <a:gd name="connsiteX4" fmla="*/ 3652293 w 4478158"/>
              <a:gd name="connsiteY4" fmla="*/ 502105 h 4478160"/>
              <a:gd name="connsiteX5" fmla="*/ 3763804 w 4478158"/>
              <a:gd name="connsiteY5" fmla="*/ 602896 h 4478160"/>
              <a:gd name="connsiteX6" fmla="*/ 3822347 w 4478158"/>
              <a:gd name="connsiteY6" fmla="*/ 655811 h 4478160"/>
              <a:gd name="connsiteX7" fmla="*/ 3853919 w 4478158"/>
              <a:gd name="connsiteY7" fmla="*/ 690741 h 4478160"/>
              <a:gd name="connsiteX8" fmla="*/ 3848013 w 4478158"/>
              <a:gd name="connsiteY8" fmla="*/ 792483 h 4478160"/>
              <a:gd name="connsiteX9" fmla="*/ 3848013 w 4478158"/>
              <a:gd name="connsiteY9" fmla="*/ 792484 h 4478160"/>
              <a:gd name="connsiteX10" fmla="*/ 3853919 w 4478158"/>
              <a:gd name="connsiteY10" fmla="*/ 690741 h 4478160"/>
              <a:gd name="connsiteX11" fmla="*/ 3976054 w 4478158"/>
              <a:gd name="connsiteY11" fmla="*/ 825864 h 4478160"/>
              <a:gd name="connsiteX12" fmla="*/ 4437170 w 4478158"/>
              <a:gd name="connsiteY12" fmla="*/ 2666730 h 4478160"/>
              <a:gd name="connsiteX13" fmla="*/ 4420751 w 4478158"/>
              <a:gd name="connsiteY13" fmla="*/ 2733981 h 4478160"/>
              <a:gd name="connsiteX14" fmla="*/ 4309537 w 4478158"/>
              <a:gd name="connsiteY14" fmla="*/ 2803038 h 4478160"/>
              <a:gd name="connsiteX15" fmla="*/ 4249278 w 4478158"/>
              <a:gd name="connsiteY15" fmla="*/ 2705993 h 4478160"/>
              <a:gd name="connsiteX16" fmla="*/ 4266950 w 4478158"/>
              <a:gd name="connsiteY16" fmla="*/ 2633613 h 4478160"/>
              <a:gd name="connsiteX17" fmla="*/ 3841542 w 4478158"/>
              <a:gd name="connsiteY17" fmla="*/ 935304 h 4478160"/>
              <a:gd name="connsiteX18" fmla="*/ 3704945 w 4478158"/>
              <a:gd name="connsiteY18" fmla="*/ 784179 h 4478160"/>
              <a:gd name="connsiteX19" fmla="*/ 3704944 w 4478158"/>
              <a:gd name="connsiteY19" fmla="*/ 784179 h 4478160"/>
              <a:gd name="connsiteX20" fmla="*/ 3699739 w 4478158"/>
              <a:gd name="connsiteY20" fmla="*/ 778420 h 4478160"/>
              <a:gd name="connsiteX21" fmla="*/ 3602229 w 4478158"/>
              <a:gd name="connsiteY21" fmla="*/ 690284 h 4478160"/>
              <a:gd name="connsiteX22" fmla="*/ 3542854 w 4478158"/>
              <a:gd name="connsiteY22" fmla="*/ 636618 h 4478160"/>
              <a:gd name="connsiteX23" fmla="*/ 1844546 w 4478158"/>
              <a:gd name="connsiteY23" fmla="*/ 211210 h 4478160"/>
              <a:gd name="connsiteX24" fmla="*/ 39167 w 4478158"/>
              <a:gd name="connsiteY24" fmla="*/ 1824055 h 4478160"/>
              <a:gd name="connsiteX25" fmla="*/ 40988 w 4478158"/>
              <a:gd name="connsiteY25" fmla="*/ 1811428 h 4478160"/>
              <a:gd name="connsiteX26" fmla="*/ 655811 w 4478158"/>
              <a:gd name="connsiteY26" fmla="*/ 655811 h 4478160"/>
              <a:gd name="connsiteX27" fmla="*/ 1396512 w 4478158"/>
              <a:gd name="connsiteY27" fmla="*/ 163952 h 4478160"/>
              <a:gd name="connsiteX28" fmla="*/ 1536124 w 4478158"/>
              <a:gd name="connsiteY28" fmla="*/ 115118 h 4478160"/>
              <a:gd name="connsiteX29" fmla="*/ 1628348 w 4478158"/>
              <a:gd name="connsiteY29" fmla="*/ 170356 h 4478160"/>
              <a:gd name="connsiteX30" fmla="*/ 1555590 w 4478158"/>
              <a:gd name="connsiteY30" fmla="*/ 291831 h 4478160"/>
              <a:gd name="connsiteX31" fmla="*/ 1461762 w 4478158"/>
              <a:gd name="connsiteY31" fmla="*/ 324651 h 4478160"/>
              <a:gd name="connsiteX32" fmla="*/ 778421 w 4478158"/>
              <a:gd name="connsiteY32" fmla="*/ 778420 h 4478160"/>
              <a:gd name="connsiteX33" fmla="*/ 211210 w 4478158"/>
              <a:gd name="connsiteY33" fmla="*/ 1844547 h 4478160"/>
              <a:gd name="connsiteX34" fmla="*/ 209174 w 4478158"/>
              <a:gd name="connsiteY34" fmla="*/ 1858654 h 4478160"/>
              <a:gd name="connsiteX35" fmla="*/ 137211 w 4478158"/>
              <a:gd name="connsiteY35" fmla="*/ 1755594 h 4478160"/>
              <a:gd name="connsiteX36" fmla="*/ 782918 w 4478158"/>
              <a:gd name="connsiteY36" fmla="*/ 3937235 h 4478160"/>
              <a:gd name="connsiteX37" fmla="*/ 782918 w 4478158"/>
              <a:gd name="connsiteY37" fmla="*/ 3812109 h 4478160"/>
              <a:gd name="connsiteX38" fmla="*/ 902740 w 4478158"/>
              <a:gd name="connsiteY38" fmla="*/ 3812109 h 4478160"/>
              <a:gd name="connsiteX39" fmla="*/ 935306 w 4478158"/>
              <a:gd name="connsiteY39" fmla="*/ 3841544 h 4478160"/>
              <a:gd name="connsiteX40" fmla="*/ 2633614 w 4478158"/>
              <a:gd name="connsiteY40" fmla="*/ 4266952 h 4478160"/>
              <a:gd name="connsiteX41" fmla="*/ 2708498 w 4478158"/>
              <a:gd name="connsiteY41" fmla="*/ 4248668 h 4478160"/>
              <a:gd name="connsiteX42" fmla="*/ 2827208 w 4478158"/>
              <a:gd name="connsiteY42" fmla="*/ 4219684 h 4478160"/>
              <a:gd name="connsiteX43" fmla="*/ 2834453 w 4478158"/>
              <a:gd name="connsiteY43" fmla="*/ 4217151 h 4478160"/>
              <a:gd name="connsiteX44" fmla="*/ 3016398 w 4478158"/>
              <a:gd name="connsiteY44" fmla="*/ 4153510 h 4478160"/>
              <a:gd name="connsiteX45" fmla="*/ 3699739 w 4478158"/>
              <a:gd name="connsiteY45" fmla="*/ 3699741 h 4478160"/>
              <a:gd name="connsiteX46" fmla="*/ 4219683 w 4478158"/>
              <a:gd name="connsiteY46" fmla="*/ 2827210 h 4478160"/>
              <a:gd name="connsiteX47" fmla="*/ 4220115 w 4478158"/>
              <a:gd name="connsiteY47" fmla="*/ 2825438 h 4478160"/>
              <a:gd name="connsiteX48" fmla="*/ 4285103 w 4478158"/>
              <a:gd name="connsiteY48" fmla="*/ 2930098 h 4478160"/>
              <a:gd name="connsiteX49" fmla="*/ 4388551 w 4478158"/>
              <a:gd name="connsiteY49" fmla="*/ 2865864 h 4478160"/>
              <a:gd name="connsiteX50" fmla="*/ 4385936 w 4478158"/>
              <a:gd name="connsiteY50" fmla="*/ 2876577 h 4478160"/>
              <a:gd name="connsiteX51" fmla="*/ 3822347 w 4478158"/>
              <a:gd name="connsiteY51" fmla="*/ 3822349 h 4478160"/>
              <a:gd name="connsiteX52" fmla="*/ 3081647 w 4478158"/>
              <a:gd name="connsiteY52" fmla="*/ 4314208 h 4478160"/>
              <a:gd name="connsiteX53" fmla="*/ 2881320 w 4478158"/>
              <a:gd name="connsiteY53" fmla="*/ 4384278 h 4478160"/>
              <a:gd name="connsiteX54" fmla="*/ 2876575 w 4478158"/>
              <a:gd name="connsiteY54" fmla="*/ 4385937 h 4478160"/>
              <a:gd name="connsiteX55" fmla="*/ 2755884 w 4478158"/>
              <a:gd name="connsiteY55" fmla="*/ 4415405 h 4478160"/>
              <a:gd name="connsiteX56" fmla="*/ 2666730 w 4478158"/>
              <a:gd name="connsiteY56" fmla="*/ 4437172 h 4478160"/>
              <a:gd name="connsiteX57" fmla="*/ 825865 w 4478158"/>
              <a:gd name="connsiteY57" fmla="*/ 3976055 h 4478160"/>
              <a:gd name="connsiteX58" fmla="*/ 655810 w 4478158"/>
              <a:gd name="connsiteY58" fmla="*/ 3822348 h 4478160"/>
              <a:gd name="connsiteX59" fmla="*/ 10247 w 4478158"/>
              <a:gd name="connsiteY59" fmla="*/ 2024458 h 4478160"/>
              <a:gd name="connsiteX60" fmla="*/ 20560 w 4478158"/>
              <a:gd name="connsiteY60" fmla="*/ 1952981 h 4478160"/>
              <a:gd name="connsiteX61" fmla="*/ 20561 w 4478158"/>
              <a:gd name="connsiteY61" fmla="*/ 1952980 h 4478160"/>
              <a:gd name="connsiteX62" fmla="*/ 39166 w 4478158"/>
              <a:gd name="connsiteY62" fmla="*/ 1824056 h 4478160"/>
              <a:gd name="connsiteX63" fmla="*/ 137211 w 4478158"/>
              <a:gd name="connsiteY63" fmla="*/ 1755594 h 4478160"/>
              <a:gd name="connsiteX64" fmla="*/ 209174 w 4478158"/>
              <a:gd name="connsiteY64" fmla="*/ 1858654 h 4478160"/>
              <a:gd name="connsiteX65" fmla="*/ 190837 w 4478158"/>
              <a:gd name="connsiteY65" fmla="*/ 1985725 h 4478160"/>
              <a:gd name="connsiteX66" fmla="*/ 182848 w 4478158"/>
              <a:gd name="connsiteY66" fmla="*/ 2041079 h 4478160"/>
              <a:gd name="connsiteX67" fmla="*/ 778420 w 4478158"/>
              <a:gd name="connsiteY67" fmla="*/ 3699740 h 4478160"/>
              <a:gd name="connsiteX68" fmla="*/ 805619 w 4478158"/>
              <a:gd name="connsiteY68" fmla="*/ 3724324 h 4478160"/>
              <a:gd name="connsiteX69" fmla="*/ 687863 w 4478158"/>
              <a:gd name="connsiteY69" fmla="*/ 3724324 h 4478160"/>
              <a:gd name="connsiteX70" fmla="*/ 687863 w 4478158"/>
              <a:gd name="connsiteY70" fmla="*/ 3851319 h 4478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478158" h="4478160">
                <a:moveTo>
                  <a:pt x="1682508" y="250772"/>
                </a:moveTo>
                <a:lnTo>
                  <a:pt x="1752498" y="133916"/>
                </a:lnTo>
                <a:lnTo>
                  <a:pt x="1659341" y="78120"/>
                </a:lnTo>
                <a:lnTo>
                  <a:pt x="1811428" y="40988"/>
                </a:lnTo>
                <a:cubicBezTo>
                  <a:pt x="2446537" y="-81977"/>
                  <a:pt x="3124622" y="71729"/>
                  <a:pt x="3652293" y="502105"/>
                </a:cubicBezTo>
                <a:lnTo>
                  <a:pt x="3763804" y="602896"/>
                </a:lnTo>
                <a:lnTo>
                  <a:pt x="3822347" y="655811"/>
                </a:lnTo>
                <a:lnTo>
                  <a:pt x="3853919" y="690741"/>
                </a:lnTo>
                <a:lnTo>
                  <a:pt x="3848013" y="792483"/>
                </a:lnTo>
                <a:lnTo>
                  <a:pt x="3848013" y="792484"/>
                </a:lnTo>
                <a:lnTo>
                  <a:pt x="3853919" y="690741"/>
                </a:lnTo>
                <a:lnTo>
                  <a:pt x="3976054" y="825864"/>
                </a:lnTo>
                <a:cubicBezTo>
                  <a:pt x="4406430" y="1353535"/>
                  <a:pt x="4560135" y="2031620"/>
                  <a:pt x="4437170" y="2666730"/>
                </a:cubicBezTo>
                <a:lnTo>
                  <a:pt x="4420751" y="2733981"/>
                </a:lnTo>
                <a:lnTo>
                  <a:pt x="4309537" y="2803038"/>
                </a:lnTo>
                <a:lnTo>
                  <a:pt x="4249278" y="2705993"/>
                </a:lnTo>
                <a:lnTo>
                  <a:pt x="4266950" y="2633613"/>
                </a:lnTo>
                <a:cubicBezTo>
                  <a:pt x="4380392" y="2047687"/>
                  <a:pt x="4238590" y="1422112"/>
                  <a:pt x="3841542" y="935304"/>
                </a:cubicBezTo>
                <a:lnTo>
                  <a:pt x="3704945" y="784179"/>
                </a:lnTo>
                <a:lnTo>
                  <a:pt x="3704944" y="784179"/>
                </a:lnTo>
                <a:lnTo>
                  <a:pt x="3699739" y="778420"/>
                </a:lnTo>
                <a:lnTo>
                  <a:pt x="3602229" y="690284"/>
                </a:lnTo>
                <a:lnTo>
                  <a:pt x="3542854" y="636618"/>
                </a:lnTo>
                <a:cubicBezTo>
                  <a:pt x="3056046" y="239570"/>
                  <a:pt x="2430472" y="97767"/>
                  <a:pt x="1844546" y="211210"/>
                </a:cubicBezTo>
                <a:close/>
                <a:moveTo>
                  <a:pt x="39167" y="1824055"/>
                </a:moveTo>
                <a:lnTo>
                  <a:pt x="40988" y="1811428"/>
                </a:lnTo>
                <a:cubicBezTo>
                  <a:pt x="122964" y="1388022"/>
                  <a:pt x="327906" y="983716"/>
                  <a:pt x="655811" y="655811"/>
                </a:cubicBezTo>
                <a:cubicBezTo>
                  <a:pt x="874415" y="437207"/>
                  <a:pt x="1126975" y="273253"/>
                  <a:pt x="1396512" y="163952"/>
                </a:cubicBezTo>
                <a:lnTo>
                  <a:pt x="1536124" y="115118"/>
                </a:lnTo>
                <a:lnTo>
                  <a:pt x="1628348" y="170356"/>
                </a:lnTo>
                <a:lnTo>
                  <a:pt x="1555590" y="291831"/>
                </a:lnTo>
                <a:lnTo>
                  <a:pt x="1461762" y="324651"/>
                </a:lnTo>
                <a:cubicBezTo>
                  <a:pt x="1213097" y="425489"/>
                  <a:pt x="980096" y="576745"/>
                  <a:pt x="778421" y="778420"/>
                </a:cubicBezTo>
                <a:cubicBezTo>
                  <a:pt x="475908" y="1080933"/>
                  <a:pt x="286838" y="1453928"/>
                  <a:pt x="211210" y="1844547"/>
                </a:cubicBezTo>
                <a:lnTo>
                  <a:pt x="209174" y="1858654"/>
                </a:lnTo>
                <a:lnTo>
                  <a:pt x="137211" y="1755594"/>
                </a:lnTo>
                <a:close/>
                <a:moveTo>
                  <a:pt x="782918" y="3937235"/>
                </a:moveTo>
                <a:lnTo>
                  <a:pt x="782918" y="3812109"/>
                </a:lnTo>
                <a:lnTo>
                  <a:pt x="902740" y="3812109"/>
                </a:lnTo>
                <a:lnTo>
                  <a:pt x="935306" y="3841544"/>
                </a:lnTo>
                <a:cubicBezTo>
                  <a:pt x="1422114" y="4238590"/>
                  <a:pt x="2047687" y="4380394"/>
                  <a:pt x="2633614" y="4266952"/>
                </a:cubicBezTo>
                <a:lnTo>
                  <a:pt x="2708498" y="4248668"/>
                </a:lnTo>
                <a:lnTo>
                  <a:pt x="2827208" y="4219684"/>
                </a:lnTo>
                <a:lnTo>
                  <a:pt x="2834453" y="4217151"/>
                </a:lnTo>
                <a:lnTo>
                  <a:pt x="3016398" y="4153510"/>
                </a:lnTo>
                <a:cubicBezTo>
                  <a:pt x="3265063" y="4052672"/>
                  <a:pt x="3498064" y="3901416"/>
                  <a:pt x="3699739" y="3699741"/>
                </a:cubicBezTo>
                <a:cubicBezTo>
                  <a:pt x="3951833" y="3447647"/>
                  <a:pt x="4125148" y="3146606"/>
                  <a:pt x="4219683" y="2827210"/>
                </a:cubicBezTo>
                <a:lnTo>
                  <a:pt x="4220115" y="2825438"/>
                </a:lnTo>
                <a:lnTo>
                  <a:pt x="4285103" y="2930098"/>
                </a:lnTo>
                <a:lnTo>
                  <a:pt x="4388551" y="2865864"/>
                </a:lnTo>
                <a:lnTo>
                  <a:pt x="4385936" y="2876577"/>
                </a:lnTo>
                <a:cubicBezTo>
                  <a:pt x="4283465" y="3222784"/>
                  <a:pt x="4095602" y="3549094"/>
                  <a:pt x="3822347" y="3822349"/>
                </a:cubicBezTo>
                <a:cubicBezTo>
                  <a:pt x="3603744" y="4040953"/>
                  <a:pt x="3351184" y="4204906"/>
                  <a:pt x="3081647" y="4314208"/>
                </a:cubicBezTo>
                <a:lnTo>
                  <a:pt x="2881320" y="4384278"/>
                </a:lnTo>
                <a:lnTo>
                  <a:pt x="2876575" y="4385937"/>
                </a:lnTo>
                <a:lnTo>
                  <a:pt x="2755884" y="4415405"/>
                </a:lnTo>
                <a:lnTo>
                  <a:pt x="2666730" y="4437172"/>
                </a:lnTo>
                <a:cubicBezTo>
                  <a:pt x="2031621" y="4560137"/>
                  <a:pt x="1353537" y="4406430"/>
                  <a:pt x="825865" y="3976055"/>
                </a:cubicBezTo>
                <a:close/>
                <a:moveTo>
                  <a:pt x="655810" y="3822348"/>
                </a:moveTo>
                <a:cubicBezTo>
                  <a:pt x="163953" y="3330490"/>
                  <a:pt x="-51237" y="2666730"/>
                  <a:pt x="10247" y="2024458"/>
                </a:cubicBezTo>
                <a:lnTo>
                  <a:pt x="20560" y="1952981"/>
                </a:lnTo>
                <a:lnTo>
                  <a:pt x="20561" y="1952980"/>
                </a:lnTo>
                <a:lnTo>
                  <a:pt x="39166" y="1824056"/>
                </a:lnTo>
                <a:lnTo>
                  <a:pt x="137211" y="1755594"/>
                </a:lnTo>
                <a:lnTo>
                  <a:pt x="209174" y="1858654"/>
                </a:lnTo>
                <a:lnTo>
                  <a:pt x="190837" y="1985725"/>
                </a:lnTo>
                <a:lnTo>
                  <a:pt x="182848" y="2041079"/>
                </a:lnTo>
                <a:cubicBezTo>
                  <a:pt x="126127" y="2633613"/>
                  <a:pt x="324652" y="3245971"/>
                  <a:pt x="778420" y="3699740"/>
                </a:cubicBezTo>
                <a:lnTo>
                  <a:pt x="805619" y="3724324"/>
                </a:lnTo>
                <a:lnTo>
                  <a:pt x="687863" y="3724324"/>
                </a:lnTo>
                <a:lnTo>
                  <a:pt x="687863" y="3851319"/>
                </a:lnTo>
                <a:close/>
              </a:path>
            </a:pathLst>
          </a:custGeom>
          <a:solidFill>
            <a:schemeClr val="bg1">
              <a:lumMod val="75000"/>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12" name="TextBox 11">
            <a:extLst>
              <a:ext uri="{FF2B5EF4-FFF2-40B4-BE49-F238E27FC236}">
                <a16:creationId xmlns:a16="http://schemas.microsoft.com/office/drawing/2014/main" id="{CE1B6C43-A200-4158-99F3-90B1BBDEC2D9}"/>
              </a:ext>
            </a:extLst>
          </p:cNvPr>
          <p:cNvSpPr txBox="1"/>
          <p:nvPr/>
        </p:nvSpPr>
        <p:spPr>
          <a:xfrm rot="3101169">
            <a:off x="5861527" y="1330472"/>
            <a:ext cx="1510792" cy="376684"/>
          </a:xfrm>
          <a:prstGeom prst="rect">
            <a:avLst/>
          </a:prstGeom>
          <a:noFill/>
        </p:spPr>
        <p:txBody>
          <a:bodyPr wrap="none" rtlCol="0">
            <a:prstTxWarp prst="textArchUp">
              <a:avLst/>
            </a:prstTxWarp>
            <a:spAutoFit/>
          </a:bodyPr>
          <a:lstStyle/>
          <a:p>
            <a:pPr algn="ctr" defTabSz="932649">
              <a:defRPr/>
            </a:pPr>
            <a:r>
              <a:rPr lang="en-CA" sz="1836">
                <a:solidFill>
                  <a:srgbClr val="000000"/>
                </a:solidFill>
                <a:latin typeface="Segoe UI"/>
              </a:rPr>
              <a:t>UNDERSTAND</a:t>
            </a:r>
          </a:p>
        </p:txBody>
      </p:sp>
      <p:sp>
        <p:nvSpPr>
          <p:cNvPr id="149" name="TextBox 148">
            <a:extLst>
              <a:ext uri="{FF2B5EF4-FFF2-40B4-BE49-F238E27FC236}">
                <a16:creationId xmlns:a16="http://schemas.microsoft.com/office/drawing/2014/main" id="{C38B9824-2B56-40C3-A86F-36F9996F5ED8}"/>
              </a:ext>
            </a:extLst>
          </p:cNvPr>
          <p:cNvSpPr txBox="1"/>
          <p:nvPr/>
        </p:nvSpPr>
        <p:spPr>
          <a:xfrm>
            <a:off x="3617062" y="6245487"/>
            <a:ext cx="1510792" cy="376684"/>
          </a:xfrm>
          <a:prstGeom prst="rect">
            <a:avLst/>
          </a:prstGeom>
          <a:noFill/>
        </p:spPr>
        <p:txBody>
          <a:bodyPr wrap="none" rtlCol="0">
            <a:prstTxWarp prst="textArchDown">
              <a:avLst>
                <a:gd name="adj" fmla="val 938077"/>
              </a:avLst>
            </a:prstTxWarp>
            <a:spAutoFit/>
          </a:bodyPr>
          <a:lstStyle/>
          <a:p>
            <a:pPr algn="ctr" defTabSz="932649">
              <a:defRPr/>
            </a:pPr>
            <a:r>
              <a:rPr lang="en-CA" sz="1836">
                <a:solidFill>
                  <a:srgbClr val="000000"/>
                </a:solidFill>
                <a:latin typeface="Segoe UI"/>
              </a:rPr>
              <a:t>EXPLORE</a:t>
            </a:r>
          </a:p>
        </p:txBody>
      </p:sp>
      <p:sp>
        <p:nvSpPr>
          <p:cNvPr id="150" name="TextBox 149">
            <a:extLst>
              <a:ext uri="{FF2B5EF4-FFF2-40B4-BE49-F238E27FC236}">
                <a16:creationId xmlns:a16="http://schemas.microsoft.com/office/drawing/2014/main" id="{D23C2F4F-480F-4D85-91F5-596D114FA5CB}"/>
              </a:ext>
            </a:extLst>
          </p:cNvPr>
          <p:cNvSpPr txBox="1"/>
          <p:nvPr/>
        </p:nvSpPr>
        <p:spPr>
          <a:xfrm rot="18074945">
            <a:off x="1023248" y="1637347"/>
            <a:ext cx="1510792" cy="376684"/>
          </a:xfrm>
          <a:prstGeom prst="rect">
            <a:avLst/>
          </a:prstGeom>
          <a:noFill/>
        </p:spPr>
        <p:txBody>
          <a:bodyPr wrap="none" rtlCol="0">
            <a:prstTxWarp prst="textArchUp">
              <a:avLst/>
            </a:prstTxWarp>
            <a:spAutoFit/>
          </a:bodyPr>
          <a:lstStyle/>
          <a:p>
            <a:pPr algn="ctr" defTabSz="932649">
              <a:defRPr/>
            </a:pPr>
            <a:r>
              <a:rPr lang="en-CA" sz="1836">
                <a:solidFill>
                  <a:srgbClr val="000000"/>
                </a:solidFill>
                <a:latin typeface="Segoe UI"/>
              </a:rPr>
              <a:t>MATERIALIZE</a:t>
            </a:r>
          </a:p>
        </p:txBody>
      </p:sp>
      <p:grpSp>
        <p:nvGrpSpPr>
          <p:cNvPr id="67" name="Group 66">
            <a:extLst>
              <a:ext uri="{FF2B5EF4-FFF2-40B4-BE49-F238E27FC236}">
                <a16:creationId xmlns:a16="http://schemas.microsoft.com/office/drawing/2014/main" id="{34B5EA52-5A37-49C5-9C76-491779686EC8}"/>
              </a:ext>
            </a:extLst>
          </p:cNvPr>
          <p:cNvGrpSpPr/>
          <p:nvPr/>
        </p:nvGrpSpPr>
        <p:grpSpPr>
          <a:xfrm>
            <a:off x="1029224" y="103520"/>
            <a:ext cx="6491096" cy="6544649"/>
            <a:chOff x="3326931" y="650008"/>
            <a:chExt cx="5396156" cy="5440679"/>
          </a:xfrm>
        </p:grpSpPr>
        <p:sp>
          <p:nvSpPr>
            <p:cNvPr id="68" name="Freeform: Shape 67">
              <a:extLst>
                <a:ext uri="{FF2B5EF4-FFF2-40B4-BE49-F238E27FC236}">
                  <a16:creationId xmlns:a16="http://schemas.microsoft.com/office/drawing/2014/main" id="{291359F3-1753-4797-9E51-694D0B3D9228}"/>
                </a:ext>
              </a:extLst>
            </p:cNvPr>
            <p:cNvSpPr/>
            <p:nvPr/>
          </p:nvSpPr>
          <p:spPr>
            <a:xfrm rot="8100000">
              <a:off x="6500581" y="650008"/>
              <a:ext cx="805620" cy="1967534"/>
            </a:xfrm>
            <a:custGeom>
              <a:avLst/>
              <a:gdLst>
                <a:gd name="connsiteX0" fmla="*/ 655812 w 805620"/>
                <a:gd name="connsiteY0" fmla="*/ 1938563 h 1967534"/>
                <a:gd name="connsiteX1" fmla="*/ 10248 w 805620"/>
                <a:gd name="connsiteY1" fmla="*/ 140673 h 1967534"/>
                <a:gd name="connsiteX2" fmla="*/ 20562 w 805620"/>
                <a:gd name="connsiteY2" fmla="*/ 69196 h 1967534"/>
                <a:gd name="connsiteX3" fmla="*/ 119657 w 805620"/>
                <a:gd name="connsiteY3" fmla="*/ 0 h 1967534"/>
                <a:gd name="connsiteX4" fmla="*/ 190838 w 805620"/>
                <a:gd name="connsiteY4" fmla="*/ 101940 h 1967534"/>
                <a:gd name="connsiteX5" fmla="*/ 182850 w 805620"/>
                <a:gd name="connsiteY5" fmla="*/ 157294 h 1967534"/>
                <a:gd name="connsiteX6" fmla="*/ 778422 w 805620"/>
                <a:gd name="connsiteY6" fmla="*/ 1815955 h 1967534"/>
                <a:gd name="connsiteX7" fmla="*/ 805620 w 805620"/>
                <a:gd name="connsiteY7" fmla="*/ 1840539 h 1967534"/>
                <a:gd name="connsiteX8" fmla="*/ 687865 w 805620"/>
                <a:gd name="connsiteY8" fmla="*/ 1840539 h 1967534"/>
                <a:gd name="connsiteX9" fmla="*/ 687865 w 805620"/>
                <a:gd name="connsiteY9" fmla="*/ 1967534 h 1967534"/>
                <a:gd name="connsiteX10" fmla="*/ 655812 w 805620"/>
                <a:gd name="connsiteY10" fmla="*/ 1938563 h 1967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05620" h="1967534">
                  <a:moveTo>
                    <a:pt x="655812" y="1938563"/>
                  </a:moveTo>
                  <a:cubicBezTo>
                    <a:pt x="163954" y="1446705"/>
                    <a:pt x="-51235" y="782945"/>
                    <a:pt x="10248" y="140673"/>
                  </a:cubicBezTo>
                  <a:lnTo>
                    <a:pt x="20562" y="69196"/>
                  </a:lnTo>
                  <a:lnTo>
                    <a:pt x="119657" y="0"/>
                  </a:lnTo>
                  <a:lnTo>
                    <a:pt x="190838" y="101940"/>
                  </a:lnTo>
                  <a:lnTo>
                    <a:pt x="182850" y="157294"/>
                  </a:lnTo>
                  <a:cubicBezTo>
                    <a:pt x="126129" y="749828"/>
                    <a:pt x="324653" y="1362186"/>
                    <a:pt x="778422" y="1815955"/>
                  </a:cubicBezTo>
                  <a:lnTo>
                    <a:pt x="805620" y="1840539"/>
                  </a:lnTo>
                  <a:lnTo>
                    <a:pt x="687865" y="1840539"/>
                  </a:lnTo>
                  <a:lnTo>
                    <a:pt x="687865" y="1967534"/>
                  </a:lnTo>
                  <a:lnTo>
                    <a:pt x="655812" y="1938563"/>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649">
                <a:defRPr/>
              </a:pPr>
              <a:endParaRPr lang="en-CA" sz="1836">
                <a:solidFill>
                  <a:srgbClr val="000000"/>
                </a:solidFill>
                <a:latin typeface="Segoe UI"/>
              </a:endParaRPr>
            </a:p>
          </p:txBody>
        </p:sp>
        <p:sp>
          <p:nvSpPr>
            <p:cNvPr id="69" name="Freeform: Shape 68">
              <a:extLst>
                <a:ext uri="{FF2B5EF4-FFF2-40B4-BE49-F238E27FC236}">
                  <a16:creationId xmlns:a16="http://schemas.microsoft.com/office/drawing/2014/main" id="{82FD66C1-F33A-41BE-8A8F-B9C64D4A6674}"/>
                </a:ext>
              </a:extLst>
            </p:cNvPr>
            <p:cNvSpPr/>
            <p:nvPr/>
          </p:nvSpPr>
          <p:spPr>
            <a:xfrm rot="8100000">
              <a:off x="4047195" y="1363690"/>
              <a:ext cx="1972966" cy="666051"/>
            </a:xfrm>
            <a:custGeom>
              <a:avLst/>
              <a:gdLst>
                <a:gd name="connsiteX0" fmla="*/ 0 w 1972966"/>
                <a:gd name="connsiteY0" fmla="*/ 125127 h 666051"/>
                <a:gd name="connsiteX1" fmla="*/ 0 w 1972966"/>
                <a:gd name="connsiteY1" fmla="*/ 0 h 666051"/>
                <a:gd name="connsiteX2" fmla="*/ 119822 w 1972966"/>
                <a:gd name="connsiteY2" fmla="*/ 0 h 666051"/>
                <a:gd name="connsiteX3" fmla="*/ 152388 w 1972966"/>
                <a:gd name="connsiteY3" fmla="*/ 29435 h 666051"/>
                <a:gd name="connsiteX4" fmla="*/ 1850696 w 1972966"/>
                <a:gd name="connsiteY4" fmla="*/ 454843 h 666051"/>
                <a:gd name="connsiteX5" fmla="*/ 1925581 w 1972966"/>
                <a:gd name="connsiteY5" fmla="*/ 436559 h 666051"/>
                <a:gd name="connsiteX6" fmla="*/ 1863309 w 1972966"/>
                <a:gd name="connsiteY6" fmla="*/ 530959 h 666051"/>
                <a:gd name="connsiteX7" fmla="*/ 1972966 w 1972966"/>
                <a:gd name="connsiteY7" fmla="*/ 603296 h 666051"/>
                <a:gd name="connsiteX8" fmla="*/ 1883812 w 1972966"/>
                <a:gd name="connsiteY8" fmla="*/ 625063 h 666051"/>
                <a:gd name="connsiteX9" fmla="*/ 42947 w 1972966"/>
                <a:gd name="connsiteY9" fmla="*/ 163946 h 666051"/>
                <a:gd name="connsiteX10" fmla="*/ 0 w 1972966"/>
                <a:gd name="connsiteY10" fmla="*/ 125127 h 66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72966" h="666051">
                  <a:moveTo>
                    <a:pt x="0" y="125127"/>
                  </a:moveTo>
                  <a:lnTo>
                    <a:pt x="0" y="0"/>
                  </a:lnTo>
                  <a:lnTo>
                    <a:pt x="119822" y="0"/>
                  </a:lnTo>
                  <a:lnTo>
                    <a:pt x="152388" y="29435"/>
                  </a:lnTo>
                  <a:cubicBezTo>
                    <a:pt x="639196" y="426482"/>
                    <a:pt x="1264769" y="568285"/>
                    <a:pt x="1850696" y="454843"/>
                  </a:cubicBezTo>
                  <a:lnTo>
                    <a:pt x="1925581" y="436559"/>
                  </a:lnTo>
                  <a:lnTo>
                    <a:pt x="1863309" y="530959"/>
                  </a:lnTo>
                  <a:lnTo>
                    <a:pt x="1972966" y="603296"/>
                  </a:lnTo>
                  <a:lnTo>
                    <a:pt x="1883812" y="625063"/>
                  </a:lnTo>
                  <a:cubicBezTo>
                    <a:pt x="1248703" y="748028"/>
                    <a:pt x="570619" y="594322"/>
                    <a:pt x="42947" y="163946"/>
                  </a:cubicBezTo>
                  <a:lnTo>
                    <a:pt x="0" y="125127"/>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70" name="Freeform: Shape 69">
              <a:extLst>
                <a:ext uri="{FF2B5EF4-FFF2-40B4-BE49-F238E27FC236}">
                  <a16:creationId xmlns:a16="http://schemas.microsoft.com/office/drawing/2014/main" id="{E52549D2-C16D-4375-A4E0-557473615B77}"/>
                </a:ext>
              </a:extLst>
            </p:cNvPr>
            <p:cNvSpPr/>
            <p:nvPr/>
          </p:nvSpPr>
          <p:spPr>
            <a:xfrm rot="8100000">
              <a:off x="7133906" y="2396566"/>
              <a:ext cx="1589181" cy="1743535"/>
            </a:xfrm>
            <a:custGeom>
              <a:avLst/>
              <a:gdLst>
                <a:gd name="connsiteX0" fmla="*/ 0 w 1589181"/>
                <a:gd name="connsiteY0" fmla="*/ 1708937 h 1743535"/>
                <a:gd name="connsiteX1" fmla="*/ 1822 w 1589181"/>
                <a:gd name="connsiteY1" fmla="*/ 1696310 h 1743535"/>
                <a:gd name="connsiteX2" fmla="*/ 616645 w 1589181"/>
                <a:gd name="connsiteY2" fmla="*/ 540692 h 1743535"/>
                <a:gd name="connsiteX3" fmla="*/ 1357346 w 1589181"/>
                <a:gd name="connsiteY3" fmla="*/ 48833 h 1743535"/>
                <a:gd name="connsiteX4" fmla="*/ 1496957 w 1589181"/>
                <a:gd name="connsiteY4" fmla="*/ 0 h 1743535"/>
                <a:gd name="connsiteX5" fmla="*/ 1589181 w 1589181"/>
                <a:gd name="connsiteY5" fmla="*/ 55238 h 1743535"/>
                <a:gd name="connsiteX6" fmla="*/ 1516424 w 1589181"/>
                <a:gd name="connsiteY6" fmla="*/ 176713 h 1743535"/>
                <a:gd name="connsiteX7" fmla="*/ 1422596 w 1589181"/>
                <a:gd name="connsiteY7" fmla="*/ 209533 h 1743535"/>
                <a:gd name="connsiteX8" fmla="*/ 739255 w 1589181"/>
                <a:gd name="connsiteY8" fmla="*/ 663301 h 1743535"/>
                <a:gd name="connsiteX9" fmla="*/ 172044 w 1589181"/>
                <a:gd name="connsiteY9" fmla="*/ 1729428 h 1743535"/>
                <a:gd name="connsiteX10" fmla="*/ 170008 w 1589181"/>
                <a:gd name="connsiteY10" fmla="*/ 1743535 h 1743535"/>
                <a:gd name="connsiteX11" fmla="*/ 98045 w 1589181"/>
                <a:gd name="connsiteY11" fmla="*/ 1640475 h 1743535"/>
                <a:gd name="connsiteX12" fmla="*/ 0 w 1589181"/>
                <a:gd name="connsiteY12" fmla="*/ 1708937 h 1743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89181" h="1743535">
                  <a:moveTo>
                    <a:pt x="0" y="1708937"/>
                  </a:moveTo>
                  <a:lnTo>
                    <a:pt x="1822" y="1696310"/>
                  </a:lnTo>
                  <a:cubicBezTo>
                    <a:pt x="83798" y="1272904"/>
                    <a:pt x="288739" y="868598"/>
                    <a:pt x="616645" y="540692"/>
                  </a:cubicBezTo>
                  <a:cubicBezTo>
                    <a:pt x="835249" y="322088"/>
                    <a:pt x="1087809" y="158135"/>
                    <a:pt x="1357346" y="48833"/>
                  </a:cubicBezTo>
                  <a:lnTo>
                    <a:pt x="1496957" y="0"/>
                  </a:lnTo>
                  <a:lnTo>
                    <a:pt x="1589181" y="55238"/>
                  </a:lnTo>
                  <a:lnTo>
                    <a:pt x="1516424" y="176713"/>
                  </a:lnTo>
                  <a:lnTo>
                    <a:pt x="1422596" y="209533"/>
                  </a:lnTo>
                  <a:cubicBezTo>
                    <a:pt x="1173931" y="310370"/>
                    <a:pt x="940930" y="461626"/>
                    <a:pt x="739255" y="663301"/>
                  </a:cubicBezTo>
                  <a:cubicBezTo>
                    <a:pt x="436742" y="965814"/>
                    <a:pt x="247672" y="1338810"/>
                    <a:pt x="172044" y="1729428"/>
                  </a:cubicBezTo>
                  <a:lnTo>
                    <a:pt x="170008" y="1743535"/>
                  </a:lnTo>
                  <a:lnTo>
                    <a:pt x="98045" y="1640475"/>
                  </a:lnTo>
                  <a:lnTo>
                    <a:pt x="0" y="1708937"/>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649">
                <a:defRPr/>
              </a:pPr>
              <a:endParaRPr lang="en-CA" sz="1836">
                <a:solidFill>
                  <a:srgbClr val="000000"/>
                </a:solidFill>
                <a:latin typeface="Segoe UI"/>
              </a:endParaRPr>
            </a:p>
          </p:txBody>
        </p:sp>
        <p:sp>
          <p:nvSpPr>
            <p:cNvPr id="71" name="Freeform: Shape 70">
              <a:extLst>
                <a:ext uri="{FF2B5EF4-FFF2-40B4-BE49-F238E27FC236}">
                  <a16:creationId xmlns:a16="http://schemas.microsoft.com/office/drawing/2014/main" id="{BBA1B614-0606-4314-82AA-2978FAE9E4DB}"/>
                </a:ext>
              </a:extLst>
            </p:cNvPr>
            <p:cNvSpPr/>
            <p:nvPr/>
          </p:nvSpPr>
          <p:spPr>
            <a:xfrm rot="8100000">
              <a:off x="3326931" y="2579755"/>
              <a:ext cx="1616707" cy="1558840"/>
            </a:xfrm>
            <a:custGeom>
              <a:avLst/>
              <a:gdLst>
                <a:gd name="connsiteX0" fmla="*/ 0 w 1616707"/>
                <a:gd name="connsiteY0" fmla="*/ 1486622 h 1558840"/>
                <a:gd name="connsiteX1" fmla="*/ 62608 w 1616707"/>
                <a:gd name="connsiteY1" fmla="*/ 1391713 h 1558840"/>
                <a:gd name="connsiteX2" fmla="*/ 244554 w 1616707"/>
                <a:gd name="connsiteY2" fmla="*/ 1328072 h 1558840"/>
                <a:gd name="connsiteX3" fmla="*/ 927895 w 1616707"/>
                <a:gd name="connsiteY3" fmla="*/ 874303 h 1558840"/>
                <a:gd name="connsiteX4" fmla="*/ 1447839 w 1616707"/>
                <a:gd name="connsiteY4" fmla="*/ 1772 h 1558840"/>
                <a:gd name="connsiteX5" fmla="*/ 1448271 w 1616707"/>
                <a:gd name="connsiteY5" fmla="*/ 0 h 1558840"/>
                <a:gd name="connsiteX6" fmla="*/ 1513259 w 1616707"/>
                <a:gd name="connsiteY6" fmla="*/ 104660 h 1558840"/>
                <a:gd name="connsiteX7" fmla="*/ 1616707 w 1616707"/>
                <a:gd name="connsiteY7" fmla="*/ 40426 h 1558840"/>
                <a:gd name="connsiteX8" fmla="*/ 1614092 w 1616707"/>
                <a:gd name="connsiteY8" fmla="*/ 51139 h 1558840"/>
                <a:gd name="connsiteX9" fmla="*/ 1050503 w 1616707"/>
                <a:gd name="connsiteY9" fmla="*/ 996911 h 1558840"/>
                <a:gd name="connsiteX10" fmla="*/ 309803 w 1616707"/>
                <a:gd name="connsiteY10" fmla="*/ 1488770 h 1558840"/>
                <a:gd name="connsiteX11" fmla="*/ 109476 w 1616707"/>
                <a:gd name="connsiteY11" fmla="*/ 1558840 h 1558840"/>
                <a:gd name="connsiteX12" fmla="*/ 0 w 1616707"/>
                <a:gd name="connsiteY12" fmla="*/ 1486622 h 1558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16707" h="1558840">
                  <a:moveTo>
                    <a:pt x="0" y="1486622"/>
                  </a:moveTo>
                  <a:lnTo>
                    <a:pt x="62608" y="1391713"/>
                  </a:lnTo>
                  <a:lnTo>
                    <a:pt x="244554" y="1328072"/>
                  </a:lnTo>
                  <a:cubicBezTo>
                    <a:pt x="493219" y="1227234"/>
                    <a:pt x="726220" y="1075978"/>
                    <a:pt x="927895" y="874303"/>
                  </a:cubicBezTo>
                  <a:cubicBezTo>
                    <a:pt x="1179989" y="622209"/>
                    <a:pt x="1353304" y="321168"/>
                    <a:pt x="1447839" y="1772"/>
                  </a:cubicBezTo>
                  <a:lnTo>
                    <a:pt x="1448271" y="0"/>
                  </a:lnTo>
                  <a:lnTo>
                    <a:pt x="1513259" y="104660"/>
                  </a:lnTo>
                  <a:lnTo>
                    <a:pt x="1616707" y="40426"/>
                  </a:lnTo>
                  <a:lnTo>
                    <a:pt x="1614092" y="51139"/>
                  </a:lnTo>
                  <a:cubicBezTo>
                    <a:pt x="1511621" y="397346"/>
                    <a:pt x="1323758" y="723656"/>
                    <a:pt x="1050503" y="996911"/>
                  </a:cubicBezTo>
                  <a:cubicBezTo>
                    <a:pt x="831900" y="1215515"/>
                    <a:pt x="579340" y="1379468"/>
                    <a:pt x="309803" y="1488770"/>
                  </a:cubicBezTo>
                  <a:lnTo>
                    <a:pt x="109476" y="1558840"/>
                  </a:lnTo>
                  <a:lnTo>
                    <a:pt x="0" y="1486622"/>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72" name="Freeform: Shape 71">
              <a:extLst>
                <a:ext uri="{FF2B5EF4-FFF2-40B4-BE49-F238E27FC236}">
                  <a16:creationId xmlns:a16="http://schemas.microsoft.com/office/drawing/2014/main" id="{8ADFD8DD-C342-4EDC-8001-A38523440108}"/>
                </a:ext>
              </a:extLst>
            </p:cNvPr>
            <p:cNvSpPr/>
            <p:nvPr/>
          </p:nvSpPr>
          <p:spPr>
            <a:xfrm rot="8100000">
              <a:off x="5999029" y="4697061"/>
              <a:ext cx="2104462" cy="699340"/>
            </a:xfrm>
            <a:custGeom>
              <a:avLst/>
              <a:gdLst>
                <a:gd name="connsiteX0" fmla="*/ 23166 w 2104462"/>
                <a:gd name="connsiteY0" fmla="*/ 250773 h 699340"/>
                <a:gd name="connsiteX1" fmla="*/ 93156 w 2104462"/>
                <a:gd name="connsiteY1" fmla="*/ 133917 h 699340"/>
                <a:gd name="connsiteX2" fmla="*/ 0 w 2104462"/>
                <a:gd name="connsiteY2" fmla="*/ 78121 h 699340"/>
                <a:gd name="connsiteX3" fmla="*/ 152086 w 2104462"/>
                <a:gd name="connsiteY3" fmla="*/ 40989 h 699340"/>
                <a:gd name="connsiteX4" fmla="*/ 1992951 w 2104462"/>
                <a:gd name="connsiteY4" fmla="*/ 502106 h 699340"/>
                <a:gd name="connsiteX5" fmla="*/ 2104462 w 2104462"/>
                <a:gd name="connsiteY5" fmla="*/ 602897 h 699340"/>
                <a:gd name="connsiteX6" fmla="*/ 2098864 w 2104462"/>
                <a:gd name="connsiteY6" fmla="*/ 699340 h 699340"/>
                <a:gd name="connsiteX7" fmla="*/ 1942887 w 2104462"/>
                <a:gd name="connsiteY7" fmla="*/ 690285 h 699340"/>
                <a:gd name="connsiteX8" fmla="*/ 1883512 w 2104462"/>
                <a:gd name="connsiteY8" fmla="*/ 636619 h 699340"/>
                <a:gd name="connsiteX9" fmla="*/ 185204 w 2104462"/>
                <a:gd name="connsiteY9" fmla="*/ 211211 h 699340"/>
                <a:gd name="connsiteX10" fmla="*/ 23166 w 2104462"/>
                <a:gd name="connsiteY10" fmla="*/ 250773 h 699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04462" h="699340">
                  <a:moveTo>
                    <a:pt x="23166" y="250773"/>
                  </a:moveTo>
                  <a:lnTo>
                    <a:pt x="93156" y="133917"/>
                  </a:lnTo>
                  <a:lnTo>
                    <a:pt x="0" y="78121"/>
                  </a:lnTo>
                  <a:lnTo>
                    <a:pt x="152086" y="40989"/>
                  </a:lnTo>
                  <a:cubicBezTo>
                    <a:pt x="787195" y="-81976"/>
                    <a:pt x="1465280" y="71730"/>
                    <a:pt x="1992951" y="502106"/>
                  </a:cubicBezTo>
                  <a:lnTo>
                    <a:pt x="2104462" y="602897"/>
                  </a:lnTo>
                  <a:lnTo>
                    <a:pt x="2098864" y="699340"/>
                  </a:lnTo>
                  <a:lnTo>
                    <a:pt x="1942887" y="690285"/>
                  </a:lnTo>
                  <a:lnTo>
                    <a:pt x="1883512" y="636619"/>
                  </a:lnTo>
                  <a:cubicBezTo>
                    <a:pt x="1396704" y="239571"/>
                    <a:pt x="771130" y="97768"/>
                    <a:pt x="185204" y="211211"/>
                  </a:cubicBezTo>
                  <a:lnTo>
                    <a:pt x="23166" y="250773"/>
                  </a:lnTo>
                  <a:close/>
                </a:path>
              </a:pathLst>
            </a:cu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73" name="Freeform: Shape 72">
              <a:extLst>
                <a:ext uri="{FF2B5EF4-FFF2-40B4-BE49-F238E27FC236}">
                  <a16:creationId xmlns:a16="http://schemas.microsoft.com/office/drawing/2014/main" id="{C90FE649-BD73-4034-BF74-90320FD34AF0}"/>
                </a:ext>
              </a:extLst>
            </p:cNvPr>
            <p:cNvSpPr/>
            <p:nvPr/>
          </p:nvSpPr>
          <p:spPr>
            <a:xfrm rot="8100000">
              <a:off x="4700877" y="3978390"/>
              <a:ext cx="773214" cy="2112297"/>
            </a:xfrm>
            <a:custGeom>
              <a:avLst/>
              <a:gdLst>
                <a:gd name="connsiteX0" fmla="*/ 604593 w 773214"/>
                <a:gd name="connsiteY0" fmla="*/ 2112297 h 2112297"/>
                <a:gd name="connsiteX1" fmla="*/ 544334 w 773214"/>
                <a:gd name="connsiteY1" fmla="*/ 2015252 h 2112297"/>
                <a:gd name="connsiteX2" fmla="*/ 562006 w 773214"/>
                <a:gd name="connsiteY2" fmla="*/ 1942872 h 2112297"/>
                <a:gd name="connsiteX3" fmla="*/ 136598 w 773214"/>
                <a:gd name="connsiteY3" fmla="*/ 244564 h 2112297"/>
                <a:gd name="connsiteX4" fmla="*/ 0 w 773214"/>
                <a:gd name="connsiteY4" fmla="*/ 93438 h 2112297"/>
                <a:gd name="connsiteX5" fmla="*/ 143069 w 773214"/>
                <a:gd name="connsiteY5" fmla="*/ 101743 h 2112297"/>
                <a:gd name="connsiteX6" fmla="*/ 148975 w 773214"/>
                <a:gd name="connsiteY6" fmla="*/ 0 h 2112297"/>
                <a:gd name="connsiteX7" fmla="*/ 271109 w 773214"/>
                <a:gd name="connsiteY7" fmla="*/ 135124 h 2112297"/>
                <a:gd name="connsiteX8" fmla="*/ 732226 w 773214"/>
                <a:gd name="connsiteY8" fmla="*/ 1975989 h 2112297"/>
                <a:gd name="connsiteX9" fmla="*/ 715807 w 773214"/>
                <a:gd name="connsiteY9" fmla="*/ 2043240 h 2112297"/>
                <a:gd name="connsiteX10" fmla="*/ 604593 w 773214"/>
                <a:gd name="connsiteY10" fmla="*/ 2112297 h 2112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3214" h="2112297">
                  <a:moveTo>
                    <a:pt x="604593" y="2112297"/>
                  </a:moveTo>
                  <a:lnTo>
                    <a:pt x="544334" y="2015252"/>
                  </a:lnTo>
                  <a:lnTo>
                    <a:pt x="562006" y="1942872"/>
                  </a:lnTo>
                  <a:cubicBezTo>
                    <a:pt x="675448" y="1356946"/>
                    <a:pt x="533646" y="731372"/>
                    <a:pt x="136598" y="244564"/>
                  </a:cubicBezTo>
                  <a:lnTo>
                    <a:pt x="0" y="93438"/>
                  </a:lnTo>
                  <a:lnTo>
                    <a:pt x="143069" y="101743"/>
                  </a:lnTo>
                  <a:lnTo>
                    <a:pt x="148975" y="0"/>
                  </a:lnTo>
                  <a:lnTo>
                    <a:pt x="271109" y="135124"/>
                  </a:lnTo>
                  <a:cubicBezTo>
                    <a:pt x="701486" y="662795"/>
                    <a:pt x="855191" y="1340880"/>
                    <a:pt x="732226" y="1975989"/>
                  </a:cubicBezTo>
                  <a:lnTo>
                    <a:pt x="715807" y="2043240"/>
                  </a:lnTo>
                  <a:lnTo>
                    <a:pt x="604593" y="2112297"/>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grpSp>
      <p:grpSp>
        <p:nvGrpSpPr>
          <p:cNvPr id="79" name="Group 78">
            <a:extLst>
              <a:ext uri="{FF2B5EF4-FFF2-40B4-BE49-F238E27FC236}">
                <a16:creationId xmlns:a16="http://schemas.microsoft.com/office/drawing/2014/main" id="{41005985-A9E1-4FB7-B3F2-CAA00A4A6111}"/>
              </a:ext>
            </a:extLst>
          </p:cNvPr>
          <p:cNvGrpSpPr/>
          <p:nvPr/>
        </p:nvGrpSpPr>
        <p:grpSpPr>
          <a:xfrm>
            <a:off x="7900885" y="540674"/>
            <a:ext cx="3882945" cy="2604899"/>
            <a:chOff x="665628" y="2493869"/>
            <a:chExt cx="2572872" cy="2554381"/>
          </a:xfrm>
        </p:grpSpPr>
        <p:sp>
          <p:nvSpPr>
            <p:cNvPr id="80" name="Rectangle: Rounded Corners 79">
              <a:extLst>
                <a:ext uri="{FF2B5EF4-FFF2-40B4-BE49-F238E27FC236}">
                  <a16:creationId xmlns:a16="http://schemas.microsoft.com/office/drawing/2014/main" id="{0E712566-7A6D-4AA5-96D3-FA4A6C425C38}"/>
                </a:ext>
              </a:extLst>
            </p:cNvPr>
            <p:cNvSpPr/>
            <p:nvPr/>
          </p:nvSpPr>
          <p:spPr>
            <a:xfrm>
              <a:off x="665629" y="2493869"/>
              <a:ext cx="2572871" cy="2554381"/>
            </a:xfrm>
            <a:prstGeom prst="roundRect">
              <a:avLst>
                <a:gd name="adj" fmla="val 4745"/>
              </a:avLst>
            </a:prstGeom>
            <a:solidFill>
              <a:srgbClr val="FFFFFF"/>
            </a:solidFill>
            <a:ln>
              <a:solidFill>
                <a:srgbClr val="FFFFFF"/>
              </a:solidFill>
            </a:ln>
            <a:effectLst>
              <a:outerShdw blurRad="127000" sx="102000" sy="102000" algn="ctr"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sp>
          <p:nvSpPr>
            <p:cNvPr id="81" name="Rectangle: Rounded Corners 80">
              <a:extLst>
                <a:ext uri="{FF2B5EF4-FFF2-40B4-BE49-F238E27FC236}">
                  <a16:creationId xmlns:a16="http://schemas.microsoft.com/office/drawing/2014/main" id="{2CB0F0F0-9A85-48F7-B02E-08DA90007224}"/>
                </a:ext>
              </a:extLst>
            </p:cNvPr>
            <p:cNvSpPr/>
            <p:nvPr/>
          </p:nvSpPr>
          <p:spPr>
            <a:xfrm>
              <a:off x="665628" y="2493869"/>
              <a:ext cx="2572871" cy="373156"/>
            </a:xfrm>
            <a:prstGeom prst="roundRect">
              <a:avLst>
                <a:gd name="adj" fmla="val 32823"/>
              </a:avLst>
            </a:prstGeom>
            <a:solidFill>
              <a:srgbClr val="B64DD3"/>
            </a:solidFill>
            <a:ln>
              <a:solidFill>
                <a:srgbClr val="B64DD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sp>
          <p:nvSpPr>
            <p:cNvPr id="82" name="Rectangle: Rounded Corners 81">
              <a:extLst>
                <a:ext uri="{FF2B5EF4-FFF2-40B4-BE49-F238E27FC236}">
                  <a16:creationId xmlns:a16="http://schemas.microsoft.com/office/drawing/2014/main" id="{F864AE7F-C65B-4B7A-B1E3-E91511452F8D}"/>
                </a:ext>
              </a:extLst>
            </p:cNvPr>
            <p:cNvSpPr/>
            <p:nvPr/>
          </p:nvSpPr>
          <p:spPr>
            <a:xfrm>
              <a:off x="665628" y="2680446"/>
              <a:ext cx="2572871" cy="1948703"/>
            </a:xfrm>
            <a:prstGeom prst="roundRect">
              <a:avLst>
                <a:gd name="adj" fmla="val 0"/>
              </a:avLst>
            </a:prstGeom>
            <a:solidFill>
              <a:schemeClr val="bg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lnSpc>
                  <a:spcPts val="1836"/>
                </a:lnSpc>
                <a:defRPr/>
              </a:pPr>
              <a:endParaRPr lang="en-US" sz="1836">
                <a:solidFill>
                  <a:srgbClr val="000000"/>
                </a:solidFill>
                <a:latin typeface="Segoe UI Semibold" panose="020B0702040204020203" pitchFamily="34" charset="0"/>
                <a:cs typeface="Segoe UI Semibold" panose="020B0702040204020203" pitchFamily="34" charset="0"/>
              </a:endParaRPr>
            </a:p>
            <a:p>
              <a:pPr algn="ctr" defTabSz="932649">
                <a:lnSpc>
                  <a:spcPts val="1836"/>
                </a:lnSpc>
                <a:defRPr/>
              </a:pPr>
              <a:endParaRPr lang="en-US" sz="1836">
                <a:solidFill>
                  <a:srgbClr val="000000"/>
                </a:solidFill>
                <a:latin typeface="Segoe UI Semibold" panose="020B0702040204020203" pitchFamily="34" charset="0"/>
                <a:cs typeface="Segoe UI Semibold" panose="020B0702040204020203" pitchFamily="34" charset="0"/>
              </a:endParaRPr>
            </a:p>
            <a:p>
              <a:pPr algn="ctr" defTabSz="932649">
                <a:lnSpc>
                  <a:spcPts val="1836"/>
                </a:lnSpc>
                <a:defRPr/>
              </a:pPr>
              <a:r>
                <a:rPr lang="en-US" sz="1836">
                  <a:solidFill>
                    <a:srgbClr val="FFFFFF"/>
                  </a:solidFill>
                  <a:highlight>
                    <a:srgbClr val="B64DD3"/>
                  </a:highlight>
                  <a:latin typeface="Nexa Heavy" panose="02000000000000000000" pitchFamily="2" charset="0"/>
                  <a:cs typeface="Segoe UI Semibold" panose="020B0702040204020203" pitchFamily="34" charset="0"/>
                </a:rPr>
                <a:t>ENCOMPASS</a:t>
              </a:r>
            </a:p>
            <a:p>
              <a:pPr algn="ctr" defTabSz="932649">
                <a:lnSpc>
                  <a:spcPts val="1836"/>
                </a:lnSpc>
                <a:defRPr/>
              </a:pPr>
              <a:r>
                <a:rPr lang="en-US" sz="1836">
                  <a:solidFill>
                    <a:srgbClr val="000000"/>
                  </a:solidFill>
                  <a:latin typeface="Segoe UI Semibold" panose="020B0702040204020203" pitchFamily="34" charset="0"/>
                  <a:cs typeface="Segoe UI Semibold" panose="020B0702040204020203" pitchFamily="34" charset="0"/>
                </a:rPr>
                <a:t> </a:t>
              </a:r>
              <a:r>
                <a:rPr lang="en-US" sz="1428">
                  <a:solidFill>
                    <a:srgbClr val="000000"/>
                  </a:solidFill>
                  <a:latin typeface="Segoe UI Semibold" panose="020B0702040204020203" pitchFamily="34" charset="0"/>
                  <a:cs typeface="Segoe UI Semibold" panose="020B0702040204020203" pitchFamily="34" charset="0"/>
                </a:rPr>
                <a:t>THE</a:t>
              </a:r>
              <a:r>
                <a:rPr lang="en-US" sz="1836">
                  <a:solidFill>
                    <a:srgbClr val="000000"/>
                  </a:solidFill>
                  <a:latin typeface="Segoe UI Semibold" panose="020B0702040204020203" pitchFamily="34" charset="0"/>
                  <a:cs typeface="Segoe UI Semibold" panose="020B0702040204020203" pitchFamily="34" charset="0"/>
                </a:rPr>
                <a:t> </a:t>
              </a:r>
              <a:r>
                <a:rPr lang="en-US" sz="1836">
                  <a:solidFill>
                    <a:srgbClr val="000000"/>
                  </a:solidFill>
                  <a:latin typeface="Nexa Heavy" panose="02000000000000000000" pitchFamily="2" charset="0"/>
                  <a:cs typeface="Segoe UI Semibold" panose="020B0702040204020203" pitchFamily="34" charset="0"/>
                </a:rPr>
                <a:t>USER EXPERIENCE </a:t>
              </a:r>
            </a:p>
            <a:p>
              <a:pPr algn="ctr" defTabSz="932649">
                <a:lnSpc>
                  <a:spcPts val="1836"/>
                </a:lnSpc>
                <a:defRPr/>
              </a:pPr>
              <a:r>
                <a:rPr lang="en-US" sz="1632" i="1">
                  <a:solidFill>
                    <a:srgbClr val="FFFFFF">
                      <a:lumMod val="65000"/>
                    </a:srgbClr>
                  </a:solidFill>
                  <a:latin typeface="Segoe UI Light" panose="020B0502040204020203" pitchFamily="34" charset="0"/>
                  <a:cs typeface="Segoe UI Light" panose="020B0502040204020203" pitchFamily="34" charset="0"/>
                </a:rPr>
                <a:t>Create easy, efficient, relevant, and all-round pleasant experiences for the user.</a:t>
              </a:r>
              <a:endParaRPr lang="en-CA" sz="1632" i="1">
                <a:solidFill>
                  <a:srgbClr val="FFFFFF">
                    <a:lumMod val="65000"/>
                  </a:srgbClr>
                </a:solidFill>
                <a:latin typeface="Segoe UI Light" panose="020B0502040204020203" pitchFamily="34" charset="0"/>
                <a:cs typeface="Segoe UI Light" panose="020B0502040204020203" pitchFamily="34" charset="0"/>
              </a:endParaRPr>
            </a:p>
          </p:txBody>
        </p:sp>
      </p:grpSp>
      <p:grpSp>
        <p:nvGrpSpPr>
          <p:cNvPr id="84" name="Group 83">
            <a:extLst>
              <a:ext uri="{FF2B5EF4-FFF2-40B4-BE49-F238E27FC236}">
                <a16:creationId xmlns:a16="http://schemas.microsoft.com/office/drawing/2014/main" id="{C0385E0B-959B-4914-A230-D6B4A0583905}"/>
              </a:ext>
            </a:extLst>
          </p:cNvPr>
          <p:cNvGrpSpPr/>
          <p:nvPr/>
        </p:nvGrpSpPr>
        <p:grpSpPr>
          <a:xfrm>
            <a:off x="5283017" y="5158774"/>
            <a:ext cx="703811" cy="703811"/>
            <a:chOff x="4514418" y="598134"/>
            <a:chExt cx="690162" cy="690162"/>
          </a:xfrm>
        </p:grpSpPr>
        <p:grpSp>
          <p:nvGrpSpPr>
            <p:cNvPr id="85" name="Group 84">
              <a:extLst>
                <a:ext uri="{FF2B5EF4-FFF2-40B4-BE49-F238E27FC236}">
                  <a16:creationId xmlns:a16="http://schemas.microsoft.com/office/drawing/2014/main" id="{869AD3AE-EABA-44D8-8302-D00F33931595}"/>
                </a:ext>
              </a:extLst>
            </p:cNvPr>
            <p:cNvGrpSpPr/>
            <p:nvPr/>
          </p:nvGrpSpPr>
          <p:grpSpPr>
            <a:xfrm>
              <a:off x="4514418" y="598134"/>
              <a:ext cx="690162" cy="690162"/>
              <a:chOff x="6989114" y="876300"/>
              <a:chExt cx="1257300" cy="1257300"/>
            </a:xfrm>
          </p:grpSpPr>
          <p:sp>
            <p:nvSpPr>
              <p:cNvPr id="87" name="Oval 86">
                <a:extLst>
                  <a:ext uri="{FF2B5EF4-FFF2-40B4-BE49-F238E27FC236}">
                    <a16:creationId xmlns:a16="http://schemas.microsoft.com/office/drawing/2014/main" id="{FEE5566F-D0DA-4B93-B8AB-1EB982B04D55}"/>
                  </a:ext>
                </a:extLst>
              </p:cNvPr>
              <p:cNvSpPr/>
              <p:nvPr/>
            </p:nvSpPr>
            <p:spPr>
              <a:xfrm>
                <a:off x="6989114" y="876300"/>
                <a:ext cx="1257300" cy="1257300"/>
              </a:xfrm>
              <a:prstGeom prst="ellipse">
                <a:avLst/>
              </a:prstGeom>
              <a:solidFill>
                <a:srgbClr val="FFFFFF"/>
              </a:solidFill>
              <a:ln>
                <a:solidFill>
                  <a:srgbClr val="FFFFFF"/>
                </a:solid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649">
                  <a:defRPr/>
                </a:pPr>
                <a:endParaRPr lang="en-CA" sz="1836">
                  <a:solidFill>
                    <a:srgbClr val="FFFFFF"/>
                  </a:solidFill>
                  <a:latin typeface="Segoe UI"/>
                </a:endParaRPr>
              </a:p>
            </p:txBody>
          </p:sp>
          <p:sp>
            <p:nvSpPr>
              <p:cNvPr id="88" name="Chord 87">
                <a:extLst>
                  <a:ext uri="{FF2B5EF4-FFF2-40B4-BE49-F238E27FC236}">
                    <a16:creationId xmlns:a16="http://schemas.microsoft.com/office/drawing/2014/main" id="{5F76925B-CE4B-476F-8E1C-43DF0DA1D8C9}"/>
                  </a:ext>
                </a:extLst>
              </p:cNvPr>
              <p:cNvSpPr/>
              <p:nvPr/>
            </p:nvSpPr>
            <p:spPr>
              <a:xfrm rot="17507038">
                <a:off x="7063406" y="950592"/>
                <a:ext cx="1108714" cy="1108714"/>
              </a:xfrm>
              <a:prstGeom prst="chord">
                <a:avLst/>
              </a:prstGeom>
              <a:solidFill>
                <a:srgbClr val="B64DD3"/>
              </a:solidFill>
              <a:ln>
                <a:noFill/>
              </a:ln>
              <a:effectLst>
                <a:innerShdw blurRad="101600" dist="25400" dir="19800000">
                  <a:schemeClr val="accent1">
                    <a:lumMod val="50000"/>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grpSp>
        <p:sp>
          <p:nvSpPr>
            <p:cNvPr id="86" name="TextBox 85">
              <a:extLst>
                <a:ext uri="{FF2B5EF4-FFF2-40B4-BE49-F238E27FC236}">
                  <a16:creationId xmlns:a16="http://schemas.microsoft.com/office/drawing/2014/main" id="{FB4ADE6F-3D0A-4571-A538-08807B30F2A5}"/>
                </a:ext>
              </a:extLst>
            </p:cNvPr>
            <p:cNvSpPr txBox="1"/>
            <p:nvPr/>
          </p:nvSpPr>
          <p:spPr>
            <a:xfrm>
              <a:off x="4651442" y="744334"/>
              <a:ext cx="404278" cy="531812"/>
            </a:xfrm>
            <a:prstGeom prst="rect">
              <a:avLst/>
            </a:prstGeom>
            <a:noFill/>
          </p:spPr>
          <p:txBody>
            <a:bodyPr wrap="none" rtlCol="0">
              <a:spAutoFit/>
            </a:bodyPr>
            <a:lstStyle/>
            <a:p>
              <a:pPr algn="ctr" defTabSz="932649">
                <a:defRPr/>
              </a:pPr>
              <a:r>
                <a:rPr lang="en-CA" sz="2856">
                  <a:solidFill>
                    <a:srgbClr val="FFFFFF"/>
                  </a:solidFill>
                  <a:latin typeface="Segoe UI Black" panose="020B0A02040204020203" pitchFamily="34" charset="0"/>
                  <a:ea typeface="Segoe UI Black" panose="020B0A02040204020203" pitchFamily="34" charset="0"/>
                </a:rPr>
                <a:t>3</a:t>
              </a:r>
            </a:p>
          </p:txBody>
        </p:sp>
      </p:grpSp>
    </p:spTree>
    <p:extLst>
      <p:ext uri="{BB962C8B-B14F-4D97-AF65-F5344CB8AC3E}">
        <p14:creationId xmlns:p14="http://schemas.microsoft.com/office/powerpoint/2010/main" val="326725444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Report Structure</a:t>
            </a:r>
          </a:p>
        </p:txBody>
      </p:sp>
      <p:sp>
        <p:nvSpPr>
          <p:cNvPr id="6" name="Text Placeholder 2">
            <a:extLst>
              <a:ext uri="{FF2B5EF4-FFF2-40B4-BE49-F238E27FC236}">
                <a16:creationId xmlns:a16="http://schemas.microsoft.com/office/drawing/2014/main" id="{D5957D0F-43EF-47AA-A9B7-AC33B7AF4E6C}"/>
              </a:ext>
            </a:extLst>
          </p:cNvPr>
          <p:cNvSpPr txBox="1">
            <a:spLocks/>
          </p:cNvSpPr>
          <p:nvPr/>
        </p:nvSpPr>
        <p:spPr>
          <a:xfrm>
            <a:off x="595915" y="1464074"/>
            <a:ext cx="11239464" cy="2009204"/>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a:t>Report pages – similar to worksheets in Excel</a:t>
            </a:r>
          </a:p>
          <a:p>
            <a:r>
              <a:rPr lang="en-US"/>
              <a:t>Report objects</a:t>
            </a:r>
          </a:p>
          <a:p>
            <a:pPr lvl="1"/>
            <a:r>
              <a:rPr lang="en-US"/>
              <a:t>Visuals – visualize data</a:t>
            </a:r>
          </a:p>
          <a:p>
            <a:pPr lvl="1"/>
            <a:r>
              <a:rPr lang="en-US"/>
              <a:t>Elements – not data, elements include text boxes, buttons, shapes, and images</a:t>
            </a:r>
          </a:p>
        </p:txBody>
      </p:sp>
      <p:pic>
        <p:nvPicPr>
          <p:cNvPr id="8" name="Picture 6">
            <a:extLst>
              <a:ext uri="{FF2B5EF4-FFF2-40B4-BE49-F238E27FC236}">
                <a16:creationId xmlns:a16="http://schemas.microsoft.com/office/drawing/2014/main" id="{A7CB0CA6-A08F-45F4-82B7-FF038CF41B8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83018" y="3473278"/>
            <a:ext cx="8070439" cy="32281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83012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Block Arc 94" hidden="1">
            <a:extLst>
              <a:ext uri="{FF2B5EF4-FFF2-40B4-BE49-F238E27FC236}">
                <a16:creationId xmlns:a16="http://schemas.microsoft.com/office/drawing/2014/main" id="{1162D6EE-6FD3-42C1-99BF-9B2ACF0999E9}"/>
              </a:ext>
            </a:extLst>
          </p:cNvPr>
          <p:cNvSpPr/>
          <p:nvPr>
            <p:custDataLst>
              <p:tags r:id="rId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6" name="Block Arc 95" hidden="1">
            <a:extLst>
              <a:ext uri="{FF2B5EF4-FFF2-40B4-BE49-F238E27FC236}">
                <a16:creationId xmlns:a16="http://schemas.microsoft.com/office/drawing/2014/main" id="{7B97D9A5-04A3-4CB4-85D9-ADB6AA353873}"/>
              </a:ext>
            </a:extLst>
          </p:cNvPr>
          <p:cNvSpPr/>
          <p:nvPr>
            <p:custDataLst>
              <p:tags r:id="rId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7" name="Block Arc 96" hidden="1">
            <a:extLst>
              <a:ext uri="{FF2B5EF4-FFF2-40B4-BE49-F238E27FC236}">
                <a16:creationId xmlns:a16="http://schemas.microsoft.com/office/drawing/2014/main" id="{24FEEDC1-CDA1-447C-8559-7439DE688B56}"/>
              </a:ext>
            </a:extLst>
          </p:cNvPr>
          <p:cNvSpPr/>
          <p:nvPr>
            <p:custDataLst>
              <p:tags r:id="rId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8" name="Block Arc 97" hidden="1">
            <a:extLst>
              <a:ext uri="{FF2B5EF4-FFF2-40B4-BE49-F238E27FC236}">
                <a16:creationId xmlns:a16="http://schemas.microsoft.com/office/drawing/2014/main" id="{1DFD6E16-2ABE-4085-88FC-42A3DA8C7ECA}"/>
              </a:ext>
            </a:extLst>
          </p:cNvPr>
          <p:cNvSpPr/>
          <p:nvPr>
            <p:custDataLst>
              <p:tags r:id="rId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9" name="Block Arc 98" hidden="1">
            <a:extLst>
              <a:ext uri="{FF2B5EF4-FFF2-40B4-BE49-F238E27FC236}">
                <a16:creationId xmlns:a16="http://schemas.microsoft.com/office/drawing/2014/main" id="{3662AB96-0E9F-414D-BFA7-845DF49C952C}"/>
              </a:ext>
            </a:extLst>
          </p:cNvPr>
          <p:cNvSpPr/>
          <p:nvPr>
            <p:custDataLst>
              <p:tags r:id="rId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0" name="Block Arc 99" hidden="1">
            <a:extLst>
              <a:ext uri="{FF2B5EF4-FFF2-40B4-BE49-F238E27FC236}">
                <a16:creationId xmlns:a16="http://schemas.microsoft.com/office/drawing/2014/main" id="{C1C34D3F-8A3A-4BD1-AC93-F8D17C35D168}"/>
              </a:ext>
            </a:extLst>
          </p:cNvPr>
          <p:cNvSpPr/>
          <p:nvPr>
            <p:custDataLst>
              <p:tags r:id="rId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1" name="Block Arc 100" hidden="1">
            <a:extLst>
              <a:ext uri="{FF2B5EF4-FFF2-40B4-BE49-F238E27FC236}">
                <a16:creationId xmlns:a16="http://schemas.microsoft.com/office/drawing/2014/main" id="{BC681B99-B800-4181-BF30-08DB48C0392E}"/>
              </a:ext>
            </a:extLst>
          </p:cNvPr>
          <p:cNvSpPr/>
          <p:nvPr>
            <p:custDataLst>
              <p:tags r:id="rId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2" name="Block Arc 101" hidden="1">
            <a:extLst>
              <a:ext uri="{FF2B5EF4-FFF2-40B4-BE49-F238E27FC236}">
                <a16:creationId xmlns:a16="http://schemas.microsoft.com/office/drawing/2014/main" id="{BCB9B485-4ECE-421B-BD45-4F903C337C7F}"/>
              </a:ext>
            </a:extLst>
          </p:cNvPr>
          <p:cNvSpPr/>
          <p:nvPr>
            <p:custDataLst>
              <p:tags r:id="rId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3" name="Block Arc 102" hidden="1">
            <a:extLst>
              <a:ext uri="{FF2B5EF4-FFF2-40B4-BE49-F238E27FC236}">
                <a16:creationId xmlns:a16="http://schemas.microsoft.com/office/drawing/2014/main" id="{0D9ADCB5-BD35-4148-8467-2CBAC03EAB70}"/>
              </a:ext>
            </a:extLst>
          </p:cNvPr>
          <p:cNvSpPr/>
          <p:nvPr>
            <p:custDataLst>
              <p:tags r:id="rId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4" name="Block Arc 103" hidden="1">
            <a:extLst>
              <a:ext uri="{FF2B5EF4-FFF2-40B4-BE49-F238E27FC236}">
                <a16:creationId xmlns:a16="http://schemas.microsoft.com/office/drawing/2014/main" id="{4FA57394-10C3-438A-BE96-407B42DB9B44}"/>
              </a:ext>
            </a:extLst>
          </p:cNvPr>
          <p:cNvSpPr/>
          <p:nvPr>
            <p:custDataLst>
              <p:tags r:id="rId1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5" name="Block Arc 104" hidden="1">
            <a:extLst>
              <a:ext uri="{FF2B5EF4-FFF2-40B4-BE49-F238E27FC236}">
                <a16:creationId xmlns:a16="http://schemas.microsoft.com/office/drawing/2014/main" id="{4F975FA0-2435-4C98-8060-83896E152F6C}"/>
              </a:ext>
            </a:extLst>
          </p:cNvPr>
          <p:cNvSpPr/>
          <p:nvPr>
            <p:custDataLst>
              <p:tags r:id="rId1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6" name="Block Arc 105" hidden="1">
            <a:extLst>
              <a:ext uri="{FF2B5EF4-FFF2-40B4-BE49-F238E27FC236}">
                <a16:creationId xmlns:a16="http://schemas.microsoft.com/office/drawing/2014/main" id="{D3082C14-C7C0-4665-A497-1B2514397908}"/>
              </a:ext>
            </a:extLst>
          </p:cNvPr>
          <p:cNvSpPr/>
          <p:nvPr>
            <p:custDataLst>
              <p:tags r:id="rId1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7" name="Block Arc 106" hidden="1">
            <a:extLst>
              <a:ext uri="{FF2B5EF4-FFF2-40B4-BE49-F238E27FC236}">
                <a16:creationId xmlns:a16="http://schemas.microsoft.com/office/drawing/2014/main" id="{123964DB-A82C-4B85-BBE5-4C935E082982}"/>
              </a:ext>
            </a:extLst>
          </p:cNvPr>
          <p:cNvSpPr/>
          <p:nvPr>
            <p:custDataLst>
              <p:tags r:id="rId1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8" name="Block Arc 107" hidden="1">
            <a:extLst>
              <a:ext uri="{FF2B5EF4-FFF2-40B4-BE49-F238E27FC236}">
                <a16:creationId xmlns:a16="http://schemas.microsoft.com/office/drawing/2014/main" id="{9D735CD0-6E35-49C8-BB44-C7C7A7F907CC}"/>
              </a:ext>
            </a:extLst>
          </p:cNvPr>
          <p:cNvSpPr/>
          <p:nvPr>
            <p:custDataLst>
              <p:tags r:id="rId1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9" name="Block Arc 108" hidden="1">
            <a:extLst>
              <a:ext uri="{FF2B5EF4-FFF2-40B4-BE49-F238E27FC236}">
                <a16:creationId xmlns:a16="http://schemas.microsoft.com/office/drawing/2014/main" id="{70B08550-BAE7-40F0-902A-048EFD351E12}"/>
              </a:ext>
            </a:extLst>
          </p:cNvPr>
          <p:cNvSpPr/>
          <p:nvPr>
            <p:custDataLst>
              <p:tags r:id="rId1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0" name="Block Arc 109" hidden="1">
            <a:extLst>
              <a:ext uri="{FF2B5EF4-FFF2-40B4-BE49-F238E27FC236}">
                <a16:creationId xmlns:a16="http://schemas.microsoft.com/office/drawing/2014/main" id="{9C1E2226-7E09-457A-966C-4CFCC3735CC1}"/>
              </a:ext>
            </a:extLst>
          </p:cNvPr>
          <p:cNvSpPr/>
          <p:nvPr>
            <p:custDataLst>
              <p:tags r:id="rId1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1" name="Block Arc 110" hidden="1">
            <a:extLst>
              <a:ext uri="{FF2B5EF4-FFF2-40B4-BE49-F238E27FC236}">
                <a16:creationId xmlns:a16="http://schemas.microsoft.com/office/drawing/2014/main" id="{705F0503-C0D5-4133-9903-99D05AE21735}"/>
              </a:ext>
            </a:extLst>
          </p:cNvPr>
          <p:cNvSpPr/>
          <p:nvPr>
            <p:custDataLst>
              <p:tags r:id="rId1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2" name="Block Arc 111" hidden="1">
            <a:extLst>
              <a:ext uri="{FF2B5EF4-FFF2-40B4-BE49-F238E27FC236}">
                <a16:creationId xmlns:a16="http://schemas.microsoft.com/office/drawing/2014/main" id="{2FA4CFC7-D597-4802-8F35-3CCA8380969F}"/>
              </a:ext>
            </a:extLst>
          </p:cNvPr>
          <p:cNvSpPr/>
          <p:nvPr>
            <p:custDataLst>
              <p:tags r:id="rId1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3" name="Block Arc 112" hidden="1">
            <a:extLst>
              <a:ext uri="{FF2B5EF4-FFF2-40B4-BE49-F238E27FC236}">
                <a16:creationId xmlns:a16="http://schemas.microsoft.com/office/drawing/2014/main" id="{A5E31708-44AE-4D34-B9A8-9D5CA24BCE68}"/>
              </a:ext>
            </a:extLst>
          </p:cNvPr>
          <p:cNvSpPr/>
          <p:nvPr>
            <p:custDataLst>
              <p:tags r:id="rId1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4" name="Block Arc 113" hidden="1">
            <a:extLst>
              <a:ext uri="{FF2B5EF4-FFF2-40B4-BE49-F238E27FC236}">
                <a16:creationId xmlns:a16="http://schemas.microsoft.com/office/drawing/2014/main" id="{222A97E4-5DBE-40DA-BD1E-A7CEDCA36942}"/>
              </a:ext>
            </a:extLst>
          </p:cNvPr>
          <p:cNvSpPr/>
          <p:nvPr>
            <p:custDataLst>
              <p:tags r:id="rId2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5" name="Block Arc 114" hidden="1">
            <a:extLst>
              <a:ext uri="{FF2B5EF4-FFF2-40B4-BE49-F238E27FC236}">
                <a16:creationId xmlns:a16="http://schemas.microsoft.com/office/drawing/2014/main" id="{63008478-645B-4C59-880E-ADD8CDB7CB4B}"/>
              </a:ext>
            </a:extLst>
          </p:cNvPr>
          <p:cNvSpPr/>
          <p:nvPr>
            <p:custDataLst>
              <p:tags r:id="rId2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6" name="Block Arc 115" hidden="1">
            <a:extLst>
              <a:ext uri="{FF2B5EF4-FFF2-40B4-BE49-F238E27FC236}">
                <a16:creationId xmlns:a16="http://schemas.microsoft.com/office/drawing/2014/main" id="{9460470F-E2D8-4DCE-A2A0-CCAD8531A1BE}"/>
              </a:ext>
            </a:extLst>
          </p:cNvPr>
          <p:cNvSpPr/>
          <p:nvPr>
            <p:custDataLst>
              <p:tags r:id="rId2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7" name="Block Arc 116" hidden="1">
            <a:extLst>
              <a:ext uri="{FF2B5EF4-FFF2-40B4-BE49-F238E27FC236}">
                <a16:creationId xmlns:a16="http://schemas.microsoft.com/office/drawing/2014/main" id="{C7133458-865F-433B-9929-AC132F322B0E}"/>
              </a:ext>
            </a:extLst>
          </p:cNvPr>
          <p:cNvSpPr/>
          <p:nvPr>
            <p:custDataLst>
              <p:tags r:id="rId2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8" name="Block Arc 117" hidden="1">
            <a:extLst>
              <a:ext uri="{FF2B5EF4-FFF2-40B4-BE49-F238E27FC236}">
                <a16:creationId xmlns:a16="http://schemas.microsoft.com/office/drawing/2014/main" id="{42DF98ED-7FDD-44DE-B61E-A434A9750518}"/>
              </a:ext>
            </a:extLst>
          </p:cNvPr>
          <p:cNvSpPr/>
          <p:nvPr>
            <p:custDataLst>
              <p:tags r:id="rId2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9" name="Block Arc 118" hidden="1">
            <a:extLst>
              <a:ext uri="{FF2B5EF4-FFF2-40B4-BE49-F238E27FC236}">
                <a16:creationId xmlns:a16="http://schemas.microsoft.com/office/drawing/2014/main" id="{403D86B6-5830-44A9-A48E-3E57317DD086}"/>
              </a:ext>
            </a:extLst>
          </p:cNvPr>
          <p:cNvSpPr/>
          <p:nvPr>
            <p:custDataLst>
              <p:tags r:id="rId2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0" name="Block Arc 119" hidden="1">
            <a:extLst>
              <a:ext uri="{FF2B5EF4-FFF2-40B4-BE49-F238E27FC236}">
                <a16:creationId xmlns:a16="http://schemas.microsoft.com/office/drawing/2014/main" id="{B39108DA-1467-48A3-B9B6-038503388BC9}"/>
              </a:ext>
            </a:extLst>
          </p:cNvPr>
          <p:cNvSpPr/>
          <p:nvPr>
            <p:custDataLst>
              <p:tags r:id="rId2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1" name="Block Arc 120" hidden="1">
            <a:extLst>
              <a:ext uri="{FF2B5EF4-FFF2-40B4-BE49-F238E27FC236}">
                <a16:creationId xmlns:a16="http://schemas.microsoft.com/office/drawing/2014/main" id="{FF2532BB-8BAD-4840-839F-6A76813F763C}"/>
              </a:ext>
            </a:extLst>
          </p:cNvPr>
          <p:cNvSpPr/>
          <p:nvPr>
            <p:custDataLst>
              <p:tags r:id="rId2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2" name="Block Arc 121" hidden="1">
            <a:extLst>
              <a:ext uri="{FF2B5EF4-FFF2-40B4-BE49-F238E27FC236}">
                <a16:creationId xmlns:a16="http://schemas.microsoft.com/office/drawing/2014/main" id="{0A7FA621-308B-4CC1-8982-C6B84D1C9B47}"/>
              </a:ext>
            </a:extLst>
          </p:cNvPr>
          <p:cNvSpPr/>
          <p:nvPr>
            <p:custDataLst>
              <p:tags r:id="rId2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3" name="Block Arc 122" hidden="1">
            <a:extLst>
              <a:ext uri="{FF2B5EF4-FFF2-40B4-BE49-F238E27FC236}">
                <a16:creationId xmlns:a16="http://schemas.microsoft.com/office/drawing/2014/main" id="{D4B98175-0F5E-4CF8-B39D-64F2F89DA93C}"/>
              </a:ext>
            </a:extLst>
          </p:cNvPr>
          <p:cNvSpPr/>
          <p:nvPr>
            <p:custDataLst>
              <p:tags r:id="rId2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4" name="Block Arc 123" hidden="1">
            <a:extLst>
              <a:ext uri="{FF2B5EF4-FFF2-40B4-BE49-F238E27FC236}">
                <a16:creationId xmlns:a16="http://schemas.microsoft.com/office/drawing/2014/main" id="{628AC05B-71E1-46D0-8E08-9616BB62C57B}"/>
              </a:ext>
            </a:extLst>
          </p:cNvPr>
          <p:cNvSpPr/>
          <p:nvPr>
            <p:custDataLst>
              <p:tags r:id="rId3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5" name="Block Arc 124" hidden="1">
            <a:extLst>
              <a:ext uri="{FF2B5EF4-FFF2-40B4-BE49-F238E27FC236}">
                <a16:creationId xmlns:a16="http://schemas.microsoft.com/office/drawing/2014/main" id="{6A621EE6-2B68-4087-80B2-993E81BB5DB8}"/>
              </a:ext>
            </a:extLst>
          </p:cNvPr>
          <p:cNvSpPr/>
          <p:nvPr>
            <p:custDataLst>
              <p:tags r:id="rId3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6" name="Block Arc 125" hidden="1">
            <a:extLst>
              <a:ext uri="{FF2B5EF4-FFF2-40B4-BE49-F238E27FC236}">
                <a16:creationId xmlns:a16="http://schemas.microsoft.com/office/drawing/2014/main" id="{29855B02-5840-4768-A3A5-0279AA5D6570}"/>
              </a:ext>
            </a:extLst>
          </p:cNvPr>
          <p:cNvSpPr/>
          <p:nvPr>
            <p:custDataLst>
              <p:tags r:id="rId3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7" name="Block Arc 126" hidden="1">
            <a:extLst>
              <a:ext uri="{FF2B5EF4-FFF2-40B4-BE49-F238E27FC236}">
                <a16:creationId xmlns:a16="http://schemas.microsoft.com/office/drawing/2014/main" id="{78A30BDC-4F76-456A-A8AB-419F9AC7223D}"/>
              </a:ext>
            </a:extLst>
          </p:cNvPr>
          <p:cNvSpPr/>
          <p:nvPr>
            <p:custDataLst>
              <p:tags r:id="rId3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8" name="Block Arc 127" hidden="1">
            <a:extLst>
              <a:ext uri="{FF2B5EF4-FFF2-40B4-BE49-F238E27FC236}">
                <a16:creationId xmlns:a16="http://schemas.microsoft.com/office/drawing/2014/main" id="{0F9F2246-2EE4-41BA-9141-8DA3F07AFA4E}"/>
              </a:ext>
            </a:extLst>
          </p:cNvPr>
          <p:cNvSpPr/>
          <p:nvPr>
            <p:custDataLst>
              <p:tags r:id="rId3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9" name="Block Arc 128" hidden="1">
            <a:extLst>
              <a:ext uri="{FF2B5EF4-FFF2-40B4-BE49-F238E27FC236}">
                <a16:creationId xmlns:a16="http://schemas.microsoft.com/office/drawing/2014/main" id="{01C0D98B-2D85-4CEA-B92C-BDAF86E497A2}"/>
              </a:ext>
            </a:extLst>
          </p:cNvPr>
          <p:cNvSpPr/>
          <p:nvPr>
            <p:custDataLst>
              <p:tags r:id="rId3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0" name="Block Arc 129" hidden="1">
            <a:extLst>
              <a:ext uri="{FF2B5EF4-FFF2-40B4-BE49-F238E27FC236}">
                <a16:creationId xmlns:a16="http://schemas.microsoft.com/office/drawing/2014/main" id="{E554A65C-4426-4F4D-BCDD-076C85A3906D}"/>
              </a:ext>
            </a:extLst>
          </p:cNvPr>
          <p:cNvSpPr/>
          <p:nvPr>
            <p:custDataLst>
              <p:tags r:id="rId3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1" name="Block Arc 130" hidden="1">
            <a:extLst>
              <a:ext uri="{FF2B5EF4-FFF2-40B4-BE49-F238E27FC236}">
                <a16:creationId xmlns:a16="http://schemas.microsoft.com/office/drawing/2014/main" id="{023FFDBF-F2D0-457A-AA2A-9C36B02F8F1D}"/>
              </a:ext>
            </a:extLst>
          </p:cNvPr>
          <p:cNvSpPr/>
          <p:nvPr>
            <p:custDataLst>
              <p:tags r:id="rId3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2" name="Block Arc 131" hidden="1">
            <a:extLst>
              <a:ext uri="{FF2B5EF4-FFF2-40B4-BE49-F238E27FC236}">
                <a16:creationId xmlns:a16="http://schemas.microsoft.com/office/drawing/2014/main" id="{D208BDB9-CC06-4753-B9B0-A465181E9345}"/>
              </a:ext>
            </a:extLst>
          </p:cNvPr>
          <p:cNvSpPr/>
          <p:nvPr>
            <p:custDataLst>
              <p:tags r:id="rId3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3" name="Block Arc 132" hidden="1">
            <a:extLst>
              <a:ext uri="{FF2B5EF4-FFF2-40B4-BE49-F238E27FC236}">
                <a16:creationId xmlns:a16="http://schemas.microsoft.com/office/drawing/2014/main" id="{2348A400-A564-4C95-B01D-C0DCED9C3154}"/>
              </a:ext>
            </a:extLst>
          </p:cNvPr>
          <p:cNvSpPr/>
          <p:nvPr>
            <p:custDataLst>
              <p:tags r:id="rId3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4" name="Block Arc 133" hidden="1">
            <a:extLst>
              <a:ext uri="{FF2B5EF4-FFF2-40B4-BE49-F238E27FC236}">
                <a16:creationId xmlns:a16="http://schemas.microsoft.com/office/drawing/2014/main" id="{8AF8693E-9C56-4D31-9190-B7F7C6A235C3}"/>
              </a:ext>
            </a:extLst>
          </p:cNvPr>
          <p:cNvSpPr/>
          <p:nvPr>
            <p:custDataLst>
              <p:tags r:id="rId4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 name="Block Arc 11" hidden="1">
            <a:extLst>
              <a:ext uri="{FF2B5EF4-FFF2-40B4-BE49-F238E27FC236}">
                <a16:creationId xmlns:a16="http://schemas.microsoft.com/office/drawing/2014/main" id="{485C86FA-0A5F-4215-A9F9-2FBF552191AA}"/>
              </a:ext>
            </a:extLst>
          </p:cNvPr>
          <p:cNvSpPr/>
          <p:nvPr>
            <p:custDataLst>
              <p:tags r:id="rId4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 name="Block Arc 12" hidden="1">
            <a:extLst>
              <a:ext uri="{FF2B5EF4-FFF2-40B4-BE49-F238E27FC236}">
                <a16:creationId xmlns:a16="http://schemas.microsoft.com/office/drawing/2014/main" id="{80B62981-CC70-4C6D-B977-3DD834046B3F}"/>
              </a:ext>
            </a:extLst>
          </p:cNvPr>
          <p:cNvSpPr/>
          <p:nvPr>
            <p:custDataLst>
              <p:tags r:id="rId4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 name="Block Arc 13" hidden="1">
            <a:extLst>
              <a:ext uri="{FF2B5EF4-FFF2-40B4-BE49-F238E27FC236}">
                <a16:creationId xmlns:a16="http://schemas.microsoft.com/office/drawing/2014/main" id="{6F1DFCB7-BBA5-48AC-A6FB-20447122C929}"/>
              </a:ext>
            </a:extLst>
          </p:cNvPr>
          <p:cNvSpPr/>
          <p:nvPr>
            <p:custDataLst>
              <p:tags r:id="rId4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6" name="Block Arc 15" hidden="1">
            <a:extLst>
              <a:ext uri="{FF2B5EF4-FFF2-40B4-BE49-F238E27FC236}">
                <a16:creationId xmlns:a16="http://schemas.microsoft.com/office/drawing/2014/main" id="{02279E0C-B0FD-4DB4-98DD-19D1C68A5DF2}"/>
              </a:ext>
            </a:extLst>
          </p:cNvPr>
          <p:cNvSpPr/>
          <p:nvPr>
            <p:custDataLst>
              <p:tags r:id="rId4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8" name="Block Arc 17" hidden="1">
            <a:extLst>
              <a:ext uri="{FF2B5EF4-FFF2-40B4-BE49-F238E27FC236}">
                <a16:creationId xmlns:a16="http://schemas.microsoft.com/office/drawing/2014/main" id="{880EB9AC-756E-4B94-8872-E97635946F0E}"/>
              </a:ext>
            </a:extLst>
          </p:cNvPr>
          <p:cNvSpPr/>
          <p:nvPr>
            <p:custDataLst>
              <p:tags r:id="rId4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0" name="Block Arc 19" hidden="1">
            <a:extLst>
              <a:ext uri="{FF2B5EF4-FFF2-40B4-BE49-F238E27FC236}">
                <a16:creationId xmlns:a16="http://schemas.microsoft.com/office/drawing/2014/main" id="{DA097C70-27B9-477F-8919-A2C013FE6D3E}"/>
              </a:ext>
            </a:extLst>
          </p:cNvPr>
          <p:cNvSpPr/>
          <p:nvPr>
            <p:custDataLst>
              <p:tags r:id="rId4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2" name="Block Arc 21" hidden="1">
            <a:extLst>
              <a:ext uri="{FF2B5EF4-FFF2-40B4-BE49-F238E27FC236}">
                <a16:creationId xmlns:a16="http://schemas.microsoft.com/office/drawing/2014/main" id="{4EE3CB77-6B70-45D7-B458-4F9FD1197759}"/>
              </a:ext>
            </a:extLst>
          </p:cNvPr>
          <p:cNvSpPr/>
          <p:nvPr>
            <p:custDataLst>
              <p:tags r:id="rId4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3" name="Block Arc 42" hidden="1">
            <a:extLst>
              <a:ext uri="{FF2B5EF4-FFF2-40B4-BE49-F238E27FC236}">
                <a16:creationId xmlns:a16="http://schemas.microsoft.com/office/drawing/2014/main" id="{4F36D70B-012F-40C5-9173-DC0402D79590}"/>
              </a:ext>
            </a:extLst>
          </p:cNvPr>
          <p:cNvSpPr/>
          <p:nvPr>
            <p:custDataLst>
              <p:tags r:id="rId4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4" name="Block Arc 43" hidden="1">
            <a:extLst>
              <a:ext uri="{FF2B5EF4-FFF2-40B4-BE49-F238E27FC236}">
                <a16:creationId xmlns:a16="http://schemas.microsoft.com/office/drawing/2014/main" id="{1F22791A-AA88-4BD8-AA80-1FF66BC10FA1}"/>
              </a:ext>
            </a:extLst>
          </p:cNvPr>
          <p:cNvSpPr/>
          <p:nvPr>
            <p:custDataLst>
              <p:tags r:id="rId4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5" name="Block Arc 44" hidden="1">
            <a:extLst>
              <a:ext uri="{FF2B5EF4-FFF2-40B4-BE49-F238E27FC236}">
                <a16:creationId xmlns:a16="http://schemas.microsoft.com/office/drawing/2014/main" id="{610E9389-B961-4802-A318-3D58CE31C7B8}"/>
              </a:ext>
            </a:extLst>
          </p:cNvPr>
          <p:cNvSpPr/>
          <p:nvPr>
            <p:custDataLst>
              <p:tags r:id="rId5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6" name="Block Arc 45" hidden="1">
            <a:extLst>
              <a:ext uri="{FF2B5EF4-FFF2-40B4-BE49-F238E27FC236}">
                <a16:creationId xmlns:a16="http://schemas.microsoft.com/office/drawing/2014/main" id="{A6C0B120-BD24-4627-9299-E4D9C7F62BA5}"/>
              </a:ext>
            </a:extLst>
          </p:cNvPr>
          <p:cNvSpPr/>
          <p:nvPr>
            <p:custDataLst>
              <p:tags r:id="rId5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7" name="Block Arc 46" hidden="1">
            <a:extLst>
              <a:ext uri="{FF2B5EF4-FFF2-40B4-BE49-F238E27FC236}">
                <a16:creationId xmlns:a16="http://schemas.microsoft.com/office/drawing/2014/main" id="{637374BD-FF49-45F9-9738-B00C676FAD3B}"/>
              </a:ext>
            </a:extLst>
          </p:cNvPr>
          <p:cNvSpPr/>
          <p:nvPr>
            <p:custDataLst>
              <p:tags r:id="rId5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8" name="Block Arc 47" hidden="1">
            <a:extLst>
              <a:ext uri="{FF2B5EF4-FFF2-40B4-BE49-F238E27FC236}">
                <a16:creationId xmlns:a16="http://schemas.microsoft.com/office/drawing/2014/main" id="{D1CA2D11-072B-43A8-BB3B-EBA1039DC97A}"/>
              </a:ext>
            </a:extLst>
          </p:cNvPr>
          <p:cNvSpPr/>
          <p:nvPr>
            <p:custDataLst>
              <p:tags r:id="rId5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9" name="Block Arc 48" hidden="1">
            <a:extLst>
              <a:ext uri="{FF2B5EF4-FFF2-40B4-BE49-F238E27FC236}">
                <a16:creationId xmlns:a16="http://schemas.microsoft.com/office/drawing/2014/main" id="{85B0DFB3-9A22-453F-867A-E79C03114AF4}"/>
              </a:ext>
            </a:extLst>
          </p:cNvPr>
          <p:cNvSpPr/>
          <p:nvPr>
            <p:custDataLst>
              <p:tags r:id="rId5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0" name="Block Arc 49" hidden="1">
            <a:extLst>
              <a:ext uri="{FF2B5EF4-FFF2-40B4-BE49-F238E27FC236}">
                <a16:creationId xmlns:a16="http://schemas.microsoft.com/office/drawing/2014/main" id="{3DFB1FDF-4853-4750-9368-9A0C6BF78703}"/>
              </a:ext>
            </a:extLst>
          </p:cNvPr>
          <p:cNvSpPr/>
          <p:nvPr>
            <p:custDataLst>
              <p:tags r:id="rId5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1" name="Block Arc 50" hidden="1">
            <a:extLst>
              <a:ext uri="{FF2B5EF4-FFF2-40B4-BE49-F238E27FC236}">
                <a16:creationId xmlns:a16="http://schemas.microsoft.com/office/drawing/2014/main" id="{C3D5CBB6-3D33-425E-86B9-AFDDBAE8837E}"/>
              </a:ext>
            </a:extLst>
          </p:cNvPr>
          <p:cNvSpPr/>
          <p:nvPr>
            <p:custDataLst>
              <p:tags r:id="rId5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2" name="Block Arc 51" hidden="1">
            <a:extLst>
              <a:ext uri="{FF2B5EF4-FFF2-40B4-BE49-F238E27FC236}">
                <a16:creationId xmlns:a16="http://schemas.microsoft.com/office/drawing/2014/main" id="{183CC26B-1858-442B-8582-1DCFC1508429}"/>
              </a:ext>
            </a:extLst>
          </p:cNvPr>
          <p:cNvSpPr/>
          <p:nvPr>
            <p:custDataLst>
              <p:tags r:id="rId5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3" name="Block Arc 52" hidden="1">
            <a:extLst>
              <a:ext uri="{FF2B5EF4-FFF2-40B4-BE49-F238E27FC236}">
                <a16:creationId xmlns:a16="http://schemas.microsoft.com/office/drawing/2014/main" id="{4F5DFEDD-EFBE-411E-9BC1-139BDF6D35F9}"/>
              </a:ext>
            </a:extLst>
          </p:cNvPr>
          <p:cNvSpPr/>
          <p:nvPr>
            <p:custDataLst>
              <p:tags r:id="rId5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4" name="Block Arc 53" hidden="1">
            <a:extLst>
              <a:ext uri="{FF2B5EF4-FFF2-40B4-BE49-F238E27FC236}">
                <a16:creationId xmlns:a16="http://schemas.microsoft.com/office/drawing/2014/main" id="{95E2C2F2-9C6B-4A71-AD85-240940DB0354}"/>
              </a:ext>
            </a:extLst>
          </p:cNvPr>
          <p:cNvSpPr/>
          <p:nvPr>
            <p:custDataLst>
              <p:tags r:id="rId5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5" name="Block Arc 54" hidden="1">
            <a:extLst>
              <a:ext uri="{FF2B5EF4-FFF2-40B4-BE49-F238E27FC236}">
                <a16:creationId xmlns:a16="http://schemas.microsoft.com/office/drawing/2014/main" id="{0C3E43DA-923E-499E-99E4-86F4B24A482E}"/>
              </a:ext>
            </a:extLst>
          </p:cNvPr>
          <p:cNvSpPr/>
          <p:nvPr>
            <p:custDataLst>
              <p:tags r:id="rId6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6" name="Block Arc 55" hidden="1">
            <a:extLst>
              <a:ext uri="{FF2B5EF4-FFF2-40B4-BE49-F238E27FC236}">
                <a16:creationId xmlns:a16="http://schemas.microsoft.com/office/drawing/2014/main" id="{21C6BF68-E105-4777-9A79-C5D83E1B3864}"/>
              </a:ext>
            </a:extLst>
          </p:cNvPr>
          <p:cNvSpPr/>
          <p:nvPr>
            <p:custDataLst>
              <p:tags r:id="rId6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7" name="Block Arc 56" hidden="1">
            <a:extLst>
              <a:ext uri="{FF2B5EF4-FFF2-40B4-BE49-F238E27FC236}">
                <a16:creationId xmlns:a16="http://schemas.microsoft.com/office/drawing/2014/main" id="{AB2559DA-EEDE-4E1A-9AE3-786FCF3522B2}"/>
              </a:ext>
            </a:extLst>
          </p:cNvPr>
          <p:cNvSpPr/>
          <p:nvPr>
            <p:custDataLst>
              <p:tags r:id="rId6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8" name="Block Arc 57" hidden="1">
            <a:extLst>
              <a:ext uri="{FF2B5EF4-FFF2-40B4-BE49-F238E27FC236}">
                <a16:creationId xmlns:a16="http://schemas.microsoft.com/office/drawing/2014/main" id="{CC2CD561-4C4F-419E-8EFE-E92E5770E663}"/>
              </a:ext>
            </a:extLst>
          </p:cNvPr>
          <p:cNvSpPr/>
          <p:nvPr>
            <p:custDataLst>
              <p:tags r:id="rId6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9" name="Block Arc 58" hidden="1">
            <a:extLst>
              <a:ext uri="{FF2B5EF4-FFF2-40B4-BE49-F238E27FC236}">
                <a16:creationId xmlns:a16="http://schemas.microsoft.com/office/drawing/2014/main" id="{322568AF-D867-4C9A-B427-5A5A60FDB1CA}"/>
              </a:ext>
            </a:extLst>
          </p:cNvPr>
          <p:cNvSpPr/>
          <p:nvPr>
            <p:custDataLst>
              <p:tags r:id="rId6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0" name="Block Arc 59" hidden="1">
            <a:extLst>
              <a:ext uri="{FF2B5EF4-FFF2-40B4-BE49-F238E27FC236}">
                <a16:creationId xmlns:a16="http://schemas.microsoft.com/office/drawing/2014/main" id="{25E57104-46B8-486D-801B-083019FFF2AC}"/>
              </a:ext>
            </a:extLst>
          </p:cNvPr>
          <p:cNvSpPr/>
          <p:nvPr>
            <p:custDataLst>
              <p:tags r:id="rId6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1" name="Block Arc 60" hidden="1">
            <a:extLst>
              <a:ext uri="{FF2B5EF4-FFF2-40B4-BE49-F238E27FC236}">
                <a16:creationId xmlns:a16="http://schemas.microsoft.com/office/drawing/2014/main" id="{BB82233C-7B9C-4BFE-A907-25F959BCE2E4}"/>
              </a:ext>
            </a:extLst>
          </p:cNvPr>
          <p:cNvSpPr/>
          <p:nvPr>
            <p:custDataLst>
              <p:tags r:id="rId6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2" name="Block Arc 61" hidden="1">
            <a:extLst>
              <a:ext uri="{FF2B5EF4-FFF2-40B4-BE49-F238E27FC236}">
                <a16:creationId xmlns:a16="http://schemas.microsoft.com/office/drawing/2014/main" id="{FAD46405-2B51-4536-9284-7790668500E2}"/>
              </a:ext>
            </a:extLst>
          </p:cNvPr>
          <p:cNvSpPr/>
          <p:nvPr>
            <p:custDataLst>
              <p:tags r:id="rId6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3" name="Block Arc 62" hidden="1">
            <a:extLst>
              <a:ext uri="{FF2B5EF4-FFF2-40B4-BE49-F238E27FC236}">
                <a16:creationId xmlns:a16="http://schemas.microsoft.com/office/drawing/2014/main" id="{452CCFCB-68AC-4588-83FD-9A21AD6FA1C3}"/>
              </a:ext>
            </a:extLst>
          </p:cNvPr>
          <p:cNvSpPr/>
          <p:nvPr>
            <p:custDataLst>
              <p:tags r:id="rId6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4" name="Block Arc 63" hidden="1">
            <a:extLst>
              <a:ext uri="{FF2B5EF4-FFF2-40B4-BE49-F238E27FC236}">
                <a16:creationId xmlns:a16="http://schemas.microsoft.com/office/drawing/2014/main" id="{8324C20D-E892-4E17-B3FA-96A516BE21B3}"/>
              </a:ext>
            </a:extLst>
          </p:cNvPr>
          <p:cNvSpPr/>
          <p:nvPr>
            <p:custDataLst>
              <p:tags r:id="rId6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5" name="Block Arc 64" hidden="1">
            <a:extLst>
              <a:ext uri="{FF2B5EF4-FFF2-40B4-BE49-F238E27FC236}">
                <a16:creationId xmlns:a16="http://schemas.microsoft.com/office/drawing/2014/main" id="{5B187337-1051-48F0-A6C8-E268511FEA25}"/>
              </a:ext>
            </a:extLst>
          </p:cNvPr>
          <p:cNvSpPr/>
          <p:nvPr>
            <p:custDataLst>
              <p:tags r:id="rId7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6" name="Block Arc 65" hidden="1">
            <a:extLst>
              <a:ext uri="{FF2B5EF4-FFF2-40B4-BE49-F238E27FC236}">
                <a16:creationId xmlns:a16="http://schemas.microsoft.com/office/drawing/2014/main" id="{FED0F92A-DB57-46A4-B29A-D8AE8941CAC8}"/>
              </a:ext>
            </a:extLst>
          </p:cNvPr>
          <p:cNvSpPr/>
          <p:nvPr>
            <p:custDataLst>
              <p:tags r:id="rId7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7" name="Block Arc 66" hidden="1">
            <a:extLst>
              <a:ext uri="{FF2B5EF4-FFF2-40B4-BE49-F238E27FC236}">
                <a16:creationId xmlns:a16="http://schemas.microsoft.com/office/drawing/2014/main" id="{3B9A71C0-B236-4991-8DD2-BBE7702CCA2A}"/>
              </a:ext>
            </a:extLst>
          </p:cNvPr>
          <p:cNvSpPr/>
          <p:nvPr>
            <p:custDataLst>
              <p:tags r:id="rId7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8" name="Block Arc 67" hidden="1">
            <a:extLst>
              <a:ext uri="{FF2B5EF4-FFF2-40B4-BE49-F238E27FC236}">
                <a16:creationId xmlns:a16="http://schemas.microsoft.com/office/drawing/2014/main" id="{46DA404E-8ACB-499D-BE0B-15FDF355F630}"/>
              </a:ext>
            </a:extLst>
          </p:cNvPr>
          <p:cNvSpPr/>
          <p:nvPr>
            <p:custDataLst>
              <p:tags r:id="rId7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9" name="Block Arc 68" hidden="1">
            <a:extLst>
              <a:ext uri="{FF2B5EF4-FFF2-40B4-BE49-F238E27FC236}">
                <a16:creationId xmlns:a16="http://schemas.microsoft.com/office/drawing/2014/main" id="{4F16BB53-9B65-4C78-A8EF-289854CC3E4C}"/>
              </a:ext>
            </a:extLst>
          </p:cNvPr>
          <p:cNvSpPr/>
          <p:nvPr>
            <p:custDataLst>
              <p:tags r:id="rId7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0" name="Block Arc 69" hidden="1">
            <a:extLst>
              <a:ext uri="{FF2B5EF4-FFF2-40B4-BE49-F238E27FC236}">
                <a16:creationId xmlns:a16="http://schemas.microsoft.com/office/drawing/2014/main" id="{DA41B019-57C7-4036-AC20-29843DC0BCF5}"/>
              </a:ext>
            </a:extLst>
          </p:cNvPr>
          <p:cNvSpPr/>
          <p:nvPr>
            <p:custDataLst>
              <p:tags r:id="rId7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1" name="Block Arc 70" hidden="1">
            <a:extLst>
              <a:ext uri="{FF2B5EF4-FFF2-40B4-BE49-F238E27FC236}">
                <a16:creationId xmlns:a16="http://schemas.microsoft.com/office/drawing/2014/main" id="{3C676182-928E-4593-9F43-8B4FA5F31F68}"/>
              </a:ext>
            </a:extLst>
          </p:cNvPr>
          <p:cNvSpPr/>
          <p:nvPr>
            <p:custDataLst>
              <p:tags r:id="rId7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2" name="Block Arc 71" hidden="1">
            <a:extLst>
              <a:ext uri="{FF2B5EF4-FFF2-40B4-BE49-F238E27FC236}">
                <a16:creationId xmlns:a16="http://schemas.microsoft.com/office/drawing/2014/main" id="{6FD22B9B-3B20-4633-9870-5A4FC1580076}"/>
              </a:ext>
            </a:extLst>
          </p:cNvPr>
          <p:cNvSpPr/>
          <p:nvPr>
            <p:custDataLst>
              <p:tags r:id="rId7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3" name="Block Arc 72" hidden="1">
            <a:extLst>
              <a:ext uri="{FF2B5EF4-FFF2-40B4-BE49-F238E27FC236}">
                <a16:creationId xmlns:a16="http://schemas.microsoft.com/office/drawing/2014/main" id="{44B0A48E-2E9F-4E1B-BB08-45B682C47A57}"/>
              </a:ext>
            </a:extLst>
          </p:cNvPr>
          <p:cNvSpPr/>
          <p:nvPr>
            <p:custDataLst>
              <p:tags r:id="rId7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4" name="Block Arc 73" hidden="1">
            <a:extLst>
              <a:ext uri="{FF2B5EF4-FFF2-40B4-BE49-F238E27FC236}">
                <a16:creationId xmlns:a16="http://schemas.microsoft.com/office/drawing/2014/main" id="{B30BBC3A-FBF7-46A8-A994-3E67DA6F8332}"/>
              </a:ext>
            </a:extLst>
          </p:cNvPr>
          <p:cNvSpPr/>
          <p:nvPr>
            <p:custDataLst>
              <p:tags r:id="rId7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5" name="Block Arc 74" hidden="1">
            <a:extLst>
              <a:ext uri="{FF2B5EF4-FFF2-40B4-BE49-F238E27FC236}">
                <a16:creationId xmlns:a16="http://schemas.microsoft.com/office/drawing/2014/main" id="{7C15BB2C-E8F8-489E-AA09-46BDAD13C817}"/>
              </a:ext>
            </a:extLst>
          </p:cNvPr>
          <p:cNvSpPr/>
          <p:nvPr>
            <p:custDataLst>
              <p:tags r:id="rId8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6" name="Block Arc 75" hidden="1">
            <a:extLst>
              <a:ext uri="{FF2B5EF4-FFF2-40B4-BE49-F238E27FC236}">
                <a16:creationId xmlns:a16="http://schemas.microsoft.com/office/drawing/2014/main" id="{ACDF36E9-53B7-4198-B2B2-DA00DF06C45E}"/>
              </a:ext>
            </a:extLst>
          </p:cNvPr>
          <p:cNvSpPr/>
          <p:nvPr>
            <p:custDataLst>
              <p:tags r:id="rId8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7" name="Block Arc 76" hidden="1">
            <a:extLst>
              <a:ext uri="{FF2B5EF4-FFF2-40B4-BE49-F238E27FC236}">
                <a16:creationId xmlns:a16="http://schemas.microsoft.com/office/drawing/2014/main" id="{36492099-6D1C-4DE1-8EDA-0A52583805B9}"/>
              </a:ext>
            </a:extLst>
          </p:cNvPr>
          <p:cNvSpPr/>
          <p:nvPr>
            <p:custDataLst>
              <p:tags r:id="rId8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8" name="Block Arc 77" hidden="1">
            <a:extLst>
              <a:ext uri="{FF2B5EF4-FFF2-40B4-BE49-F238E27FC236}">
                <a16:creationId xmlns:a16="http://schemas.microsoft.com/office/drawing/2014/main" id="{FF962092-5275-4653-B604-F0C4C6BF8FBC}"/>
              </a:ext>
            </a:extLst>
          </p:cNvPr>
          <p:cNvSpPr/>
          <p:nvPr>
            <p:custDataLst>
              <p:tags r:id="rId8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9" name="Block Arc 78" hidden="1">
            <a:extLst>
              <a:ext uri="{FF2B5EF4-FFF2-40B4-BE49-F238E27FC236}">
                <a16:creationId xmlns:a16="http://schemas.microsoft.com/office/drawing/2014/main" id="{087BA5DD-9EF0-4FB0-89E0-B768277EC754}"/>
              </a:ext>
            </a:extLst>
          </p:cNvPr>
          <p:cNvSpPr/>
          <p:nvPr>
            <p:custDataLst>
              <p:tags r:id="rId8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80" name="Block Arc 79" hidden="1">
            <a:extLst>
              <a:ext uri="{FF2B5EF4-FFF2-40B4-BE49-F238E27FC236}">
                <a16:creationId xmlns:a16="http://schemas.microsoft.com/office/drawing/2014/main" id="{0C4CCA0D-DD2B-4A36-915E-5935BE00739D}"/>
              </a:ext>
            </a:extLst>
          </p:cNvPr>
          <p:cNvSpPr/>
          <p:nvPr>
            <p:custDataLst>
              <p:tags r:id="rId8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7" name="Freeform: Shape 146">
            <a:extLst>
              <a:ext uri="{FF2B5EF4-FFF2-40B4-BE49-F238E27FC236}">
                <a16:creationId xmlns:a16="http://schemas.microsoft.com/office/drawing/2014/main" id="{5A5C2051-9C19-4538-B6C1-F22395F031E2}"/>
              </a:ext>
              <a:ext uri="{C183D7F6-B498-43B3-948B-1728B52AA6E4}">
                <adec:decorative xmlns:adec="http://schemas.microsoft.com/office/drawing/2017/decorative" val="1"/>
              </a:ext>
            </a:extLst>
          </p:cNvPr>
          <p:cNvSpPr/>
          <p:nvPr/>
        </p:nvSpPr>
        <p:spPr>
          <a:xfrm>
            <a:off x="173602" y="448"/>
            <a:ext cx="5403983" cy="6993631"/>
          </a:xfrm>
          <a:custGeom>
            <a:avLst/>
            <a:gdLst>
              <a:gd name="connsiteX0" fmla="*/ 183870 w 5299180"/>
              <a:gd name="connsiteY0" fmla="*/ 0 h 6857999"/>
              <a:gd name="connsiteX1" fmla="*/ 3816533 w 5299180"/>
              <a:gd name="connsiteY1" fmla="*/ 0 h 6857999"/>
              <a:gd name="connsiteX2" fmla="*/ 3882252 w 5299180"/>
              <a:gd name="connsiteY2" fmla="*/ 60218 h 6857999"/>
              <a:gd name="connsiteX3" fmla="*/ 4648268 w 5299180"/>
              <a:gd name="connsiteY3" fmla="*/ 1039170 h 6857999"/>
              <a:gd name="connsiteX4" fmla="*/ 4514378 w 5299180"/>
              <a:gd name="connsiteY4" fmla="*/ 6033033 h 6857999"/>
              <a:gd name="connsiteX5" fmla="*/ 3877995 w 5299180"/>
              <a:gd name="connsiteY5" fmla="*/ 6801938 h 6857999"/>
              <a:gd name="connsiteX6" fmla="*/ 3816385 w 5299180"/>
              <a:gd name="connsiteY6" fmla="*/ 6857999 h 6857999"/>
              <a:gd name="connsiteX7" fmla="*/ 0 w 5299180"/>
              <a:gd name="connsiteY7"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99180" h="6857999">
                <a:moveTo>
                  <a:pt x="183870" y="0"/>
                </a:moveTo>
                <a:lnTo>
                  <a:pt x="3816533" y="0"/>
                </a:lnTo>
                <a:lnTo>
                  <a:pt x="3882252" y="60218"/>
                </a:lnTo>
                <a:cubicBezTo>
                  <a:pt x="4175600" y="347172"/>
                  <a:pt x="4434067" y="675119"/>
                  <a:pt x="4648268" y="1039170"/>
                </a:cubicBezTo>
                <a:cubicBezTo>
                  <a:pt x="5562192" y="2592454"/>
                  <a:pt x="5510219" y="4530952"/>
                  <a:pt x="4514378" y="6033033"/>
                </a:cubicBezTo>
                <a:cubicBezTo>
                  <a:pt x="4327658" y="6314673"/>
                  <a:pt x="4113886" y="6571723"/>
                  <a:pt x="3877995" y="6801938"/>
                </a:cubicBezTo>
                <a:lnTo>
                  <a:pt x="3816385" y="6857999"/>
                </a:lnTo>
                <a:lnTo>
                  <a:pt x="0" y="6857999"/>
                </a:lnTo>
                <a:close/>
              </a:path>
            </a:pathLst>
          </a:custGeom>
          <a:solidFill>
            <a:schemeClr val="bg1"/>
          </a:solidFill>
          <a:ln>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grpSp>
        <p:nvGrpSpPr>
          <p:cNvPr id="139" name="Group 138">
            <a:extLst>
              <a:ext uri="{FF2B5EF4-FFF2-40B4-BE49-F238E27FC236}">
                <a16:creationId xmlns:a16="http://schemas.microsoft.com/office/drawing/2014/main" id="{78E1AD21-B1E1-4AFC-A797-6C906276B8B9}"/>
              </a:ext>
              <a:ext uri="{C183D7F6-B498-43B3-948B-1728B52AA6E4}">
                <adec:decorative xmlns:adec="http://schemas.microsoft.com/office/drawing/2017/decorative" val="1"/>
              </a:ext>
            </a:extLst>
          </p:cNvPr>
          <p:cNvGrpSpPr/>
          <p:nvPr/>
        </p:nvGrpSpPr>
        <p:grpSpPr>
          <a:xfrm>
            <a:off x="-1480992" y="397584"/>
            <a:ext cx="6199357" cy="6199357"/>
            <a:chOff x="1364623" y="843923"/>
            <a:chExt cx="5030453" cy="5030453"/>
          </a:xfrm>
        </p:grpSpPr>
        <p:sp>
          <p:nvSpPr>
            <p:cNvPr id="11" name="Block Arc 10">
              <a:extLst>
                <a:ext uri="{FF2B5EF4-FFF2-40B4-BE49-F238E27FC236}">
                  <a16:creationId xmlns:a16="http://schemas.microsoft.com/office/drawing/2014/main" id="{91D7D164-6DA3-4E6B-BEBF-F227DA26BF50}"/>
                </a:ext>
              </a:extLst>
            </p:cNvPr>
            <p:cNvSpPr/>
            <p:nvPr>
              <p:custDataLst>
                <p:tags r:id="rId87"/>
              </p:custDataLst>
            </p:nvPr>
          </p:nvSpPr>
          <p:spPr bwMode="auto">
            <a:xfrm rot="1095349">
              <a:off x="1364623" y="843923"/>
              <a:ext cx="5030453" cy="5030453"/>
            </a:xfrm>
            <a:prstGeom prst="blockArc">
              <a:avLst>
                <a:gd name="adj1" fmla="val 0"/>
                <a:gd name="adj2" fmla="val 216000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30" name="Block Arc 29">
              <a:extLst>
                <a:ext uri="{FF2B5EF4-FFF2-40B4-BE49-F238E27FC236}">
                  <a16:creationId xmlns:a16="http://schemas.microsoft.com/office/drawing/2014/main" id="{839F9D70-B90A-48B9-BF7E-5AD2F1CC8279}"/>
                </a:ext>
              </a:extLst>
            </p:cNvPr>
            <p:cNvSpPr/>
            <p:nvPr>
              <p:custDataLst>
                <p:tags r:id="rId88"/>
              </p:custDataLst>
            </p:nvPr>
          </p:nvSpPr>
          <p:spPr bwMode="auto">
            <a:xfrm rot="1095349">
              <a:off x="1600199" y="1079499"/>
              <a:ext cx="4559300" cy="4559300"/>
            </a:xfrm>
            <a:prstGeom prst="blockArc">
              <a:avLst>
                <a:gd name="adj1" fmla="val 2160000"/>
                <a:gd name="adj2" fmla="val 4288886"/>
                <a:gd name="adj3" fmla="val 24078"/>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86" name="Block Arc 85">
              <a:extLst>
                <a:ext uri="{FF2B5EF4-FFF2-40B4-BE49-F238E27FC236}">
                  <a16:creationId xmlns:a16="http://schemas.microsoft.com/office/drawing/2014/main" id="{8EE24D38-2494-49D9-A944-C2333D182120}"/>
                </a:ext>
              </a:extLst>
            </p:cNvPr>
            <p:cNvSpPr/>
            <p:nvPr>
              <p:custDataLst>
                <p:tags r:id="rId89"/>
              </p:custDataLst>
            </p:nvPr>
          </p:nvSpPr>
          <p:spPr bwMode="auto">
            <a:xfrm rot="1095349">
              <a:off x="1600199" y="1079499"/>
              <a:ext cx="4559300" cy="4559300"/>
            </a:xfrm>
            <a:prstGeom prst="blockArc">
              <a:avLst>
                <a:gd name="adj1" fmla="val 15088304"/>
                <a:gd name="adj2" fmla="val 1728000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93" name="Block Arc 92">
              <a:extLst>
                <a:ext uri="{FF2B5EF4-FFF2-40B4-BE49-F238E27FC236}">
                  <a16:creationId xmlns:a16="http://schemas.microsoft.com/office/drawing/2014/main" id="{0BBEAFF1-D87C-4A04-BFE7-918D36A07B14}"/>
                </a:ext>
              </a:extLst>
            </p:cNvPr>
            <p:cNvSpPr/>
            <p:nvPr>
              <p:custDataLst>
                <p:tags r:id="rId90"/>
              </p:custDataLst>
            </p:nvPr>
          </p:nvSpPr>
          <p:spPr bwMode="auto">
            <a:xfrm rot="1095349">
              <a:off x="1462733" y="942033"/>
              <a:ext cx="4834232" cy="4834232"/>
            </a:xfrm>
            <a:prstGeom prst="blockArc">
              <a:avLst>
                <a:gd name="adj1" fmla="val 17280000"/>
                <a:gd name="adj2" fmla="val 1944000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94" name="Block Arc 93">
              <a:extLst>
                <a:ext uri="{FF2B5EF4-FFF2-40B4-BE49-F238E27FC236}">
                  <a16:creationId xmlns:a16="http://schemas.microsoft.com/office/drawing/2014/main" id="{857A01D0-8818-4FD5-B4A3-2B04F570FCC9}"/>
                </a:ext>
              </a:extLst>
            </p:cNvPr>
            <p:cNvSpPr/>
            <p:nvPr>
              <p:custDataLst>
                <p:tags r:id="rId91"/>
              </p:custDataLst>
            </p:nvPr>
          </p:nvSpPr>
          <p:spPr bwMode="auto">
            <a:xfrm rot="1095349">
              <a:off x="1499088" y="978388"/>
              <a:ext cx="4761522" cy="4761522"/>
            </a:xfrm>
            <a:prstGeom prst="blockArc">
              <a:avLst>
                <a:gd name="adj1" fmla="val 19440000"/>
                <a:gd name="adj2" fmla="val 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grpSp>
      <p:sp>
        <p:nvSpPr>
          <p:cNvPr id="145" name="Arc 144">
            <a:extLst>
              <a:ext uri="{FF2B5EF4-FFF2-40B4-BE49-F238E27FC236}">
                <a16:creationId xmlns:a16="http://schemas.microsoft.com/office/drawing/2014/main" id="{2B9BAE0D-ADED-4086-9A60-AF65D7715274}"/>
              </a:ext>
              <a:ext uri="{C183D7F6-B498-43B3-948B-1728B52AA6E4}">
                <adec:decorative xmlns:adec="http://schemas.microsoft.com/office/drawing/2017/decorative" val="1"/>
              </a:ext>
            </a:extLst>
          </p:cNvPr>
          <p:cNvSpPr/>
          <p:nvPr/>
        </p:nvSpPr>
        <p:spPr>
          <a:xfrm>
            <a:off x="3726805" y="-3069"/>
            <a:ext cx="1409549" cy="6972300"/>
          </a:xfrm>
          <a:custGeom>
            <a:avLst/>
            <a:gdLst>
              <a:gd name="connsiteX0" fmla="*/ 8523786 w 9906000"/>
              <a:gd name="connsiteY0" fmla="*/ 1520553 h 9906000"/>
              <a:gd name="connsiteX1" fmla="*/ 8550315 w 9906000"/>
              <a:gd name="connsiteY1" fmla="*/ 8357634 h 9906000"/>
              <a:gd name="connsiteX2" fmla="*/ 4953000 w 9906000"/>
              <a:gd name="connsiteY2" fmla="*/ 4953000 h 9906000"/>
              <a:gd name="connsiteX3" fmla="*/ 8523786 w 9906000"/>
              <a:gd name="connsiteY3" fmla="*/ 1520553 h 9906000"/>
              <a:gd name="connsiteX0" fmla="*/ 8523786 w 9906000"/>
              <a:gd name="connsiteY0" fmla="*/ 1520553 h 9906000"/>
              <a:gd name="connsiteX1" fmla="*/ 8550315 w 9906000"/>
              <a:gd name="connsiteY1" fmla="*/ 8357634 h 9906000"/>
              <a:gd name="connsiteX0" fmla="*/ 0 w 4952999"/>
              <a:gd name="connsiteY0" fmla="*/ 3432447 h 6837081"/>
              <a:gd name="connsiteX1" fmla="*/ 3570786 w 4952999"/>
              <a:gd name="connsiteY1" fmla="*/ 0 h 6837081"/>
              <a:gd name="connsiteX2" fmla="*/ 3597315 w 4952999"/>
              <a:gd name="connsiteY2" fmla="*/ 6837081 h 6837081"/>
              <a:gd name="connsiteX3" fmla="*/ 91440 w 4952999"/>
              <a:gd name="connsiteY3" fmla="*/ 3523887 h 6837081"/>
              <a:gd name="connsiteX0" fmla="*/ 3570786 w 4952999"/>
              <a:gd name="connsiteY0" fmla="*/ 0 h 6837081"/>
              <a:gd name="connsiteX1" fmla="*/ 3597315 w 4952999"/>
              <a:gd name="connsiteY1" fmla="*/ 6837081 h 6837081"/>
              <a:gd name="connsiteX0" fmla="*/ 0 w 4952999"/>
              <a:gd name="connsiteY0" fmla="*/ 3432447 h 6837081"/>
              <a:gd name="connsiteX1" fmla="*/ 3570786 w 4952999"/>
              <a:gd name="connsiteY1" fmla="*/ 0 h 6837081"/>
              <a:gd name="connsiteX2" fmla="*/ 3597315 w 4952999"/>
              <a:gd name="connsiteY2" fmla="*/ 6837081 h 6837081"/>
              <a:gd name="connsiteX0" fmla="*/ 3570786 w 4952999"/>
              <a:gd name="connsiteY0" fmla="*/ 0 h 6837081"/>
              <a:gd name="connsiteX1" fmla="*/ 3597315 w 4952999"/>
              <a:gd name="connsiteY1" fmla="*/ 6837081 h 6837081"/>
              <a:gd name="connsiteX0" fmla="*/ 0 w 1382213"/>
              <a:gd name="connsiteY0" fmla="*/ 0 h 6837081"/>
              <a:gd name="connsiteX1" fmla="*/ 26529 w 1382213"/>
              <a:gd name="connsiteY1" fmla="*/ 6837081 h 6837081"/>
              <a:gd name="connsiteX0" fmla="*/ 0 w 1382213"/>
              <a:gd name="connsiteY0" fmla="*/ 0 h 6837081"/>
              <a:gd name="connsiteX1" fmla="*/ 26529 w 1382213"/>
              <a:gd name="connsiteY1" fmla="*/ 6837081 h 6837081"/>
            </a:gdLst>
            <a:ahLst/>
            <a:cxnLst>
              <a:cxn ang="0">
                <a:pos x="connsiteX0" y="connsiteY0"/>
              </a:cxn>
              <a:cxn ang="0">
                <a:pos x="connsiteX1" y="connsiteY1"/>
              </a:cxn>
            </a:cxnLst>
            <a:rect l="l" t="t" r="r" b="b"/>
            <a:pathLst>
              <a:path w="1382213" h="6837081" stroke="0" extrusionOk="0">
                <a:moveTo>
                  <a:pt x="0" y="0"/>
                </a:moveTo>
                <a:cubicBezTo>
                  <a:pt x="1832641" y="1906502"/>
                  <a:pt x="1844320" y="4916414"/>
                  <a:pt x="26529" y="6837081"/>
                </a:cubicBezTo>
              </a:path>
              <a:path w="1382213" h="6837081" fill="none">
                <a:moveTo>
                  <a:pt x="0" y="0"/>
                </a:moveTo>
                <a:cubicBezTo>
                  <a:pt x="1832641" y="1906502"/>
                  <a:pt x="1844320" y="4916414"/>
                  <a:pt x="26529" y="6837081"/>
                </a:cubicBezTo>
              </a:path>
            </a:pathLst>
          </a:custGeom>
          <a:noFill/>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sp>
        <p:nvSpPr>
          <p:cNvPr id="83" name="TextBox 82">
            <a:extLst>
              <a:ext uri="{FF2B5EF4-FFF2-40B4-BE49-F238E27FC236}">
                <a16:creationId xmlns:a16="http://schemas.microsoft.com/office/drawing/2014/main" id="{B242F6DD-0F7F-4CF7-8847-B0647A052573}"/>
              </a:ext>
              <a:ext uri="{C183D7F6-B498-43B3-948B-1728B52AA6E4}">
                <adec:decorative xmlns:adec="http://schemas.microsoft.com/office/drawing/2017/decorative" val="1"/>
              </a:ext>
            </a:extLst>
          </p:cNvPr>
          <p:cNvSpPr txBox="1"/>
          <p:nvPr/>
        </p:nvSpPr>
        <p:spPr>
          <a:xfrm>
            <a:off x="1" y="-1038"/>
            <a:ext cx="1585525" cy="6993632"/>
          </a:xfrm>
          <a:prstGeom prst="rect">
            <a:avLst/>
          </a:prstGeom>
          <a:solidFill>
            <a:schemeClr val="accent4"/>
          </a:solidFill>
        </p:spPr>
        <p:txBody>
          <a:bodyPr wrap="square">
            <a:noAutofit/>
          </a:bodyPr>
          <a:lstStyle/>
          <a:p>
            <a:pPr algn="ctr" defTabSz="932470">
              <a:defRPr/>
            </a:pPr>
            <a:endParaRPr lang="en-US">
              <a:solidFill>
                <a:srgbClr val="353535"/>
              </a:solidFill>
              <a:latin typeface="SegoeUI"/>
            </a:endParaRPr>
          </a:p>
        </p:txBody>
      </p:sp>
      <p:sp>
        <p:nvSpPr>
          <p:cNvPr id="15" name="TextBox 14">
            <a:extLst>
              <a:ext uri="{FF2B5EF4-FFF2-40B4-BE49-F238E27FC236}">
                <a16:creationId xmlns:a16="http://schemas.microsoft.com/office/drawing/2014/main" id="{94CB0C34-6558-47BD-A22D-4225A004FCC4}"/>
              </a:ext>
            </a:extLst>
          </p:cNvPr>
          <p:cNvSpPr txBox="1"/>
          <p:nvPr/>
        </p:nvSpPr>
        <p:spPr>
          <a:xfrm>
            <a:off x="1724298" y="5357264"/>
            <a:ext cx="1165630" cy="39544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Data Visualization</a:t>
            </a:r>
          </a:p>
        </p:txBody>
      </p:sp>
      <p:sp>
        <p:nvSpPr>
          <p:cNvPr id="17" name="TextBox 16">
            <a:extLst>
              <a:ext uri="{FF2B5EF4-FFF2-40B4-BE49-F238E27FC236}">
                <a16:creationId xmlns:a16="http://schemas.microsoft.com/office/drawing/2014/main" id="{64D19349-A129-4AC6-B403-E180872E6D32}"/>
              </a:ext>
            </a:extLst>
          </p:cNvPr>
          <p:cNvSpPr txBox="1"/>
          <p:nvPr/>
        </p:nvSpPr>
        <p:spPr>
          <a:xfrm>
            <a:off x="3378813" y="3388137"/>
            <a:ext cx="959190" cy="39544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Data</a:t>
            </a:r>
            <a:br>
              <a:rPr lang="en-US" sz="1428" kern="0">
                <a:gradFill>
                  <a:gsLst>
                    <a:gs pos="82000">
                      <a:srgbClr val="FFFFFF"/>
                    </a:gs>
                    <a:gs pos="0">
                      <a:srgbClr val="FFFFFF"/>
                    </a:gs>
                  </a:gsLst>
                  <a:lin ang="2700000" scaled="1"/>
                </a:gradFill>
                <a:latin typeface="Segoe UI Semibold"/>
              </a:rPr>
            </a:br>
            <a:r>
              <a:rPr lang="en-US" sz="1428" kern="0">
                <a:gradFill>
                  <a:gsLst>
                    <a:gs pos="82000">
                      <a:srgbClr val="FFFFFF"/>
                    </a:gs>
                    <a:gs pos="0">
                      <a:srgbClr val="FFFFFF"/>
                    </a:gs>
                  </a:gsLst>
                  <a:lin ang="2700000" scaled="1"/>
                </a:gradFill>
                <a:latin typeface="Segoe UI Semibold"/>
              </a:rPr>
              <a:t>modeling</a:t>
            </a:r>
          </a:p>
        </p:txBody>
      </p:sp>
      <p:sp>
        <p:nvSpPr>
          <p:cNvPr id="19" name="TextBox 18">
            <a:extLst>
              <a:ext uri="{FF2B5EF4-FFF2-40B4-BE49-F238E27FC236}">
                <a16:creationId xmlns:a16="http://schemas.microsoft.com/office/drawing/2014/main" id="{0A65A989-72F3-48EC-846A-269B6CB7747F}"/>
              </a:ext>
            </a:extLst>
          </p:cNvPr>
          <p:cNvSpPr txBox="1"/>
          <p:nvPr/>
        </p:nvSpPr>
        <p:spPr>
          <a:xfrm>
            <a:off x="1727513" y="1222469"/>
            <a:ext cx="1024536" cy="39544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Data Preparation</a:t>
            </a:r>
          </a:p>
        </p:txBody>
      </p:sp>
      <p:sp>
        <p:nvSpPr>
          <p:cNvPr id="21" name="TextBox 20">
            <a:extLst>
              <a:ext uri="{FF2B5EF4-FFF2-40B4-BE49-F238E27FC236}">
                <a16:creationId xmlns:a16="http://schemas.microsoft.com/office/drawing/2014/main" id="{E53D5C8B-6F2E-4178-B677-619905D1D7EB}"/>
              </a:ext>
            </a:extLst>
          </p:cNvPr>
          <p:cNvSpPr txBox="1"/>
          <p:nvPr/>
        </p:nvSpPr>
        <p:spPr>
          <a:xfrm>
            <a:off x="2986371" y="2011138"/>
            <a:ext cx="985055" cy="197721"/>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Security</a:t>
            </a:r>
          </a:p>
        </p:txBody>
      </p:sp>
      <p:sp>
        <p:nvSpPr>
          <p:cNvPr id="23" name="TextBox 22">
            <a:extLst>
              <a:ext uri="{FF2B5EF4-FFF2-40B4-BE49-F238E27FC236}">
                <a16:creationId xmlns:a16="http://schemas.microsoft.com/office/drawing/2014/main" id="{60DEC337-7937-44F1-A919-721245D56CD1}"/>
              </a:ext>
            </a:extLst>
          </p:cNvPr>
          <p:cNvSpPr txBox="1"/>
          <p:nvPr/>
        </p:nvSpPr>
        <p:spPr>
          <a:xfrm>
            <a:off x="2931262" y="4642650"/>
            <a:ext cx="1138708" cy="59316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Business logic and metrics</a:t>
            </a:r>
          </a:p>
        </p:txBody>
      </p:sp>
      <p:sp>
        <p:nvSpPr>
          <p:cNvPr id="148" name="Oval 147">
            <a:extLst>
              <a:ext uri="{FF2B5EF4-FFF2-40B4-BE49-F238E27FC236}">
                <a16:creationId xmlns:a16="http://schemas.microsoft.com/office/drawing/2014/main" id="{D4A36302-A67E-40F1-9D64-84621BEBADED}"/>
              </a:ext>
              <a:ext uri="{C183D7F6-B498-43B3-948B-1728B52AA6E4}">
                <adec:decorative xmlns:adec="http://schemas.microsoft.com/office/drawing/2017/decorative" val="1"/>
              </a:ext>
            </a:extLst>
          </p:cNvPr>
          <p:cNvSpPr/>
          <p:nvPr/>
        </p:nvSpPr>
        <p:spPr bwMode="auto">
          <a:xfrm>
            <a:off x="4278299" y="695794"/>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49" name="Oval 148">
            <a:extLst>
              <a:ext uri="{FF2B5EF4-FFF2-40B4-BE49-F238E27FC236}">
                <a16:creationId xmlns:a16="http://schemas.microsoft.com/office/drawing/2014/main" id="{39C0E313-6211-4DEE-985C-0B66CB1C7871}"/>
              </a:ext>
              <a:ext uri="{C183D7F6-B498-43B3-948B-1728B52AA6E4}">
                <adec:decorative xmlns:adec="http://schemas.microsoft.com/office/drawing/2017/decorative" val="1"/>
              </a:ext>
            </a:extLst>
          </p:cNvPr>
          <p:cNvSpPr/>
          <p:nvPr/>
        </p:nvSpPr>
        <p:spPr bwMode="auto">
          <a:xfrm>
            <a:off x="4278299" y="6083481"/>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52" name="Oval 151">
            <a:extLst>
              <a:ext uri="{FF2B5EF4-FFF2-40B4-BE49-F238E27FC236}">
                <a16:creationId xmlns:a16="http://schemas.microsoft.com/office/drawing/2014/main" id="{2339DE07-2BCE-4C37-9EBB-6876F24CE2C4}"/>
              </a:ext>
              <a:ext uri="{C183D7F6-B498-43B3-948B-1728B52AA6E4}">
                <adec:decorative xmlns:adec="http://schemas.microsoft.com/office/drawing/2017/decorative" val="1"/>
              </a:ext>
            </a:extLst>
          </p:cNvPr>
          <p:cNvSpPr/>
          <p:nvPr/>
        </p:nvSpPr>
        <p:spPr bwMode="auto">
          <a:xfrm>
            <a:off x="5030855" y="3392863"/>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cxnSp>
        <p:nvCxnSpPr>
          <p:cNvPr id="157" name="Straight Connector 156">
            <a:extLst>
              <a:ext uri="{FF2B5EF4-FFF2-40B4-BE49-F238E27FC236}">
                <a16:creationId xmlns:a16="http://schemas.microsoft.com/office/drawing/2014/main" id="{F25D8AB8-9761-4478-8722-3834E062394E}"/>
              </a:ext>
              <a:ext uri="{C183D7F6-B498-43B3-948B-1728B52AA6E4}">
                <adec:decorative xmlns:adec="http://schemas.microsoft.com/office/drawing/2017/decorative" val="1"/>
              </a:ext>
            </a:extLst>
          </p:cNvPr>
          <p:cNvCxnSpPr>
            <a:cxnSpLocks/>
          </p:cNvCxnSpPr>
          <p:nvPr/>
        </p:nvCxnSpPr>
        <p:spPr>
          <a:xfrm>
            <a:off x="1595256" y="446"/>
            <a:ext cx="0" cy="6993632"/>
          </a:xfrm>
          <a:prstGeom prst="line">
            <a:avLst/>
          </a:prstGeom>
          <a:ln w="5715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9FF43808-8CA7-45F0-8214-15A4E4783DFF}"/>
              </a:ext>
              <a:ext uri="{C183D7F6-B498-43B3-948B-1728B52AA6E4}">
                <adec:decorative xmlns:adec="http://schemas.microsoft.com/office/drawing/2017/decorative" val="1"/>
              </a:ext>
            </a:extLst>
          </p:cNvPr>
          <p:cNvSpPr/>
          <p:nvPr/>
        </p:nvSpPr>
        <p:spPr bwMode="auto">
          <a:xfrm>
            <a:off x="269916" y="1994002"/>
            <a:ext cx="3006521" cy="300652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grpSp>
        <p:nvGrpSpPr>
          <p:cNvPr id="24" name="Group 23">
            <a:extLst>
              <a:ext uri="{FF2B5EF4-FFF2-40B4-BE49-F238E27FC236}">
                <a16:creationId xmlns:a16="http://schemas.microsoft.com/office/drawing/2014/main" id="{CA47276F-749A-4DBC-83F6-B24541D0CDEE}"/>
              </a:ext>
            </a:extLst>
          </p:cNvPr>
          <p:cNvGrpSpPr/>
          <p:nvPr/>
        </p:nvGrpSpPr>
        <p:grpSpPr>
          <a:xfrm>
            <a:off x="793866" y="2433232"/>
            <a:ext cx="1958182" cy="2139410"/>
            <a:chOff x="3443371" y="2305233"/>
            <a:chExt cx="1958432" cy="2139683"/>
          </a:xfrm>
        </p:grpSpPr>
        <p:sp>
          <p:nvSpPr>
            <p:cNvPr id="81" name="Rectangle 80">
              <a:extLst>
                <a:ext uri="{FF2B5EF4-FFF2-40B4-BE49-F238E27FC236}">
                  <a16:creationId xmlns:a16="http://schemas.microsoft.com/office/drawing/2014/main" id="{28D6798A-75CC-4471-9BE8-62A93F7A6DAC}"/>
                </a:ext>
              </a:extLst>
            </p:cNvPr>
            <p:cNvSpPr/>
            <p:nvPr>
              <p:custDataLst>
                <p:tags r:id="rId86"/>
              </p:custDataLst>
            </p:nvPr>
          </p:nvSpPr>
          <p:spPr bwMode="auto">
            <a:xfrm>
              <a:off x="3443371" y="3933534"/>
              <a:ext cx="1958432" cy="511382"/>
            </a:xfrm>
            <a:prstGeom prst="rect">
              <a:avLst/>
            </a:prstGeom>
            <a:noFill/>
            <a:ln w="12700" cap="flat" cmpd="sng" algn="ctr">
              <a:noFill/>
              <a:prstDash val="soli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prstClr val="black"/>
                  </a:solidFill>
                  <a:prstDash val="solid"/>
                  <a:headEnd type="none" w="med" len="med"/>
                  <a:tailEnd type="none" w="med" len="me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algn="ctr" defTabSz="950933" fontAlgn="base">
                <a:spcBef>
                  <a:spcPct val="0"/>
                </a:spcBef>
                <a:spcAft>
                  <a:spcPct val="0"/>
                </a:spcAft>
                <a:defRPr/>
              </a:pPr>
              <a:r>
                <a:rPr lang="en-US" sz="2448">
                  <a:solidFill>
                    <a:srgbClr val="ADADAD"/>
                  </a:solidFill>
                  <a:latin typeface="Segoe UI Semibold"/>
                  <a:ea typeface="Segoe UI" pitchFamily="34" charset="0"/>
                  <a:cs typeface="Segoe UI" pitchFamily="34" charset="0"/>
                </a:rPr>
                <a:t>PBIX</a:t>
              </a:r>
            </a:p>
          </p:txBody>
        </p:sp>
        <p:graphicFrame>
          <p:nvGraphicFramePr>
            <p:cNvPr id="5" name="Object 4">
              <a:extLst>
                <a:ext uri="{FF2B5EF4-FFF2-40B4-BE49-F238E27FC236}">
                  <a16:creationId xmlns:a16="http://schemas.microsoft.com/office/drawing/2014/main" id="{63ED5430-1D66-4D40-B3B6-FE886B70DF6D}"/>
                </a:ext>
              </a:extLst>
            </p:cNvPr>
            <p:cNvGraphicFramePr>
              <a:graphicFrameLocks noChangeAspect="1"/>
            </p:cNvGraphicFramePr>
            <p:nvPr>
              <p:extLst>
                <p:ext uri="{D42A27DB-BD31-4B8C-83A1-F6EECF244321}">
                  <p14:modId xmlns:p14="http://schemas.microsoft.com/office/powerpoint/2010/main" val="1571214177"/>
                </p:ext>
              </p:extLst>
            </p:nvPr>
          </p:nvGraphicFramePr>
          <p:xfrm>
            <a:off x="3621916" y="2305233"/>
            <a:ext cx="1488476" cy="1711747"/>
          </p:xfrm>
          <a:graphic>
            <a:graphicData uri="http://schemas.openxmlformats.org/presentationml/2006/ole">
              <mc:AlternateContent xmlns:mc="http://schemas.openxmlformats.org/markup-compatibility/2006">
                <mc:Choice xmlns:v="urn:schemas-microsoft-com:vml" Requires="v">
                  <p:oleObj name="Bitmap Image" r:id="rId94" imgW="1397160" imgH="1606680" progId="Paint.Picture.1">
                    <p:embed/>
                  </p:oleObj>
                </mc:Choice>
                <mc:Fallback>
                  <p:oleObj name="Bitmap Image" r:id="rId94" imgW="1397160" imgH="1606680" progId="Paint.Picture.1">
                    <p:embed/>
                    <p:pic>
                      <p:nvPicPr>
                        <p:cNvPr id="5" name="Object 4">
                          <a:extLst>
                            <a:ext uri="{FF2B5EF4-FFF2-40B4-BE49-F238E27FC236}">
                              <a16:creationId xmlns:a16="http://schemas.microsoft.com/office/drawing/2014/main" id="{63ED5430-1D66-4D40-B3B6-FE886B70DF6D}"/>
                            </a:ext>
                          </a:extLst>
                        </p:cNvPr>
                        <p:cNvPicPr/>
                        <p:nvPr/>
                      </p:nvPicPr>
                      <p:blipFill>
                        <a:blip r:embed="rId95"/>
                        <a:stretch>
                          <a:fillRect/>
                        </a:stretch>
                      </p:blipFill>
                      <p:spPr>
                        <a:xfrm>
                          <a:off x="3621916" y="2305233"/>
                          <a:ext cx="1488476" cy="1711747"/>
                        </a:xfrm>
                        <a:prstGeom prst="rect">
                          <a:avLst/>
                        </a:prstGeom>
                      </p:spPr>
                    </p:pic>
                  </p:oleObj>
                </mc:Fallback>
              </mc:AlternateContent>
            </a:graphicData>
          </a:graphic>
        </p:graphicFrame>
      </p:grpSp>
      <p:cxnSp>
        <p:nvCxnSpPr>
          <p:cNvPr id="39" name="Straight Connector 38">
            <a:extLst>
              <a:ext uri="{FF2B5EF4-FFF2-40B4-BE49-F238E27FC236}">
                <a16:creationId xmlns:a16="http://schemas.microsoft.com/office/drawing/2014/main" id="{ED1C4064-B52E-4D91-A51F-890C4C64C47F}"/>
              </a:ext>
            </a:extLst>
          </p:cNvPr>
          <p:cNvCxnSpPr>
            <a:cxnSpLocks/>
          </p:cNvCxnSpPr>
          <p:nvPr/>
        </p:nvCxnSpPr>
        <p:spPr>
          <a:xfrm>
            <a:off x="5577585" y="2208858"/>
            <a:ext cx="6855541"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E15786AC-2358-472D-8E78-5802D95609AC}"/>
              </a:ext>
            </a:extLst>
          </p:cNvPr>
          <p:cNvGrpSpPr/>
          <p:nvPr/>
        </p:nvGrpSpPr>
        <p:grpSpPr>
          <a:xfrm>
            <a:off x="5888287" y="1420190"/>
            <a:ext cx="6140313" cy="4503546"/>
            <a:chOff x="5889037" y="1419924"/>
            <a:chExt cx="6141097" cy="4504121"/>
          </a:xfrm>
        </p:grpSpPr>
        <p:sp>
          <p:nvSpPr>
            <p:cNvPr id="142" name="TextBox 141">
              <a:extLst>
                <a:ext uri="{FF2B5EF4-FFF2-40B4-BE49-F238E27FC236}">
                  <a16:creationId xmlns:a16="http://schemas.microsoft.com/office/drawing/2014/main" id="{CE8813FB-2DD8-4D1F-8F33-704BF1DB97F9}"/>
                </a:ext>
              </a:extLst>
            </p:cNvPr>
            <p:cNvSpPr txBox="1"/>
            <p:nvPr/>
          </p:nvSpPr>
          <p:spPr>
            <a:xfrm>
              <a:off x="5924221" y="2483384"/>
              <a:ext cx="6105913" cy="2246769"/>
            </a:xfrm>
            <a:prstGeom prst="rect">
              <a:avLst/>
            </a:prstGeom>
            <a:noFill/>
          </p:spPr>
          <p:txBody>
            <a:bodyPr wrap="square">
              <a:spAutoFit/>
            </a:bodyPr>
            <a:lstStyle/>
            <a:p>
              <a:r>
                <a:rPr lang="en-US" sz="2800">
                  <a:solidFill>
                    <a:srgbClr val="171717"/>
                  </a:solidFill>
                  <a:latin typeface="+mj-lt"/>
                </a:rPr>
                <a:t>For enterprise scale deployments, it's recommended to separate the data preparation, dataset, and report development from a single file solution.</a:t>
              </a:r>
              <a:endParaRPr lang="en-US" sz="1400">
                <a:solidFill>
                  <a:srgbClr val="000000"/>
                </a:solidFill>
              </a:endParaRPr>
            </a:p>
          </p:txBody>
        </p:sp>
        <p:sp>
          <p:nvSpPr>
            <p:cNvPr id="34" name="Title 1">
              <a:extLst>
                <a:ext uri="{FF2B5EF4-FFF2-40B4-BE49-F238E27FC236}">
                  <a16:creationId xmlns:a16="http://schemas.microsoft.com/office/drawing/2014/main" id="{C86876B5-5E1B-4EAA-994C-00C61C1F64C5}"/>
                </a:ext>
              </a:extLst>
            </p:cNvPr>
            <p:cNvSpPr txBox="1">
              <a:spLocks/>
            </p:cNvSpPr>
            <p:nvPr/>
          </p:nvSpPr>
          <p:spPr>
            <a:xfrm>
              <a:off x="5889037" y="1419924"/>
              <a:ext cx="5770886"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defTabSz="932291">
                <a:defRPr/>
              </a:pPr>
              <a:r>
                <a:rPr lang="en-US" sz="4080" spc="0">
                  <a:solidFill>
                    <a:srgbClr val="FFC000"/>
                  </a:solidFill>
                </a:rPr>
                <a:t>Separating Development</a:t>
              </a:r>
            </a:p>
          </p:txBody>
        </p:sp>
        <p:sp>
          <p:nvSpPr>
            <p:cNvPr id="156" name="TextBox 155">
              <a:extLst>
                <a:ext uri="{FF2B5EF4-FFF2-40B4-BE49-F238E27FC236}">
                  <a16:creationId xmlns:a16="http://schemas.microsoft.com/office/drawing/2014/main" id="{8A78C84C-3B7A-40AD-89B6-D81EF198D335}"/>
                </a:ext>
              </a:extLst>
            </p:cNvPr>
            <p:cNvSpPr txBox="1"/>
            <p:nvPr/>
          </p:nvSpPr>
          <p:spPr>
            <a:xfrm>
              <a:off x="5932654" y="5000715"/>
              <a:ext cx="5735702" cy="923330"/>
            </a:xfrm>
            <a:prstGeom prst="rect">
              <a:avLst/>
            </a:prstGeom>
            <a:noFill/>
          </p:spPr>
          <p:txBody>
            <a:bodyPr wrap="square">
              <a:spAutoFit/>
            </a:bodyPr>
            <a:lstStyle/>
            <a:p>
              <a:pPr lvl="0"/>
              <a:r>
                <a:rPr lang="en-US">
                  <a:solidFill>
                    <a:srgbClr val="000000"/>
                  </a:solidFill>
                </a:rPr>
                <a:t>This technique allows different creators to work independently and collaboratively by sharing components.</a:t>
              </a:r>
            </a:p>
          </p:txBody>
        </p:sp>
      </p:grpSp>
    </p:spTree>
    <p:extLst>
      <p:ext uri="{BB962C8B-B14F-4D97-AF65-F5344CB8AC3E}">
        <p14:creationId xmlns:p14="http://schemas.microsoft.com/office/powerpoint/2010/main" val="2631673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Structure In An Analytical Report</a:t>
            </a:r>
          </a:p>
        </p:txBody>
      </p:sp>
      <p:sp>
        <p:nvSpPr>
          <p:cNvPr id="7" name="Text Placeholder 2">
            <a:extLst>
              <a:ext uri="{FF2B5EF4-FFF2-40B4-BE49-F238E27FC236}">
                <a16:creationId xmlns:a16="http://schemas.microsoft.com/office/drawing/2014/main" id="{470ACD85-FF7B-44A0-B033-1AE5B5FA9281}"/>
              </a:ext>
            </a:extLst>
          </p:cNvPr>
          <p:cNvSpPr txBox="1">
            <a:spLocks/>
          </p:cNvSpPr>
          <p:nvPr/>
        </p:nvSpPr>
        <p:spPr>
          <a:xfrm>
            <a:off x="595915" y="1464074"/>
            <a:ext cx="11239464" cy="1858457"/>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a:t>Analytical query</a:t>
            </a:r>
          </a:p>
          <a:p>
            <a:pPr lvl="1"/>
            <a:r>
              <a:rPr lang="en-US"/>
              <a:t>Filter (or slicing) - target relevant data</a:t>
            </a:r>
          </a:p>
          <a:p>
            <a:pPr lvl="1"/>
            <a:r>
              <a:rPr lang="en-US"/>
              <a:t>Group (or dicing)</a:t>
            </a:r>
          </a:p>
          <a:p>
            <a:pPr lvl="1"/>
            <a:r>
              <a:rPr lang="en-US"/>
              <a:t>Summarize</a:t>
            </a:r>
          </a:p>
        </p:txBody>
      </p:sp>
      <p:pic>
        <p:nvPicPr>
          <p:cNvPr id="9" name="Picture 2" descr="An animation shows the sequence of the filter, group and summarize query phases.">
            <a:extLst>
              <a:ext uri="{FF2B5EF4-FFF2-40B4-BE49-F238E27FC236}">
                <a16:creationId xmlns:a16="http://schemas.microsoft.com/office/drawing/2014/main" id="{E50D7A60-E782-4DFB-8109-3E9EEA8B3DF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60637" y="3497262"/>
            <a:ext cx="7315201" cy="1985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78074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Report Layout</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707903"/>
          </a:xfrm>
        </p:spPr>
        <p:txBody>
          <a:bodyPr/>
          <a:lstStyle/>
          <a:p>
            <a:r>
              <a:rPr lang="en-US"/>
              <a:t>Placement – reading order (e.g., left to right)</a:t>
            </a:r>
          </a:p>
          <a:p>
            <a:r>
              <a:rPr lang="en-US"/>
              <a:t>Balance – stability and structure in design</a:t>
            </a:r>
          </a:p>
          <a:p>
            <a:r>
              <a:rPr lang="en-US"/>
              <a:t>Proximity – place related objects close to each other</a:t>
            </a:r>
          </a:p>
        </p:txBody>
      </p:sp>
      <p:pic>
        <p:nvPicPr>
          <p:cNvPr id="562178" name="Picture 2" descr="Image shows an example of a report layout that has a key metrics section highlighted in a red box.">
            <a:extLst>
              <a:ext uri="{FF2B5EF4-FFF2-40B4-BE49-F238E27FC236}">
                <a16:creationId xmlns:a16="http://schemas.microsoft.com/office/drawing/2014/main" id="{250A9B7B-284B-4BB1-ABC6-AF2545A3CF0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38237" y="3227218"/>
            <a:ext cx="7560000" cy="42509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43016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nodeType="clickEffect">
                                  <p:stCondLst>
                                    <p:cond delay="0"/>
                                  </p:stCondLst>
                                  <p:childTnLst>
                                    <p:set>
                                      <p:cBhvr>
                                        <p:cTn id="14" dur="1" fill="hold">
                                          <p:stCondLst>
                                            <p:cond delay="0"/>
                                          </p:stCondLst>
                                        </p:cTn>
                                        <p:tgtEl>
                                          <p:spTgt spid="562178"/>
                                        </p:tgtEl>
                                        <p:attrNameLst>
                                          <p:attrName>style.visibility</p:attrName>
                                        </p:attrNameLst>
                                      </p:cBhvr>
                                      <p:to>
                                        <p:strVal val="visible"/>
                                      </p:to>
                                    </p:set>
                                    <p:anim calcmode="lin" valueType="num">
                                      <p:cBhvr additive="base">
                                        <p:cTn id="15" dur="500" fill="hold"/>
                                        <p:tgtEl>
                                          <p:spTgt spid="562178"/>
                                        </p:tgtEl>
                                        <p:attrNameLst>
                                          <p:attrName>ppt_x</p:attrName>
                                        </p:attrNameLst>
                                      </p:cBhvr>
                                      <p:tavLst>
                                        <p:tav tm="0">
                                          <p:val>
                                            <p:strVal val="#ppt_x"/>
                                          </p:val>
                                        </p:tav>
                                        <p:tav tm="100000">
                                          <p:val>
                                            <p:strVal val="#ppt_x"/>
                                          </p:val>
                                        </p:tav>
                                      </p:tavLst>
                                    </p:anim>
                                    <p:anim calcmode="lin" valueType="num">
                                      <p:cBhvr additive="base">
                                        <p:cTn id="16" dur="500" fill="hold"/>
                                        <p:tgtEl>
                                          <p:spTgt spid="56217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Report Layout</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2310697"/>
          </a:xfrm>
        </p:spPr>
        <p:txBody>
          <a:bodyPr/>
          <a:lstStyle/>
          <a:p>
            <a:r>
              <a:rPr lang="en-US"/>
              <a:t>Placement – reading order (e.g., left to right)</a:t>
            </a:r>
          </a:p>
          <a:p>
            <a:r>
              <a:rPr lang="en-US"/>
              <a:t>Balance – stability and structure in design</a:t>
            </a:r>
          </a:p>
          <a:p>
            <a:r>
              <a:rPr lang="en-US"/>
              <a:t>Proximity – place related objects close to each other</a:t>
            </a:r>
          </a:p>
          <a:p>
            <a:r>
              <a:rPr lang="en-US"/>
              <a:t>Contrast – to highlight important content</a:t>
            </a:r>
          </a:p>
        </p:txBody>
      </p:sp>
      <p:pic>
        <p:nvPicPr>
          <p:cNvPr id="562180" name="Picture 4" descr="Image shows an example of a report layout that has two bar chart visuals. The top selling product bar is highlighted in blue, while the remaining bars are grey.">
            <a:extLst>
              <a:ext uri="{FF2B5EF4-FFF2-40B4-BE49-F238E27FC236}">
                <a16:creationId xmlns:a16="http://schemas.microsoft.com/office/drawing/2014/main" id="{E5152702-30FB-4939-9A08-CF949FC8BC6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38237" y="3859271"/>
            <a:ext cx="7560000" cy="42509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525915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62180"/>
                                        </p:tgtEl>
                                        <p:attrNameLst>
                                          <p:attrName>style.visibility</p:attrName>
                                        </p:attrNameLst>
                                      </p:cBhvr>
                                      <p:to>
                                        <p:strVal val="visible"/>
                                      </p:to>
                                    </p:set>
                                    <p:anim calcmode="lin" valueType="num">
                                      <p:cBhvr additive="base">
                                        <p:cTn id="7" dur="500" fill="hold"/>
                                        <p:tgtEl>
                                          <p:spTgt spid="562180"/>
                                        </p:tgtEl>
                                        <p:attrNameLst>
                                          <p:attrName>ppt_x</p:attrName>
                                        </p:attrNameLst>
                                      </p:cBhvr>
                                      <p:tavLst>
                                        <p:tav tm="0">
                                          <p:val>
                                            <p:strVal val="#ppt_x"/>
                                          </p:val>
                                        </p:tav>
                                        <p:tav tm="100000">
                                          <p:val>
                                            <p:strVal val="#ppt_x"/>
                                          </p:val>
                                        </p:tav>
                                      </p:tavLst>
                                    </p:anim>
                                    <p:anim calcmode="lin" valueType="num">
                                      <p:cBhvr additive="base">
                                        <p:cTn id="8" dur="500" fill="hold"/>
                                        <p:tgtEl>
                                          <p:spTgt spid="56218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Report Layout</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2913490"/>
          </a:xfrm>
        </p:spPr>
        <p:txBody>
          <a:bodyPr/>
          <a:lstStyle/>
          <a:p>
            <a:r>
              <a:rPr lang="en-US"/>
              <a:t>Placement – reading order (e.g., left to right)</a:t>
            </a:r>
          </a:p>
          <a:p>
            <a:r>
              <a:rPr lang="en-US"/>
              <a:t>Balance – stability and structure in design</a:t>
            </a:r>
          </a:p>
          <a:p>
            <a:r>
              <a:rPr lang="en-US"/>
              <a:t>Proximity – place related objects close to each other</a:t>
            </a:r>
          </a:p>
          <a:p>
            <a:r>
              <a:rPr lang="en-US"/>
              <a:t>Contrast – to highlight important content</a:t>
            </a:r>
          </a:p>
          <a:p>
            <a:r>
              <a:rPr lang="en-US"/>
              <a:t>Repetition – create association and consistency</a:t>
            </a:r>
          </a:p>
        </p:txBody>
      </p:sp>
    </p:spTree>
    <p:extLst>
      <p:ext uri="{BB962C8B-B14F-4D97-AF65-F5344CB8AC3E}">
        <p14:creationId xmlns:p14="http://schemas.microsoft.com/office/powerpoint/2010/main" val="1684121068"/>
      </p:ext>
    </p:extLst>
  </p:cSld>
  <p:clrMapOvr>
    <a:masterClrMapping/>
  </p:clrMapOvr>
  <p:transition>
    <p:fade/>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Report Layout</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2913490"/>
          </a:xfrm>
        </p:spPr>
        <p:txBody>
          <a:bodyPr/>
          <a:lstStyle/>
          <a:p>
            <a:r>
              <a:rPr lang="en-US"/>
              <a:t>Placement – reading order (e.g., left to right)</a:t>
            </a:r>
          </a:p>
          <a:p>
            <a:r>
              <a:rPr lang="en-US"/>
              <a:t>Balance – stability and structure in design</a:t>
            </a:r>
          </a:p>
          <a:p>
            <a:r>
              <a:rPr lang="en-US"/>
              <a:t>Proximity – place related objects close to each other</a:t>
            </a:r>
          </a:p>
          <a:p>
            <a:r>
              <a:rPr lang="en-US"/>
              <a:t>Contrast – to highlight important content</a:t>
            </a:r>
          </a:p>
          <a:p>
            <a:r>
              <a:rPr lang="en-US"/>
              <a:t>Repetition – create association and consistency</a:t>
            </a:r>
          </a:p>
        </p:txBody>
      </p:sp>
      <p:pic>
        <p:nvPicPr>
          <p:cNvPr id="563202" name="Picture 2" descr="Image shows an example of a report layout that has a key metrics section. Two red boxes highlight five card visuals that display key metric values.">
            <a:extLst>
              <a:ext uri="{FF2B5EF4-FFF2-40B4-BE49-F238E27FC236}">
                <a16:creationId xmlns:a16="http://schemas.microsoft.com/office/drawing/2014/main" id="{D7B30578-8D65-482E-83E6-E99C48674C6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41620" y="2016637"/>
            <a:ext cx="7560000" cy="42509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07741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63202"/>
                                        </p:tgtEl>
                                        <p:attrNameLst>
                                          <p:attrName>style.visibility</p:attrName>
                                        </p:attrNameLst>
                                      </p:cBhvr>
                                      <p:to>
                                        <p:strVal val="visible"/>
                                      </p:to>
                                    </p:set>
                                    <p:anim calcmode="lin" valueType="num">
                                      <p:cBhvr additive="base">
                                        <p:cTn id="7" dur="500" fill="hold"/>
                                        <p:tgtEl>
                                          <p:spTgt spid="563202"/>
                                        </p:tgtEl>
                                        <p:attrNameLst>
                                          <p:attrName>ppt_x</p:attrName>
                                        </p:attrNameLst>
                                      </p:cBhvr>
                                      <p:tavLst>
                                        <p:tav tm="0">
                                          <p:val>
                                            <p:strVal val="#ppt_x"/>
                                          </p:val>
                                        </p:tav>
                                        <p:tav tm="100000">
                                          <p:val>
                                            <p:strVal val="#ppt_x"/>
                                          </p:val>
                                        </p:tav>
                                      </p:tavLst>
                                    </p:anim>
                                    <p:anim calcmode="lin" valueType="num">
                                      <p:cBhvr additive="base">
                                        <p:cTn id="8" dur="500" fill="hold"/>
                                        <p:tgtEl>
                                          <p:spTgt spid="56320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A2448F0F-750E-454F-8370-1E41DF6BCCB6}"/>
              </a:ext>
            </a:extLst>
          </p:cNvPr>
          <p:cNvSpPr/>
          <p:nvPr/>
        </p:nvSpPr>
        <p:spPr>
          <a:xfrm>
            <a:off x="1560078" y="631450"/>
            <a:ext cx="5488759" cy="548875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sp>
        <p:nvSpPr>
          <p:cNvPr id="43" name="Rectangle 42">
            <a:extLst>
              <a:ext uri="{FF2B5EF4-FFF2-40B4-BE49-F238E27FC236}">
                <a16:creationId xmlns:a16="http://schemas.microsoft.com/office/drawing/2014/main" id="{8BE93587-7EBF-453A-9E42-A743C659B286}"/>
              </a:ext>
            </a:extLst>
          </p:cNvPr>
          <p:cNvSpPr/>
          <p:nvPr/>
        </p:nvSpPr>
        <p:spPr>
          <a:xfrm rot="16200000">
            <a:off x="5343925" y="-2720097"/>
            <a:ext cx="1748627" cy="12434715"/>
          </a:xfrm>
          <a:prstGeom prst="rect">
            <a:avLst/>
          </a:prstGeom>
          <a:solidFill>
            <a:srgbClr val="EAEAEA">
              <a:alpha val="3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932649">
              <a:defRPr/>
            </a:pPr>
            <a:endParaRPr lang="en-US" sz="2448" b="1">
              <a:solidFill>
                <a:srgbClr val="000000"/>
              </a:solidFill>
              <a:latin typeface="Segoe UI Semibold" panose="020B0702040204020203" pitchFamily="34" charset="0"/>
              <a:cs typeface="Segoe UI Semibold" panose="020B0702040204020203" pitchFamily="34" charset="0"/>
            </a:endParaRPr>
          </a:p>
          <a:p>
            <a:pPr algn="ctr" defTabSz="932649">
              <a:defRPr/>
            </a:pPr>
            <a:endParaRPr lang="en-US" sz="2448" b="1">
              <a:solidFill>
                <a:srgbClr val="000000"/>
              </a:solidFill>
              <a:latin typeface="Segoe UI Semibold" panose="020B0702040204020203" pitchFamily="34" charset="0"/>
              <a:cs typeface="Segoe UI Semibold" panose="020B0702040204020203" pitchFamily="34" charset="0"/>
            </a:endParaRPr>
          </a:p>
          <a:p>
            <a:pPr marL="2797946" lvl="6" defTabSz="932649">
              <a:defRPr/>
            </a:pPr>
            <a:r>
              <a:rPr lang="en-US" sz="2448" b="1">
                <a:solidFill>
                  <a:srgbClr val="000000"/>
                </a:solidFill>
                <a:latin typeface="Segoe UI Semibold" panose="020B0702040204020203" pitchFamily="34" charset="0"/>
                <a:cs typeface="Segoe UI Semibold" panose="020B0702040204020203" pitchFamily="34" charset="0"/>
              </a:rPr>
              <a:t>POWER BI REPORT</a:t>
            </a:r>
          </a:p>
          <a:p>
            <a:pPr marL="2797946" lvl="6" defTabSz="932649">
              <a:defRPr/>
            </a:pPr>
            <a:r>
              <a:rPr lang="en-US" sz="1836" b="1" i="1">
                <a:solidFill>
                  <a:srgbClr val="000000"/>
                </a:solidFill>
                <a:latin typeface="Segoe UI Light" panose="020B0502040204020203" pitchFamily="34" charset="0"/>
                <a:cs typeface="Segoe UI Light" panose="020B0502040204020203" pitchFamily="34" charset="0"/>
              </a:rPr>
              <a:t>Design Thought Process</a:t>
            </a: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CA" sz="1836" b="1" i="1">
              <a:solidFill>
                <a:srgbClr val="000000"/>
              </a:solidFill>
              <a:latin typeface="Segoe UI Light" panose="020B0502040204020203" pitchFamily="34" charset="0"/>
              <a:cs typeface="Segoe UI Light" panose="020B0502040204020203" pitchFamily="34" charset="0"/>
            </a:endParaRPr>
          </a:p>
        </p:txBody>
      </p:sp>
      <p:sp>
        <p:nvSpPr>
          <p:cNvPr id="148" name="Freeform: Shape 147">
            <a:extLst>
              <a:ext uri="{FF2B5EF4-FFF2-40B4-BE49-F238E27FC236}">
                <a16:creationId xmlns:a16="http://schemas.microsoft.com/office/drawing/2014/main" id="{40659ACA-1BBA-4BE7-8CE6-752D6CF7EBEC}"/>
              </a:ext>
            </a:extLst>
          </p:cNvPr>
          <p:cNvSpPr/>
          <p:nvPr/>
        </p:nvSpPr>
        <p:spPr>
          <a:xfrm rot="8100000">
            <a:off x="1291349" y="362721"/>
            <a:ext cx="6026213" cy="6026216"/>
          </a:xfrm>
          <a:custGeom>
            <a:avLst/>
            <a:gdLst>
              <a:gd name="connsiteX0" fmla="*/ 1682508 w 4478158"/>
              <a:gd name="connsiteY0" fmla="*/ 250772 h 4478160"/>
              <a:gd name="connsiteX1" fmla="*/ 1752498 w 4478158"/>
              <a:gd name="connsiteY1" fmla="*/ 133916 h 4478160"/>
              <a:gd name="connsiteX2" fmla="*/ 1659341 w 4478158"/>
              <a:gd name="connsiteY2" fmla="*/ 78120 h 4478160"/>
              <a:gd name="connsiteX3" fmla="*/ 1811428 w 4478158"/>
              <a:gd name="connsiteY3" fmla="*/ 40988 h 4478160"/>
              <a:gd name="connsiteX4" fmla="*/ 3652293 w 4478158"/>
              <a:gd name="connsiteY4" fmla="*/ 502105 h 4478160"/>
              <a:gd name="connsiteX5" fmla="*/ 3763804 w 4478158"/>
              <a:gd name="connsiteY5" fmla="*/ 602896 h 4478160"/>
              <a:gd name="connsiteX6" fmla="*/ 3822347 w 4478158"/>
              <a:gd name="connsiteY6" fmla="*/ 655811 h 4478160"/>
              <a:gd name="connsiteX7" fmla="*/ 3853919 w 4478158"/>
              <a:gd name="connsiteY7" fmla="*/ 690741 h 4478160"/>
              <a:gd name="connsiteX8" fmla="*/ 3848013 w 4478158"/>
              <a:gd name="connsiteY8" fmla="*/ 792483 h 4478160"/>
              <a:gd name="connsiteX9" fmla="*/ 3848013 w 4478158"/>
              <a:gd name="connsiteY9" fmla="*/ 792484 h 4478160"/>
              <a:gd name="connsiteX10" fmla="*/ 3853919 w 4478158"/>
              <a:gd name="connsiteY10" fmla="*/ 690741 h 4478160"/>
              <a:gd name="connsiteX11" fmla="*/ 3976054 w 4478158"/>
              <a:gd name="connsiteY11" fmla="*/ 825864 h 4478160"/>
              <a:gd name="connsiteX12" fmla="*/ 4437170 w 4478158"/>
              <a:gd name="connsiteY12" fmla="*/ 2666730 h 4478160"/>
              <a:gd name="connsiteX13" fmla="*/ 4420751 w 4478158"/>
              <a:gd name="connsiteY13" fmla="*/ 2733981 h 4478160"/>
              <a:gd name="connsiteX14" fmla="*/ 4309537 w 4478158"/>
              <a:gd name="connsiteY14" fmla="*/ 2803038 h 4478160"/>
              <a:gd name="connsiteX15" fmla="*/ 4249278 w 4478158"/>
              <a:gd name="connsiteY15" fmla="*/ 2705993 h 4478160"/>
              <a:gd name="connsiteX16" fmla="*/ 4266950 w 4478158"/>
              <a:gd name="connsiteY16" fmla="*/ 2633613 h 4478160"/>
              <a:gd name="connsiteX17" fmla="*/ 3841542 w 4478158"/>
              <a:gd name="connsiteY17" fmla="*/ 935304 h 4478160"/>
              <a:gd name="connsiteX18" fmla="*/ 3704945 w 4478158"/>
              <a:gd name="connsiteY18" fmla="*/ 784179 h 4478160"/>
              <a:gd name="connsiteX19" fmla="*/ 3704944 w 4478158"/>
              <a:gd name="connsiteY19" fmla="*/ 784179 h 4478160"/>
              <a:gd name="connsiteX20" fmla="*/ 3699739 w 4478158"/>
              <a:gd name="connsiteY20" fmla="*/ 778420 h 4478160"/>
              <a:gd name="connsiteX21" fmla="*/ 3602229 w 4478158"/>
              <a:gd name="connsiteY21" fmla="*/ 690284 h 4478160"/>
              <a:gd name="connsiteX22" fmla="*/ 3542854 w 4478158"/>
              <a:gd name="connsiteY22" fmla="*/ 636618 h 4478160"/>
              <a:gd name="connsiteX23" fmla="*/ 1844546 w 4478158"/>
              <a:gd name="connsiteY23" fmla="*/ 211210 h 4478160"/>
              <a:gd name="connsiteX24" fmla="*/ 39167 w 4478158"/>
              <a:gd name="connsiteY24" fmla="*/ 1824055 h 4478160"/>
              <a:gd name="connsiteX25" fmla="*/ 40988 w 4478158"/>
              <a:gd name="connsiteY25" fmla="*/ 1811428 h 4478160"/>
              <a:gd name="connsiteX26" fmla="*/ 655811 w 4478158"/>
              <a:gd name="connsiteY26" fmla="*/ 655811 h 4478160"/>
              <a:gd name="connsiteX27" fmla="*/ 1396512 w 4478158"/>
              <a:gd name="connsiteY27" fmla="*/ 163952 h 4478160"/>
              <a:gd name="connsiteX28" fmla="*/ 1536124 w 4478158"/>
              <a:gd name="connsiteY28" fmla="*/ 115118 h 4478160"/>
              <a:gd name="connsiteX29" fmla="*/ 1628348 w 4478158"/>
              <a:gd name="connsiteY29" fmla="*/ 170356 h 4478160"/>
              <a:gd name="connsiteX30" fmla="*/ 1555590 w 4478158"/>
              <a:gd name="connsiteY30" fmla="*/ 291831 h 4478160"/>
              <a:gd name="connsiteX31" fmla="*/ 1461762 w 4478158"/>
              <a:gd name="connsiteY31" fmla="*/ 324651 h 4478160"/>
              <a:gd name="connsiteX32" fmla="*/ 778421 w 4478158"/>
              <a:gd name="connsiteY32" fmla="*/ 778420 h 4478160"/>
              <a:gd name="connsiteX33" fmla="*/ 211210 w 4478158"/>
              <a:gd name="connsiteY33" fmla="*/ 1844547 h 4478160"/>
              <a:gd name="connsiteX34" fmla="*/ 209174 w 4478158"/>
              <a:gd name="connsiteY34" fmla="*/ 1858654 h 4478160"/>
              <a:gd name="connsiteX35" fmla="*/ 137211 w 4478158"/>
              <a:gd name="connsiteY35" fmla="*/ 1755594 h 4478160"/>
              <a:gd name="connsiteX36" fmla="*/ 782918 w 4478158"/>
              <a:gd name="connsiteY36" fmla="*/ 3937235 h 4478160"/>
              <a:gd name="connsiteX37" fmla="*/ 782918 w 4478158"/>
              <a:gd name="connsiteY37" fmla="*/ 3812109 h 4478160"/>
              <a:gd name="connsiteX38" fmla="*/ 902740 w 4478158"/>
              <a:gd name="connsiteY38" fmla="*/ 3812109 h 4478160"/>
              <a:gd name="connsiteX39" fmla="*/ 935306 w 4478158"/>
              <a:gd name="connsiteY39" fmla="*/ 3841544 h 4478160"/>
              <a:gd name="connsiteX40" fmla="*/ 2633614 w 4478158"/>
              <a:gd name="connsiteY40" fmla="*/ 4266952 h 4478160"/>
              <a:gd name="connsiteX41" fmla="*/ 2708498 w 4478158"/>
              <a:gd name="connsiteY41" fmla="*/ 4248668 h 4478160"/>
              <a:gd name="connsiteX42" fmla="*/ 2827208 w 4478158"/>
              <a:gd name="connsiteY42" fmla="*/ 4219684 h 4478160"/>
              <a:gd name="connsiteX43" fmla="*/ 2834453 w 4478158"/>
              <a:gd name="connsiteY43" fmla="*/ 4217151 h 4478160"/>
              <a:gd name="connsiteX44" fmla="*/ 3016398 w 4478158"/>
              <a:gd name="connsiteY44" fmla="*/ 4153510 h 4478160"/>
              <a:gd name="connsiteX45" fmla="*/ 3699739 w 4478158"/>
              <a:gd name="connsiteY45" fmla="*/ 3699741 h 4478160"/>
              <a:gd name="connsiteX46" fmla="*/ 4219683 w 4478158"/>
              <a:gd name="connsiteY46" fmla="*/ 2827210 h 4478160"/>
              <a:gd name="connsiteX47" fmla="*/ 4220115 w 4478158"/>
              <a:gd name="connsiteY47" fmla="*/ 2825438 h 4478160"/>
              <a:gd name="connsiteX48" fmla="*/ 4285103 w 4478158"/>
              <a:gd name="connsiteY48" fmla="*/ 2930098 h 4478160"/>
              <a:gd name="connsiteX49" fmla="*/ 4388551 w 4478158"/>
              <a:gd name="connsiteY49" fmla="*/ 2865864 h 4478160"/>
              <a:gd name="connsiteX50" fmla="*/ 4385936 w 4478158"/>
              <a:gd name="connsiteY50" fmla="*/ 2876577 h 4478160"/>
              <a:gd name="connsiteX51" fmla="*/ 3822347 w 4478158"/>
              <a:gd name="connsiteY51" fmla="*/ 3822349 h 4478160"/>
              <a:gd name="connsiteX52" fmla="*/ 3081647 w 4478158"/>
              <a:gd name="connsiteY52" fmla="*/ 4314208 h 4478160"/>
              <a:gd name="connsiteX53" fmla="*/ 2881320 w 4478158"/>
              <a:gd name="connsiteY53" fmla="*/ 4384278 h 4478160"/>
              <a:gd name="connsiteX54" fmla="*/ 2876575 w 4478158"/>
              <a:gd name="connsiteY54" fmla="*/ 4385937 h 4478160"/>
              <a:gd name="connsiteX55" fmla="*/ 2755884 w 4478158"/>
              <a:gd name="connsiteY55" fmla="*/ 4415405 h 4478160"/>
              <a:gd name="connsiteX56" fmla="*/ 2666730 w 4478158"/>
              <a:gd name="connsiteY56" fmla="*/ 4437172 h 4478160"/>
              <a:gd name="connsiteX57" fmla="*/ 825865 w 4478158"/>
              <a:gd name="connsiteY57" fmla="*/ 3976055 h 4478160"/>
              <a:gd name="connsiteX58" fmla="*/ 655810 w 4478158"/>
              <a:gd name="connsiteY58" fmla="*/ 3822348 h 4478160"/>
              <a:gd name="connsiteX59" fmla="*/ 10247 w 4478158"/>
              <a:gd name="connsiteY59" fmla="*/ 2024458 h 4478160"/>
              <a:gd name="connsiteX60" fmla="*/ 20560 w 4478158"/>
              <a:gd name="connsiteY60" fmla="*/ 1952981 h 4478160"/>
              <a:gd name="connsiteX61" fmla="*/ 20561 w 4478158"/>
              <a:gd name="connsiteY61" fmla="*/ 1952980 h 4478160"/>
              <a:gd name="connsiteX62" fmla="*/ 39166 w 4478158"/>
              <a:gd name="connsiteY62" fmla="*/ 1824056 h 4478160"/>
              <a:gd name="connsiteX63" fmla="*/ 137211 w 4478158"/>
              <a:gd name="connsiteY63" fmla="*/ 1755594 h 4478160"/>
              <a:gd name="connsiteX64" fmla="*/ 209174 w 4478158"/>
              <a:gd name="connsiteY64" fmla="*/ 1858654 h 4478160"/>
              <a:gd name="connsiteX65" fmla="*/ 190837 w 4478158"/>
              <a:gd name="connsiteY65" fmla="*/ 1985725 h 4478160"/>
              <a:gd name="connsiteX66" fmla="*/ 182848 w 4478158"/>
              <a:gd name="connsiteY66" fmla="*/ 2041079 h 4478160"/>
              <a:gd name="connsiteX67" fmla="*/ 778420 w 4478158"/>
              <a:gd name="connsiteY67" fmla="*/ 3699740 h 4478160"/>
              <a:gd name="connsiteX68" fmla="*/ 805619 w 4478158"/>
              <a:gd name="connsiteY68" fmla="*/ 3724324 h 4478160"/>
              <a:gd name="connsiteX69" fmla="*/ 687863 w 4478158"/>
              <a:gd name="connsiteY69" fmla="*/ 3724324 h 4478160"/>
              <a:gd name="connsiteX70" fmla="*/ 687863 w 4478158"/>
              <a:gd name="connsiteY70" fmla="*/ 3851319 h 4478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478158" h="4478160">
                <a:moveTo>
                  <a:pt x="1682508" y="250772"/>
                </a:moveTo>
                <a:lnTo>
                  <a:pt x="1752498" y="133916"/>
                </a:lnTo>
                <a:lnTo>
                  <a:pt x="1659341" y="78120"/>
                </a:lnTo>
                <a:lnTo>
                  <a:pt x="1811428" y="40988"/>
                </a:lnTo>
                <a:cubicBezTo>
                  <a:pt x="2446537" y="-81977"/>
                  <a:pt x="3124622" y="71729"/>
                  <a:pt x="3652293" y="502105"/>
                </a:cubicBezTo>
                <a:lnTo>
                  <a:pt x="3763804" y="602896"/>
                </a:lnTo>
                <a:lnTo>
                  <a:pt x="3822347" y="655811"/>
                </a:lnTo>
                <a:lnTo>
                  <a:pt x="3853919" y="690741"/>
                </a:lnTo>
                <a:lnTo>
                  <a:pt x="3848013" y="792483"/>
                </a:lnTo>
                <a:lnTo>
                  <a:pt x="3848013" y="792484"/>
                </a:lnTo>
                <a:lnTo>
                  <a:pt x="3853919" y="690741"/>
                </a:lnTo>
                <a:lnTo>
                  <a:pt x="3976054" y="825864"/>
                </a:lnTo>
                <a:cubicBezTo>
                  <a:pt x="4406430" y="1353535"/>
                  <a:pt x="4560135" y="2031620"/>
                  <a:pt x="4437170" y="2666730"/>
                </a:cubicBezTo>
                <a:lnTo>
                  <a:pt x="4420751" y="2733981"/>
                </a:lnTo>
                <a:lnTo>
                  <a:pt x="4309537" y="2803038"/>
                </a:lnTo>
                <a:lnTo>
                  <a:pt x="4249278" y="2705993"/>
                </a:lnTo>
                <a:lnTo>
                  <a:pt x="4266950" y="2633613"/>
                </a:lnTo>
                <a:cubicBezTo>
                  <a:pt x="4380392" y="2047687"/>
                  <a:pt x="4238590" y="1422112"/>
                  <a:pt x="3841542" y="935304"/>
                </a:cubicBezTo>
                <a:lnTo>
                  <a:pt x="3704945" y="784179"/>
                </a:lnTo>
                <a:lnTo>
                  <a:pt x="3704944" y="784179"/>
                </a:lnTo>
                <a:lnTo>
                  <a:pt x="3699739" y="778420"/>
                </a:lnTo>
                <a:lnTo>
                  <a:pt x="3602229" y="690284"/>
                </a:lnTo>
                <a:lnTo>
                  <a:pt x="3542854" y="636618"/>
                </a:lnTo>
                <a:cubicBezTo>
                  <a:pt x="3056046" y="239570"/>
                  <a:pt x="2430472" y="97767"/>
                  <a:pt x="1844546" y="211210"/>
                </a:cubicBezTo>
                <a:close/>
                <a:moveTo>
                  <a:pt x="39167" y="1824055"/>
                </a:moveTo>
                <a:lnTo>
                  <a:pt x="40988" y="1811428"/>
                </a:lnTo>
                <a:cubicBezTo>
                  <a:pt x="122964" y="1388022"/>
                  <a:pt x="327906" y="983716"/>
                  <a:pt x="655811" y="655811"/>
                </a:cubicBezTo>
                <a:cubicBezTo>
                  <a:pt x="874415" y="437207"/>
                  <a:pt x="1126975" y="273253"/>
                  <a:pt x="1396512" y="163952"/>
                </a:cubicBezTo>
                <a:lnTo>
                  <a:pt x="1536124" y="115118"/>
                </a:lnTo>
                <a:lnTo>
                  <a:pt x="1628348" y="170356"/>
                </a:lnTo>
                <a:lnTo>
                  <a:pt x="1555590" y="291831"/>
                </a:lnTo>
                <a:lnTo>
                  <a:pt x="1461762" y="324651"/>
                </a:lnTo>
                <a:cubicBezTo>
                  <a:pt x="1213097" y="425489"/>
                  <a:pt x="980096" y="576745"/>
                  <a:pt x="778421" y="778420"/>
                </a:cubicBezTo>
                <a:cubicBezTo>
                  <a:pt x="475908" y="1080933"/>
                  <a:pt x="286838" y="1453928"/>
                  <a:pt x="211210" y="1844547"/>
                </a:cubicBezTo>
                <a:lnTo>
                  <a:pt x="209174" y="1858654"/>
                </a:lnTo>
                <a:lnTo>
                  <a:pt x="137211" y="1755594"/>
                </a:lnTo>
                <a:close/>
                <a:moveTo>
                  <a:pt x="782918" y="3937235"/>
                </a:moveTo>
                <a:lnTo>
                  <a:pt x="782918" y="3812109"/>
                </a:lnTo>
                <a:lnTo>
                  <a:pt x="902740" y="3812109"/>
                </a:lnTo>
                <a:lnTo>
                  <a:pt x="935306" y="3841544"/>
                </a:lnTo>
                <a:cubicBezTo>
                  <a:pt x="1422114" y="4238590"/>
                  <a:pt x="2047687" y="4380394"/>
                  <a:pt x="2633614" y="4266952"/>
                </a:cubicBezTo>
                <a:lnTo>
                  <a:pt x="2708498" y="4248668"/>
                </a:lnTo>
                <a:lnTo>
                  <a:pt x="2827208" y="4219684"/>
                </a:lnTo>
                <a:lnTo>
                  <a:pt x="2834453" y="4217151"/>
                </a:lnTo>
                <a:lnTo>
                  <a:pt x="3016398" y="4153510"/>
                </a:lnTo>
                <a:cubicBezTo>
                  <a:pt x="3265063" y="4052672"/>
                  <a:pt x="3498064" y="3901416"/>
                  <a:pt x="3699739" y="3699741"/>
                </a:cubicBezTo>
                <a:cubicBezTo>
                  <a:pt x="3951833" y="3447647"/>
                  <a:pt x="4125148" y="3146606"/>
                  <a:pt x="4219683" y="2827210"/>
                </a:cubicBezTo>
                <a:lnTo>
                  <a:pt x="4220115" y="2825438"/>
                </a:lnTo>
                <a:lnTo>
                  <a:pt x="4285103" y="2930098"/>
                </a:lnTo>
                <a:lnTo>
                  <a:pt x="4388551" y="2865864"/>
                </a:lnTo>
                <a:lnTo>
                  <a:pt x="4385936" y="2876577"/>
                </a:lnTo>
                <a:cubicBezTo>
                  <a:pt x="4283465" y="3222784"/>
                  <a:pt x="4095602" y="3549094"/>
                  <a:pt x="3822347" y="3822349"/>
                </a:cubicBezTo>
                <a:cubicBezTo>
                  <a:pt x="3603744" y="4040953"/>
                  <a:pt x="3351184" y="4204906"/>
                  <a:pt x="3081647" y="4314208"/>
                </a:cubicBezTo>
                <a:lnTo>
                  <a:pt x="2881320" y="4384278"/>
                </a:lnTo>
                <a:lnTo>
                  <a:pt x="2876575" y="4385937"/>
                </a:lnTo>
                <a:lnTo>
                  <a:pt x="2755884" y="4415405"/>
                </a:lnTo>
                <a:lnTo>
                  <a:pt x="2666730" y="4437172"/>
                </a:lnTo>
                <a:cubicBezTo>
                  <a:pt x="2031621" y="4560137"/>
                  <a:pt x="1353537" y="4406430"/>
                  <a:pt x="825865" y="3976055"/>
                </a:cubicBezTo>
                <a:close/>
                <a:moveTo>
                  <a:pt x="655810" y="3822348"/>
                </a:moveTo>
                <a:cubicBezTo>
                  <a:pt x="163953" y="3330490"/>
                  <a:pt x="-51237" y="2666730"/>
                  <a:pt x="10247" y="2024458"/>
                </a:cubicBezTo>
                <a:lnTo>
                  <a:pt x="20560" y="1952981"/>
                </a:lnTo>
                <a:lnTo>
                  <a:pt x="20561" y="1952980"/>
                </a:lnTo>
                <a:lnTo>
                  <a:pt x="39166" y="1824056"/>
                </a:lnTo>
                <a:lnTo>
                  <a:pt x="137211" y="1755594"/>
                </a:lnTo>
                <a:lnTo>
                  <a:pt x="209174" y="1858654"/>
                </a:lnTo>
                <a:lnTo>
                  <a:pt x="190837" y="1985725"/>
                </a:lnTo>
                <a:lnTo>
                  <a:pt x="182848" y="2041079"/>
                </a:lnTo>
                <a:cubicBezTo>
                  <a:pt x="126127" y="2633613"/>
                  <a:pt x="324652" y="3245971"/>
                  <a:pt x="778420" y="3699740"/>
                </a:cubicBezTo>
                <a:lnTo>
                  <a:pt x="805619" y="3724324"/>
                </a:lnTo>
                <a:lnTo>
                  <a:pt x="687863" y="3724324"/>
                </a:lnTo>
                <a:lnTo>
                  <a:pt x="687863" y="3851319"/>
                </a:lnTo>
                <a:close/>
              </a:path>
            </a:pathLst>
          </a:custGeom>
          <a:solidFill>
            <a:schemeClr val="bg1">
              <a:lumMod val="75000"/>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12" name="TextBox 11">
            <a:extLst>
              <a:ext uri="{FF2B5EF4-FFF2-40B4-BE49-F238E27FC236}">
                <a16:creationId xmlns:a16="http://schemas.microsoft.com/office/drawing/2014/main" id="{CE1B6C43-A200-4158-99F3-90B1BBDEC2D9}"/>
              </a:ext>
            </a:extLst>
          </p:cNvPr>
          <p:cNvSpPr txBox="1"/>
          <p:nvPr/>
        </p:nvSpPr>
        <p:spPr>
          <a:xfrm rot="3101169">
            <a:off x="5861527" y="1330472"/>
            <a:ext cx="1510792" cy="376684"/>
          </a:xfrm>
          <a:prstGeom prst="rect">
            <a:avLst/>
          </a:prstGeom>
          <a:noFill/>
        </p:spPr>
        <p:txBody>
          <a:bodyPr wrap="none" rtlCol="0">
            <a:prstTxWarp prst="textArchUp">
              <a:avLst/>
            </a:prstTxWarp>
            <a:spAutoFit/>
          </a:bodyPr>
          <a:lstStyle/>
          <a:p>
            <a:pPr algn="ctr" defTabSz="932649">
              <a:defRPr/>
            </a:pPr>
            <a:r>
              <a:rPr lang="en-CA" sz="1836">
                <a:solidFill>
                  <a:srgbClr val="000000"/>
                </a:solidFill>
                <a:latin typeface="Segoe UI"/>
              </a:rPr>
              <a:t>UNDERSTAND</a:t>
            </a:r>
          </a:p>
        </p:txBody>
      </p:sp>
      <p:sp>
        <p:nvSpPr>
          <p:cNvPr id="149" name="TextBox 148">
            <a:extLst>
              <a:ext uri="{FF2B5EF4-FFF2-40B4-BE49-F238E27FC236}">
                <a16:creationId xmlns:a16="http://schemas.microsoft.com/office/drawing/2014/main" id="{C38B9824-2B56-40C3-A86F-36F9996F5ED8}"/>
              </a:ext>
            </a:extLst>
          </p:cNvPr>
          <p:cNvSpPr txBox="1"/>
          <p:nvPr/>
        </p:nvSpPr>
        <p:spPr>
          <a:xfrm>
            <a:off x="3617062" y="6245487"/>
            <a:ext cx="1510792" cy="376684"/>
          </a:xfrm>
          <a:prstGeom prst="rect">
            <a:avLst/>
          </a:prstGeom>
          <a:noFill/>
        </p:spPr>
        <p:txBody>
          <a:bodyPr wrap="none" rtlCol="0">
            <a:prstTxWarp prst="textArchDown">
              <a:avLst>
                <a:gd name="adj" fmla="val 938077"/>
              </a:avLst>
            </a:prstTxWarp>
            <a:spAutoFit/>
          </a:bodyPr>
          <a:lstStyle/>
          <a:p>
            <a:pPr algn="ctr" defTabSz="932649">
              <a:defRPr/>
            </a:pPr>
            <a:r>
              <a:rPr lang="en-CA" sz="1836">
                <a:solidFill>
                  <a:srgbClr val="000000"/>
                </a:solidFill>
                <a:latin typeface="Segoe UI"/>
              </a:rPr>
              <a:t>EXPLORE</a:t>
            </a:r>
          </a:p>
        </p:txBody>
      </p:sp>
      <p:sp>
        <p:nvSpPr>
          <p:cNvPr id="150" name="TextBox 149">
            <a:extLst>
              <a:ext uri="{FF2B5EF4-FFF2-40B4-BE49-F238E27FC236}">
                <a16:creationId xmlns:a16="http://schemas.microsoft.com/office/drawing/2014/main" id="{D23C2F4F-480F-4D85-91F5-596D114FA5CB}"/>
              </a:ext>
            </a:extLst>
          </p:cNvPr>
          <p:cNvSpPr txBox="1"/>
          <p:nvPr/>
        </p:nvSpPr>
        <p:spPr>
          <a:xfrm rot="18074945">
            <a:off x="1023248" y="1637347"/>
            <a:ext cx="1510792" cy="376684"/>
          </a:xfrm>
          <a:prstGeom prst="rect">
            <a:avLst/>
          </a:prstGeom>
          <a:noFill/>
        </p:spPr>
        <p:txBody>
          <a:bodyPr wrap="none" rtlCol="0">
            <a:prstTxWarp prst="textArchUp">
              <a:avLst/>
            </a:prstTxWarp>
            <a:spAutoFit/>
          </a:bodyPr>
          <a:lstStyle/>
          <a:p>
            <a:pPr algn="ctr" defTabSz="932649">
              <a:defRPr/>
            </a:pPr>
            <a:r>
              <a:rPr lang="en-CA" sz="1836">
                <a:solidFill>
                  <a:srgbClr val="000000"/>
                </a:solidFill>
                <a:latin typeface="Segoe UI"/>
              </a:rPr>
              <a:t>MATERIALIZE</a:t>
            </a:r>
          </a:p>
        </p:txBody>
      </p:sp>
      <p:grpSp>
        <p:nvGrpSpPr>
          <p:cNvPr id="192" name="Group 191">
            <a:extLst>
              <a:ext uri="{FF2B5EF4-FFF2-40B4-BE49-F238E27FC236}">
                <a16:creationId xmlns:a16="http://schemas.microsoft.com/office/drawing/2014/main" id="{6EC0DFF8-8992-4976-81C0-5D690EF86642}"/>
              </a:ext>
            </a:extLst>
          </p:cNvPr>
          <p:cNvGrpSpPr/>
          <p:nvPr/>
        </p:nvGrpSpPr>
        <p:grpSpPr>
          <a:xfrm>
            <a:off x="7900885" y="540674"/>
            <a:ext cx="3882945" cy="2604899"/>
            <a:chOff x="665628" y="2493869"/>
            <a:chExt cx="2572872" cy="2554381"/>
          </a:xfrm>
        </p:grpSpPr>
        <p:sp>
          <p:nvSpPr>
            <p:cNvPr id="193" name="Rectangle: Rounded Corners 192">
              <a:extLst>
                <a:ext uri="{FF2B5EF4-FFF2-40B4-BE49-F238E27FC236}">
                  <a16:creationId xmlns:a16="http://schemas.microsoft.com/office/drawing/2014/main" id="{BD2443E8-7532-4E99-8347-14BA6739A89C}"/>
                </a:ext>
              </a:extLst>
            </p:cNvPr>
            <p:cNvSpPr/>
            <p:nvPr/>
          </p:nvSpPr>
          <p:spPr>
            <a:xfrm>
              <a:off x="665629" y="2493869"/>
              <a:ext cx="2572871" cy="2554381"/>
            </a:xfrm>
            <a:prstGeom prst="roundRect">
              <a:avLst>
                <a:gd name="adj" fmla="val 4745"/>
              </a:avLst>
            </a:prstGeom>
            <a:solidFill>
              <a:srgbClr val="FFFFFF"/>
            </a:solidFill>
            <a:ln>
              <a:solidFill>
                <a:srgbClr val="FFFFFF"/>
              </a:solidFill>
            </a:ln>
            <a:effectLst>
              <a:outerShdw blurRad="127000" sx="102000" sy="102000" algn="ctr"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sp>
          <p:nvSpPr>
            <p:cNvPr id="194" name="Rectangle: Rounded Corners 193">
              <a:extLst>
                <a:ext uri="{FF2B5EF4-FFF2-40B4-BE49-F238E27FC236}">
                  <a16:creationId xmlns:a16="http://schemas.microsoft.com/office/drawing/2014/main" id="{086DEA2A-5534-4DCE-B50A-5A29DB1634CE}"/>
                </a:ext>
              </a:extLst>
            </p:cNvPr>
            <p:cNvSpPr/>
            <p:nvPr/>
          </p:nvSpPr>
          <p:spPr>
            <a:xfrm>
              <a:off x="665628" y="2493869"/>
              <a:ext cx="2572871" cy="373156"/>
            </a:xfrm>
            <a:prstGeom prst="roundRect">
              <a:avLst>
                <a:gd name="adj" fmla="val 32823"/>
              </a:avLst>
            </a:prstGeom>
            <a:solidFill>
              <a:srgbClr val="4472C4"/>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sp>
          <p:nvSpPr>
            <p:cNvPr id="195" name="Rectangle: Rounded Corners 194">
              <a:extLst>
                <a:ext uri="{FF2B5EF4-FFF2-40B4-BE49-F238E27FC236}">
                  <a16:creationId xmlns:a16="http://schemas.microsoft.com/office/drawing/2014/main" id="{0155F319-16A5-4198-B4A8-BC6D9EAAC093}"/>
                </a:ext>
              </a:extLst>
            </p:cNvPr>
            <p:cNvSpPr/>
            <p:nvPr/>
          </p:nvSpPr>
          <p:spPr>
            <a:xfrm>
              <a:off x="665628" y="2680446"/>
              <a:ext cx="2572871" cy="1948703"/>
            </a:xfrm>
            <a:prstGeom prst="roundRect">
              <a:avLst>
                <a:gd name="adj" fmla="val 0"/>
              </a:avLst>
            </a:prstGeom>
            <a:solidFill>
              <a:schemeClr val="bg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lnSpc>
                  <a:spcPts val="1836"/>
                </a:lnSpc>
                <a:defRPr/>
              </a:pPr>
              <a:endParaRPr lang="en-US" sz="1836">
                <a:solidFill>
                  <a:srgbClr val="000000"/>
                </a:solidFill>
                <a:latin typeface="Segoe UI Semibold" panose="020B0702040204020203" pitchFamily="34" charset="0"/>
                <a:cs typeface="Segoe UI Semibold" panose="020B0702040204020203" pitchFamily="34" charset="0"/>
              </a:endParaRPr>
            </a:p>
            <a:p>
              <a:pPr algn="ctr" defTabSz="932649">
                <a:lnSpc>
                  <a:spcPts val="1836"/>
                </a:lnSpc>
                <a:defRPr/>
              </a:pPr>
              <a:endParaRPr lang="en-US" sz="1836">
                <a:solidFill>
                  <a:srgbClr val="000000"/>
                </a:solidFill>
                <a:latin typeface="Segoe UI Semibold" panose="020B0702040204020203" pitchFamily="34" charset="0"/>
                <a:cs typeface="Segoe UI Semibold" panose="020B0702040204020203" pitchFamily="34" charset="0"/>
              </a:endParaRPr>
            </a:p>
            <a:p>
              <a:pPr algn="ctr" defTabSz="932649">
                <a:lnSpc>
                  <a:spcPts val="1836"/>
                </a:lnSpc>
                <a:defRPr/>
              </a:pPr>
              <a:endParaRPr lang="en-US" sz="1836">
                <a:solidFill>
                  <a:srgbClr val="000000"/>
                </a:solidFill>
                <a:latin typeface="Segoe UI Semibold" panose="020B0702040204020203" pitchFamily="34" charset="0"/>
                <a:cs typeface="Segoe UI Semibold" panose="020B0702040204020203" pitchFamily="34" charset="0"/>
              </a:endParaRPr>
            </a:p>
            <a:p>
              <a:pPr algn="ctr" defTabSz="932649">
                <a:lnSpc>
                  <a:spcPts val="1836"/>
                </a:lnSpc>
                <a:defRPr/>
              </a:pPr>
              <a:r>
                <a:rPr lang="en-US" sz="1836">
                  <a:solidFill>
                    <a:srgbClr val="FFFFFF"/>
                  </a:solidFill>
                  <a:highlight>
                    <a:srgbClr val="4472C4"/>
                  </a:highlight>
                  <a:latin typeface="Nexa Heavy" panose="02000000000000000000" pitchFamily="2" charset="0"/>
                  <a:cs typeface="Segoe UI Semibold" panose="020B0702040204020203" pitchFamily="34" charset="0"/>
                </a:rPr>
                <a:t>VISUALIZE</a:t>
              </a:r>
            </a:p>
            <a:p>
              <a:pPr algn="ctr" defTabSz="932649">
                <a:lnSpc>
                  <a:spcPts val="1836"/>
                </a:lnSpc>
                <a:defRPr/>
              </a:pPr>
              <a:r>
                <a:rPr lang="en-US" sz="1428">
                  <a:solidFill>
                    <a:srgbClr val="000000"/>
                  </a:solidFill>
                  <a:latin typeface="Segoe UI Semibold" panose="020B0702040204020203" pitchFamily="34" charset="0"/>
                  <a:cs typeface="Segoe UI Semibold" panose="020B0702040204020203" pitchFamily="34" charset="0"/>
                </a:rPr>
                <a:t>YOUR </a:t>
              </a:r>
              <a:r>
                <a:rPr lang="en-US" sz="1836">
                  <a:solidFill>
                    <a:srgbClr val="000000"/>
                  </a:solidFill>
                  <a:latin typeface="Nexa Heavy" panose="02000000000000000000" pitchFamily="2" charset="0"/>
                  <a:cs typeface="Segoe UI Semibold" panose="020B0702040204020203" pitchFamily="34" charset="0"/>
                </a:rPr>
                <a:t>DATA</a:t>
              </a:r>
              <a:r>
                <a:rPr lang="en-US" sz="1836">
                  <a:solidFill>
                    <a:srgbClr val="000000"/>
                  </a:solidFill>
                  <a:latin typeface="Segoe UI Semibold" panose="020B0702040204020203" pitchFamily="34" charset="0"/>
                  <a:cs typeface="Segoe UI Semibold" panose="020B0702040204020203" pitchFamily="34" charset="0"/>
                </a:rPr>
                <a:t> </a:t>
              </a:r>
            </a:p>
            <a:p>
              <a:pPr algn="ctr" defTabSz="932649">
                <a:lnSpc>
                  <a:spcPts val="1836"/>
                </a:lnSpc>
                <a:defRPr/>
              </a:pPr>
              <a:r>
                <a:rPr lang="en-US" sz="1632" i="1">
                  <a:solidFill>
                    <a:srgbClr val="FFFFFF">
                      <a:lumMod val="65000"/>
                    </a:srgbClr>
                  </a:solidFill>
                  <a:latin typeface="Segoe UI Light" panose="020B0502040204020203" pitchFamily="34" charset="0"/>
                  <a:cs typeface="Segoe UI Light" panose="020B0502040204020203" pitchFamily="34" charset="0"/>
                </a:rPr>
                <a:t>Generate a range of alternative, creative visualizations to tell the stories your users want to know </a:t>
              </a:r>
              <a:endParaRPr lang="en-CA" sz="1632" i="1">
                <a:solidFill>
                  <a:srgbClr val="FFFFFF">
                    <a:lumMod val="65000"/>
                  </a:srgbClr>
                </a:solidFill>
                <a:latin typeface="Segoe UI Light" panose="020B0502040204020203" pitchFamily="34" charset="0"/>
                <a:cs typeface="Segoe UI Light" panose="020B0502040204020203" pitchFamily="34" charset="0"/>
              </a:endParaRPr>
            </a:p>
          </p:txBody>
        </p:sp>
      </p:grpSp>
      <p:grpSp>
        <p:nvGrpSpPr>
          <p:cNvPr id="67" name="Group 66">
            <a:extLst>
              <a:ext uri="{FF2B5EF4-FFF2-40B4-BE49-F238E27FC236}">
                <a16:creationId xmlns:a16="http://schemas.microsoft.com/office/drawing/2014/main" id="{14A6EABE-E28C-48C3-A8B8-246D2C877B1B}"/>
              </a:ext>
            </a:extLst>
          </p:cNvPr>
          <p:cNvGrpSpPr/>
          <p:nvPr/>
        </p:nvGrpSpPr>
        <p:grpSpPr>
          <a:xfrm>
            <a:off x="1029224" y="103520"/>
            <a:ext cx="6491096" cy="6544649"/>
            <a:chOff x="3326931" y="650008"/>
            <a:chExt cx="5396156" cy="5440679"/>
          </a:xfrm>
        </p:grpSpPr>
        <p:sp>
          <p:nvSpPr>
            <p:cNvPr id="68" name="Freeform: Shape 67">
              <a:extLst>
                <a:ext uri="{FF2B5EF4-FFF2-40B4-BE49-F238E27FC236}">
                  <a16:creationId xmlns:a16="http://schemas.microsoft.com/office/drawing/2014/main" id="{27F7A96D-679C-4442-80E8-81FB3DC300EE}"/>
                </a:ext>
              </a:extLst>
            </p:cNvPr>
            <p:cNvSpPr/>
            <p:nvPr/>
          </p:nvSpPr>
          <p:spPr>
            <a:xfrm rot="8100000">
              <a:off x="6500581" y="650008"/>
              <a:ext cx="805620" cy="1967534"/>
            </a:xfrm>
            <a:custGeom>
              <a:avLst/>
              <a:gdLst>
                <a:gd name="connsiteX0" fmla="*/ 655812 w 805620"/>
                <a:gd name="connsiteY0" fmla="*/ 1938563 h 1967534"/>
                <a:gd name="connsiteX1" fmla="*/ 10248 w 805620"/>
                <a:gd name="connsiteY1" fmla="*/ 140673 h 1967534"/>
                <a:gd name="connsiteX2" fmla="*/ 20562 w 805620"/>
                <a:gd name="connsiteY2" fmla="*/ 69196 h 1967534"/>
                <a:gd name="connsiteX3" fmla="*/ 119657 w 805620"/>
                <a:gd name="connsiteY3" fmla="*/ 0 h 1967534"/>
                <a:gd name="connsiteX4" fmla="*/ 190838 w 805620"/>
                <a:gd name="connsiteY4" fmla="*/ 101940 h 1967534"/>
                <a:gd name="connsiteX5" fmla="*/ 182850 w 805620"/>
                <a:gd name="connsiteY5" fmla="*/ 157294 h 1967534"/>
                <a:gd name="connsiteX6" fmla="*/ 778422 w 805620"/>
                <a:gd name="connsiteY6" fmla="*/ 1815955 h 1967534"/>
                <a:gd name="connsiteX7" fmla="*/ 805620 w 805620"/>
                <a:gd name="connsiteY7" fmla="*/ 1840539 h 1967534"/>
                <a:gd name="connsiteX8" fmla="*/ 687865 w 805620"/>
                <a:gd name="connsiteY8" fmla="*/ 1840539 h 1967534"/>
                <a:gd name="connsiteX9" fmla="*/ 687865 w 805620"/>
                <a:gd name="connsiteY9" fmla="*/ 1967534 h 1967534"/>
                <a:gd name="connsiteX10" fmla="*/ 655812 w 805620"/>
                <a:gd name="connsiteY10" fmla="*/ 1938563 h 1967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05620" h="1967534">
                  <a:moveTo>
                    <a:pt x="655812" y="1938563"/>
                  </a:moveTo>
                  <a:cubicBezTo>
                    <a:pt x="163954" y="1446705"/>
                    <a:pt x="-51235" y="782945"/>
                    <a:pt x="10248" y="140673"/>
                  </a:cubicBezTo>
                  <a:lnTo>
                    <a:pt x="20562" y="69196"/>
                  </a:lnTo>
                  <a:lnTo>
                    <a:pt x="119657" y="0"/>
                  </a:lnTo>
                  <a:lnTo>
                    <a:pt x="190838" y="101940"/>
                  </a:lnTo>
                  <a:lnTo>
                    <a:pt x="182850" y="157294"/>
                  </a:lnTo>
                  <a:cubicBezTo>
                    <a:pt x="126129" y="749828"/>
                    <a:pt x="324653" y="1362186"/>
                    <a:pt x="778422" y="1815955"/>
                  </a:cubicBezTo>
                  <a:lnTo>
                    <a:pt x="805620" y="1840539"/>
                  </a:lnTo>
                  <a:lnTo>
                    <a:pt x="687865" y="1840539"/>
                  </a:lnTo>
                  <a:lnTo>
                    <a:pt x="687865" y="1967534"/>
                  </a:lnTo>
                  <a:lnTo>
                    <a:pt x="655812" y="1938563"/>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649">
                <a:defRPr/>
              </a:pPr>
              <a:endParaRPr lang="en-CA" sz="1836">
                <a:solidFill>
                  <a:srgbClr val="000000"/>
                </a:solidFill>
                <a:latin typeface="Segoe UI"/>
              </a:endParaRPr>
            </a:p>
          </p:txBody>
        </p:sp>
        <p:sp>
          <p:nvSpPr>
            <p:cNvPr id="69" name="Freeform: Shape 68">
              <a:extLst>
                <a:ext uri="{FF2B5EF4-FFF2-40B4-BE49-F238E27FC236}">
                  <a16:creationId xmlns:a16="http://schemas.microsoft.com/office/drawing/2014/main" id="{94F7294C-BB8B-44FB-ABA4-A5CFA3428B9E}"/>
                </a:ext>
              </a:extLst>
            </p:cNvPr>
            <p:cNvSpPr/>
            <p:nvPr/>
          </p:nvSpPr>
          <p:spPr>
            <a:xfrm rot="8100000">
              <a:off x="4047195" y="1363690"/>
              <a:ext cx="1972966" cy="666051"/>
            </a:xfrm>
            <a:custGeom>
              <a:avLst/>
              <a:gdLst>
                <a:gd name="connsiteX0" fmla="*/ 0 w 1972966"/>
                <a:gd name="connsiteY0" fmla="*/ 125127 h 666051"/>
                <a:gd name="connsiteX1" fmla="*/ 0 w 1972966"/>
                <a:gd name="connsiteY1" fmla="*/ 0 h 666051"/>
                <a:gd name="connsiteX2" fmla="*/ 119822 w 1972966"/>
                <a:gd name="connsiteY2" fmla="*/ 0 h 666051"/>
                <a:gd name="connsiteX3" fmla="*/ 152388 w 1972966"/>
                <a:gd name="connsiteY3" fmla="*/ 29435 h 666051"/>
                <a:gd name="connsiteX4" fmla="*/ 1850696 w 1972966"/>
                <a:gd name="connsiteY4" fmla="*/ 454843 h 666051"/>
                <a:gd name="connsiteX5" fmla="*/ 1925581 w 1972966"/>
                <a:gd name="connsiteY5" fmla="*/ 436559 h 666051"/>
                <a:gd name="connsiteX6" fmla="*/ 1863309 w 1972966"/>
                <a:gd name="connsiteY6" fmla="*/ 530959 h 666051"/>
                <a:gd name="connsiteX7" fmla="*/ 1972966 w 1972966"/>
                <a:gd name="connsiteY7" fmla="*/ 603296 h 666051"/>
                <a:gd name="connsiteX8" fmla="*/ 1883812 w 1972966"/>
                <a:gd name="connsiteY8" fmla="*/ 625063 h 666051"/>
                <a:gd name="connsiteX9" fmla="*/ 42947 w 1972966"/>
                <a:gd name="connsiteY9" fmla="*/ 163946 h 666051"/>
                <a:gd name="connsiteX10" fmla="*/ 0 w 1972966"/>
                <a:gd name="connsiteY10" fmla="*/ 125127 h 66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72966" h="666051">
                  <a:moveTo>
                    <a:pt x="0" y="125127"/>
                  </a:moveTo>
                  <a:lnTo>
                    <a:pt x="0" y="0"/>
                  </a:lnTo>
                  <a:lnTo>
                    <a:pt x="119822" y="0"/>
                  </a:lnTo>
                  <a:lnTo>
                    <a:pt x="152388" y="29435"/>
                  </a:lnTo>
                  <a:cubicBezTo>
                    <a:pt x="639196" y="426482"/>
                    <a:pt x="1264769" y="568285"/>
                    <a:pt x="1850696" y="454843"/>
                  </a:cubicBezTo>
                  <a:lnTo>
                    <a:pt x="1925581" y="436559"/>
                  </a:lnTo>
                  <a:lnTo>
                    <a:pt x="1863309" y="530959"/>
                  </a:lnTo>
                  <a:lnTo>
                    <a:pt x="1972966" y="603296"/>
                  </a:lnTo>
                  <a:lnTo>
                    <a:pt x="1883812" y="625063"/>
                  </a:lnTo>
                  <a:cubicBezTo>
                    <a:pt x="1248703" y="748028"/>
                    <a:pt x="570619" y="594322"/>
                    <a:pt x="42947" y="163946"/>
                  </a:cubicBezTo>
                  <a:lnTo>
                    <a:pt x="0" y="125127"/>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70" name="Freeform: Shape 69">
              <a:extLst>
                <a:ext uri="{FF2B5EF4-FFF2-40B4-BE49-F238E27FC236}">
                  <a16:creationId xmlns:a16="http://schemas.microsoft.com/office/drawing/2014/main" id="{D98E16B4-3D6D-4237-8009-6BA439A490D3}"/>
                </a:ext>
              </a:extLst>
            </p:cNvPr>
            <p:cNvSpPr/>
            <p:nvPr/>
          </p:nvSpPr>
          <p:spPr>
            <a:xfrm rot="8100000">
              <a:off x="7133906" y="2396566"/>
              <a:ext cx="1589181" cy="1743535"/>
            </a:xfrm>
            <a:custGeom>
              <a:avLst/>
              <a:gdLst>
                <a:gd name="connsiteX0" fmla="*/ 0 w 1589181"/>
                <a:gd name="connsiteY0" fmla="*/ 1708937 h 1743535"/>
                <a:gd name="connsiteX1" fmla="*/ 1822 w 1589181"/>
                <a:gd name="connsiteY1" fmla="*/ 1696310 h 1743535"/>
                <a:gd name="connsiteX2" fmla="*/ 616645 w 1589181"/>
                <a:gd name="connsiteY2" fmla="*/ 540692 h 1743535"/>
                <a:gd name="connsiteX3" fmla="*/ 1357346 w 1589181"/>
                <a:gd name="connsiteY3" fmla="*/ 48833 h 1743535"/>
                <a:gd name="connsiteX4" fmla="*/ 1496957 w 1589181"/>
                <a:gd name="connsiteY4" fmla="*/ 0 h 1743535"/>
                <a:gd name="connsiteX5" fmla="*/ 1589181 w 1589181"/>
                <a:gd name="connsiteY5" fmla="*/ 55238 h 1743535"/>
                <a:gd name="connsiteX6" fmla="*/ 1516424 w 1589181"/>
                <a:gd name="connsiteY6" fmla="*/ 176713 h 1743535"/>
                <a:gd name="connsiteX7" fmla="*/ 1422596 w 1589181"/>
                <a:gd name="connsiteY7" fmla="*/ 209533 h 1743535"/>
                <a:gd name="connsiteX8" fmla="*/ 739255 w 1589181"/>
                <a:gd name="connsiteY8" fmla="*/ 663301 h 1743535"/>
                <a:gd name="connsiteX9" fmla="*/ 172044 w 1589181"/>
                <a:gd name="connsiteY9" fmla="*/ 1729428 h 1743535"/>
                <a:gd name="connsiteX10" fmla="*/ 170008 w 1589181"/>
                <a:gd name="connsiteY10" fmla="*/ 1743535 h 1743535"/>
                <a:gd name="connsiteX11" fmla="*/ 98045 w 1589181"/>
                <a:gd name="connsiteY11" fmla="*/ 1640475 h 1743535"/>
                <a:gd name="connsiteX12" fmla="*/ 0 w 1589181"/>
                <a:gd name="connsiteY12" fmla="*/ 1708937 h 1743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89181" h="1743535">
                  <a:moveTo>
                    <a:pt x="0" y="1708937"/>
                  </a:moveTo>
                  <a:lnTo>
                    <a:pt x="1822" y="1696310"/>
                  </a:lnTo>
                  <a:cubicBezTo>
                    <a:pt x="83798" y="1272904"/>
                    <a:pt x="288739" y="868598"/>
                    <a:pt x="616645" y="540692"/>
                  </a:cubicBezTo>
                  <a:cubicBezTo>
                    <a:pt x="835249" y="322088"/>
                    <a:pt x="1087809" y="158135"/>
                    <a:pt x="1357346" y="48833"/>
                  </a:cubicBezTo>
                  <a:lnTo>
                    <a:pt x="1496957" y="0"/>
                  </a:lnTo>
                  <a:lnTo>
                    <a:pt x="1589181" y="55238"/>
                  </a:lnTo>
                  <a:lnTo>
                    <a:pt x="1516424" y="176713"/>
                  </a:lnTo>
                  <a:lnTo>
                    <a:pt x="1422596" y="209533"/>
                  </a:lnTo>
                  <a:cubicBezTo>
                    <a:pt x="1173931" y="310370"/>
                    <a:pt x="940930" y="461626"/>
                    <a:pt x="739255" y="663301"/>
                  </a:cubicBezTo>
                  <a:cubicBezTo>
                    <a:pt x="436742" y="965814"/>
                    <a:pt x="247672" y="1338810"/>
                    <a:pt x="172044" y="1729428"/>
                  </a:cubicBezTo>
                  <a:lnTo>
                    <a:pt x="170008" y="1743535"/>
                  </a:lnTo>
                  <a:lnTo>
                    <a:pt x="98045" y="1640475"/>
                  </a:lnTo>
                  <a:lnTo>
                    <a:pt x="0" y="1708937"/>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649">
                <a:defRPr/>
              </a:pPr>
              <a:endParaRPr lang="en-CA" sz="1836">
                <a:solidFill>
                  <a:srgbClr val="000000"/>
                </a:solidFill>
                <a:latin typeface="Segoe UI"/>
              </a:endParaRPr>
            </a:p>
          </p:txBody>
        </p:sp>
        <p:sp>
          <p:nvSpPr>
            <p:cNvPr id="71" name="Freeform: Shape 70">
              <a:extLst>
                <a:ext uri="{FF2B5EF4-FFF2-40B4-BE49-F238E27FC236}">
                  <a16:creationId xmlns:a16="http://schemas.microsoft.com/office/drawing/2014/main" id="{85FC7E19-5388-4E18-B337-85C74DC9C517}"/>
                </a:ext>
              </a:extLst>
            </p:cNvPr>
            <p:cNvSpPr/>
            <p:nvPr/>
          </p:nvSpPr>
          <p:spPr>
            <a:xfrm rot="8100000">
              <a:off x="3326931" y="2579755"/>
              <a:ext cx="1616707" cy="1558840"/>
            </a:xfrm>
            <a:custGeom>
              <a:avLst/>
              <a:gdLst>
                <a:gd name="connsiteX0" fmla="*/ 0 w 1616707"/>
                <a:gd name="connsiteY0" fmla="*/ 1486622 h 1558840"/>
                <a:gd name="connsiteX1" fmla="*/ 62608 w 1616707"/>
                <a:gd name="connsiteY1" fmla="*/ 1391713 h 1558840"/>
                <a:gd name="connsiteX2" fmla="*/ 244554 w 1616707"/>
                <a:gd name="connsiteY2" fmla="*/ 1328072 h 1558840"/>
                <a:gd name="connsiteX3" fmla="*/ 927895 w 1616707"/>
                <a:gd name="connsiteY3" fmla="*/ 874303 h 1558840"/>
                <a:gd name="connsiteX4" fmla="*/ 1447839 w 1616707"/>
                <a:gd name="connsiteY4" fmla="*/ 1772 h 1558840"/>
                <a:gd name="connsiteX5" fmla="*/ 1448271 w 1616707"/>
                <a:gd name="connsiteY5" fmla="*/ 0 h 1558840"/>
                <a:gd name="connsiteX6" fmla="*/ 1513259 w 1616707"/>
                <a:gd name="connsiteY6" fmla="*/ 104660 h 1558840"/>
                <a:gd name="connsiteX7" fmla="*/ 1616707 w 1616707"/>
                <a:gd name="connsiteY7" fmla="*/ 40426 h 1558840"/>
                <a:gd name="connsiteX8" fmla="*/ 1614092 w 1616707"/>
                <a:gd name="connsiteY8" fmla="*/ 51139 h 1558840"/>
                <a:gd name="connsiteX9" fmla="*/ 1050503 w 1616707"/>
                <a:gd name="connsiteY9" fmla="*/ 996911 h 1558840"/>
                <a:gd name="connsiteX10" fmla="*/ 309803 w 1616707"/>
                <a:gd name="connsiteY10" fmla="*/ 1488770 h 1558840"/>
                <a:gd name="connsiteX11" fmla="*/ 109476 w 1616707"/>
                <a:gd name="connsiteY11" fmla="*/ 1558840 h 1558840"/>
                <a:gd name="connsiteX12" fmla="*/ 0 w 1616707"/>
                <a:gd name="connsiteY12" fmla="*/ 1486622 h 1558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16707" h="1558840">
                  <a:moveTo>
                    <a:pt x="0" y="1486622"/>
                  </a:moveTo>
                  <a:lnTo>
                    <a:pt x="62608" y="1391713"/>
                  </a:lnTo>
                  <a:lnTo>
                    <a:pt x="244554" y="1328072"/>
                  </a:lnTo>
                  <a:cubicBezTo>
                    <a:pt x="493219" y="1227234"/>
                    <a:pt x="726220" y="1075978"/>
                    <a:pt x="927895" y="874303"/>
                  </a:cubicBezTo>
                  <a:cubicBezTo>
                    <a:pt x="1179989" y="622209"/>
                    <a:pt x="1353304" y="321168"/>
                    <a:pt x="1447839" y="1772"/>
                  </a:cubicBezTo>
                  <a:lnTo>
                    <a:pt x="1448271" y="0"/>
                  </a:lnTo>
                  <a:lnTo>
                    <a:pt x="1513259" y="104660"/>
                  </a:lnTo>
                  <a:lnTo>
                    <a:pt x="1616707" y="40426"/>
                  </a:lnTo>
                  <a:lnTo>
                    <a:pt x="1614092" y="51139"/>
                  </a:lnTo>
                  <a:cubicBezTo>
                    <a:pt x="1511621" y="397346"/>
                    <a:pt x="1323758" y="723656"/>
                    <a:pt x="1050503" y="996911"/>
                  </a:cubicBezTo>
                  <a:cubicBezTo>
                    <a:pt x="831900" y="1215515"/>
                    <a:pt x="579340" y="1379468"/>
                    <a:pt x="309803" y="1488770"/>
                  </a:cubicBezTo>
                  <a:lnTo>
                    <a:pt x="109476" y="1558840"/>
                  </a:lnTo>
                  <a:lnTo>
                    <a:pt x="0" y="1486622"/>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72" name="Freeform: Shape 71">
              <a:extLst>
                <a:ext uri="{FF2B5EF4-FFF2-40B4-BE49-F238E27FC236}">
                  <a16:creationId xmlns:a16="http://schemas.microsoft.com/office/drawing/2014/main" id="{70661257-72E8-46D2-ACAE-AC262E8B8F03}"/>
                </a:ext>
              </a:extLst>
            </p:cNvPr>
            <p:cNvSpPr/>
            <p:nvPr/>
          </p:nvSpPr>
          <p:spPr>
            <a:xfrm rot="8100000">
              <a:off x="5999029" y="4697061"/>
              <a:ext cx="2104462" cy="699340"/>
            </a:xfrm>
            <a:custGeom>
              <a:avLst/>
              <a:gdLst>
                <a:gd name="connsiteX0" fmla="*/ 23166 w 2104462"/>
                <a:gd name="connsiteY0" fmla="*/ 250773 h 699340"/>
                <a:gd name="connsiteX1" fmla="*/ 93156 w 2104462"/>
                <a:gd name="connsiteY1" fmla="*/ 133917 h 699340"/>
                <a:gd name="connsiteX2" fmla="*/ 0 w 2104462"/>
                <a:gd name="connsiteY2" fmla="*/ 78121 h 699340"/>
                <a:gd name="connsiteX3" fmla="*/ 152086 w 2104462"/>
                <a:gd name="connsiteY3" fmla="*/ 40989 h 699340"/>
                <a:gd name="connsiteX4" fmla="*/ 1992951 w 2104462"/>
                <a:gd name="connsiteY4" fmla="*/ 502106 h 699340"/>
                <a:gd name="connsiteX5" fmla="*/ 2104462 w 2104462"/>
                <a:gd name="connsiteY5" fmla="*/ 602897 h 699340"/>
                <a:gd name="connsiteX6" fmla="*/ 2098864 w 2104462"/>
                <a:gd name="connsiteY6" fmla="*/ 699340 h 699340"/>
                <a:gd name="connsiteX7" fmla="*/ 1942887 w 2104462"/>
                <a:gd name="connsiteY7" fmla="*/ 690285 h 699340"/>
                <a:gd name="connsiteX8" fmla="*/ 1883512 w 2104462"/>
                <a:gd name="connsiteY8" fmla="*/ 636619 h 699340"/>
                <a:gd name="connsiteX9" fmla="*/ 185204 w 2104462"/>
                <a:gd name="connsiteY9" fmla="*/ 211211 h 699340"/>
                <a:gd name="connsiteX10" fmla="*/ 23166 w 2104462"/>
                <a:gd name="connsiteY10" fmla="*/ 250773 h 699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04462" h="699340">
                  <a:moveTo>
                    <a:pt x="23166" y="250773"/>
                  </a:moveTo>
                  <a:lnTo>
                    <a:pt x="93156" y="133917"/>
                  </a:lnTo>
                  <a:lnTo>
                    <a:pt x="0" y="78121"/>
                  </a:lnTo>
                  <a:lnTo>
                    <a:pt x="152086" y="40989"/>
                  </a:lnTo>
                  <a:cubicBezTo>
                    <a:pt x="787195" y="-81976"/>
                    <a:pt x="1465280" y="71730"/>
                    <a:pt x="1992951" y="502106"/>
                  </a:cubicBezTo>
                  <a:lnTo>
                    <a:pt x="2104462" y="602897"/>
                  </a:lnTo>
                  <a:lnTo>
                    <a:pt x="2098864" y="699340"/>
                  </a:lnTo>
                  <a:lnTo>
                    <a:pt x="1942887" y="690285"/>
                  </a:lnTo>
                  <a:lnTo>
                    <a:pt x="1883512" y="636619"/>
                  </a:lnTo>
                  <a:cubicBezTo>
                    <a:pt x="1396704" y="239571"/>
                    <a:pt x="771130" y="97768"/>
                    <a:pt x="185204" y="211211"/>
                  </a:cubicBezTo>
                  <a:lnTo>
                    <a:pt x="23166" y="250773"/>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73" name="Freeform: Shape 72">
              <a:extLst>
                <a:ext uri="{FF2B5EF4-FFF2-40B4-BE49-F238E27FC236}">
                  <a16:creationId xmlns:a16="http://schemas.microsoft.com/office/drawing/2014/main" id="{33C6BCBB-77DD-4913-A44A-F29AB0A5E9A3}"/>
                </a:ext>
              </a:extLst>
            </p:cNvPr>
            <p:cNvSpPr/>
            <p:nvPr/>
          </p:nvSpPr>
          <p:spPr>
            <a:xfrm rot="8100000">
              <a:off x="4700877" y="3978390"/>
              <a:ext cx="773214" cy="2112297"/>
            </a:xfrm>
            <a:custGeom>
              <a:avLst/>
              <a:gdLst>
                <a:gd name="connsiteX0" fmla="*/ 604593 w 773214"/>
                <a:gd name="connsiteY0" fmla="*/ 2112297 h 2112297"/>
                <a:gd name="connsiteX1" fmla="*/ 544334 w 773214"/>
                <a:gd name="connsiteY1" fmla="*/ 2015252 h 2112297"/>
                <a:gd name="connsiteX2" fmla="*/ 562006 w 773214"/>
                <a:gd name="connsiteY2" fmla="*/ 1942872 h 2112297"/>
                <a:gd name="connsiteX3" fmla="*/ 136598 w 773214"/>
                <a:gd name="connsiteY3" fmla="*/ 244564 h 2112297"/>
                <a:gd name="connsiteX4" fmla="*/ 0 w 773214"/>
                <a:gd name="connsiteY4" fmla="*/ 93438 h 2112297"/>
                <a:gd name="connsiteX5" fmla="*/ 143069 w 773214"/>
                <a:gd name="connsiteY5" fmla="*/ 101743 h 2112297"/>
                <a:gd name="connsiteX6" fmla="*/ 148975 w 773214"/>
                <a:gd name="connsiteY6" fmla="*/ 0 h 2112297"/>
                <a:gd name="connsiteX7" fmla="*/ 271109 w 773214"/>
                <a:gd name="connsiteY7" fmla="*/ 135124 h 2112297"/>
                <a:gd name="connsiteX8" fmla="*/ 732226 w 773214"/>
                <a:gd name="connsiteY8" fmla="*/ 1975989 h 2112297"/>
                <a:gd name="connsiteX9" fmla="*/ 715807 w 773214"/>
                <a:gd name="connsiteY9" fmla="*/ 2043240 h 2112297"/>
                <a:gd name="connsiteX10" fmla="*/ 604593 w 773214"/>
                <a:gd name="connsiteY10" fmla="*/ 2112297 h 2112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3214" h="2112297">
                  <a:moveTo>
                    <a:pt x="604593" y="2112297"/>
                  </a:moveTo>
                  <a:lnTo>
                    <a:pt x="544334" y="2015252"/>
                  </a:lnTo>
                  <a:lnTo>
                    <a:pt x="562006" y="1942872"/>
                  </a:lnTo>
                  <a:cubicBezTo>
                    <a:pt x="675448" y="1356946"/>
                    <a:pt x="533646" y="731372"/>
                    <a:pt x="136598" y="244564"/>
                  </a:cubicBezTo>
                  <a:lnTo>
                    <a:pt x="0" y="93438"/>
                  </a:lnTo>
                  <a:lnTo>
                    <a:pt x="143069" y="101743"/>
                  </a:lnTo>
                  <a:lnTo>
                    <a:pt x="148975" y="0"/>
                  </a:lnTo>
                  <a:lnTo>
                    <a:pt x="271109" y="135124"/>
                  </a:lnTo>
                  <a:cubicBezTo>
                    <a:pt x="701486" y="662795"/>
                    <a:pt x="855191" y="1340880"/>
                    <a:pt x="732226" y="1975989"/>
                  </a:cubicBezTo>
                  <a:lnTo>
                    <a:pt x="715807" y="2043240"/>
                  </a:lnTo>
                  <a:lnTo>
                    <a:pt x="604593" y="2112297"/>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grpSp>
      <p:grpSp>
        <p:nvGrpSpPr>
          <p:cNvPr id="47" name="Group 46">
            <a:extLst>
              <a:ext uri="{FF2B5EF4-FFF2-40B4-BE49-F238E27FC236}">
                <a16:creationId xmlns:a16="http://schemas.microsoft.com/office/drawing/2014/main" id="{D042C416-B8A7-4373-93A8-890C7A926121}"/>
              </a:ext>
            </a:extLst>
          </p:cNvPr>
          <p:cNvGrpSpPr/>
          <p:nvPr/>
        </p:nvGrpSpPr>
        <p:grpSpPr>
          <a:xfrm>
            <a:off x="2679070" y="5250360"/>
            <a:ext cx="703811" cy="703811"/>
            <a:chOff x="4514418" y="598134"/>
            <a:chExt cx="690162" cy="690162"/>
          </a:xfrm>
        </p:grpSpPr>
        <p:grpSp>
          <p:nvGrpSpPr>
            <p:cNvPr id="48" name="Group 47">
              <a:extLst>
                <a:ext uri="{FF2B5EF4-FFF2-40B4-BE49-F238E27FC236}">
                  <a16:creationId xmlns:a16="http://schemas.microsoft.com/office/drawing/2014/main" id="{B8E4E62A-72E5-4B99-9346-97B81E053339}"/>
                </a:ext>
              </a:extLst>
            </p:cNvPr>
            <p:cNvGrpSpPr/>
            <p:nvPr/>
          </p:nvGrpSpPr>
          <p:grpSpPr>
            <a:xfrm>
              <a:off x="4514418" y="598134"/>
              <a:ext cx="690162" cy="690162"/>
              <a:chOff x="6989114" y="876300"/>
              <a:chExt cx="1257300" cy="1257300"/>
            </a:xfrm>
          </p:grpSpPr>
          <p:sp>
            <p:nvSpPr>
              <p:cNvPr id="50" name="Oval 49">
                <a:extLst>
                  <a:ext uri="{FF2B5EF4-FFF2-40B4-BE49-F238E27FC236}">
                    <a16:creationId xmlns:a16="http://schemas.microsoft.com/office/drawing/2014/main" id="{711E9319-1813-4429-A655-7D91BC50D384}"/>
                  </a:ext>
                </a:extLst>
              </p:cNvPr>
              <p:cNvSpPr/>
              <p:nvPr/>
            </p:nvSpPr>
            <p:spPr>
              <a:xfrm>
                <a:off x="6989114" y="876300"/>
                <a:ext cx="1257300" cy="1257300"/>
              </a:xfrm>
              <a:prstGeom prst="ellipse">
                <a:avLst/>
              </a:prstGeom>
              <a:solidFill>
                <a:srgbClr val="FFFFFF"/>
              </a:solidFill>
              <a:ln>
                <a:solidFill>
                  <a:srgbClr val="FFFFFF"/>
                </a:solidFill>
              </a:ln>
              <a:effectLst>
                <a:outerShdw blurRad="127000" sx="102000" sy="102000" algn="ctr"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649">
                  <a:defRPr/>
                </a:pPr>
                <a:endParaRPr lang="en-CA" sz="1836">
                  <a:solidFill>
                    <a:srgbClr val="FFFFFF"/>
                  </a:solidFill>
                  <a:latin typeface="Segoe UI"/>
                </a:endParaRPr>
              </a:p>
            </p:txBody>
          </p:sp>
          <p:sp>
            <p:nvSpPr>
              <p:cNvPr id="51" name="Chord 50">
                <a:extLst>
                  <a:ext uri="{FF2B5EF4-FFF2-40B4-BE49-F238E27FC236}">
                    <a16:creationId xmlns:a16="http://schemas.microsoft.com/office/drawing/2014/main" id="{0D02D9ED-56CB-4CB7-B147-F50050DFFD11}"/>
                  </a:ext>
                </a:extLst>
              </p:cNvPr>
              <p:cNvSpPr/>
              <p:nvPr/>
            </p:nvSpPr>
            <p:spPr>
              <a:xfrm rot="17507038">
                <a:off x="7063406" y="950592"/>
                <a:ext cx="1108714" cy="1108714"/>
              </a:xfrm>
              <a:prstGeom prst="chord">
                <a:avLst/>
              </a:prstGeom>
              <a:solidFill>
                <a:schemeClr val="accent1"/>
              </a:solidFill>
              <a:ln>
                <a:noFill/>
              </a:ln>
              <a:effectLst>
                <a:innerShdw blurRad="101600" dist="25400" dir="19800000">
                  <a:schemeClr val="accent1">
                    <a:lumMod val="50000"/>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grpSp>
        <p:sp>
          <p:nvSpPr>
            <p:cNvPr id="49" name="TextBox 48">
              <a:extLst>
                <a:ext uri="{FF2B5EF4-FFF2-40B4-BE49-F238E27FC236}">
                  <a16:creationId xmlns:a16="http://schemas.microsoft.com/office/drawing/2014/main" id="{05576674-AC0C-4AC2-8FA0-D432867BE873}"/>
                </a:ext>
              </a:extLst>
            </p:cNvPr>
            <p:cNvSpPr txBox="1"/>
            <p:nvPr/>
          </p:nvSpPr>
          <p:spPr>
            <a:xfrm>
              <a:off x="4647435" y="744334"/>
              <a:ext cx="412292" cy="531812"/>
            </a:xfrm>
            <a:prstGeom prst="rect">
              <a:avLst/>
            </a:prstGeom>
            <a:noFill/>
          </p:spPr>
          <p:txBody>
            <a:bodyPr wrap="none" rtlCol="0">
              <a:spAutoFit/>
            </a:bodyPr>
            <a:lstStyle/>
            <a:p>
              <a:pPr algn="ctr" defTabSz="932649">
                <a:defRPr/>
              </a:pPr>
              <a:r>
                <a:rPr lang="en-CA" sz="2856">
                  <a:solidFill>
                    <a:srgbClr val="FFFFFF"/>
                  </a:solidFill>
                  <a:latin typeface="Segoe UI Black" panose="020B0A02040204020203" pitchFamily="34" charset="0"/>
                  <a:ea typeface="Segoe UI Black" panose="020B0A02040204020203" pitchFamily="34" charset="0"/>
                </a:rPr>
                <a:t>4</a:t>
              </a:r>
            </a:p>
          </p:txBody>
        </p:sp>
      </p:grpSp>
    </p:spTree>
    <p:extLst>
      <p:ext uri="{BB962C8B-B14F-4D97-AF65-F5344CB8AC3E}">
        <p14:creationId xmlns:p14="http://schemas.microsoft.com/office/powerpoint/2010/main" val="1017546157"/>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p:txBody>
          <a:bodyPr/>
          <a:lstStyle/>
          <a:p>
            <a:r>
              <a:rPr lang="en-US"/>
              <a:t>Visual Selection</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39" y="1464334"/>
            <a:ext cx="11149186" cy="1883353"/>
          </a:xfrm>
        </p:spPr>
        <p:txBody>
          <a:bodyPr/>
          <a:lstStyle/>
          <a:p>
            <a:pPr marL="0" indent="0" algn="ctr">
              <a:buNone/>
            </a:pPr>
            <a:r>
              <a:rPr lang="en-US" sz="3600"/>
              <a:t>Select visual type to communicate information </a:t>
            </a:r>
          </a:p>
          <a:p>
            <a:pPr marL="0" indent="0" algn="ctr">
              <a:buNone/>
            </a:pPr>
            <a:r>
              <a:rPr lang="en-US" sz="3600" b="1"/>
              <a:t>clearly</a:t>
            </a:r>
            <a:r>
              <a:rPr lang="en-US" sz="3600"/>
              <a:t> &amp; </a:t>
            </a:r>
            <a:r>
              <a:rPr lang="en-US" sz="3600" b="1"/>
              <a:t>effectively</a:t>
            </a:r>
          </a:p>
          <a:p>
            <a:pPr algn="ctr"/>
            <a:endParaRPr lang="en-US" sz="3600"/>
          </a:p>
        </p:txBody>
      </p:sp>
      <p:grpSp>
        <p:nvGrpSpPr>
          <p:cNvPr id="6" name="Group 5">
            <a:extLst>
              <a:ext uri="{FF2B5EF4-FFF2-40B4-BE49-F238E27FC236}">
                <a16:creationId xmlns:a16="http://schemas.microsoft.com/office/drawing/2014/main" id="{0B2FABBC-413B-4107-A19A-1AAED4A38A7E}"/>
              </a:ext>
            </a:extLst>
          </p:cNvPr>
          <p:cNvGrpSpPr/>
          <p:nvPr/>
        </p:nvGrpSpPr>
        <p:grpSpPr>
          <a:xfrm>
            <a:off x="1968073" y="3055886"/>
            <a:ext cx="8498743" cy="3795677"/>
            <a:chOff x="364746" y="1290004"/>
            <a:chExt cx="8499828" cy="3796162"/>
          </a:xfrm>
        </p:grpSpPr>
        <p:sp>
          <p:nvSpPr>
            <p:cNvPr id="7" name="TextBox 6">
              <a:extLst>
                <a:ext uri="{FF2B5EF4-FFF2-40B4-BE49-F238E27FC236}">
                  <a16:creationId xmlns:a16="http://schemas.microsoft.com/office/drawing/2014/main" id="{D83EAC4C-F1B8-4B58-9BE1-775FA73DC4E6}"/>
                </a:ext>
              </a:extLst>
            </p:cNvPr>
            <p:cNvSpPr txBox="1"/>
            <p:nvPr/>
          </p:nvSpPr>
          <p:spPr>
            <a:xfrm>
              <a:off x="1786298" y="2098131"/>
              <a:ext cx="2864887" cy="923330"/>
            </a:xfrm>
            <a:prstGeom prst="rect">
              <a:avLst/>
            </a:prstGeom>
            <a:noFill/>
          </p:spPr>
          <p:txBody>
            <a:bodyPr wrap="none" rtlCol="0">
              <a:spAutoFit/>
            </a:bodyPr>
            <a:lstStyle/>
            <a:p>
              <a:pPr defTabSz="932649">
                <a:defRPr/>
              </a:pPr>
              <a:r>
                <a:rPr lang="en-US" sz="5399" b="1">
                  <a:solidFill>
                    <a:srgbClr val="000000"/>
                  </a:solidFill>
                  <a:latin typeface="Segoe UI Semibold"/>
                  <a:cs typeface="Leelawadee" panose="020B0502040204020203" pitchFamily="34" charset="-34"/>
                </a:rPr>
                <a:t>Numeric</a:t>
              </a:r>
              <a:endParaRPr lang="en-US" sz="5999" b="1">
                <a:solidFill>
                  <a:srgbClr val="F2C811"/>
                </a:solidFill>
                <a:latin typeface="Segoe UI Semibold"/>
                <a:cs typeface="Leelawadee" panose="020B0502040204020203" pitchFamily="34" charset="-34"/>
              </a:endParaRPr>
            </a:p>
          </p:txBody>
        </p:sp>
        <p:sp>
          <p:nvSpPr>
            <p:cNvPr id="8" name="TextBox 7">
              <a:extLst>
                <a:ext uri="{FF2B5EF4-FFF2-40B4-BE49-F238E27FC236}">
                  <a16:creationId xmlns:a16="http://schemas.microsoft.com/office/drawing/2014/main" id="{ADF0A30D-FBC7-4321-A6E8-5A4C4576AB67}"/>
                </a:ext>
              </a:extLst>
            </p:cNvPr>
            <p:cNvSpPr txBox="1"/>
            <p:nvPr/>
          </p:nvSpPr>
          <p:spPr>
            <a:xfrm>
              <a:off x="1400615" y="1290004"/>
              <a:ext cx="1818126" cy="1107996"/>
            </a:xfrm>
            <a:prstGeom prst="rect">
              <a:avLst/>
            </a:prstGeom>
            <a:noFill/>
          </p:spPr>
          <p:txBody>
            <a:bodyPr wrap="none" rtlCol="0">
              <a:spAutoFit/>
            </a:bodyPr>
            <a:lstStyle/>
            <a:p>
              <a:pPr defTabSz="932649">
                <a:defRPr/>
              </a:pPr>
              <a:r>
                <a:rPr lang="en-US" sz="6599" b="1">
                  <a:solidFill>
                    <a:srgbClr val="F2C811"/>
                  </a:solidFill>
                  <a:latin typeface="Segoe UI Semibold"/>
                  <a:cs typeface="Leelawadee" panose="020B0502040204020203" pitchFamily="34" charset="-34"/>
                </a:rPr>
                <a:t>Grid</a:t>
              </a:r>
              <a:endParaRPr lang="en-US" sz="6599" b="1">
                <a:solidFill>
                  <a:srgbClr val="000000"/>
                </a:solidFill>
                <a:latin typeface="Segoe UI Semibold"/>
                <a:cs typeface="Leelawadee" panose="020B0502040204020203" pitchFamily="34" charset="-34"/>
              </a:endParaRPr>
            </a:p>
          </p:txBody>
        </p:sp>
        <p:sp>
          <p:nvSpPr>
            <p:cNvPr id="9" name="Rectangle 8">
              <a:extLst>
                <a:ext uri="{FF2B5EF4-FFF2-40B4-BE49-F238E27FC236}">
                  <a16:creationId xmlns:a16="http://schemas.microsoft.com/office/drawing/2014/main" id="{CD81A78D-427A-44B8-B508-B37C2E3877AE}"/>
                </a:ext>
              </a:extLst>
            </p:cNvPr>
            <p:cNvSpPr/>
            <p:nvPr/>
          </p:nvSpPr>
          <p:spPr>
            <a:xfrm>
              <a:off x="3880004" y="1406150"/>
              <a:ext cx="3122137" cy="830997"/>
            </a:xfrm>
            <a:prstGeom prst="rect">
              <a:avLst/>
            </a:prstGeom>
          </p:spPr>
          <p:txBody>
            <a:bodyPr wrap="none">
              <a:spAutoFit/>
            </a:bodyPr>
            <a:lstStyle/>
            <a:p>
              <a:pPr defTabSz="932649">
                <a:defRPr/>
              </a:pPr>
              <a:r>
                <a:rPr lang="en-US" sz="4800" b="1">
                  <a:solidFill>
                    <a:srgbClr val="000000"/>
                  </a:solidFill>
                  <a:latin typeface="Segoe UI Semibold"/>
                  <a:cs typeface="Leelawadee" panose="020B0502040204020203" pitchFamily="34" charset="-34"/>
                </a:rPr>
                <a:t>Geospatial</a:t>
              </a:r>
              <a:endParaRPr lang="en-US" sz="4800" b="1">
                <a:solidFill>
                  <a:srgbClr val="F2C811"/>
                </a:solidFill>
                <a:latin typeface="Segoe UI Semibold"/>
                <a:cs typeface="Leelawadee" panose="020B0502040204020203" pitchFamily="34" charset="-34"/>
              </a:endParaRPr>
            </a:p>
          </p:txBody>
        </p:sp>
        <p:sp>
          <p:nvSpPr>
            <p:cNvPr id="11" name="TextBox 10">
              <a:extLst>
                <a:ext uri="{FF2B5EF4-FFF2-40B4-BE49-F238E27FC236}">
                  <a16:creationId xmlns:a16="http://schemas.microsoft.com/office/drawing/2014/main" id="{A5DBA787-A7D4-4357-8B6C-DD9A40EBACD7}"/>
                </a:ext>
              </a:extLst>
            </p:cNvPr>
            <p:cNvSpPr txBox="1"/>
            <p:nvPr/>
          </p:nvSpPr>
          <p:spPr>
            <a:xfrm>
              <a:off x="5139708" y="2398000"/>
              <a:ext cx="3724866" cy="923330"/>
            </a:xfrm>
            <a:prstGeom prst="rect">
              <a:avLst/>
            </a:prstGeom>
            <a:noFill/>
          </p:spPr>
          <p:txBody>
            <a:bodyPr wrap="none" rtlCol="0">
              <a:spAutoFit/>
            </a:bodyPr>
            <a:lstStyle/>
            <a:p>
              <a:pPr defTabSz="932649">
                <a:defRPr/>
              </a:pPr>
              <a:r>
                <a:rPr lang="en-US" sz="5399" b="1">
                  <a:solidFill>
                    <a:srgbClr val="F2C811"/>
                  </a:solidFill>
                  <a:latin typeface="Segoe UI Semibold"/>
                  <a:cs typeface="Leelawadee" panose="020B0502040204020203" pitchFamily="34" charset="-34"/>
                </a:rPr>
                <a:t>Categorical</a:t>
              </a:r>
              <a:endParaRPr lang="en-US" sz="5399" b="1">
                <a:solidFill>
                  <a:srgbClr val="000000"/>
                </a:solidFill>
                <a:latin typeface="Segoe UI Semibold"/>
                <a:cs typeface="Leelawadee" panose="020B0502040204020203" pitchFamily="34" charset="-34"/>
              </a:endParaRPr>
            </a:p>
          </p:txBody>
        </p:sp>
        <p:sp>
          <p:nvSpPr>
            <p:cNvPr id="12" name="TextBox 11">
              <a:extLst>
                <a:ext uri="{FF2B5EF4-FFF2-40B4-BE49-F238E27FC236}">
                  <a16:creationId xmlns:a16="http://schemas.microsoft.com/office/drawing/2014/main" id="{C0DCF1E4-C9CE-4ED2-AC21-536A1859FAA4}"/>
                </a:ext>
              </a:extLst>
            </p:cNvPr>
            <p:cNvSpPr txBox="1"/>
            <p:nvPr/>
          </p:nvSpPr>
          <p:spPr>
            <a:xfrm>
              <a:off x="3426530" y="3431366"/>
              <a:ext cx="4960012" cy="1200329"/>
            </a:xfrm>
            <a:prstGeom prst="rect">
              <a:avLst/>
            </a:prstGeom>
            <a:noFill/>
          </p:spPr>
          <p:txBody>
            <a:bodyPr wrap="none" rtlCol="0">
              <a:spAutoFit/>
            </a:bodyPr>
            <a:lstStyle/>
            <a:p>
              <a:pPr defTabSz="932649">
                <a:defRPr/>
              </a:pPr>
              <a:r>
                <a:rPr lang="en-US" sz="7199" b="1">
                  <a:solidFill>
                    <a:srgbClr val="000000"/>
                  </a:solidFill>
                  <a:latin typeface="Segoe UI Semibold"/>
                  <a:cs typeface="Leelawadee" panose="020B0502040204020203" pitchFamily="34" charset="-34"/>
                </a:rPr>
                <a:t>Time Series</a:t>
              </a:r>
              <a:endParaRPr lang="en-US" sz="7199" b="1">
                <a:solidFill>
                  <a:srgbClr val="FFFFFF"/>
                </a:solidFill>
                <a:latin typeface="Segoe UI Semibold"/>
                <a:cs typeface="Leelawadee" panose="020B0502040204020203" pitchFamily="34" charset="-34"/>
              </a:endParaRPr>
            </a:p>
          </p:txBody>
        </p:sp>
        <p:sp>
          <p:nvSpPr>
            <p:cNvPr id="13" name="TextBox 12">
              <a:extLst>
                <a:ext uri="{FF2B5EF4-FFF2-40B4-BE49-F238E27FC236}">
                  <a16:creationId xmlns:a16="http://schemas.microsoft.com/office/drawing/2014/main" id="{9483C246-8098-4CCC-B84B-9711B980D02B}"/>
                </a:ext>
              </a:extLst>
            </p:cNvPr>
            <p:cNvSpPr txBox="1"/>
            <p:nvPr/>
          </p:nvSpPr>
          <p:spPr>
            <a:xfrm>
              <a:off x="1351570" y="4162836"/>
              <a:ext cx="4149919" cy="923330"/>
            </a:xfrm>
            <a:prstGeom prst="rect">
              <a:avLst/>
            </a:prstGeom>
            <a:noFill/>
          </p:spPr>
          <p:txBody>
            <a:bodyPr wrap="none" rtlCol="0">
              <a:spAutoFit/>
            </a:bodyPr>
            <a:lstStyle/>
            <a:p>
              <a:pPr defTabSz="932649">
                <a:defRPr/>
              </a:pPr>
              <a:r>
                <a:rPr lang="en-US" sz="5399" b="1">
                  <a:solidFill>
                    <a:srgbClr val="F2C811"/>
                  </a:solidFill>
                  <a:latin typeface="Segoe UI Semibold"/>
                  <a:cs typeface="Leelawadee" panose="020B0502040204020203" pitchFamily="34" charset="-34"/>
                </a:rPr>
                <a:t>Proportional</a:t>
              </a:r>
              <a:endParaRPr lang="en-US" sz="5999" b="1">
                <a:solidFill>
                  <a:srgbClr val="F2C811"/>
                </a:solidFill>
                <a:latin typeface="Segoe UI Semibold"/>
                <a:cs typeface="Leelawadee" panose="020B0502040204020203" pitchFamily="34" charset="-34"/>
              </a:endParaRPr>
            </a:p>
          </p:txBody>
        </p:sp>
        <p:sp>
          <p:nvSpPr>
            <p:cNvPr id="14" name="TextBox 13">
              <a:extLst>
                <a:ext uri="{FF2B5EF4-FFF2-40B4-BE49-F238E27FC236}">
                  <a16:creationId xmlns:a16="http://schemas.microsoft.com/office/drawing/2014/main" id="{05652331-68F0-42F8-BF19-CB354190D031}"/>
                </a:ext>
              </a:extLst>
            </p:cNvPr>
            <p:cNvSpPr txBox="1"/>
            <p:nvPr/>
          </p:nvSpPr>
          <p:spPr>
            <a:xfrm>
              <a:off x="364746" y="2780325"/>
              <a:ext cx="5076326" cy="1107996"/>
            </a:xfrm>
            <a:prstGeom prst="rect">
              <a:avLst/>
            </a:prstGeom>
            <a:noFill/>
          </p:spPr>
          <p:txBody>
            <a:bodyPr wrap="none" rtlCol="0">
              <a:spAutoFit/>
            </a:bodyPr>
            <a:lstStyle/>
            <a:p>
              <a:pPr defTabSz="932649">
                <a:defRPr/>
              </a:pPr>
              <a:r>
                <a:rPr lang="en-US" sz="6599" b="1">
                  <a:solidFill>
                    <a:srgbClr val="F2C811"/>
                  </a:solidFill>
                  <a:latin typeface="Segoe UI Semibold"/>
                  <a:cs typeface="Leelawadee" panose="020B0502040204020203" pitchFamily="34" charset="-34"/>
                </a:rPr>
                <a:t>Performance</a:t>
              </a:r>
            </a:p>
          </p:txBody>
        </p:sp>
      </p:grpSp>
    </p:spTree>
    <p:extLst>
      <p:ext uri="{BB962C8B-B14F-4D97-AF65-F5344CB8AC3E}">
        <p14:creationId xmlns:p14="http://schemas.microsoft.com/office/powerpoint/2010/main" val="11345811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9588" name="Picture 4" descr="Image shows a bar chart for six products. The bar chart is sorted in descending order of sales.">
            <a:extLst>
              <a:ext uri="{FF2B5EF4-FFF2-40B4-BE49-F238E27FC236}">
                <a16:creationId xmlns:a16="http://schemas.microsoft.com/office/drawing/2014/main" id="{9388A59C-D9AB-4F51-BD05-2B1D674D256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76475" y="3682146"/>
            <a:ext cx="5760000" cy="2796348"/>
          </a:xfrm>
          <a:prstGeom prst="rect">
            <a:avLst/>
          </a:prstGeom>
          <a:noFill/>
          <a:extLst>
            <a:ext uri="{909E8E84-426E-40DD-AFC4-6F175D3DCCD1}">
              <a14:hiddenFill xmlns:a14="http://schemas.microsoft.com/office/drawing/2010/main">
                <a:solidFill>
                  <a:srgbClr val="FFFFFF"/>
                </a:solidFill>
              </a14:hiddenFill>
            </a:ext>
          </a:extLst>
        </p:spPr>
      </p:pic>
      <p:pic>
        <p:nvPicPr>
          <p:cNvPr id="579586" name="Picture 2" descr="Image shows a line chart with product categories on the X-axis. The line implies a relationship between the products, which isn't correct.">
            <a:extLst>
              <a:ext uri="{FF2B5EF4-FFF2-40B4-BE49-F238E27FC236}">
                <a16:creationId xmlns:a16="http://schemas.microsoft.com/office/drawing/2014/main" id="{4A4746B4-FA26-46AB-BAA5-FAB5BCC0FB4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76475" y="718180"/>
            <a:ext cx="5760000" cy="2594198"/>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Categorical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105111"/>
          </a:xfrm>
        </p:spPr>
        <p:txBody>
          <a:bodyPr/>
          <a:lstStyle/>
          <a:p>
            <a:r>
              <a:rPr lang="en-US"/>
              <a:t>Data across multiple categories</a:t>
            </a:r>
          </a:p>
          <a:p>
            <a:r>
              <a:rPr lang="en-US"/>
              <a:t>Sort by value, not alphabetical</a:t>
            </a:r>
          </a:p>
        </p:txBody>
      </p:sp>
    </p:spTree>
    <p:extLst>
      <p:ext uri="{BB962C8B-B14F-4D97-AF65-F5344CB8AC3E}">
        <p14:creationId xmlns:p14="http://schemas.microsoft.com/office/powerpoint/2010/main" val="19543793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2" fill="hold" nodeType="clickEffect">
                                  <p:stCondLst>
                                    <p:cond delay="0"/>
                                  </p:stCondLst>
                                  <p:childTnLst>
                                    <p:set>
                                      <p:cBhvr>
                                        <p:cTn id="10" dur="1" fill="hold">
                                          <p:stCondLst>
                                            <p:cond delay="0"/>
                                          </p:stCondLst>
                                        </p:cTn>
                                        <p:tgtEl>
                                          <p:spTgt spid="579586"/>
                                        </p:tgtEl>
                                        <p:attrNameLst>
                                          <p:attrName>style.visibility</p:attrName>
                                        </p:attrNameLst>
                                      </p:cBhvr>
                                      <p:to>
                                        <p:strVal val="visible"/>
                                      </p:to>
                                    </p:set>
                                    <p:anim calcmode="lin" valueType="num">
                                      <p:cBhvr additive="base">
                                        <p:cTn id="11" dur="500" fill="hold"/>
                                        <p:tgtEl>
                                          <p:spTgt spid="579586"/>
                                        </p:tgtEl>
                                        <p:attrNameLst>
                                          <p:attrName>ppt_x</p:attrName>
                                        </p:attrNameLst>
                                      </p:cBhvr>
                                      <p:tavLst>
                                        <p:tav tm="0">
                                          <p:val>
                                            <p:strVal val="1+#ppt_w/2"/>
                                          </p:val>
                                        </p:tav>
                                        <p:tav tm="100000">
                                          <p:val>
                                            <p:strVal val="#ppt_x"/>
                                          </p:val>
                                        </p:tav>
                                      </p:tavLst>
                                    </p:anim>
                                    <p:anim calcmode="lin" valueType="num">
                                      <p:cBhvr additive="base">
                                        <p:cTn id="12" dur="500" fill="hold"/>
                                        <p:tgtEl>
                                          <p:spTgt spid="579586"/>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2" fill="hold" nodeType="clickEffect">
                                  <p:stCondLst>
                                    <p:cond delay="0"/>
                                  </p:stCondLst>
                                  <p:childTnLst>
                                    <p:set>
                                      <p:cBhvr>
                                        <p:cTn id="16" dur="1" fill="hold">
                                          <p:stCondLst>
                                            <p:cond delay="0"/>
                                          </p:stCondLst>
                                        </p:cTn>
                                        <p:tgtEl>
                                          <p:spTgt spid="579588"/>
                                        </p:tgtEl>
                                        <p:attrNameLst>
                                          <p:attrName>style.visibility</p:attrName>
                                        </p:attrNameLst>
                                      </p:cBhvr>
                                      <p:to>
                                        <p:strVal val="visible"/>
                                      </p:to>
                                    </p:set>
                                    <p:anim calcmode="lin" valueType="num">
                                      <p:cBhvr additive="base">
                                        <p:cTn id="17" dur="500" fill="hold"/>
                                        <p:tgtEl>
                                          <p:spTgt spid="579588"/>
                                        </p:tgtEl>
                                        <p:attrNameLst>
                                          <p:attrName>ppt_x</p:attrName>
                                        </p:attrNameLst>
                                      </p:cBhvr>
                                      <p:tavLst>
                                        <p:tav tm="0">
                                          <p:val>
                                            <p:strVal val="1+#ppt_w/2"/>
                                          </p:val>
                                        </p:tav>
                                        <p:tav tm="100000">
                                          <p:val>
                                            <p:strVal val="#ppt_x"/>
                                          </p:val>
                                        </p:tav>
                                      </p:tavLst>
                                    </p:anim>
                                    <p:anim calcmode="lin" valueType="num">
                                      <p:cBhvr additive="base">
                                        <p:cTn id="18" dur="500" fill="hold"/>
                                        <p:tgtEl>
                                          <p:spTgt spid="57958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ime Series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707903"/>
          </a:xfrm>
        </p:spPr>
        <p:txBody>
          <a:bodyPr/>
          <a:lstStyle/>
          <a:p>
            <a:r>
              <a:rPr lang="en-US"/>
              <a:t>Data over time</a:t>
            </a:r>
          </a:p>
          <a:p>
            <a:r>
              <a:rPr lang="en-US"/>
              <a:t>Always user line or column chart</a:t>
            </a:r>
          </a:p>
          <a:p>
            <a:endParaRPr lang="en-US"/>
          </a:p>
        </p:txBody>
      </p:sp>
      <p:pic>
        <p:nvPicPr>
          <p:cNvPr id="578562" name="Picture 2" descr="Image shows a line chart of historic sales over the month of April.">
            <a:extLst>
              <a:ext uri="{FF2B5EF4-FFF2-40B4-BE49-F238E27FC236}">
                <a16:creationId xmlns:a16="http://schemas.microsoft.com/office/drawing/2014/main" id="{F932F1A4-4C2D-4126-BF34-83F355F0C26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38237" y="3530829"/>
            <a:ext cx="5760000" cy="2526736"/>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89163C92-3F16-4122-996B-30702C2EEAE1}"/>
              </a:ext>
            </a:extLst>
          </p:cNvPr>
          <p:cNvSpPr txBox="1"/>
          <p:nvPr/>
        </p:nvSpPr>
        <p:spPr>
          <a:xfrm>
            <a:off x="2978237" y="2936391"/>
            <a:ext cx="6480000" cy="307777"/>
          </a:xfrm>
          <a:prstGeom prst="rect">
            <a:avLst/>
          </a:prstGeom>
          <a:noFill/>
        </p:spPr>
        <p:txBody>
          <a:bodyPr wrap="square" lIns="0" tIns="0" rIns="0" bIns="0" rtlCol="0">
            <a:spAutoFit/>
          </a:bodyPr>
          <a:lstStyle/>
          <a:p>
            <a:pPr algn="ctr" defTabSz="932649">
              <a:defRPr/>
            </a:pPr>
            <a:r>
              <a:rPr lang="en-US" sz="2000" i="1">
                <a:solidFill>
                  <a:srgbClr val="000000"/>
                </a:solidFill>
                <a:latin typeface="Segoe UI"/>
              </a:rPr>
              <a:t>Sales for all days</a:t>
            </a:r>
          </a:p>
        </p:txBody>
      </p:sp>
    </p:spTree>
    <p:extLst>
      <p:ext uri="{BB962C8B-B14F-4D97-AF65-F5344CB8AC3E}">
        <p14:creationId xmlns:p14="http://schemas.microsoft.com/office/powerpoint/2010/main" val="20859003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nodeType="clickEffect">
                                  <p:stCondLst>
                                    <p:cond delay="0"/>
                                  </p:stCondLst>
                                  <p:childTnLst>
                                    <p:set>
                                      <p:cBhvr>
                                        <p:cTn id="14" dur="1" fill="hold">
                                          <p:stCondLst>
                                            <p:cond delay="0"/>
                                          </p:stCondLst>
                                        </p:cTn>
                                        <p:tgtEl>
                                          <p:spTgt spid="578562"/>
                                        </p:tgtEl>
                                        <p:attrNameLst>
                                          <p:attrName>style.visibility</p:attrName>
                                        </p:attrNameLst>
                                      </p:cBhvr>
                                      <p:to>
                                        <p:strVal val="visible"/>
                                      </p:to>
                                    </p:set>
                                    <p:anim calcmode="lin" valueType="num">
                                      <p:cBhvr additive="base">
                                        <p:cTn id="15" dur="500" fill="hold"/>
                                        <p:tgtEl>
                                          <p:spTgt spid="578562"/>
                                        </p:tgtEl>
                                        <p:attrNameLst>
                                          <p:attrName>ppt_x</p:attrName>
                                        </p:attrNameLst>
                                      </p:cBhvr>
                                      <p:tavLst>
                                        <p:tav tm="0">
                                          <p:val>
                                            <p:strVal val="#ppt_x"/>
                                          </p:val>
                                        </p:tav>
                                        <p:tav tm="100000">
                                          <p:val>
                                            <p:strVal val="#ppt_x"/>
                                          </p:val>
                                        </p:tav>
                                      </p:tavLst>
                                    </p:anim>
                                    <p:anim calcmode="lin" valueType="num">
                                      <p:cBhvr additive="base">
                                        <p:cTn id="16" dur="500" fill="hold"/>
                                        <p:tgtEl>
                                          <p:spTgt spid="57856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4" grpId="0"/>
    </p:bld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ime Series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707903"/>
          </a:xfrm>
        </p:spPr>
        <p:txBody>
          <a:bodyPr/>
          <a:lstStyle/>
          <a:p>
            <a:r>
              <a:rPr lang="en-US"/>
              <a:t>Data over time</a:t>
            </a:r>
          </a:p>
          <a:p>
            <a:r>
              <a:rPr lang="en-US"/>
              <a:t>Always user line or column chart</a:t>
            </a:r>
          </a:p>
          <a:p>
            <a:pPr marL="0" indent="0">
              <a:buNone/>
            </a:pPr>
            <a:endParaRPr lang="en-US"/>
          </a:p>
        </p:txBody>
      </p:sp>
      <p:pic>
        <p:nvPicPr>
          <p:cNvPr id="4" name="Picture 4">
            <a:extLst>
              <a:ext uri="{FF2B5EF4-FFF2-40B4-BE49-F238E27FC236}">
                <a16:creationId xmlns:a16="http://schemas.microsoft.com/office/drawing/2014/main" id="{E119CF15-346A-49BE-A2E0-5A799A31702E}"/>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52808"/>
          <a:stretch/>
        </p:blipFill>
        <p:spPr bwMode="auto">
          <a:xfrm>
            <a:off x="300220" y="3521713"/>
            <a:ext cx="5760000" cy="2445606"/>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24FBD316-0D40-4852-85A0-B86B5A2A62FB}"/>
              </a:ext>
            </a:extLst>
          </p:cNvPr>
          <p:cNvSpPr txBox="1"/>
          <p:nvPr/>
        </p:nvSpPr>
        <p:spPr>
          <a:xfrm>
            <a:off x="2978237" y="2936391"/>
            <a:ext cx="6480000" cy="307777"/>
          </a:xfrm>
          <a:prstGeom prst="rect">
            <a:avLst/>
          </a:prstGeom>
          <a:noFill/>
        </p:spPr>
        <p:txBody>
          <a:bodyPr wrap="square" lIns="0" tIns="0" rIns="0" bIns="0" rtlCol="0">
            <a:spAutoFit/>
          </a:bodyPr>
          <a:lstStyle/>
          <a:p>
            <a:pPr algn="ctr" defTabSz="932649">
              <a:defRPr/>
            </a:pPr>
            <a:r>
              <a:rPr lang="en-US" sz="2000" i="1">
                <a:solidFill>
                  <a:srgbClr val="000000"/>
                </a:solidFill>
                <a:latin typeface="Segoe UI"/>
              </a:rPr>
              <a:t>Sales are missing for some days</a:t>
            </a:r>
          </a:p>
        </p:txBody>
      </p:sp>
      <p:pic>
        <p:nvPicPr>
          <p:cNvPr id="5" name="Picture 4">
            <a:extLst>
              <a:ext uri="{FF2B5EF4-FFF2-40B4-BE49-F238E27FC236}">
                <a16:creationId xmlns:a16="http://schemas.microsoft.com/office/drawing/2014/main" id="{78BFDABA-2A4D-4BE3-9228-415C55F233EF}"/>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55178"/>
          <a:stretch/>
        </p:blipFill>
        <p:spPr bwMode="auto">
          <a:xfrm>
            <a:off x="6290429" y="3509680"/>
            <a:ext cx="6094396" cy="24576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459639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ppt_x"/>
                                          </p:val>
                                        </p:tav>
                                        <p:tav tm="100000">
                                          <p:val>
                                            <p:strVal val="#ppt_x"/>
                                          </p:val>
                                        </p:tav>
                                      </p:tavLst>
                                    </p:anim>
                                    <p:anim calcmode="lin" valueType="num">
                                      <p:cBhvr additive="base">
                                        <p:cTn id="14"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genda (times are approximate and will be fluid with the class)</a:t>
            </a:r>
          </a:p>
        </p:txBody>
      </p:sp>
      <p:graphicFrame>
        <p:nvGraphicFramePr>
          <p:cNvPr id="7" name="Table 7">
            <a:extLst>
              <a:ext uri="{FF2B5EF4-FFF2-40B4-BE49-F238E27FC236}">
                <a16:creationId xmlns:a16="http://schemas.microsoft.com/office/drawing/2014/main" id="{3E5C1877-83B6-43B2-8D9F-D6B32A5B8BB7}"/>
              </a:ext>
            </a:extLst>
          </p:cNvPr>
          <p:cNvGraphicFramePr>
            <a:graphicFrameLocks noGrp="1"/>
          </p:cNvGraphicFramePr>
          <p:nvPr>
            <p:extLst>
              <p:ext uri="{D42A27DB-BD31-4B8C-83A1-F6EECF244321}">
                <p14:modId xmlns:p14="http://schemas.microsoft.com/office/powerpoint/2010/main" val="3960910775"/>
              </p:ext>
            </p:extLst>
          </p:nvPr>
        </p:nvGraphicFramePr>
        <p:xfrm>
          <a:off x="465954" y="1249885"/>
          <a:ext cx="11375188" cy="4210556"/>
        </p:xfrm>
        <a:graphic>
          <a:graphicData uri="http://schemas.openxmlformats.org/drawingml/2006/table">
            <a:tbl>
              <a:tblPr firstRow="1" bandRow="1">
                <a:tableStyleId>{5C22544A-7EE6-4342-B048-85BDC9FD1C3A}</a:tableStyleId>
              </a:tblPr>
              <a:tblGrid>
                <a:gridCol w="2152077">
                  <a:extLst>
                    <a:ext uri="{9D8B030D-6E8A-4147-A177-3AD203B41FA5}">
                      <a16:colId xmlns:a16="http://schemas.microsoft.com/office/drawing/2014/main" val="1768755900"/>
                    </a:ext>
                  </a:extLst>
                </a:gridCol>
                <a:gridCol w="2623691">
                  <a:extLst>
                    <a:ext uri="{9D8B030D-6E8A-4147-A177-3AD203B41FA5}">
                      <a16:colId xmlns:a16="http://schemas.microsoft.com/office/drawing/2014/main" val="790972667"/>
                    </a:ext>
                  </a:extLst>
                </a:gridCol>
                <a:gridCol w="6599420">
                  <a:extLst>
                    <a:ext uri="{9D8B030D-6E8A-4147-A177-3AD203B41FA5}">
                      <a16:colId xmlns:a16="http://schemas.microsoft.com/office/drawing/2014/main" val="3331715341"/>
                    </a:ext>
                  </a:extLst>
                </a:gridCol>
              </a:tblGrid>
              <a:tr h="518864">
                <a:tc gridSpan="3">
                  <a:txBody>
                    <a:bodyPr/>
                    <a:lstStyle/>
                    <a:p>
                      <a:r>
                        <a:rPr lang="en-US" sz="1800" b="0">
                          <a:solidFill>
                            <a:srgbClr val="191919"/>
                          </a:solidFill>
                          <a:latin typeface="+mj-lt"/>
                        </a:rPr>
                        <a:t>Morning</a:t>
                      </a:r>
                      <a:endParaRPr lang="en-IN" sz="1800" b="0">
                        <a:solidFill>
                          <a:srgbClr val="191919"/>
                        </a:solidFill>
                        <a:latin typeface="+mj-lt"/>
                      </a:endParaRPr>
                    </a:p>
                  </a:txBody>
                  <a:tcPr marL="74598" marR="74598" marT="46624" marB="46624">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270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tcPr>
                </a:tc>
                <a:tc hMerge="1">
                  <a:txBody>
                    <a:bodyPr/>
                    <a:lstStyle/>
                    <a:p>
                      <a:endParaRPr lang="en-IN" sz="1800" b="0">
                        <a:solidFill>
                          <a:srgbClr val="191919"/>
                        </a:solidFill>
                        <a:latin typeface="+mj-lt"/>
                      </a:endParaRPr>
                    </a:p>
                  </a:txBody>
                  <a:tcPr marL="74608" marR="74608" marT="46630" marB="46630">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0335495"/>
                  </a:ext>
                </a:extLst>
              </a:tr>
              <a:tr h="468916">
                <a:tc>
                  <a:txBody>
                    <a:bodyPr/>
                    <a:lstStyle/>
                    <a:p>
                      <a:r>
                        <a:rPr lang="en-US" sz="1400" dirty="0">
                          <a:solidFill>
                            <a:schemeClr val="tx1"/>
                          </a:solidFill>
                        </a:rPr>
                        <a:t>08:00 AM – 08:15 AM</a:t>
                      </a:r>
                      <a:endParaRPr lang="en-IN" sz="1600" b="1" dirty="0">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endParaRPr lang="en-IN" sz="160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n-US" sz="1400">
                          <a:solidFill>
                            <a:schemeClr val="tx1"/>
                          </a:solidFill>
                        </a:rPr>
                        <a:t>Introductions and retrospective</a:t>
                      </a:r>
                      <a:endParaRPr lang="en-IN" sz="160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3218476"/>
                  </a:ext>
                </a:extLst>
              </a:tr>
              <a:tr h="432388">
                <a:tc>
                  <a:txBody>
                    <a:bodyPr/>
                    <a:lstStyle/>
                    <a:p>
                      <a:r>
                        <a:rPr lang="en-US" sz="1400" dirty="0">
                          <a:solidFill>
                            <a:schemeClr val="tx1"/>
                          </a:solidFill>
                        </a:rPr>
                        <a:t>08:15 AM – 09:30 AM</a:t>
                      </a: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a:solidFill>
                            <a:schemeClr val="tx1"/>
                          </a:solidFill>
                        </a:rPr>
                        <a:t>Alex Powers</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dirty="0">
                          <a:solidFill>
                            <a:schemeClr val="tx1"/>
                          </a:solidFill>
                        </a:rPr>
                        <a:t>Data preparation</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1315513"/>
                  </a:ext>
                </a:extLst>
              </a:tr>
              <a:tr h="468916">
                <a:tc>
                  <a:txBody>
                    <a:bodyPr/>
                    <a:lstStyle/>
                    <a:p>
                      <a:r>
                        <a:rPr lang="en-US" sz="1400" dirty="0">
                          <a:solidFill>
                            <a:schemeClr val="tx1"/>
                          </a:solidFill>
                          <a:latin typeface="+mj-lt"/>
                        </a:rPr>
                        <a:t>09:30 AM – 10:00 AM</a:t>
                      </a:r>
                      <a:endParaRPr lang="en-IN" sz="1600" dirty="0">
                        <a:solidFill>
                          <a:schemeClr val="tx1"/>
                        </a:solidFill>
                        <a:latin typeface="+mj-lt"/>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endParaRPr lang="en-IN" sz="1600">
                        <a:solidFill>
                          <a:schemeClr val="tx1"/>
                        </a:solidFill>
                        <a:latin typeface="+mj-lt"/>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r>
                        <a:rPr lang="en-US" sz="1400">
                          <a:solidFill>
                            <a:schemeClr val="tx1"/>
                          </a:solidFill>
                          <a:latin typeface="+mj-lt"/>
                        </a:rPr>
                        <a:t>Break</a:t>
                      </a:r>
                      <a:endParaRPr lang="en-IN" sz="1600">
                        <a:solidFill>
                          <a:schemeClr val="tx1"/>
                        </a:solidFill>
                        <a:latin typeface="+mj-lt"/>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1333078290"/>
                  </a:ext>
                </a:extLst>
              </a:tr>
              <a:tr h="432388">
                <a:tc>
                  <a:txBody>
                    <a:bodyPr/>
                    <a:lstStyle/>
                    <a:p>
                      <a:r>
                        <a:rPr lang="en-US" sz="1400" dirty="0">
                          <a:solidFill>
                            <a:schemeClr val="tx1"/>
                          </a:solidFill>
                        </a:rPr>
                        <a:t>10:00 AM – 12:00 PM</a:t>
                      </a:r>
                      <a:endParaRPr lang="en-IN" sz="1600" dirty="0">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a:solidFill>
                            <a:schemeClr val="tx1"/>
                          </a:solidFill>
                          <a:latin typeface="+mn-lt"/>
                          <a:ea typeface="+mn-ea"/>
                          <a:cs typeface="+mn-cs"/>
                        </a:rPr>
                        <a:t>Patrick LeBlanc</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a:solidFill>
                            <a:schemeClr val="tx1"/>
                          </a:solidFill>
                        </a:rPr>
                        <a:t>Data modeling</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0561158"/>
                  </a:ext>
                </a:extLst>
              </a:tr>
              <a:tr h="468916">
                <a:tc>
                  <a:txBody>
                    <a:bodyPr/>
                    <a:lstStyle/>
                    <a:p>
                      <a:r>
                        <a:rPr lang="en-US" sz="1400" dirty="0">
                          <a:solidFill>
                            <a:schemeClr val="tx1"/>
                          </a:solidFill>
                          <a:latin typeface="+mj-lt"/>
                        </a:rPr>
                        <a:t>12:00 PM – 01:00 PM </a:t>
                      </a:r>
                      <a:endParaRPr lang="en-IN" sz="1600" dirty="0">
                        <a:solidFill>
                          <a:schemeClr val="tx1"/>
                        </a:solidFill>
                        <a:latin typeface="+mj-lt"/>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endParaRPr lang="en-IN" sz="1600">
                        <a:solidFill>
                          <a:schemeClr val="tx1"/>
                        </a:solidFill>
                        <a:latin typeface="+mj-lt"/>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r>
                        <a:rPr lang="en-US" sz="1400">
                          <a:solidFill>
                            <a:schemeClr val="tx1"/>
                          </a:solidFill>
                          <a:latin typeface="+mj-lt"/>
                        </a:rPr>
                        <a:t>Break for lunch</a:t>
                      </a:r>
                      <a:endParaRPr lang="en-IN" sz="1600">
                        <a:solidFill>
                          <a:schemeClr val="tx1"/>
                        </a:solidFill>
                        <a:latin typeface="+mj-lt"/>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429600049"/>
                  </a:ext>
                </a:extLst>
              </a:tr>
              <a:tr h="518864">
                <a:tc gridSpan="3">
                  <a:txBody>
                    <a:bodyPr/>
                    <a:lstStyle/>
                    <a:p>
                      <a:pPr marL="0" algn="l" defTabSz="914367" rtl="0" eaLnBrk="1" latinLnBrk="0" hangingPunct="1"/>
                      <a:r>
                        <a:rPr lang="en-IN" sz="1800" b="0" kern="1200" dirty="0">
                          <a:solidFill>
                            <a:srgbClr val="191919"/>
                          </a:solidFill>
                          <a:latin typeface="+mj-lt"/>
                          <a:ea typeface="+mn-ea"/>
                          <a:cs typeface="+mn-cs"/>
                        </a:rPr>
                        <a:t>Afternoon</a:t>
                      </a:r>
                    </a:p>
                  </a:txBody>
                  <a:tcPr marL="74598" marR="74598" marT="46624" marB="46624">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270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lnT w="19050" cap="flat" cmpd="sng" algn="ctr">
                      <a:solidFill>
                        <a:srgbClr val="F2C811"/>
                      </a:solidFill>
                      <a:prstDash val="solid"/>
                      <a:round/>
                      <a:headEnd type="none" w="med" len="med"/>
                      <a:tailEnd type="none" w="med" len="med"/>
                    </a:lnT>
                  </a:tcPr>
                </a:tc>
                <a:tc hMerge="1">
                  <a:txBody>
                    <a:bodyPr/>
                    <a:lstStyle/>
                    <a:p>
                      <a:pPr marL="0" algn="l" defTabSz="914367" rtl="0" eaLnBrk="1" latinLnBrk="0" hangingPunct="1"/>
                      <a:endParaRPr lang="en-IN" sz="1800" b="0" kern="1200">
                        <a:solidFill>
                          <a:srgbClr val="191919"/>
                        </a:solidFill>
                        <a:latin typeface="+mj-lt"/>
                        <a:ea typeface="+mn-ea"/>
                        <a:cs typeface="+mn-cs"/>
                      </a:endParaRPr>
                    </a:p>
                  </a:txBody>
                  <a:tcPr marL="74608" marR="74608" marT="46630" marB="46630">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4523050"/>
                  </a:ext>
                </a:extLst>
              </a:tr>
              <a:tr h="432388">
                <a:tc>
                  <a:txBody>
                    <a:bodyPr/>
                    <a:lstStyle/>
                    <a:p>
                      <a:r>
                        <a:rPr lang="en-US" sz="1400" dirty="0">
                          <a:solidFill>
                            <a:schemeClr val="tx1"/>
                          </a:solidFill>
                        </a:rPr>
                        <a:t>1:00 PM – 02:30 PM</a:t>
                      </a:r>
                      <a:endParaRPr lang="en-IN" sz="1400" dirty="0">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IN" sz="1200" kern="1200" dirty="0">
                          <a:solidFill>
                            <a:schemeClr val="tx1"/>
                          </a:solidFill>
                          <a:latin typeface="+mn-lt"/>
                          <a:ea typeface="+mn-ea"/>
                          <a:cs typeface="+mn-cs"/>
                        </a:rPr>
                        <a:t>Adam Saxton</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n-US" sz="1400">
                          <a:solidFill>
                            <a:schemeClr val="tx1"/>
                          </a:solidFill>
                        </a:rPr>
                        <a:t>Data visualization</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9401731"/>
                  </a:ext>
                </a:extLst>
              </a:tr>
              <a:tr h="468916">
                <a:tc>
                  <a:txBody>
                    <a:bodyPr/>
                    <a:lstStyle/>
                    <a:p>
                      <a:endParaRPr lang="en-IN" sz="1400" dirty="0">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IN" sz="160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lang="en-US" sz="1400" dirty="0">
                          <a:solidFill>
                            <a:schemeClr val="tx1"/>
                          </a:solidFill>
                        </a:rPr>
                        <a:t>Closing thoughts and Q&amp;A</a:t>
                      </a:r>
                      <a:endParaRPr lang="en-IN" sz="1600" dirty="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20876743"/>
                  </a:ext>
                </a:extLst>
              </a:tr>
            </a:tbl>
          </a:graphicData>
        </a:graphic>
      </p:graphicFrame>
    </p:spTree>
    <p:extLst>
      <p:ext uri="{BB962C8B-B14F-4D97-AF65-F5344CB8AC3E}">
        <p14:creationId xmlns:p14="http://schemas.microsoft.com/office/powerpoint/2010/main" val="590324826"/>
      </p:ext>
    </p:extLst>
  </p:cSld>
  <p:clrMapOvr>
    <a:masterClrMapping/>
  </p:clrMapOvr>
  <p:transition>
    <p:fade/>
  </p:transition>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Proportional Visuals </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607428"/>
          </a:xfrm>
        </p:spPr>
        <p:txBody>
          <a:bodyPr/>
          <a:lstStyle/>
          <a:p>
            <a:r>
              <a:rPr lang="en-US"/>
              <a:t>Show data part of a whole</a:t>
            </a:r>
          </a:p>
          <a:p>
            <a:r>
              <a:rPr lang="en-US"/>
              <a:t>Stacked Column/Bar chart, Funnel chart, </a:t>
            </a:r>
            <a:r>
              <a:rPr lang="en-US" err="1"/>
              <a:t>Treemap</a:t>
            </a:r>
            <a:r>
              <a:rPr lang="en-US"/>
              <a:t>, Pie chart Doughnut chart</a:t>
            </a:r>
          </a:p>
        </p:txBody>
      </p:sp>
      <p:pic>
        <p:nvPicPr>
          <p:cNvPr id="577538" name="Picture 2" descr="Image shows a stacked bar chart showing product sales by store. Each bar length totals 100 per cent.">
            <a:extLst>
              <a:ext uri="{FF2B5EF4-FFF2-40B4-BE49-F238E27FC236}">
                <a16:creationId xmlns:a16="http://schemas.microsoft.com/office/drawing/2014/main" id="{39DBBFDF-41C6-43CC-AEF2-EA8B2950B2C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05460" y="2881414"/>
            <a:ext cx="6480000" cy="40466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79326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577538"/>
                                        </p:tgtEl>
                                        <p:attrNameLst>
                                          <p:attrName>style.visibility</p:attrName>
                                        </p:attrNameLst>
                                      </p:cBhvr>
                                      <p:to>
                                        <p:strVal val="visible"/>
                                      </p:to>
                                    </p:set>
                                    <p:anim calcmode="lin" valueType="num">
                                      <p:cBhvr additive="base">
                                        <p:cTn id="11" dur="500" fill="hold"/>
                                        <p:tgtEl>
                                          <p:spTgt spid="577538"/>
                                        </p:tgtEl>
                                        <p:attrNameLst>
                                          <p:attrName>ppt_x</p:attrName>
                                        </p:attrNameLst>
                                      </p:cBhvr>
                                      <p:tavLst>
                                        <p:tav tm="0">
                                          <p:val>
                                            <p:strVal val="#ppt_x"/>
                                          </p:val>
                                        </p:tav>
                                        <p:tav tm="100000">
                                          <p:val>
                                            <p:strVal val="#ppt_x"/>
                                          </p:val>
                                        </p:tav>
                                      </p:tavLst>
                                    </p:anim>
                                    <p:anim calcmode="lin" valueType="num">
                                      <p:cBhvr additive="base">
                                        <p:cTn id="12" dur="500" fill="hold"/>
                                        <p:tgtEl>
                                          <p:spTgt spid="57753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Numeric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502317"/>
          </a:xfrm>
        </p:spPr>
        <p:txBody>
          <a:bodyPr/>
          <a:lstStyle/>
          <a:p>
            <a:r>
              <a:rPr lang="en-US"/>
              <a:t>High-level callouts</a:t>
            </a:r>
          </a:p>
        </p:txBody>
      </p:sp>
      <p:pic>
        <p:nvPicPr>
          <p:cNvPr id="576514" name="Picture 2" descr="Image shows a single sales value in card.">
            <a:extLst>
              <a:ext uri="{FF2B5EF4-FFF2-40B4-BE49-F238E27FC236}">
                <a16:creationId xmlns:a16="http://schemas.microsoft.com/office/drawing/2014/main" id="{DD0C642B-0FEA-40D8-838A-05A6003AE8F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58237" y="2336300"/>
            <a:ext cx="4320000" cy="20360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75335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76514"/>
                                        </p:tgtEl>
                                        <p:attrNameLst>
                                          <p:attrName>style.visibility</p:attrName>
                                        </p:attrNameLst>
                                      </p:cBhvr>
                                      <p:to>
                                        <p:strVal val="visible"/>
                                      </p:to>
                                    </p:set>
                                    <p:anim calcmode="lin" valueType="num">
                                      <p:cBhvr additive="base">
                                        <p:cTn id="7" dur="500" fill="hold"/>
                                        <p:tgtEl>
                                          <p:spTgt spid="576514"/>
                                        </p:tgtEl>
                                        <p:attrNameLst>
                                          <p:attrName>ppt_x</p:attrName>
                                        </p:attrNameLst>
                                      </p:cBhvr>
                                      <p:tavLst>
                                        <p:tav tm="0">
                                          <p:val>
                                            <p:strVal val="#ppt_x"/>
                                          </p:val>
                                        </p:tav>
                                        <p:tav tm="100000">
                                          <p:val>
                                            <p:strVal val="#ppt_x"/>
                                          </p:val>
                                        </p:tav>
                                      </p:tavLst>
                                    </p:anim>
                                    <p:anim calcmode="lin" valueType="num">
                                      <p:cBhvr additive="base">
                                        <p:cTn id="8" dur="500" fill="hold"/>
                                        <p:tgtEl>
                                          <p:spTgt spid="5765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Grid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707903"/>
          </a:xfrm>
        </p:spPr>
        <p:txBody>
          <a:bodyPr/>
          <a:lstStyle/>
          <a:p>
            <a:r>
              <a:rPr lang="en-US"/>
              <a:t>Show more details</a:t>
            </a:r>
          </a:p>
          <a:p>
            <a:r>
              <a:rPr lang="en-US"/>
              <a:t>Table and Matrix </a:t>
            </a:r>
          </a:p>
          <a:p>
            <a:r>
              <a:rPr lang="en-US"/>
              <a:t>Add conditional formatting for easier consumption</a:t>
            </a:r>
          </a:p>
        </p:txBody>
      </p:sp>
      <p:pic>
        <p:nvPicPr>
          <p:cNvPr id="575494" name="Picture 6">
            <a:extLst>
              <a:ext uri="{FF2B5EF4-FFF2-40B4-BE49-F238E27FC236}">
                <a16:creationId xmlns:a16="http://schemas.microsoft.com/office/drawing/2014/main" id="{6ED6401E-38D9-4F80-B4E6-E9E2075FAE1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3422015"/>
            <a:ext cx="6480000" cy="24064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64396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nodeType="clickEffect">
                                  <p:stCondLst>
                                    <p:cond delay="0"/>
                                  </p:stCondLst>
                                  <p:childTnLst>
                                    <p:set>
                                      <p:cBhvr>
                                        <p:cTn id="14" dur="1" fill="hold">
                                          <p:stCondLst>
                                            <p:cond delay="0"/>
                                          </p:stCondLst>
                                        </p:cTn>
                                        <p:tgtEl>
                                          <p:spTgt spid="575494"/>
                                        </p:tgtEl>
                                        <p:attrNameLst>
                                          <p:attrName>style.visibility</p:attrName>
                                        </p:attrNameLst>
                                      </p:cBhvr>
                                      <p:to>
                                        <p:strVal val="visible"/>
                                      </p:to>
                                    </p:set>
                                    <p:anim calcmode="lin" valueType="num">
                                      <p:cBhvr additive="base">
                                        <p:cTn id="15" dur="500" fill="hold"/>
                                        <p:tgtEl>
                                          <p:spTgt spid="575494"/>
                                        </p:tgtEl>
                                        <p:attrNameLst>
                                          <p:attrName>ppt_x</p:attrName>
                                        </p:attrNameLst>
                                      </p:cBhvr>
                                      <p:tavLst>
                                        <p:tav tm="0">
                                          <p:val>
                                            <p:strVal val="#ppt_x"/>
                                          </p:val>
                                        </p:tav>
                                        <p:tav tm="100000">
                                          <p:val>
                                            <p:strVal val="#ppt_x"/>
                                          </p:val>
                                        </p:tav>
                                      </p:tavLst>
                                    </p:anim>
                                    <p:anim calcmode="lin" valueType="num">
                                      <p:cBhvr additive="base">
                                        <p:cTn id="16" dur="500" fill="hold"/>
                                        <p:tgtEl>
                                          <p:spTgt spid="57549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Performance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105111"/>
          </a:xfrm>
        </p:spPr>
        <p:txBody>
          <a:bodyPr/>
          <a:lstStyle/>
          <a:p>
            <a:r>
              <a:rPr lang="en-US"/>
              <a:t>Comparison to target</a:t>
            </a:r>
          </a:p>
          <a:p>
            <a:r>
              <a:rPr lang="en-US"/>
              <a:t>Gauge, KPI, Table/Matrix with conditional formatting</a:t>
            </a:r>
          </a:p>
        </p:txBody>
      </p:sp>
      <p:pic>
        <p:nvPicPr>
          <p:cNvPr id="584708" name="Picture 4">
            <a:extLst>
              <a:ext uri="{FF2B5EF4-FFF2-40B4-BE49-F238E27FC236}">
                <a16:creationId xmlns:a16="http://schemas.microsoft.com/office/drawing/2014/main" id="{7E9EB0E5-5DFA-4FFF-882B-FAAC1B289A2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58237" y="3423600"/>
            <a:ext cx="4320000" cy="14816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67290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584708"/>
                                        </p:tgtEl>
                                        <p:attrNameLst>
                                          <p:attrName>style.visibility</p:attrName>
                                        </p:attrNameLst>
                                      </p:cBhvr>
                                      <p:to>
                                        <p:strVal val="visible"/>
                                      </p:to>
                                    </p:set>
                                    <p:anim calcmode="lin" valueType="num">
                                      <p:cBhvr additive="base">
                                        <p:cTn id="11" dur="500" fill="hold"/>
                                        <p:tgtEl>
                                          <p:spTgt spid="584708"/>
                                        </p:tgtEl>
                                        <p:attrNameLst>
                                          <p:attrName>ppt_x</p:attrName>
                                        </p:attrNameLst>
                                      </p:cBhvr>
                                      <p:tavLst>
                                        <p:tav tm="0">
                                          <p:val>
                                            <p:strVal val="#ppt_x"/>
                                          </p:val>
                                        </p:tav>
                                        <p:tav tm="100000">
                                          <p:val>
                                            <p:strVal val="#ppt_x"/>
                                          </p:val>
                                        </p:tav>
                                      </p:tavLst>
                                    </p:anim>
                                    <p:anim calcmode="lin" valueType="num">
                                      <p:cBhvr additive="base">
                                        <p:cTn id="12" dur="500" fill="hold"/>
                                        <p:tgtEl>
                                          <p:spTgt spid="58470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Geospatial Visuals </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105111"/>
          </a:xfrm>
        </p:spPr>
        <p:txBody>
          <a:bodyPr/>
          <a:lstStyle/>
          <a:p>
            <a:r>
              <a:rPr lang="en-US"/>
              <a:t>Data on a map</a:t>
            </a:r>
          </a:p>
          <a:p>
            <a:r>
              <a:rPr lang="en-US"/>
              <a:t>Can take up lot of space, consider categorical visual instead</a:t>
            </a:r>
          </a:p>
        </p:txBody>
      </p:sp>
      <p:pic>
        <p:nvPicPr>
          <p:cNvPr id="583684" name="Picture 4">
            <a:extLst>
              <a:ext uri="{FF2B5EF4-FFF2-40B4-BE49-F238E27FC236}">
                <a16:creationId xmlns:a16="http://schemas.microsoft.com/office/drawing/2014/main" id="{99D1EADD-AF7A-42C0-8DD8-C300FE2BAD5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50000"/>
          <a:stretch/>
        </p:blipFill>
        <p:spPr bwMode="auto">
          <a:xfrm>
            <a:off x="1301120" y="3423600"/>
            <a:ext cx="4917118" cy="3179372"/>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52251348-956F-46F8-A60F-BB6CF35C6795}"/>
              </a:ext>
            </a:extLst>
          </p:cNvPr>
          <p:cNvSpPr txBox="1"/>
          <p:nvPr/>
        </p:nvSpPr>
        <p:spPr>
          <a:xfrm>
            <a:off x="1301119" y="3024056"/>
            <a:ext cx="9834237" cy="307777"/>
          </a:xfrm>
          <a:prstGeom prst="rect">
            <a:avLst/>
          </a:prstGeom>
          <a:noFill/>
        </p:spPr>
        <p:txBody>
          <a:bodyPr wrap="square" lIns="0" tIns="0" rIns="0" bIns="0" rtlCol="0">
            <a:spAutoFit/>
          </a:bodyPr>
          <a:lstStyle/>
          <a:p>
            <a:pPr algn="ctr" defTabSz="932649">
              <a:defRPr/>
            </a:pPr>
            <a:r>
              <a:rPr lang="en-US" sz="2000" i="1">
                <a:solidFill>
                  <a:srgbClr val="000000"/>
                </a:solidFill>
                <a:latin typeface="Segoe UI"/>
              </a:rPr>
              <a:t>Sales are by city</a:t>
            </a:r>
          </a:p>
        </p:txBody>
      </p:sp>
      <p:pic>
        <p:nvPicPr>
          <p:cNvPr id="4" name="Picture 4">
            <a:extLst>
              <a:ext uri="{FF2B5EF4-FFF2-40B4-BE49-F238E27FC236}">
                <a16:creationId xmlns:a16="http://schemas.microsoft.com/office/drawing/2014/main" id="{0B17E4E7-4418-4B8C-A177-64B3D59F724C}"/>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0000"/>
          <a:stretch/>
        </p:blipFill>
        <p:spPr bwMode="auto">
          <a:xfrm>
            <a:off x="6215647" y="3426924"/>
            <a:ext cx="4917118" cy="31793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42444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nodeType="clickEffect">
                                  <p:stCondLst>
                                    <p:cond delay="0"/>
                                  </p:stCondLst>
                                  <p:childTnLst>
                                    <p:set>
                                      <p:cBhvr>
                                        <p:cTn id="14" dur="1" fill="hold">
                                          <p:stCondLst>
                                            <p:cond delay="0"/>
                                          </p:stCondLst>
                                        </p:cTn>
                                        <p:tgtEl>
                                          <p:spTgt spid="583684"/>
                                        </p:tgtEl>
                                        <p:attrNameLst>
                                          <p:attrName>style.visibility</p:attrName>
                                        </p:attrNameLst>
                                      </p:cBhvr>
                                      <p:to>
                                        <p:strVal val="visible"/>
                                      </p:to>
                                    </p:set>
                                    <p:anim calcmode="lin" valueType="num">
                                      <p:cBhvr additive="base">
                                        <p:cTn id="15" dur="500" fill="hold"/>
                                        <p:tgtEl>
                                          <p:spTgt spid="583684"/>
                                        </p:tgtEl>
                                        <p:attrNameLst>
                                          <p:attrName>ppt_x</p:attrName>
                                        </p:attrNameLst>
                                      </p:cBhvr>
                                      <p:tavLst>
                                        <p:tav tm="0">
                                          <p:val>
                                            <p:strVal val="#ppt_x"/>
                                          </p:val>
                                        </p:tav>
                                        <p:tav tm="100000">
                                          <p:val>
                                            <p:strVal val="#ppt_x"/>
                                          </p:val>
                                        </p:tav>
                                      </p:tavLst>
                                    </p:anim>
                                    <p:anim calcmode="lin" valueType="num">
                                      <p:cBhvr additive="base">
                                        <p:cTn id="16" dur="500" fill="hold"/>
                                        <p:tgtEl>
                                          <p:spTgt spid="583684"/>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nodeType="clickEffect">
                                  <p:stCondLst>
                                    <p:cond delay="0"/>
                                  </p:stCondLst>
                                  <p:childTnLst>
                                    <p:set>
                                      <p:cBhvr>
                                        <p:cTn id="20" dur="1" fill="hold">
                                          <p:stCondLst>
                                            <p:cond delay="0"/>
                                          </p:stCondLst>
                                        </p:cTn>
                                        <p:tgtEl>
                                          <p:spTgt spid="4"/>
                                        </p:tgtEl>
                                        <p:attrNameLst>
                                          <p:attrName>style.visibility</p:attrName>
                                        </p:attrNameLst>
                                      </p:cBhvr>
                                      <p:to>
                                        <p:strVal val="visible"/>
                                      </p:to>
                                    </p:set>
                                    <p:anim calcmode="lin" valueType="num">
                                      <p:cBhvr additive="base">
                                        <p:cTn id="21" dur="500" fill="hold"/>
                                        <p:tgtEl>
                                          <p:spTgt spid="4"/>
                                        </p:tgtEl>
                                        <p:attrNameLst>
                                          <p:attrName>ppt_x</p:attrName>
                                        </p:attrNameLst>
                                      </p:cBhvr>
                                      <p:tavLst>
                                        <p:tav tm="0">
                                          <p:val>
                                            <p:strVal val="#ppt_x"/>
                                          </p:val>
                                        </p:tav>
                                        <p:tav tm="100000">
                                          <p:val>
                                            <p:strVal val="#ppt_x"/>
                                          </p:val>
                                        </p:tav>
                                      </p:tavLst>
                                    </p:anim>
                                    <p:anim calcmode="lin" valueType="num">
                                      <p:cBhvr additive="base">
                                        <p:cTn id="22"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5" grpId="0"/>
    </p:bld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534837"/>
            <a:ext cx="7384111" cy="1107996"/>
          </a:xfrm>
        </p:spPr>
        <p:txBody>
          <a:bodyPr/>
          <a:lstStyle/>
          <a:p>
            <a:r>
              <a:rPr lang="en-US" sz="4800"/>
              <a:t>DEMO</a:t>
            </a:r>
            <a:br>
              <a:rPr lang="en-US" sz="4800"/>
            </a:br>
            <a:r>
              <a:rPr lang="en-US" sz="2400">
                <a:hlinkClick r:id="rId3"/>
              </a:rPr>
              <a:t>Microsoft Power BI</a:t>
            </a:r>
            <a:endParaRPr lang="en-US" sz="2400"/>
          </a:p>
        </p:txBody>
      </p:sp>
    </p:spTree>
    <p:extLst>
      <p:ext uri="{BB962C8B-B14F-4D97-AF65-F5344CB8AC3E}">
        <p14:creationId xmlns:p14="http://schemas.microsoft.com/office/powerpoint/2010/main" val="2972634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A2448F0F-750E-454F-8370-1E41DF6BCCB6}"/>
              </a:ext>
            </a:extLst>
          </p:cNvPr>
          <p:cNvSpPr/>
          <p:nvPr/>
        </p:nvSpPr>
        <p:spPr>
          <a:xfrm>
            <a:off x="1560078" y="631450"/>
            <a:ext cx="5488759" cy="548875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sp>
        <p:nvSpPr>
          <p:cNvPr id="43" name="Rectangle 42">
            <a:extLst>
              <a:ext uri="{FF2B5EF4-FFF2-40B4-BE49-F238E27FC236}">
                <a16:creationId xmlns:a16="http://schemas.microsoft.com/office/drawing/2014/main" id="{8BE93587-7EBF-453A-9E42-A743C659B286}"/>
              </a:ext>
            </a:extLst>
          </p:cNvPr>
          <p:cNvSpPr/>
          <p:nvPr/>
        </p:nvSpPr>
        <p:spPr>
          <a:xfrm rot="16200000">
            <a:off x="5343925" y="-2720097"/>
            <a:ext cx="1748627" cy="12434715"/>
          </a:xfrm>
          <a:prstGeom prst="rect">
            <a:avLst/>
          </a:prstGeom>
          <a:solidFill>
            <a:srgbClr val="EAEAEA">
              <a:alpha val="3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932649">
              <a:defRPr/>
            </a:pPr>
            <a:endParaRPr lang="en-US" sz="2448" b="1">
              <a:solidFill>
                <a:srgbClr val="000000"/>
              </a:solidFill>
              <a:latin typeface="Segoe UI Semibold" panose="020B0702040204020203" pitchFamily="34" charset="0"/>
              <a:cs typeface="Segoe UI Semibold" panose="020B0702040204020203" pitchFamily="34" charset="0"/>
            </a:endParaRPr>
          </a:p>
          <a:p>
            <a:pPr algn="ctr" defTabSz="932649">
              <a:defRPr/>
            </a:pPr>
            <a:endParaRPr lang="en-US" sz="2448" b="1">
              <a:solidFill>
                <a:srgbClr val="000000"/>
              </a:solidFill>
              <a:latin typeface="Segoe UI Semibold" panose="020B0702040204020203" pitchFamily="34" charset="0"/>
              <a:cs typeface="Segoe UI Semibold" panose="020B0702040204020203" pitchFamily="34" charset="0"/>
            </a:endParaRPr>
          </a:p>
          <a:p>
            <a:pPr marL="2797946" lvl="6" defTabSz="932649">
              <a:defRPr/>
            </a:pPr>
            <a:r>
              <a:rPr lang="en-US" sz="2448" b="1">
                <a:solidFill>
                  <a:srgbClr val="000000"/>
                </a:solidFill>
                <a:latin typeface="Segoe UI Semibold" panose="020B0702040204020203" pitchFamily="34" charset="0"/>
                <a:cs typeface="Segoe UI Semibold" panose="020B0702040204020203" pitchFamily="34" charset="0"/>
              </a:rPr>
              <a:t>POWER BI REPORT</a:t>
            </a:r>
          </a:p>
          <a:p>
            <a:pPr marL="2797946" lvl="6" defTabSz="932649">
              <a:defRPr/>
            </a:pPr>
            <a:r>
              <a:rPr lang="en-US" sz="1836" b="1" i="1">
                <a:solidFill>
                  <a:srgbClr val="000000"/>
                </a:solidFill>
                <a:latin typeface="Segoe UI Light" panose="020B0502040204020203" pitchFamily="34" charset="0"/>
                <a:cs typeface="Segoe UI Light" panose="020B0502040204020203" pitchFamily="34" charset="0"/>
              </a:rPr>
              <a:t>Design Thought Process</a:t>
            </a: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CA" sz="1836" b="1" i="1">
              <a:solidFill>
                <a:srgbClr val="000000"/>
              </a:solidFill>
              <a:latin typeface="Segoe UI Light" panose="020B0502040204020203" pitchFamily="34" charset="0"/>
              <a:cs typeface="Segoe UI Light" panose="020B0502040204020203" pitchFamily="34" charset="0"/>
            </a:endParaRPr>
          </a:p>
        </p:txBody>
      </p:sp>
      <p:sp>
        <p:nvSpPr>
          <p:cNvPr id="148" name="Freeform: Shape 147">
            <a:extLst>
              <a:ext uri="{FF2B5EF4-FFF2-40B4-BE49-F238E27FC236}">
                <a16:creationId xmlns:a16="http://schemas.microsoft.com/office/drawing/2014/main" id="{40659ACA-1BBA-4BE7-8CE6-752D6CF7EBEC}"/>
              </a:ext>
            </a:extLst>
          </p:cNvPr>
          <p:cNvSpPr/>
          <p:nvPr/>
        </p:nvSpPr>
        <p:spPr>
          <a:xfrm rot="8100000">
            <a:off x="1291349" y="362721"/>
            <a:ext cx="6026213" cy="6026216"/>
          </a:xfrm>
          <a:custGeom>
            <a:avLst/>
            <a:gdLst>
              <a:gd name="connsiteX0" fmla="*/ 1682508 w 4478158"/>
              <a:gd name="connsiteY0" fmla="*/ 250772 h 4478160"/>
              <a:gd name="connsiteX1" fmla="*/ 1752498 w 4478158"/>
              <a:gd name="connsiteY1" fmla="*/ 133916 h 4478160"/>
              <a:gd name="connsiteX2" fmla="*/ 1659341 w 4478158"/>
              <a:gd name="connsiteY2" fmla="*/ 78120 h 4478160"/>
              <a:gd name="connsiteX3" fmla="*/ 1811428 w 4478158"/>
              <a:gd name="connsiteY3" fmla="*/ 40988 h 4478160"/>
              <a:gd name="connsiteX4" fmla="*/ 3652293 w 4478158"/>
              <a:gd name="connsiteY4" fmla="*/ 502105 h 4478160"/>
              <a:gd name="connsiteX5" fmla="*/ 3763804 w 4478158"/>
              <a:gd name="connsiteY5" fmla="*/ 602896 h 4478160"/>
              <a:gd name="connsiteX6" fmla="*/ 3822347 w 4478158"/>
              <a:gd name="connsiteY6" fmla="*/ 655811 h 4478160"/>
              <a:gd name="connsiteX7" fmla="*/ 3853919 w 4478158"/>
              <a:gd name="connsiteY7" fmla="*/ 690741 h 4478160"/>
              <a:gd name="connsiteX8" fmla="*/ 3848013 w 4478158"/>
              <a:gd name="connsiteY8" fmla="*/ 792483 h 4478160"/>
              <a:gd name="connsiteX9" fmla="*/ 3848013 w 4478158"/>
              <a:gd name="connsiteY9" fmla="*/ 792484 h 4478160"/>
              <a:gd name="connsiteX10" fmla="*/ 3853919 w 4478158"/>
              <a:gd name="connsiteY10" fmla="*/ 690741 h 4478160"/>
              <a:gd name="connsiteX11" fmla="*/ 3976054 w 4478158"/>
              <a:gd name="connsiteY11" fmla="*/ 825864 h 4478160"/>
              <a:gd name="connsiteX12" fmla="*/ 4437170 w 4478158"/>
              <a:gd name="connsiteY12" fmla="*/ 2666730 h 4478160"/>
              <a:gd name="connsiteX13" fmla="*/ 4420751 w 4478158"/>
              <a:gd name="connsiteY13" fmla="*/ 2733981 h 4478160"/>
              <a:gd name="connsiteX14" fmla="*/ 4309537 w 4478158"/>
              <a:gd name="connsiteY14" fmla="*/ 2803038 h 4478160"/>
              <a:gd name="connsiteX15" fmla="*/ 4249278 w 4478158"/>
              <a:gd name="connsiteY15" fmla="*/ 2705993 h 4478160"/>
              <a:gd name="connsiteX16" fmla="*/ 4266950 w 4478158"/>
              <a:gd name="connsiteY16" fmla="*/ 2633613 h 4478160"/>
              <a:gd name="connsiteX17" fmla="*/ 3841542 w 4478158"/>
              <a:gd name="connsiteY17" fmla="*/ 935304 h 4478160"/>
              <a:gd name="connsiteX18" fmla="*/ 3704945 w 4478158"/>
              <a:gd name="connsiteY18" fmla="*/ 784179 h 4478160"/>
              <a:gd name="connsiteX19" fmla="*/ 3704944 w 4478158"/>
              <a:gd name="connsiteY19" fmla="*/ 784179 h 4478160"/>
              <a:gd name="connsiteX20" fmla="*/ 3699739 w 4478158"/>
              <a:gd name="connsiteY20" fmla="*/ 778420 h 4478160"/>
              <a:gd name="connsiteX21" fmla="*/ 3602229 w 4478158"/>
              <a:gd name="connsiteY21" fmla="*/ 690284 h 4478160"/>
              <a:gd name="connsiteX22" fmla="*/ 3542854 w 4478158"/>
              <a:gd name="connsiteY22" fmla="*/ 636618 h 4478160"/>
              <a:gd name="connsiteX23" fmla="*/ 1844546 w 4478158"/>
              <a:gd name="connsiteY23" fmla="*/ 211210 h 4478160"/>
              <a:gd name="connsiteX24" fmla="*/ 39167 w 4478158"/>
              <a:gd name="connsiteY24" fmla="*/ 1824055 h 4478160"/>
              <a:gd name="connsiteX25" fmla="*/ 40988 w 4478158"/>
              <a:gd name="connsiteY25" fmla="*/ 1811428 h 4478160"/>
              <a:gd name="connsiteX26" fmla="*/ 655811 w 4478158"/>
              <a:gd name="connsiteY26" fmla="*/ 655811 h 4478160"/>
              <a:gd name="connsiteX27" fmla="*/ 1396512 w 4478158"/>
              <a:gd name="connsiteY27" fmla="*/ 163952 h 4478160"/>
              <a:gd name="connsiteX28" fmla="*/ 1536124 w 4478158"/>
              <a:gd name="connsiteY28" fmla="*/ 115118 h 4478160"/>
              <a:gd name="connsiteX29" fmla="*/ 1628348 w 4478158"/>
              <a:gd name="connsiteY29" fmla="*/ 170356 h 4478160"/>
              <a:gd name="connsiteX30" fmla="*/ 1555590 w 4478158"/>
              <a:gd name="connsiteY30" fmla="*/ 291831 h 4478160"/>
              <a:gd name="connsiteX31" fmla="*/ 1461762 w 4478158"/>
              <a:gd name="connsiteY31" fmla="*/ 324651 h 4478160"/>
              <a:gd name="connsiteX32" fmla="*/ 778421 w 4478158"/>
              <a:gd name="connsiteY32" fmla="*/ 778420 h 4478160"/>
              <a:gd name="connsiteX33" fmla="*/ 211210 w 4478158"/>
              <a:gd name="connsiteY33" fmla="*/ 1844547 h 4478160"/>
              <a:gd name="connsiteX34" fmla="*/ 209174 w 4478158"/>
              <a:gd name="connsiteY34" fmla="*/ 1858654 h 4478160"/>
              <a:gd name="connsiteX35" fmla="*/ 137211 w 4478158"/>
              <a:gd name="connsiteY35" fmla="*/ 1755594 h 4478160"/>
              <a:gd name="connsiteX36" fmla="*/ 782918 w 4478158"/>
              <a:gd name="connsiteY36" fmla="*/ 3937235 h 4478160"/>
              <a:gd name="connsiteX37" fmla="*/ 782918 w 4478158"/>
              <a:gd name="connsiteY37" fmla="*/ 3812109 h 4478160"/>
              <a:gd name="connsiteX38" fmla="*/ 902740 w 4478158"/>
              <a:gd name="connsiteY38" fmla="*/ 3812109 h 4478160"/>
              <a:gd name="connsiteX39" fmla="*/ 935306 w 4478158"/>
              <a:gd name="connsiteY39" fmla="*/ 3841544 h 4478160"/>
              <a:gd name="connsiteX40" fmla="*/ 2633614 w 4478158"/>
              <a:gd name="connsiteY40" fmla="*/ 4266952 h 4478160"/>
              <a:gd name="connsiteX41" fmla="*/ 2708498 w 4478158"/>
              <a:gd name="connsiteY41" fmla="*/ 4248668 h 4478160"/>
              <a:gd name="connsiteX42" fmla="*/ 2827208 w 4478158"/>
              <a:gd name="connsiteY42" fmla="*/ 4219684 h 4478160"/>
              <a:gd name="connsiteX43" fmla="*/ 2834453 w 4478158"/>
              <a:gd name="connsiteY43" fmla="*/ 4217151 h 4478160"/>
              <a:gd name="connsiteX44" fmla="*/ 3016398 w 4478158"/>
              <a:gd name="connsiteY44" fmla="*/ 4153510 h 4478160"/>
              <a:gd name="connsiteX45" fmla="*/ 3699739 w 4478158"/>
              <a:gd name="connsiteY45" fmla="*/ 3699741 h 4478160"/>
              <a:gd name="connsiteX46" fmla="*/ 4219683 w 4478158"/>
              <a:gd name="connsiteY46" fmla="*/ 2827210 h 4478160"/>
              <a:gd name="connsiteX47" fmla="*/ 4220115 w 4478158"/>
              <a:gd name="connsiteY47" fmla="*/ 2825438 h 4478160"/>
              <a:gd name="connsiteX48" fmla="*/ 4285103 w 4478158"/>
              <a:gd name="connsiteY48" fmla="*/ 2930098 h 4478160"/>
              <a:gd name="connsiteX49" fmla="*/ 4388551 w 4478158"/>
              <a:gd name="connsiteY49" fmla="*/ 2865864 h 4478160"/>
              <a:gd name="connsiteX50" fmla="*/ 4385936 w 4478158"/>
              <a:gd name="connsiteY50" fmla="*/ 2876577 h 4478160"/>
              <a:gd name="connsiteX51" fmla="*/ 3822347 w 4478158"/>
              <a:gd name="connsiteY51" fmla="*/ 3822349 h 4478160"/>
              <a:gd name="connsiteX52" fmla="*/ 3081647 w 4478158"/>
              <a:gd name="connsiteY52" fmla="*/ 4314208 h 4478160"/>
              <a:gd name="connsiteX53" fmla="*/ 2881320 w 4478158"/>
              <a:gd name="connsiteY53" fmla="*/ 4384278 h 4478160"/>
              <a:gd name="connsiteX54" fmla="*/ 2876575 w 4478158"/>
              <a:gd name="connsiteY54" fmla="*/ 4385937 h 4478160"/>
              <a:gd name="connsiteX55" fmla="*/ 2755884 w 4478158"/>
              <a:gd name="connsiteY55" fmla="*/ 4415405 h 4478160"/>
              <a:gd name="connsiteX56" fmla="*/ 2666730 w 4478158"/>
              <a:gd name="connsiteY56" fmla="*/ 4437172 h 4478160"/>
              <a:gd name="connsiteX57" fmla="*/ 825865 w 4478158"/>
              <a:gd name="connsiteY57" fmla="*/ 3976055 h 4478160"/>
              <a:gd name="connsiteX58" fmla="*/ 655810 w 4478158"/>
              <a:gd name="connsiteY58" fmla="*/ 3822348 h 4478160"/>
              <a:gd name="connsiteX59" fmla="*/ 10247 w 4478158"/>
              <a:gd name="connsiteY59" fmla="*/ 2024458 h 4478160"/>
              <a:gd name="connsiteX60" fmla="*/ 20560 w 4478158"/>
              <a:gd name="connsiteY60" fmla="*/ 1952981 h 4478160"/>
              <a:gd name="connsiteX61" fmla="*/ 20561 w 4478158"/>
              <a:gd name="connsiteY61" fmla="*/ 1952980 h 4478160"/>
              <a:gd name="connsiteX62" fmla="*/ 39166 w 4478158"/>
              <a:gd name="connsiteY62" fmla="*/ 1824056 h 4478160"/>
              <a:gd name="connsiteX63" fmla="*/ 137211 w 4478158"/>
              <a:gd name="connsiteY63" fmla="*/ 1755594 h 4478160"/>
              <a:gd name="connsiteX64" fmla="*/ 209174 w 4478158"/>
              <a:gd name="connsiteY64" fmla="*/ 1858654 h 4478160"/>
              <a:gd name="connsiteX65" fmla="*/ 190837 w 4478158"/>
              <a:gd name="connsiteY65" fmla="*/ 1985725 h 4478160"/>
              <a:gd name="connsiteX66" fmla="*/ 182848 w 4478158"/>
              <a:gd name="connsiteY66" fmla="*/ 2041079 h 4478160"/>
              <a:gd name="connsiteX67" fmla="*/ 778420 w 4478158"/>
              <a:gd name="connsiteY67" fmla="*/ 3699740 h 4478160"/>
              <a:gd name="connsiteX68" fmla="*/ 805619 w 4478158"/>
              <a:gd name="connsiteY68" fmla="*/ 3724324 h 4478160"/>
              <a:gd name="connsiteX69" fmla="*/ 687863 w 4478158"/>
              <a:gd name="connsiteY69" fmla="*/ 3724324 h 4478160"/>
              <a:gd name="connsiteX70" fmla="*/ 687863 w 4478158"/>
              <a:gd name="connsiteY70" fmla="*/ 3851319 h 4478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478158" h="4478160">
                <a:moveTo>
                  <a:pt x="1682508" y="250772"/>
                </a:moveTo>
                <a:lnTo>
                  <a:pt x="1752498" y="133916"/>
                </a:lnTo>
                <a:lnTo>
                  <a:pt x="1659341" y="78120"/>
                </a:lnTo>
                <a:lnTo>
                  <a:pt x="1811428" y="40988"/>
                </a:lnTo>
                <a:cubicBezTo>
                  <a:pt x="2446537" y="-81977"/>
                  <a:pt x="3124622" y="71729"/>
                  <a:pt x="3652293" y="502105"/>
                </a:cubicBezTo>
                <a:lnTo>
                  <a:pt x="3763804" y="602896"/>
                </a:lnTo>
                <a:lnTo>
                  <a:pt x="3822347" y="655811"/>
                </a:lnTo>
                <a:lnTo>
                  <a:pt x="3853919" y="690741"/>
                </a:lnTo>
                <a:lnTo>
                  <a:pt x="3848013" y="792483"/>
                </a:lnTo>
                <a:lnTo>
                  <a:pt x="3848013" y="792484"/>
                </a:lnTo>
                <a:lnTo>
                  <a:pt x="3853919" y="690741"/>
                </a:lnTo>
                <a:lnTo>
                  <a:pt x="3976054" y="825864"/>
                </a:lnTo>
                <a:cubicBezTo>
                  <a:pt x="4406430" y="1353535"/>
                  <a:pt x="4560135" y="2031620"/>
                  <a:pt x="4437170" y="2666730"/>
                </a:cubicBezTo>
                <a:lnTo>
                  <a:pt x="4420751" y="2733981"/>
                </a:lnTo>
                <a:lnTo>
                  <a:pt x="4309537" y="2803038"/>
                </a:lnTo>
                <a:lnTo>
                  <a:pt x="4249278" y="2705993"/>
                </a:lnTo>
                <a:lnTo>
                  <a:pt x="4266950" y="2633613"/>
                </a:lnTo>
                <a:cubicBezTo>
                  <a:pt x="4380392" y="2047687"/>
                  <a:pt x="4238590" y="1422112"/>
                  <a:pt x="3841542" y="935304"/>
                </a:cubicBezTo>
                <a:lnTo>
                  <a:pt x="3704945" y="784179"/>
                </a:lnTo>
                <a:lnTo>
                  <a:pt x="3704944" y="784179"/>
                </a:lnTo>
                <a:lnTo>
                  <a:pt x="3699739" y="778420"/>
                </a:lnTo>
                <a:lnTo>
                  <a:pt x="3602229" y="690284"/>
                </a:lnTo>
                <a:lnTo>
                  <a:pt x="3542854" y="636618"/>
                </a:lnTo>
                <a:cubicBezTo>
                  <a:pt x="3056046" y="239570"/>
                  <a:pt x="2430472" y="97767"/>
                  <a:pt x="1844546" y="211210"/>
                </a:cubicBezTo>
                <a:close/>
                <a:moveTo>
                  <a:pt x="39167" y="1824055"/>
                </a:moveTo>
                <a:lnTo>
                  <a:pt x="40988" y="1811428"/>
                </a:lnTo>
                <a:cubicBezTo>
                  <a:pt x="122964" y="1388022"/>
                  <a:pt x="327906" y="983716"/>
                  <a:pt x="655811" y="655811"/>
                </a:cubicBezTo>
                <a:cubicBezTo>
                  <a:pt x="874415" y="437207"/>
                  <a:pt x="1126975" y="273253"/>
                  <a:pt x="1396512" y="163952"/>
                </a:cubicBezTo>
                <a:lnTo>
                  <a:pt x="1536124" y="115118"/>
                </a:lnTo>
                <a:lnTo>
                  <a:pt x="1628348" y="170356"/>
                </a:lnTo>
                <a:lnTo>
                  <a:pt x="1555590" y="291831"/>
                </a:lnTo>
                <a:lnTo>
                  <a:pt x="1461762" y="324651"/>
                </a:lnTo>
                <a:cubicBezTo>
                  <a:pt x="1213097" y="425489"/>
                  <a:pt x="980096" y="576745"/>
                  <a:pt x="778421" y="778420"/>
                </a:cubicBezTo>
                <a:cubicBezTo>
                  <a:pt x="475908" y="1080933"/>
                  <a:pt x="286838" y="1453928"/>
                  <a:pt x="211210" y="1844547"/>
                </a:cubicBezTo>
                <a:lnTo>
                  <a:pt x="209174" y="1858654"/>
                </a:lnTo>
                <a:lnTo>
                  <a:pt x="137211" y="1755594"/>
                </a:lnTo>
                <a:close/>
                <a:moveTo>
                  <a:pt x="782918" y="3937235"/>
                </a:moveTo>
                <a:lnTo>
                  <a:pt x="782918" y="3812109"/>
                </a:lnTo>
                <a:lnTo>
                  <a:pt x="902740" y="3812109"/>
                </a:lnTo>
                <a:lnTo>
                  <a:pt x="935306" y="3841544"/>
                </a:lnTo>
                <a:cubicBezTo>
                  <a:pt x="1422114" y="4238590"/>
                  <a:pt x="2047687" y="4380394"/>
                  <a:pt x="2633614" y="4266952"/>
                </a:cubicBezTo>
                <a:lnTo>
                  <a:pt x="2708498" y="4248668"/>
                </a:lnTo>
                <a:lnTo>
                  <a:pt x="2827208" y="4219684"/>
                </a:lnTo>
                <a:lnTo>
                  <a:pt x="2834453" y="4217151"/>
                </a:lnTo>
                <a:lnTo>
                  <a:pt x="3016398" y="4153510"/>
                </a:lnTo>
                <a:cubicBezTo>
                  <a:pt x="3265063" y="4052672"/>
                  <a:pt x="3498064" y="3901416"/>
                  <a:pt x="3699739" y="3699741"/>
                </a:cubicBezTo>
                <a:cubicBezTo>
                  <a:pt x="3951833" y="3447647"/>
                  <a:pt x="4125148" y="3146606"/>
                  <a:pt x="4219683" y="2827210"/>
                </a:cubicBezTo>
                <a:lnTo>
                  <a:pt x="4220115" y="2825438"/>
                </a:lnTo>
                <a:lnTo>
                  <a:pt x="4285103" y="2930098"/>
                </a:lnTo>
                <a:lnTo>
                  <a:pt x="4388551" y="2865864"/>
                </a:lnTo>
                <a:lnTo>
                  <a:pt x="4385936" y="2876577"/>
                </a:lnTo>
                <a:cubicBezTo>
                  <a:pt x="4283465" y="3222784"/>
                  <a:pt x="4095602" y="3549094"/>
                  <a:pt x="3822347" y="3822349"/>
                </a:cubicBezTo>
                <a:cubicBezTo>
                  <a:pt x="3603744" y="4040953"/>
                  <a:pt x="3351184" y="4204906"/>
                  <a:pt x="3081647" y="4314208"/>
                </a:cubicBezTo>
                <a:lnTo>
                  <a:pt x="2881320" y="4384278"/>
                </a:lnTo>
                <a:lnTo>
                  <a:pt x="2876575" y="4385937"/>
                </a:lnTo>
                <a:lnTo>
                  <a:pt x="2755884" y="4415405"/>
                </a:lnTo>
                <a:lnTo>
                  <a:pt x="2666730" y="4437172"/>
                </a:lnTo>
                <a:cubicBezTo>
                  <a:pt x="2031621" y="4560137"/>
                  <a:pt x="1353537" y="4406430"/>
                  <a:pt x="825865" y="3976055"/>
                </a:cubicBezTo>
                <a:close/>
                <a:moveTo>
                  <a:pt x="655810" y="3822348"/>
                </a:moveTo>
                <a:cubicBezTo>
                  <a:pt x="163953" y="3330490"/>
                  <a:pt x="-51237" y="2666730"/>
                  <a:pt x="10247" y="2024458"/>
                </a:cubicBezTo>
                <a:lnTo>
                  <a:pt x="20560" y="1952981"/>
                </a:lnTo>
                <a:lnTo>
                  <a:pt x="20561" y="1952980"/>
                </a:lnTo>
                <a:lnTo>
                  <a:pt x="39166" y="1824056"/>
                </a:lnTo>
                <a:lnTo>
                  <a:pt x="137211" y="1755594"/>
                </a:lnTo>
                <a:lnTo>
                  <a:pt x="209174" y="1858654"/>
                </a:lnTo>
                <a:lnTo>
                  <a:pt x="190837" y="1985725"/>
                </a:lnTo>
                <a:lnTo>
                  <a:pt x="182848" y="2041079"/>
                </a:lnTo>
                <a:cubicBezTo>
                  <a:pt x="126127" y="2633613"/>
                  <a:pt x="324652" y="3245971"/>
                  <a:pt x="778420" y="3699740"/>
                </a:cubicBezTo>
                <a:lnTo>
                  <a:pt x="805619" y="3724324"/>
                </a:lnTo>
                <a:lnTo>
                  <a:pt x="687863" y="3724324"/>
                </a:lnTo>
                <a:lnTo>
                  <a:pt x="687863" y="3851319"/>
                </a:lnTo>
                <a:close/>
              </a:path>
            </a:pathLst>
          </a:custGeom>
          <a:solidFill>
            <a:schemeClr val="bg1">
              <a:lumMod val="75000"/>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12" name="TextBox 11">
            <a:extLst>
              <a:ext uri="{FF2B5EF4-FFF2-40B4-BE49-F238E27FC236}">
                <a16:creationId xmlns:a16="http://schemas.microsoft.com/office/drawing/2014/main" id="{CE1B6C43-A200-4158-99F3-90B1BBDEC2D9}"/>
              </a:ext>
            </a:extLst>
          </p:cNvPr>
          <p:cNvSpPr txBox="1"/>
          <p:nvPr/>
        </p:nvSpPr>
        <p:spPr>
          <a:xfrm rot="3101169">
            <a:off x="5861527" y="1330472"/>
            <a:ext cx="1510792" cy="376684"/>
          </a:xfrm>
          <a:prstGeom prst="rect">
            <a:avLst/>
          </a:prstGeom>
          <a:noFill/>
        </p:spPr>
        <p:txBody>
          <a:bodyPr wrap="none" rtlCol="0">
            <a:prstTxWarp prst="textArchUp">
              <a:avLst/>
            </a:prstTxWarp>
            <a:spAutoFit/>
          </a:bodyPr>
          <a:lstStyle/>
          <a:p>
            <a:pPr algn="ctr" defTabSz="932649">
              <a:defRPr/>
            </a:pPr>
            <a:r>
              <a:rPr lang="en-CA" sz="1836">
                <a:solidFill>
                  <a:srgbClr val="000000"/>
                </a:solidFill>
                <a:latin typeface="Segoe UI"/>
              </a:rPr>
              <a:t>UNDERSTAND</a:t>
            </a:r>
          </a:p>
        </p:txBody>
      </p:sp>
      <p:sp>
        <p:nvSpPr>
          <p:cNvPr id="149" name="TextBox 148">
            <a:extLst>
              <a:ext uri="{FF2B5EF4-FFF2-40B4-BE49-F238E27FC236}">
                <a16:creationId xmlns:a16="http://schemas.microsoft.com/office/drawing/2014/main" id="{C38B9824-2B56-40C3-A86F-36F9996F5ED8}"/>
              </a:ext>
            </a:extLst>
          </p:cNvPr>
          <p:cNvSpPr txBox="1"/>
          <p:nvPr/>
        </p:nvSpPr>
        <p:spPr>
          <a:xfrm>
            <a:off x="3617062" y="6245487"/>
            <a:ext cx="1510792" cy="376684"/>
          </a:xfrm>
          <a:prstGeom prst="rect">
            <a:avLst/>
          </a:prstGeom>
          <a:noFill/>
        </p:spPr>
        <p:txBody>
          <a:bodyPr wrap="none" rtlCol="0">
            <a:prstTxWarp prst="textArchDown">
              <a:avLst>
                <a:gd name="adj" fmla="val 938077"/>
              </a:avLst>
            </a:prstTxWarp>
            <a:spAutoFit/>
          </a:bodyPr>
          <a:lstStyle/>
          <a:p>
            <a:pPr algn="ctr" defTabSz="932649">
              <a:defRPr/>
            </a:pPr>
            <a:r>
              <a:rPr lang="en-CA" sz="1836">
                <a:solidFill>
                  <a:srgbClr val="000000"/>
                </a:solidFill>
                <a:latin typeface="Segoe UI"/>
              </a:rPr>
              <a:t>EXPLORE</a:t>
            </a:r>
          </a:p>
        </p:txBody>
      </p:sp>
      <p:sp>
        <p:nvSpPr>
          <p:cNvPr id="150" name="TextBox 149">
            <a:extLst>
              <a:ext uri="{FF2B5EF4-FFF2-40B4-BE49-F238E27FC236}">
                <a16:creationId xmlns:a16="http://schemas.microsoft.com/office/drawing/2014/main" id="{D23C2F4F-480F-4D85-91F5-596D114FA5CB}"/>
              </a:ext>
            </a:extLst>
          </p:cNvPr>
          <p:cNvSpPr txBox="1"/>
          <p:nvPr/>
        </p:nvSpPr>
        <p:spPr>
          <a:xfrm rot="18074945">
            <a:off x="1023248" y="1637347"/>
            <a:ext cx="1510792" cy="376684"/>
          </a:xfrm>
          <a:prstGeom prst="rect">
            <a:avLst/>
          </a:prstGeom>
          <a:noFill/>
        </p:spPr>
        <p:txBody>
          <a:bodyPr wrap="none" rtlCol="0">
            <a:prstTxWarp prst="textArchUp">
              <a:avLst/>
            </a:prstTxWarp>
            <a:spAutoFit/>
          </a:bodyPr>
          <a:lstStyle/>
          <a:p>
            <a:pPr algn="ctr" defTabSz="932649">
              <a:defRPr/>
            </a:pPr>
            <a:r>
              <a:rPr lang="en-CA" sz="1836">
                <a:solidFill>
                  <a:srgbClr val="000000"/>
                </a:solidFill>
                <a:latin typeface="Segoe UI"/>
              </a:rPr>
              <a:t>MATERIALIZE</a:t>
            </a:r>
          </a:p>
        </p:txBody>
      </p:sp>
      <p:grpSp>
        <p:nvGrpSpPr>
          <p:cNvPr id="67" name="Group 66">
            <a:extLst>
              <a:ext uri="{FF2B5EF4-FFF2-40B4-BE49-F238E27FC236}">
                <a16:creationId xmlns:a16="http://schemas.microsoft.com/office/drawing/2014/main" id="{34B5EA52-5A37-49C5-9C76-491779686EC8}"/>
              </a:ext>
            </a:extLst>
          </p:cNvPr>
          <p:cNvGrpSpPr/>
          <p:nvPr/>
        </p:nvGrpSpPr>
        <p:grpSpPr>
          <a:xfrm>
            <a:off x="1029224" y="103520"/>
            <a:ext cx="6491096" cy="6544649"/>
            <a:chOff x="3326931" y="650008"/>
            <a:chExt cx="5396156" cy="5440679"/>
          </a:xfrm>
        </p:grpSpPr>
        <p:sp>
          <p:nvSpPr>
            <p:cNvPr id="68" name="Freeform: Shape 67">
              <a:extLst>
                <a:ext uri="{FF2B5EF4-FFF2-40B4-BE49-F238E27FC236}">
                  <a16:creationId xmlns:a16="http://schemas.microsoft.com/office/drawing/2014/main" id="{291359F3-1753-4797-9E51-694D0B3D9228}"/>
                </a:ext>
              </a:extLst>
            </p:cNvPr>
            <p:cNvSpPr/>
            <p:nvPr/>
          </p:nvSpPr>
          <p:spPr>
            <a:xfrm rot="8100000">
              <a:off x="6500581" y="650008"/>
              <a:ext cx="805620" cy="1967534"/>
            </a:xfrm>
            <a:custGeom>
              <a:avLst/>
              <a:gdLst>
                <a:gd name="connsiteX0" fmla="*/ 655812 w 805620"/>
                <a:gd name="connsiteY0" fmla="*/ 1938563 h 1967534"/>
                <a:gd name="connsiteX1" fmla="*/ 10248 w 805620"/>
                <a:gd name="connsiteY1" fmla="*/ 140673 h 1967534"/>
                <a:gd name="connsiteX2" fmla="*/ 20562 w 805620"/>
                <a:gd name="connsiteY2" fmla="*/ 69196 h 1967534"/>
                <a:gd name="connsiteX3" fmla="*/ 119657 w 805620"/>
                <a:gd name="connsiteY3" fmla="*/ 0 h 1967534"/>
                <a:gd name="connsiteX4" fmla="*/ 190838 w 805620"/>
                <a:gd name="connsiteY4" fmla="*/ 101940 h 1967534"/>
                <a:gd name="connsiteX5" fmla="*/ 182850 w 805620"/>
                <a:gd name="connsiteY5" fmla="*/ 157294 h 1967534"/>
                <a:gd name="connsiteX6" fmla="*/ 778422 w 805620"/>
                <a:gd name="connsiteY6" fmla="*/ 1815955 h 1967534"/>
                <a:gd name="connsiteX7" fmla="*/ 805620 w 805620"/>
                <a:gd name="connsiteY7" fmla="*/ 1840539 h 1967534"/>
                <a:gd name="connsiteX8" fmla="*/ 687865 w 805620"/>
                <a:gd name="connsiteY8" fmla="*/ 1840539 h 1967534"/>
                <a:gd name="connsiteX9" fmla="*/ 687865 w 805620"/>
                <a:gd name="connsiteY9" fmla="*/ 1967534 h 1967534"/>
                <a:gd name="connsiteX10" fmla="*/ 655812 w 805620"/>
                <a:gd name="connsiteY10" fmla="*/ 1938563 h 1967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05620" h="1967534">
                  <a:moveTo>
                    <a:pt x="655812" y="1938563"/>
                  </a:moveTo>
                  <a:cubicBezTo>
                    <a:pt x="163954" y="1446705"/>
                    <a:pt x="-51235" y="782945"/>
                    <a:pt x="10248" y="140673"/>
                  </a:cubicBezTo>
                  <a:lnTo>
                    <a:pt x="20562" y="69196"/>
                  </a:lnTo>
                  <a:lnTo>
                    <a:pt x="119657" y="0"/>
                  </a:lnTo>
                  <a:lnTo>
                    <a:pt x="190838" y="101940"/>
                  </a:lnTo>
                  <a:lnTo>
                    <a:pt x="182850" y="157294"/>
                  </a:lnTo>
                  <a:cubicBezTo>
                    <a:pt x="126129" y="749828"/>
                    <a:pt x="324653" y="1362186"/>
                    <a:pt x="778422" y="1815955"/>
                  </a:cubicBezTo>
                  <a:lnTo>
                    <a:pt x="805620" y="1840539"/>
                  </a:lnTo>
                  <a:lnTo>
                    <a:pt x="687865" y="1840539"/>
                  </a:lnTo>
                  <a:lnTo>
                    <a:pt x="687865" y="1967534"/>
                  </a:lnTo>
                  <a:lnTo>
                    <a:pt x="655812" y="1938563"/>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649">
                <a:defRPr/>
              </a:pPr>
              <a:endParaRPr lang="en-CA" sz="1836">
                <a:solidFill>
                  <a:srgbClr val="000000"/>
                </a:solidFill>
                <a:latin typeface="Segoe UI"/>
              </a:endParaRPr>
            </a:p>
          </p:txBody>
        </p:sp>
        <p:sp>
          <p:nvSpPr>
            <p:cNvPr id="69" name="Freeform: Shape 68">
              <a:extLst>
                <a:ext uri="{FF2B5EF4-FFF2-40B4-BE49-F238E27FC236}">
                  <a16:creationId xmlns:a16="http://schemas.microsoft.com/office/drawing/2014/main" id="{82FD66C1-F33A-41BE-8A8F-B9C64D4A6674}"/>
                </a:ext>
              </a:extLst>
            </p:cNvPr>
            <p:cNvSpPr/>
            <p:nvPr/>
          </p:nvSpPr>
          <p:spPr>
            <a:xfrm rot="8100000">
              <a:off x="4047195" y="1363690"/>
              <a:ext cx="1972966" cy="666051"/>
            </a:xfrm>
            <a:custGeom>
              <a:avLst/>
              <a:gdLst>
                <a:gd name="connsiteX0" fmla="*/ 0 w 1972966"/>
                <a:gd name="connsiteY0" fmla="*/ 125127 h 666051"/>
                <a:gd name="connsiteX1" fmla="*/ 0 w 1972966"/>
                <a:gd name="connsiteY1" fmla="*/ 0 h 666051"/>
                <a:gd name="connsiteX2" fmla="*/ 119822 w 1972966"/>
                <a:gd name="connsiteY2" fmla="*/ 0 h 666051"/>
                <a:gd name="connsiteX3" fmla="*/ 152388 w 1972966"/>
                <a:gd name="connsiteY3" fmla="*/ 29435 h 666051"/>
                <a:gd name="connsiteX4" fmla="*/ 1850696 w 1972966"/>
                <a:gd name="connsiteY4" fmla="*/ 454843 h 666051"/>
                <a:gd name="connsiteX5" fmla="*/ 1925581 w 1972966"/>
                <a:gd name="connsiteY5" fmla="*/ 436559 h 666051"/>
                <a:gd name="connsiteX6" fmla="*/ 1863309 w 1972966"/>
                <a:gd name="connsiteY6" fmla="*/ 530959 h 666051"/>
                <a:gd name="connsiteX7" fmla="*/ 1972966 w 1972966"/>
                <a:gd name="connsiteY7" fmla="*/ 603296 h 666051"/>
                <a:gd name="connsiteX8" fmla="*/ 1883812 w 1972966"/>
                <a:gd name="connsiteY8" fmla="*/ 625063 h 666051"/>
                <a:gd name="connsiteX9" fmla="*/ 42947 w 1972966"/>
                <a:gd name="connsiteY9" fmla="*/ 163946 h 666051"/>
                <a:gd name="connsiteX10" fmla="*/ 0 w 1972966"/>
                <a:gd name="connsiteY10" fmla="*/ 125127 h 66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72966" h="666051">
                  <a:moveTo>
                    <a:pt x="0" y="125127"/>
                  </a:moveTo>
                  <a:lnTo>
                    <a:pt x="0" y="0"/>
                  </a:lnTo>
                  <a:lnTo>
                    <a:pt x="119822" y="0"/>
                  </a:lnTo>
                  <a:lnTo>
                    <a:pt x="152388" y="29435"/>
                  </a:lnTo>
                  <a:cubicBezTo>
                    <a:pt x="639196" y="426482"/>
                    <a:pt x="1264769" y="568285"/>
                    <a:pt x="1850696" y="454843"/>
                  </a:cubicBezTo>
                  <a:lnTo>
                    <a:pt x="1925581" y="436559"/>
                  </a:lnTo>
                  <a:lnTo>
                    <a:pt x="1863309" y="530959"/>
                  </a:lnTo>
                  <a:lnTo>
                    <a:pt x="1972966" y="603296"/>
                  </a:lnTo>
                  <a:lnTo>
                    <a:pt x="1883812" y="625063"/>
                  </a:lnTo>
                  <a:cubicBezTo>
                    <a:pt x="1248703" y="748028"/>
                    <a:pt x="570619" y="594322"/>
                    <a:pt x="42947" y="163946"/>
                  </a:cubicBezTo>
                  <a:lnTo>
                    <a:pt x="0" y="125127"/>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70" name="Freeform: Shape 69">
              <a:extLst>
                <a:ext uri="{FF2B5EF4-FFF2-40B4-BE49-F238E27FC236}">
                  <a16:creationId xmlns:a16="http://schemas.microsoft.com/office/drawing/2014/main" id="{E52549D2-C16D-4375-A4E0-557473615B77}"/>
                </a:ext>
              </a:extLst>
            </p:cNvPr>
            <p:cNvSpPr/>
            <p:nvPr/>
          </p:nvSpPr>
          <p:spPr>
            <a:xfrm rot="8100000">
              <a:off x="7133906" y="2396566"/>
              <a:ext cx="1589181" cy="1743535"/>
            </a:xfrm>
            <a:custGeom>
              <a:avLst/>
              <a:gdLst>
                <a:gd name="connsiteX0" fmla="*/ 0 w 1589181"/>
                <a:gd name="connsiteY0" fmla="*/ 1708937 h 1743535"/>
                <a:gd name="connsiteX1" fmla="*/ 1822 w 1589181"/>
                <a:gd name="connsiteY1" fmla="*/ 1696310 h 1743535"/>
                <a:gd name="connsiteX2" fmla="*/ 616645 w 1589181"/>
                <a:gd name="connsiteY2" fmla="*/ 540692 h 1743535"/>
                <a:gd name="connsiteX3" fmla="*/ 1357346 w 1589181"/>
                <a:gd name="connsiteY3" fmla="*/ 48833 h 1743535"/>
                <a:gd name="connsiteX4" fmla="*/ 1496957 w 1589181"/>
                <a:gd name="connsiteY4" fmla="*/ 0 h 1743535"/>
                <a:gd name="connsiteX5" fmla="*/ 1589181 w 1589181"/>
                <a:gd name="connsiteY5" fmla="*/ 55238 h 1743535"/>
                <a:gd name="connsiteX6" fmla="*/ 1516424 w 1589181"/>
                <a:gd name="connsiteY6" fmla="*/ 176713 h 1743535"/>
                <a:gd name="connsiteX7" fmla="*/ 1422596 w 1589181"/>
                <a:gd name="connsiteY7" fmla="*/ 209533 h 1743535"/>
                <a:gd name="connsiteX8" fmla="*/ 739255 w 1589181"/>
                <a:gd name="connsiteY8" fmla="*/ 663301 h 1743535"/>
                <a:gd name="connsiteX9" fmla="*/ 172044 w 1589181"/>
                <a:gd name="connsiteY9" fmla="*/ 1729428 h 1743535"/>
                <a:gd name="connsiteX10" fmla="*/ 170008 w 1589181"/>
                <a:gd name="connsiteY10" fmla="*/ 1743535 h 1743535"/>
                <a:gd name="connsiteX11" fmla="*/ 98045 w 1589181"/>
                <a:gd name="connsiteY11" fmla="*/ 1640475 h 1743535"/>
                <a:gd name="connsiteX12" fmla="*/ 0 w 1589181"/>
                <a:gd name="connsiteY12" fmla="*/ 1708937 h 1743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89181" h="1743535">
                  <a:moveTo>
                    <a:pt x="0" y="1708937"/>
                  </a:moveTo>
                  <a:lnTo>
                    <a:pt x="1822" y="1696310"/>
                  </a:lnTo>
                  <a:cubicBezTo>
                    <a:pt x="83798" y="1272904"/>
                    <a:pt x="288739" y="868598"/>
                    <a:pt x="616645" y="540692"/>
                  </a:cubicBezTo>
                  <a:cubicBezTo>
                    <a:pt x="835249" y="322088"/>
                    <a:pt x="1087809" y="158135"/>
                    <a:pt x="1357346" y="48833"/>
                  </a:cubicBezTo>
                  <a:lnTo>
                    <a:pt x="1496957" y="0"/>
                  </a:lnTo>
                  <a:lnTo>
                    <a:pt x="1589181" y="55238"/>
                  </a:lnTo>
                  <a:lnTo>
                    <a:pt x="1516424" y="176713"/>
                  </a:lnTo>
                  <a:lnTo>
                    <a:pt x="1422596" y="209533"/>
                  </a:lnTo>
                  <a:cubicBezTo>
                    <a:pt x="1173931" y="310370"/>
                    <a:pt x="940930" y="461626"/>
                    <a:pt x="739255" y="663301"/>
                  </a:cubicBezTo>
                  <a:cubicBezTo>
                    <a:pt x="436742" y="965814"/>
                    <a:pt x="247672" y="1338810"/>
                    <a:pt x="172044" y="1729428"/>
                  </a:cubicBezTo>
                  <a:lnTo>
                    <a:pt x="170008" y="1743535"/>
                  </a:lnTo>
                  <a:lnTo>
                    <a:pt x="98045" y="1640475"/>
                  </a:lnTo>
                  <a:lnTo>
                    <a:pt x="0" y="1708937"/>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649">
                <a:defRPr/>
              </a:pPr>
              <a:endParaRPr lang="en-CA" sz="1836">
                <a:solidFill>
                  <a:srgbClr val="000000"/>
                </a:solidFill>
                <a:latin typeface="Segoe UI"/>
              </a:endParaRPr>
            </a:p>
          </p:txBody>
        </p:sp>
        <p:sp>
          <p:nvSpPr>
            <p:cNvPr id="71" name="Freeform: Shape 70">
              <a:extLst>
                <a:ext uri="{FF2B5EF4-FFF2-40B4-BE49-F238E27FC236}">
                  <a16:creationId xmlns:a16="http://schemas.microsoft.com/office/drawing/2014/main" id="{BBA1B614-0606-4314-82AA-2978FAE9E4DB}"/>
                </a:ext>
              </a:extLst>
            </p:cNvPr>
            <p:cNvSpPr/>
            <p:nvPr/>
          </p:nvSpPr>
          <p:spPr>
            <a:xfrm rot="8100000">
              <a:off x="3326931" y="2579755"/>
              <a:ext cx="1616707" cy="1558840"/>
            </a:xfrm>
            <a:custGeom>
              <a:avLst/>
              <a:gdLst>
                <a:gd name="connsiteX0" fmla="*/ 0 w 1616707"/>
                <a:gd name="connsiteY0" fmla="*/ 1486622 h 1558840"/>
                <a:gd name="connsiteX1" fmla="*/ 62608 w 1616707"/>
                <a:gd name="connsiteY1" fmla="*/ 1391713 h 1558840"/>
                <a:gd name="connsiteX2" fmla="*/ 244554 w 1616707"/>
                <a:gd name="connsiteY2" fmla="*/ 1328072 h 1558840"/>
                <a:gd name="connsiteX3" fmla="*/ 927895 w 1616707"/>
                <a:gd name="connsiteY3" fmla="*/ 874303 h 1558840"/>
                <a:gd name="connsiteX4" fmla="*/ 1447839 w 1616707"/>
                <a:gd name="connsiteY4" fmla="*/ 1772 h 1558840"/>
                <a:gd name="connsiteX5" fmla="*/ 1448271 w 1616707"/>
                <a:gd name="connsiteY5" fmla="*/ 0 h 1558840"/>
                <a:gd name="connsiteX6" fmla="*/ 1513259 w 1616707"/>
                <a:gd name="connsiteY6" fmla="*/ 104660 h 1558840"/>
                <a:gd name="connsiteX7" fmla="*/ 1616707 w 1616707"/>
                <a:gd name="connsiteY7" fmla="*/ 40426 h 1558840"/>
                <a:gd name="connsiteX8" fmla="*/ 1614092 w 1616707"/>
                <a:gd name="connsiteY8" fmla="*/ 51139 h 1558840"/>
                <a:gd name="connsiteX9" fmla="*/ 1050503 w 1616707"/>
                <a:gd name="connsiteY9" fmla="*/ 996911 h 1558840"/>
                <a:gd name="connsiteX10" fmla="*/ 309803 w 1616707"/>
                <a:gd name="connsiteY10" fmla="*/ 1488770 h 1558840"/>
                <a:gd name="connsiteX11" fmla="*/ 109476 w 1616707"/>
                <a:gd name="connsiteY11" fmla="*/ 1558840 h 1558840"/>
                <a:gd name="connsiteX12" fmla="*/ 0 w 1616707"/>
                <a:gd name="connsiteY12" fmla="*/ 1486622 h 1558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16707" h="1558840">
                  <a:moveTo>
                    <a:pt x="0" y="1486622"/>
                  </a:moveTo>
                  <a:lnTo>
                    <a:pt x="62608" y="1391713"/>
                  </a:lnTo>
                  <a:lnTo>
                    <a:pt x="244554" y="1328072"/>
                  </a:lnTo>
                  <a:cubicBezTo>
                    <a:pt x="493219" y="1227234"/>
                    <a:pt x="726220" y="1075978"/>
                    <a:pt x="927895" y="874303"/>
                  </a:cubicBezTo>
                  <a:cubicBezTo>
                    <a:pt x="1179989" y="622209"/>
                    <a:pt x="1353304" y="321168"/>
                    <a:pt x="1447839" y="1772"/>
                  </a:cubicBezTo>
                  <a:lnTo>
                    <a:pt x="1448271" y="0"/>
                  </a:lnTo>
                  <a:lnTo>
                    <a:pt x="1513259" y="104660"/>
                  </a:lnTo>
                  <a:lnTo>
                    <a:pt x="1616707" y="40426"/>
                  </a:lnTo>
                  <a:lnTo>
                    <a:pt x="1614092" y="51139"/>
                  </a:lnTo>
                  <a:cubicBezTo>
                    <a:pt x="1511621" y="397346"/>
                    <a:pt x="1323758" y="723656"/>
                    <a:pt x="1050503" y="996911"/>
                  </a:cubicBezTo>
                  <a:cubicBezTo>
                    <a:pt x="831900" y="1215515"/>
                    <a:pt x="579340" y="1379468"/>
                    <a:pt x="309803" y="1488770"/>
                  </a:cubicBezTo>
                  <a:lnTo>
                    <a:pt x="109476" y="1558840"/>
                  </a:lnTo>
                  <a:lnTo>
                    <a:pt x="0" y="1486622"/>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649">
                <a:defRPr/>
              </a:pPr>
              <a:endParaRPr lang="en-CA" sz="1836">
                <a:solidFill>
                  <a:srgbClr val="000000"/>
                </a:solidFill>
                <a:latin typeface="Segoe UI"/>
              </a:endParaRPr>
            </a:p>
          </p:txBody>
        </p:sp>
        <p:sp>
          <p:nvSpPr>
            <p:cNvPr id="72" name="Freeform: Shape 71">
              <a:extLst>
                <a:ext uri="{FF2B5EF4-FFF2-40B4-BE49-F238E27FC236}">
                  <a16:creationId xmlns:a16="http://schemas.microsoft.com/office/drawing/2014/main" id="{8ADFD8DD-C342-4EDC-8001-A38523440108}"/>
                </a:ext>
              </a:extLst>
            </p:cNvPr>
            <p:cNvSpPr/>
            <p:nvPr/>
          </p:nvSpPr>
          <p:spPr>
            <a:xfrm rot="8100000">
              <a:off x="5999029" y="4697061"/>
              <a:ext cx="2104462" cy="699340"/>
            </a:xfrm>
            <a:custGeom>
              <a:avLst/>
              <a:gdLst>
                <a:gd name="connsiteX0" fmla="*/ 23166 w 2104462"/>
                <a:gd name="connsiteY0" fmla="*/ 250773 h 699340"/>
                <a:gd name="connsiteX1" fmla="*/ 93156 w 2104462"/>
                <a:gd name="connsiteY1" fmla="*/ 133917 h 699340"/>
                <a:gd name="connsiteX2" fmla="*/ 0 w 2104462"/>
                <a:gd name="connsiteY2" fmla="*/ 78121 h 699340"/>
                <a:gd name="connsiteX3" fmla="*/ 152086 w 2104462"/>
                <a:gd name="connsiteY3" fmla="*/ 40989 h 699340"/>
                <a:gd name="connsiteX4" fmla="*/ 1992951 w 2104462"/>
                <a:gd name="connsiteY4" fmla="*/ 502106 h 699340"/>
                <a:gd name="connsiteX5" fmla="*/ 2104462 w 2104462"/>
                <a:gd name="connsiteY5" fmla="*/ 602897 h 699340"/>
                <a:gd name="connsiteX6" fmla="*/ 2098864 w 2104462"/>
                <a:gd name="connsiteY6" fmla="*/ 699340 h 699340"/>
                <a:gd name="connsiteX7" fmla="*/ 1942887 w 2104462"/>
                <a:gd name="connsiteY7" fmla="*/ 690285 h 699340"/>
                <a:gd name="connsiteX8" fmla="*/ 1883512 w 2104462"/>
                <a:gd name="connsiteY8" fmla="*/ 636619 h 699340"/>
                <a:gd name="connsiteX9" fmla="*/ 185204 w 2104462"/>
                <a:gd name="connsiteY9" fmla="*/ 211211 h 699340"/>
                <a:gd name="connsiteX10" fmla="*/ 23166 w 2104462"/>
                <a:gd name="connsiteY10" fmla="*/ 250773 h 699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04462" h="699340">
                  <a:moveTo>
                    <a:pt x="23166" y="250773"/>
                  </a:moveTo>
                  <a:lnTo>
                    <a:pt x="93156" y="133917"/>
                  </a:lnTo>
                  <a:lnTo>
                    <a:pt x="0" y="78121"/>
                  </a:lnTo>
                  <a:lnTo>
                    <a:pt x="152086" y="40989"/>
                  </a:lnTo>
                  <a:cubicBezTo>
                    <a:pt x="787195" y="-81976"/>
                    <a:pt x="1465280" y="71730"/>
                    <a:pt x="1992951" y="502106"/>
                  </a:cubicBezTo>
                  <a:lnTo>
                    <a:pt x="2104462" y="602897"/>
                  </a:lnTo>
                  <a:lnTo>
                    <a:pt x="2098864" y="699340"/>
                  </a:lnTo>
                  <a:lnTo>
                    <a:pt x="1942887" y="690285"/>
                  </a:lnTo>
                  <a:lnTo>
                    <a:pt x="1883512" y="636619"/>
                  </a:lnTo>
                  <a:cubicBezTo>
                    <a:pt x="1396704" y="239571"/>
                    <a:pt x="771130" y="97768"/>
                    <a:pt x="185204" y="211211"/>
                  </a:cubicBezTo>
                  <a:lnTo>
                    <a:pt x="23166" y="250773"/>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73" name="Freeform: Shape 72">
              <a:extLst>
                <a:ext uri="{FF2B5EF4-FFF2-40B4-BE49-F238E27FC236}">
                  <a16:creationId xmlns:a16="http://schemas.microsoft.com/office/drawing/2014/main" id="{C90FE649-BD73-4034-BF74-90320FD34AF0}"/>
                </a:ext>
              </a:extLst>
            </p:cNvPr>
            <p:cNvSpPr/>
            <p:nvPr/>
          </p:nvSpPr>
          <p:spPr>
            <a:xfrm rot="8100000">
              <a:off x="4700877" y="3978390"/>
              <a:ext cx="773214" cy="2112297"/>
            </a:xfrm>
            <a:custGeom>
              <a:avLst/>
              <a:gdLst>
                <a:gd name="connsiteX0" fmla="*/ 604593 w 773214"/>
                <a:gd name="connsiteY0" fmla="*/ 2112297 h 2112297"/>
                <a:gd name="connsiteX1" fmla="*/ 544334 w 773214"/>
                <a:gd name="connsiteY1" fmla="*/ 2015252 h 2112297"/>
                <a:gd name="connsiteX2" fmla="*/ 562006 w 773214"/>
                <a:gd name="connsiteY2" fmla="*/ 1942872 h 2112297"/>
                <a:gd name="connsiteX3" fmla="*/ 136598 w 773214"/>
                <a:gd name="connsiteY3" fmla="*/ 244564 h 2112297"/>
                <a:gd name="connsiteX4" fmla="*/ 0 w 773214"/>
                <a:gd name="connsiteY4" fmla="*/ 93438 h 2112297"/>
                <a:gd name="connsiteX5" fmla="*/ 143069 w 773214"/>
                <a:gd name="connsiteY5" fmla="*/ 101743 h 2112297"/>
                <a:gd name="connsiteX6" fmla="*/ 148975 w 773214"/>
                <a:gd name="connsiteY6" fmla="*/ 0 h 2112297"/>
                <a:gd name="connsiteX7" fmla="*/ 271109 w 773214"/>
                <a:gd name="connsiteY7" fmla="*/ 135124 h 2112297"/>
                <a:gd name="connsiteX8" fmla="*/ 732226 w 773214"/>
                <a:gd name="connsiteY8" fmla="*/ 1975989 h 2112297"/>
                <a:gd name="connsiteX9" fmla="*/ 715807 w 773214"/>
                <a:gd name="connsiteY9" fmla="*/ 2043240 h 2112297"/>
                <a:gd name="connsiteX10" fmla="*/ 604593 w 773214"/>
                <a:gd name="connsiteY10" fmla="*/ 2112297 h 2112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3214" h="2112297">
                  <a:moveTo>
                    <a:pt x="604593" y="2112297"/>
                  </a:moveTo>
                  <a:lnTo>
                    <a:pt x="544334" y="2015252"/>
                  </a:lnTo>
                  <a:lnTo>
                    <a:pt x="562006" y="1942872"/>
                  </a:lnTo>
                  <a:cubicBezTo>
                    <a:pt x="675448" y="1356946"/>
                    <a:pt x="533646" y="731372"/>
                    <a:pt x="136598" y="244564"/>
                  </a:cubicBezTo>
                  <a:lnTo>
                    <a:pt x="0" y="93438"/>
                  </a:lnTo>
                  <a:lnTo>
                    <a:pt x="143069" y="101743"/>
                  </a:lnTo>
                  <a:lnTo>
                    <a:pt x="148975" y="0"/>
                  </a:lnTo>
                  <a:lnTo>
                    <a:pt x="271109" y="135124"/>
                  </a:lnTo>
                  <a:cubicBezTo>
                    <a:pt x="701486" y="662795"/>
                    <a:pt x="855191" y="1340880"/>
                    <a:pt x="732226" y="1975989"/>
                  </a:cubicBezTo>
                  <a:lnTo>
                    <a:pt x="715807" y="2043240"/>
                  </a:lnTo>
                  <a:lnTo>
                    <a:pt x="604593" y="2112297"/>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649">
                <a:defRPr/>
              </a:pPr>
              <a:endParaRPr lang="en-CA" sz="1836">
                <a:solidFill>
                  <a:srgbClr val="000000"/>
                </a:solidFill>
                <a:latin typeface="Segoe UI"/>
              </a:endParaRPr>
            </a:p>
          </p:txBody>
        </p:sp>
      </p:grpSp>
      <p:grpSp>
        <p:nvGrpSpPr>
          <p:cNvPr id="40" name="Group 39">
            <a:extLst>
              <a:ext uri="{FF2B5EF4-FFF2-40B4-BE49-F238E27FC236}">
                <a16:creationId xmlns:a16="http://schemas.microsoft.com/office/drawing/2014/main" id="{9BCC7032-DE3F-4891-B388-8F05DBBE92C1}"/>
              </a:ext>
            </a:extLst>
          </p:cNvPr>
          <p:cNvGrpSpPr/>
          <p:nvPr/>
        </p:nvGrpSpPr>
        <p:grpSpPr>
          <a:xfrm>
            <a:off x="7900885" y="540674"/>
            <a:ext cx="3882945" cy="2604899"/>
            <a:chOff x="665628" y="2493869"/>
            <a:chExt cx="2572872" cy="2554381"/>
          </a:xfrm>
        </p:grpSpPr>
        <p:sp>
          <p:nvSpPr>
            <p:cNvPr id="41" name="Rectangle: Rounded Corners 40">
              <a:extLst>
                <a:ext uri="{FF2B5EF4-FFF2-40B4-BE49-F238E27FC236}">
                  <a16:creationId xmlns:a16="http://schemas.microsoft.com/office/drawing/2014/main" id="{51A000F3-99FA-44AF-9353-D8DC682589AE}"/>
                </a:ext>
              </a:extLst>
            </p:cNvPr>
            <p:cNvSpPr/>
            <p:nvPr/>
          </p:nvSpPr>
          <p:spPr>
            <a:xfrm>
              <a:off x="665629" y="2493869"/>
              <a:ext cx="2572871" cy="2554381"/>
            </a:xfrm>
            <a:prstGeom prst="roundRect">
              <a:avLst>
                <a:gd name="adj" fmla="val 4745"/>
              </a:avLst>
            </a:prstGeom>
            <a:solidFill>
              <a:srgbClr val="FFFFFF"/>
            </a:solidFill>
            <a:ln>
              <a:solidFill>
                <a:srgbClr val="FFFFFF"/>
              </a:solidFill>
            </a:ln>
            <a:effectLst>
              <a:outerShdw blurRad="127000" sx="102000" sy="102000" algn="ctr"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sp>
          <p:nvSpPr>
            <p:cNvPr id="42" name="Rectangle: Rounded Corners 41">
              <a:extLst>
                <a:ext uri="{FF2B5EF4-FFF2-40B4-BE49-F238E27FC236}">
                  <a16:creationId xmlns:a16="http://schemas.microsoft.com/office/drawing/2014/main" id="{A267B7EC-C2D6-4758-99D3-8F75637DFEFE}"/>
                </a:ext>
              </a:extLst>
            </p:cNvPr>
            <p:cNvSpPr/>
            <p:nvPr/>
          </p:nvSpPr>
          <p:spPr>
            <a:xfrm>
              <a:off x="665628" y="2493869"/>
              <a:ext cx="2572871" cy="373156"/>
            </a:xfrm>
            <a:prstGeom prst="roundRect">
              <a:avLst>
                <a:gd name="adj" fmla="val 32823"/>
              </a:avLst>
            </a:prstGeom>
            <a:solidFill>
              <a:srgbClr val="DC4061"/>
            </a:solidFill>
            <a:ln>
              <a:solidFill>
                <a:srgbClr val="DC406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sp>
          <p:nvSpPr>
            <p:cNvPr id="44" name="Rectangle: Rounded Corners 43">
              <a:extLst>
                <a:ext uri="{FF2B5EF4-FFF2-40B4-BE49-F238E27FC236}">
                  <a16:creationId xmlns:a16="http://schemas.microsoft.com/office/drawing/2014/main" id="{E86EC43F-FFEB-4BC9-9BE8-ADE6DF7BC4D3}"/>
                </a:ext>
              </a:extLst>
            </p:cNvPr>
            <p:cNvSpPr/>
            <p:nvPr/>
          </p:nvSpPr>
          <p:spPr>
            <a:xfrm>
              <a:off x="665628" y="2680446"/>
              <a:ext cx="2572871" cy="1948703"/>
            </a:xfrm>
            <a:prstGeom prst="roundRect">
              <a:avLst>
                <a:gd name="adj" fmla="val 0"/>
              </a:avLst>
            </a:prstGeom>
            <a:solidFill>
              <a:schemeClr val="bg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lnSpc>
                  <a:spcPts val="1836"/>
                </a:lnSpc>
                <a:defRPr/>
              </a:pPr>
              <a:endParaRPr lang="en-US" sz="1836">
                <a:solidFill>
                  <a:srgbClr val="000000"/>
                </a:solidFill>
                <a:latin typeface="Segoe UI Semibold" panose="020B0702040204020203" pitchFamily="34" charset="0"/>
                <a:cs typeface="Segoe UI Semibold" panose="020B0702040204020203" pitchFamily="34" charset="0"/>
              </a:endParaRPr>
            </a:p>
            <a:p>
              <a:pPr algn="ctr" defTabSz="932649">
                <a:lnSpc>
                  <a:spcPts val="1836"/>
                </a:lnSpc>
                <a:defRPr/>
              </a:pPr>
              <a:endParaRPr lang="en-US" sz="1836">
                <a:solidFill>
                  <a:srgbClr val="000000"/>
                </a:solidFill>
                <a:latin typeface="Segoe UI Semibold" panose="020B0702040204020203" pitchFamily="34" charset="0"/>
                <a:cs typeface="Segoe UI Semibold" panose="020B0702040204020203" pitchFamily="34" charset="0"/>
              </a:endParaRPr>
            </a:p>
            <a:p>
              <a:pPr algn="ctr" defTabSz="932649">
                <a:lnSpc>
                  <a:spcPts val="1836"/>
                </a:lnSpc>
                <a:defRPr/>
              </a:pPr>
              <a:r>
                <a:rPr lang="en-US" sz="1836">
                  <a:solidFill>
                    <a:srgbClr val="FFFFFF"/>
                  </a:solidFill>
                  <a:highlight>
                    <a:srgbClr val="DC4061"/>
                  </a:highlight>
                  <a:latin typeface="Nexa Heavy" panose="02000000000000000000" pitchFamily="2" charset="0"/>
                  <a:cs typeface="Segoe UI Semibold" panose="020B0702040204020203" pitchFamily="34" charset="0"/>
                </a:rPr>
                <a:t>DESIGN</a:t>
              </a:r>
            </a:p>
            <a:p>
              <a:pPr algn="ctr" defTabSz="932649">
                <a:lnSpc>
                  <a:spcPts val="1836"/>
                </a:lnSpc>
                <a:defRPr/>
              </a:pPr>
              <a:r>
                <a:rPr lang="en-US" sz="1836">
                  <a:solidFill>
                    <a:srgbClr val="000000"/>
                  </a:solidFill>
                  <a:latin typeface="Segoe UI Semibold" panose="020B0702040204020203" pitchFamily="34" charset="0"/>
                  <a:cs typeface="Segoe UI Semibold" panose="020B0702040204020203" pitchFamily="34" charset="0"/>
                </a:rPr>
                <a:t> </a:t>
              </a:r>
              <a:r>
                <a:rPr lang="en-US" sz="1428">
                  <a:solidFill>
                    <a:srgbClr val="000000"/>
                  </a:solidFill>
                  <a:latin typeface="Segoe UI Semibold" panose="020B0702040204020203" pitchFamily="34" charset="0"/>
                  <a:cs typeface="Segoe UI Semibold" panose="020B0702040204020203" pitchFamily="34" charset="0"/>
                </a:rPr>
                <a:t>THE</a:t>
              </a:r>
              <a:r>
                <a:rPr lang="en-US" sz="1836">
                  <a:solidFill>
                    <a:srgbClr val="000000"/>
                  </a:solidFill>
                  <a:latin typeface="Segoe UI Semibold" panose="020B0702040204020203" pitchFamily="34" charset="0"/>
                  <a:cs typeface="Segoe UI Semibold" panose="020B0702040204020203" pitchFamily="34" charset="0"/>
                </a:rPr>
                <a:t> </a:t>
              </a:r>
              <a:r>
                <a:rPr lang="en-US" sz="1836">
                  <a:solidFill>
                    <a:srgbClr val="000000"/>
                  </a:solidFill>
                  <a:latin typeface="Nexa Heavy" panose="02000000000000000000" pitchFamily="2" charset="0"/>
                  <a:cs typeface="Segoe UI Semibold" panose="020B0702040204020203" pitchFamily="34" charset="0"/>
                </a:rPr>
                <a:t>USER INTERFACE </a:t>
              </a:r>
            </a:p>
            <a:p>
              <a:pPr algn="ctr" defTabSz="932649">
                <a:lnSpc>
                  <a:spcPts val="1836"/>
                </a:lnSpc>
                <a:defRPr/>
              </a:pPr>
              <a:r>
                <a:rPr lang="en-US" sz="1632" i="1">
                  <a:solidFill>
                    <a:srgbClr val="FFFFFF">
                      <a:lumMod val="65000"/>
                    </a:srgbClr>
                  </a:solidFill>
                  <a:latin typeface="Segoe UI Light" panose="020B0502040204020203" pitchFamily="34" charset="0"/>
                  <a:cs typeface="Segoe UI Light" panose="020B0502040204020203" pitchFamily="34" charset="0"/>
                </a:rPr>
                <a:t>Build real, tactile representations for a range of your ideas</a:t>
              </a:r>
              <a:endParaRPr lang="en-CA" sz="1632" i="1">
                <a:solidFill>
                  <a:srgbClr val="FFFFFF">
                    <a:lumMod val="65000"/>
                  </a:srgbClr>
                </a:solidFill>
                <a:latin typeface="Segoe UI Light" panose="020B0502040204020203" pitchFamily="34" charset="0"/>
                <a:cs typeface="Segoe UI Light" panose="020B0502040204020203" pitchFamily="34" charset="0"/>
              </a:endParaRPr>
            </a:p>
          </p:txBody>
        </p:sp>
      </p:grpSp>
      <p:grpSp>
        <p:nvGrpSpPr>
          <p:cNvPr id="51" name="Group 50">
            <a:extLst>
              <a:ext uri="{FF2B5EF4-FFF2-40B4-BE49-F238E27FC236}">
                <a16:creationId xmlns:a16="http://schemas.microsoft.com/office/drawing/2014/main" id="{F9729E3D-9277-496B-AE39-FDDB79502C00}"/>
              </a:ext>
            </a:extLst>
          </p:cNvPr>
          <p:cNvGrpSpPr/>
          <p:nvPr/>
        </p:nvGrpSpPr>
        <p:grpSpPr>
          <a:xfrm>
            <a:off x="1374009" y="3004720"/>
            <a:ext cx="703811" cy="703811"/>
            <a:chOff x="4514418" y="598134"/>
            <a:chExt cx="690162" cy="690162"/>
          </a:xfrm>
        </p:grpSpPr>
        <p:grpSp>
          <p:nvGrpSpPr>
            <p:cNvPr id="52" name="Group 51">
              <a:extLst>
                <a:ext uri="{FF2B5EF4-FFF2-40B4-BE49-F238E27FC236}">
                  <a16:creationId xmlns:a16="http://schemas.microsoft.com/office/drawing/2014/main" id="{DC70CFA1-D374-4242-BB5A-45463FF55592}"/>
                </a:ext>
              </a:extLst>
            </p:cNvPr>
            <p:cNvGrpSpPr/>
            <p:nvPr/>
          </p:nvGrpSpPr>
          <p:grpSpPr>
            <a:xfrm>
              <a:off x="4514418" y="598134"/>
              <a:ext cx="690162" cy="690162"/>
              <a:chOff x="6989114" y="876300"/>
              <a:chExt cx="1257300" cy="1257300"/>
            </a:xfrm>
          </p:grpSpPr>
          <p:sp>
            <p:nvSpPr>
              <p:cNvPr id="54" name="Oval 53">
                <a:extLst>
                  <a:ext uri="{FF2B5EF4-FFF2-40B4-BE49-F238E27FC236}">
                    <a16:creationId xmlns:a16="http://schemas.microsoft.com/office/drawing/2014/main" id="{07278A9F-6552-4268-861A-534071920895}"/>
                  </a:ext>
                </a:extLst>
              </p:cNvPr>
              <p:cNvSpPr/>
              <p:nvPr/>
            </p:nvSpPr>
            <p:spPr>
              <a:xfrm>
                <a:off x="6989114" y="876300"/>
                <a:ext cx="1257300" cy="1257300"/>
              </a:xfrm>
              <a:prstGeom prst="ellipse">
                <a:avLst/>
              </a:prstGeom>
              <a:solidFill>
                <a:srgbClr val="FFFFFF"/>
              </a:solidFill>
              <a:ln>
                <a:solidFill>
                  <a:srgbClr val="FFFFFF"/>
                </a:solid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649">
                  <a:defRPr/>
                </a:pPr>
                <a:endParaRPr lang="en-CA" sz="1836">
                  <a:solidFill>
                    <a:srgbClr val="FFFFFF"/>
                  </a:solidFill>
                  <a:latin typeface="Segoe UI"/>
                </a:endParaRPr>
              </a:p>
            </p:txBody>
          </p:sp>
          <p:sp>
            <p:nvSpPr>
              <p:cNvPr id="55" name="Chord 54">
                <a:extLst>
                  <a:ext uri="{FF2B5EF4-FFF2-40B4-BE49-F238E27FC236}">
                    <a16:creationId xmlns:a16="http://schemas.microsoft.com/office/drawing/2014/main" id="{A90E60D5-5957-4246-9B40-39B2970B00DF}"/>
                  </a:ext>
                </a:extLst>
              </p:cNvPr>
              <p:cNvSpPr/>
              <p:nvPr/>
            </p:nvSpPr>
            <p:spPr>
              <a:xfrm rot="17507038">
                <a:off x="7063406" y="950592"/>
                <a:ext cx="1108714" cy="1108714"/>
              </a:xfrm>
              <a:prstGeom prst="chord">
                <a:avLst/>
              </a:prstGeom>
              <a:solidFill>
                <a:srgbClr val="DC4061"/>
              </a:solidFill>
              <a:ln>
                <a:noFill/>
              </a:ln>
              <a:effectLst>
                <a:innerShdw blurRad="101600" dist="25400" dir="19800000">
                  <a:schemeClr val="accent1">
                    <a:lumMod val="50000"/>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grpSp>
        <p:sp>
          <p:nvSpPr>
            <p:cNvPr id="53" name="TextBox 52">
              <a:extLst>
                <a:ext uri="{FF2B5EF4-FFF2-40B4-BE49-F238E27FC236}">
                  <a16:creationId xmlns:a16="http://schemas.microsoft.com/office/drawing/2014/main" id="{8F272110-0D73-48A9-9ADD-93D839B3CCEC}"/>
                </a:ext>
              </a:extLst>
            </p:cNvPr>
            <p:cNvSpPr txBox="1"/>
            <p:nvPr/>
          </p:nvSpPr>
          <p:spPr>
            <a:xfrm>
              <a:off x="4651442" y="744334"/>
              <a:ext cx="404278" cy="531812"/>
            </a:xfrm>
            <a:prstGeom prst="rect">
              <a:avLst/>
            </a:prstGeom>
            <a:noFill/>
          </p:spPr>
          <p:txBody>
            <a:bodyPr wrap="none" rtlCol="0">
              <a:spAutoFit/>
            </a:bodyPr>
            <a:lstStyle/>
            <a:p>
              <a:pPr algn="ctr" defTabSz="932649">
                <a:defRPr/>
              </a:pPr>
              <a:r>
                <a:rPr lang="en-CA" sz="2856">
                  <a:solidFill>
                    <a:srgbClr val="FFFFFF"/>
                  </a:solidFill>
                  <a:latin typeface="Segoe UI Black" panose="020B0A02040204020203" pitchFamily="34" charset="0"/>
                  <a:ea typeface="Segoe UI Black" panose="020B0A02040204020203" pitchFamily="34" charset="0"/>
                </a:rPr>
                <a:t>5</a:t>
              </a:r>
            </a:p>
          </p:txBody>
        </p:sp>
      </p:grpSp>
    </p:spTree>
    <p:extLst>
      <p:ext uri="{BB962C8B-B14F-4D97-AF65-F5344CB8AC3E}">
        <p14:creationId xmlns:p14="http://schemas.microsoft.com/office/powerpoint/2010/main" val="1744223441"/>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1939C7-4622-4F97-B89E-281370316149}"/>
              </a:ext>
            </a:extLst>
          </p:cNvPr>
          <p:cNvSpPr>
            <a:spLocks noGrp="1"/>
          </p:cNvSpPr>
          <p:nvPr>
            <p:ph type="title"/>
          </p:nvPr>
        </p:nvSpPr>
        <p:spPr/>
        <p:txBody>
          <a:bodyPr/>
          <a:lstStyle/>
          <a:p>
            <a:r>
              <a:rPr lang="en-US"/>
              <a:t>7 Steps In Report Building</a:t>
            </a:r>
            <a:endParaRPr lang="en-DK"/>
          </a:p>
        </p:txBody>
      </p:sp>
      <p:sp>
        <p:nvSpPr>
          <p:cNvPr id="3" name="Text Placeholder 2">
            <a:extLst>
              <a:ext uri="{FF2B5EF4-FFF2-40B4-BE49-F238E27FC236}">
                <a16:creationId xmlns:a16="http://schemas.microsoft.com/office/drawing/2014/main" id="{BCB5C967-5F09-4BA2-B83C-81F3D803970D}"/>
              </a:ext>
            </a:extLst>
          </p:cNvPr>
          <p:cNvSpPr>
            <a:spLocks noGrp="1"/>
          </p:cNvSpPr>
          <p:nvPr>
            <p:ph type="body" sz="quarter" idx="10"/>
          </p:nvPr>
        </p:nvSpPr>
        <p:spPr>
          <a:xfrm>
            <a:off x="595840" y="1464334"/>
            <a:ext cx="11238029" cy="5323983"/>
          </a:xfrm>
        </p:spPr>
        <p:txBody>
          <a:bodyPr/>
          <a:lstStyle/>
          <a:p>
            <a:pPr marL="514299" indent="-514299">
              <a:buFont typeface="+mj-lt"/>
              <a:buAutoNum type="arabicPeriod"/>
            </a:pPr>
            <a:r>
              <a:rPr lang="en-US"/>
              <a:t>Create visuals</a:t>
            </a:r>
          </a:p>
          <a:p>
            <a:pPr marL="514299" indent="-514299">
              <a:buFont typeface="+mj-lt"/>
              <a:buAutoNum type="arabicPeriod"/>
            </a:pPr>
            <a:r>
              <a:rPr lang="en-US"/>
              <a:t>Add margins *</a:t>
            </a:r>
          </a:p>
          <a:p>
            <a:pPr marL="514299" indent="-514299">
              <a:buFont typeface="+mj-lt"/>
              <a:buAutoNum type="arabicPeriod"/>
            </a:pPr>
            <a:r>
              <a:rPr lang="en-US"/>
              <a:t>Redistribute to logical sections *</a:t>
            </a:r>
          </a:p>
          <a:p>
            <a:pPr marL="514299" indent="-514299">
              <a:buFont typeface="+mj-lt"/>
              <a:buAutoNum type="arabicPeriod"/>
            </a:pPr>
            <a:r>
              <a:rPr lang="en-US"/>
              <a:t>Modify visual selection</a:t>
            </a:r>
          </a:p>
          <a:p>
            <a:pPr marL="514299" indent="-514299">
              <a:buFont typeface="+mj-lt"/>
              <a:buAutoNum type="arabicPeriod"/>
            </a:pPr>
            <a:r>
              <a:rPr lang="en-US"/>
              <a:t>Formatting &amp; alignment</a:t>
            </a:r>
          </a:p>
          <a:p>
            <a:pPr marL="514299" indent="-514299">
              <a:buFont typeface="+mj-lt"/>
              <a:buAutoNum type="arabicPeriod"/>
            </a:pPr>
            <a:r>
              <a:rPr lang="en-US"/>
              <a:t>Background shapes *</a:t>
            </a:r>
          </a:p>
          <a:p>
            <a:pPr marL="514299" indent="-514299">
              <a:buFont typeface="+mj-lt"/>
              <a:buAutoNum type="arabicPeriod"/>
            </a:pPr>
            <a:r>
              <a:rPr lang="en-US"/>
              <a:t>Labeling *</a:t>
            </a:r>
          </a:p>
          <a:p>
            <a:pPr marL="514299" indent="-514299">
              <a:buFont typeface="+mj-lt"/>
              <a:buAutoNum type="arabicPeriod"/>
            </a:pPr>
            <a:endParaRPr lang="en-US"/>
          </a:p>
          <a:p>
            <a:pPr marL="0" indent="0">
              <a:buNone/>
            </a:pPr>
            <a:r>
              <a:rPr lang="en-US" sz="2800"/>
              <a:t>* Can partially be handled using a background image</a:t>
            </a:r>
            <a:endParaRPr lang="en-DK" sz="2800"/>
          </a:p>
        </p:txBody>
      </p:sp>
    </p:spTree>
    <p:extLst>
      <p:ext uri="{BB962C8B-B14F-4D97-AF65-F5344CB8AC3E}">
        <p14:creationId xmlns:p14="http://schemas.microsoft.com/office/powerpoint/2010/main" val="16029232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1939C7-4622-4F97-B89E-281370316149}"/>
              </a:ext>
            </a:extLst>
          </p:cNvPr>
          <p:cNvSpPr>
            <a:spLocks noGrp="1"/>
          </p:cNvSpPr>
          <p:nvPr>
            <p:ph type="title"/>
          </p:nvPr>
        </p:nvSpPr>
        <p:spPr/>
        <p:txBody>
          <a:bodyPr/>
          <a:lstStyle/>
          <a:p>
            <a:r>
              <a:rPr lang="en-US"/>
              <a:t>7 Steps In Report Building</a:t>
            </a:r>
            <a:endParaRPr lang="en-DK"/>
          </a:p>
        </p:txBody>
      </p:sp>
      <p:sp>
        <p:nvSpPr>
          <p:cNvPr id="3" name="Text Placeholder 2">
            <a:extLst>
              <a:ext uri="{FF2B5EF4-FFF2-40B4-BE49-F238E27FC236}">
                <a16:creationId xmlns:a16="http://schemas.microsoft.com/office/drawing/2014/main" id="{BCB5C967-5F09-4BA2-B83C-81F3D803970D}"/>
              </a:ext>
            </a:extLst>
          </p:cNvPr>
          <p:cNvSpPr>
            <a:spLocks noGrp="1"/>
          </p:cNvSpPr>
          <p:nvPr>
            <p:ph type="body" sz="quarter" idx="10"/>
          </p:nvPr>
        </p:nvSpPr>
        <p:spPr>
          <a:xfrm>
            <a:off x="595839" y="1464075"/>
            <a:ext cx="11238030" cy="502317"/>
          </a:xfrm>
        </p:spPr>
        <p:txBody>
          <a:bodyPr/>
          <a:lstStyle/>
          <a:p>
            <a:endParaRPr lang="en-DK"/>
          </a:p>
        </p:txBody>
      </p:sp>
      <p:pic>
        <p:nvPicPr>
          <p:cNvPr id="5" name="Picture 4">
            <a:extLst>
              <a:ext uri="{FF2B5EF4-FFF2-40B4-BE49-F238E27FC236}">
                <a16:creationId xmlns:a16="http://schemas.microsoft.com/office/drawing/2014/main" id="{6DC60A6F-DEE6-4E54-9DC0-24985C965C56}"/>
              </a:ext>
            </a:extLst>
          </p:cNvPr>
          <p:cNvPicPr>
            <a:picLocks noChangeAspect="1"/>
          </p:cNvPicPr>
          <p:nvPr/>
        </p:nvPicPr>
        <p:blipFill>
          <a:blip r:embed="rId2"/>
          <a:stretch>
            <a:fillRect/>
          </a:stretch>
        </p:blipFill>
        <p:spPr>
          <a:xfrm>
            <a:off x="850090" y="1204502"/>
            <a:ext cx="10734709" cy="5789577"/>
          </a:xfrm>
          <a:prstGeom prst="rect">
            <a:avLst/>
          </a:prstGeom>
        </p:spPr>
      </p:pic>
    </p:spTree>
    <p:extLst>
      <p:ext uri="{BB962C8B-B14F-4D97-AF65-F5344CB8AC3E}">
        <p14:creationId xmlns:p14="http://schemas.microsoft.com/office/powerpoint/2010/main" val="1212835806"/>
      </p:ext>
    </p:extLst>
  </p:cSld>
  <p:clrMapOvr>
    <a:masterClrMapping/>
  </p:clrMapOvr>
  <p:transition>
    <p:fade/>
  </p:transition>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534837"/>
            <a:ext cx="7384111" cy="1107996"/>
          </a:xfrm>
        </p:spPr>
        <p:txBody>
          <a:bodyPr/>
          <a:lstStyle/>
          <a:p>
            <a:r>
              <a:rPr lang="en-US" sz="4800"/>
              <a:t>DEMO</a:t>
            </a:r>
            <a:br>
              <a:rPr lang="en-US" sz="4800"/>
            </a:br>
            <a:r>
              <a:rPr lang="en-US" sz="2400">
                <a:hlinkClick r:id="rId3"/>
              </a:rPr>
              <a:t>Microsoft Power BI</a:t>
            </a:r>
            <a:endParaRPr lang="en-US" sz="2400"/>
          </a:p>
        </p:txBody>
      </p:sp>
    </p:spTree>
    <p:extLst>
      <p:ext uri="{BB962C8B-B14F-4D97-AF65-F5344CB8AC3E}">
        <p14:creationId xmlns:p14="http://schemas.microsoft.com/office/powerpoint/2010/main" val="1004513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9302" y="2852207"/>
            <a:ext cx="11237870" cy="1554015"/>
          </a:xfrm>
        </p:spPr>
        <p:txBody>
          <a:bodyPr/>
          <a:lstStyle/>
          <a:p>
            <a:br>
              <a:rPr lang="en-US" sz="1400">
                <a:latin typeface="Segoe UI Bold" panose="020B0802040204020203" pitchFamily="34" charset="0"/>
                <a:ea typeface="Times New Roman" panose="02020603050405020304" pitchFamily="18" charset="0"/>
                <a:cs typeface="Segoe UI Bold" panose="020B0802040204020203" pitchFamily="34" charset="0"/>
              </a:rPr>
            </a:br>
            <a:r>
              <a:rPr lang="en-US" sz="1400">
                <a:latin typeface="Segoe UI Bold" panose="020B0802040204020203" pitchFamily="34" charset="0"/>
                <a:ea typeface="Times New Roman" panose="02020603050405020304" pitchFamily="18" charset="0"/>
                <a:cs typeface="Segoe UI Bold" panose="020B0802040204020203" pitchFamily="34" charset="0"/>
              </a:rPr>
              <a:t> </a:t>
            </a:r>
            <a:br>
              <a:rPr lang="en-US" sz="3649">
                <a:ea typeface="Times New Roman" panose="02020603050405020304" pitchFamily="18" charset="0"/>
                <a:cs typeface="Segoe UI"/>
              </a:rPr>
            </a:br>
            <a:br>
              <a:rPr lang="en-US" sz="3649">
                <a:ea typeface="Times New Roman" panose="02020603050405020304" pitchFamily="18" charset="0"/>
                <a:cs typeface="Segoe UI"/>
              </a:rPr>
            </a:br>
            <a:endParaRPr lang="en-US" sz="3649">
              <a:cs typeface="Segoe UI"/>
            </a:endParaRPr>
          </a:p>
        </p:txBody>
      </p:sp>
      <p:graphicFrame>
        <p:nvGraphicFramePr>
          <p:cNvPr id="3" name="Table 3">
            <a:extLst>
              <a:ext uri="{FF2B5EF4-FFF2-40B4-BE49-F238E27FC236}">
                <a16:creationId xmlns:a16="http://schemas.microsoft.com/office/drawing/2014/main" id="{81CF9FAA-7165-415E-AB1E-8075FE3ED399}"/>
              </a:ext>
            </a:extLst>
          </p:cNvPr>
          <p:cNvGraphicFramePr>
            <a:graphicFrameLocks noGrp="1"/>
          </p:cNvGraphicFramePr>
          <p:nvPr>
            <p:extLst>
              <p:ext uri="{D42A27DB-BD31-4B8C-83A1-F6EECF244321}">
                <p14:modId xmlns:p14="http://schemas.microsoft.com/office/powerpoint/2010/main" val="2386845812"/>
              </p:ext>
            </p:extLst>
          </p:nvPr>
        </p:nvGraphicFramePr>
        <p:xfrm>
          <a:off x="729740" y="1723502"/>
          <a:ext cx="10975593" cy="3256012"/>
        </p:xfrm>
        <a:graphic>
          <a:graphicData uri="http://schemas.openxmlformats.org/drawingml/2006/table">
            <a:tbl>
              <a:tblPr firstRow="1" bandRow="1">
                <a:tableStyleId>{2D5ABB26-0587-4C30-8999-92F81FD0307C}</a:tableStyleId>
              </a:tblPr>
              <a:tblGrid>
                <a:gridCol w="10975593">
                  <a:extLst>
                    <a:ext uri="{9D8B030D-6E8A-4147-A177-3AD203B41FA5}">
                      <a16:colId xmlns:a16="http://schemas.microsoft.com/office/drawing/2014/main" val="159140880"/>
                    </a:ext>
                  </a:extLst>
                </a:gridCol>
              </a:tblGrid>
              <a:tr h="700951">
                <a:tc>
                  <a:txBody>
                    <a:bodyPr/>
                    <a:lstStyle/>
                    <a:p>
                      <a:r>
                        <a:rPr kumimoji="0" lang="en-US" sz="40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Bold" panose="020B0802040204020203" pitchFamily="34" charset="0"/>
                          <a:ea typeface="Times New Roman" panose="02020603050405020304" pitchFamily="18" charset="0"/>
                          <a:cs typeface="Segoe UI Bold" panose="020B0802040204020203" pitchFamily="34" charset="0"/>
                        </a:rPr>
                        <a:t>Data Preparation</a:t>
                      </a:r>
                      <a:endParaRPr lang="en-US" sz="1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17299406"/>
                  </a:ext>
                </a:extLst>
              </a:tr>
              <a:tr h="238552">
                <a:tc>
                  <a:txBody>
                    <a:bodyPr/>
                    <a:lstStyle/>
                    <a:p>
                      <a:endParaRPr lang="en-US" sz="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90607938"/>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Times New Roman" panose="02020603050405020304" pitchFamily="18" charset="0"/>
                          <a:cs typeface="Segoe UI"/>
                        </a:rPr>
                        <a:t>Objective:</a:t>
                      </a:r>
                      <a:endParaRPr lang="en-US" sz="16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06375184"/>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Times New Roman" panose="02020603050405020304" pitchFamily="18" charset="0"/>
                          <a:cs typeface="Segoe UI"/>
                        </a:rPr>
                        <a:t>Self-service cloud data prep. </a:t>
                      </a:r>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Times New Roman" panose="02020603050405020304" pitchFamily="18" charset="0"/>
                          <a:cs typeface="Segoe UI"/>
                        </a:rPr>
                        <a:t>(Reusability)</a:t>
                      </a:r>
                      <a:endPar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112843642"/>
                  </a:ext>
                </a:extLst>
              </a:tr>
              <a:tr h="579046">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Custom functions. </a:t>
                      </a:r>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rPr>
                        <a:t>(Power Query formula language)</a:t>
                      </a: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93632906"/>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Data transformations. </a:t>
                      </a:r>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rPr>
                        <a:t>(Efficiency)</a:t>
                      </a: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59052171"/>
                  </a:ext>
                </a:extLst>
              </a:tr>
            </a:tbl>
          </a:graphicData>
        </a:graphic>
      </p:graphicFrame>
    </p:spTree>
    <p:extLst>
      <p:ext uri="{BB962C8B-B14F-4D97-AF65-F5344CB8AC3E}">
        <p14:creationId xmlns:p14="http://schemas.microsoft.com/office/powerpoint/2010/main" val="3984957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ing</a:t>
            </a:r>
          </a:p>
        </p:txBody>
      </p:sp>
      <p:pic>
        <p:nvPicPr>
          <p:cNvPr id="4" name="Picture 2" descr="Diagram of hierarchy of filter levels, Dataset (RLS) to Report to Page to Visual to Measure.">
            <a:extLst>
              <a:ext uri="{FF2B5EF4-FFF2-40B4-BE49-F238E27FC236}">
                <a16:creationId xmlns:a16="http://schemas.microsoft.com/office/drawing/2014/main" id="{C12605AC-ED58-45D3-AAC3-D00600F7AEA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84978" y="2090237"/>
            <a:ext cx="6323930" cy="3052931"/>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4871609"/>
          </a:xfrm>
        </p:spPr>
        <p:txBody>
          <a:bodyPr/>
          <a:lstStyle/>
          <a:p>
            <a:r>
              <a:rPr lang="en-US"/>
              <a:t>You can filter at five different levels</a:t>
            </a:r>
          </a:p>
          <a:p>
            <a:pPr lvl="1"/>
            <a:r>
              <a:rPr lang="en-US"/>
              <a:t>Dataset (RLS)</a:t>
            </a:r>
          </a:p>
          <a:p>
            <a:pPr lvl="1"/>
            <a:r>
              <a:rPr lang="en-US"/>
              <a:t>Report</a:t>
            </a:r>
          </a:p>
          <a:p>
            <a:pPr lvl="1"/>
            <a:r>
              <a:rPr lang="en-US"/>
              <a:t>Page</a:t>
            </a:r>
          </a:p>
          <a:p>
            <a:pPr lvl="1"/>
            <a:r>
              <a:rPr lang="en-US"/>
              <a:t>Visual</a:t>
            </a:r>
          </a:p>
          <a:p>
            <a:pPr lvl="1"/>
            <a:r>
              <a:rPr lang="en-US"/>
              <a:t>Measure (using DAX/Report-level measure)</a:t>
            </a:r>
          </a:p>
          <a:p>
            <a:r>
              <a:rPr lang="en-US"/>
              <a:t>Filter using</a:t>
            </a:r>
          </a:p>
          <a:p>
            <a:pPr lvl="1"/>
            <a:r>
              <a:rPr lang="en-US"/>
              <a:t>Filter pane	</a:t>
            </a:r>
          </a:p>
          <a:p>
            <a:pPr lvl="1"/>
            <a:r>
              <a:rPr lang="en-US"/>
              <a:t>Slicers</a:t>
            </a:r>
          </a:p>
          <a:p>
            <a:endParaRPr lang="en-US"/>
          </a:p>
        </p:txBody>
      </p:sp>
    </p:spTree>
    <p:extLst>
      <p:ext uri="{BB962C8B-B14F-4D97-AF65-F5344CB8AC3E}">
        <p14:creationId xmlns:p14="http://schemas.microsoft.com/office/powerpoint/2010/main" val="21945584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2" presetClass="entr" presetSubtype="2" fill="hold" nodeType="clickEffect">
                                  <p:stCondLst>
                                    <p:cond delay="0"/>
                                  </p:stCondLst>
                                  <p:childTnLst>
                                    <p:set>
                                      <p:cBhvr>
                                        <p:cTn id="26" dur="1" fill="hold">
                                          <p:stCondLst>
                                            <p:cond delay="0"/>
                                          </p:stCondLst>
                                        </p:cTn>
                                        <p:tgtEl>
                                          <p:spTgt spid="4"/>
                                        </p:tgtEl>
                                        <p:attrNameLst>
                                          <p:attrName>style.visibility</p:attrName>
                                        </p:attrNameLst>
                                      </p:cBhvr>
                                      <p:to>
                                        <p:strVal val="visible"/>
                                      </p:to>
                                    </p:set>
                                    <p:anim calcmode="lin" valueType="num">
                                      <p:cBhvr additive="base">
                                        <p:cTn id="27" dur="500" fill="hold"/>
                                        <p:tgtEl>
                                          <p:spTgt spid="4"/>
                                        </p:tgtEl>
                                        <p:attrNameLst>
                                          <p:attrName>ppt_x</p:attrName>
                                        </p:attrNameLst>
                                      </p:cBhvr>
                                      <p:tavLst>
                                        <p:tav tm="0">
                                          <p:val>
                                            <p:strVal val="1+#ppt_w/2"/>
                                          </p:val>
                                        </p:tav>
                                        <p:tav tm="100000">
                                          <p:val>
                                            <p:strVal val="#ppt_x"/>
                                          </p:val>
                                        </p:tav>
                                      </p:tavLst>
                                    </p:anim>
                                    <p:anim calcmode="lin" valueType="num">
                                      <p:cBhvr additive="base">
                                        <p:cTn id="28" dur="500" fill="hold"/>
                                        <p:tgtEl>
                                          <p:spTgt spid="4"/>
                                        </p:tgtEl>
                                        <p:attrNameLst>
                                          <p:attrName>ppt_y</p:attrName>
                                        </p:attrNameLst>
                                      </p:cBhvr>
                                      <p:tavLst>
                                        <p:tav tm="0">
                                          <p:val>
                                            <p:strVal val="#ppt_y"/>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1858220"/>
          </a:xfrm>
        </p:spPr>
        <p:txBody>
          <a:bodyPr/>
          <a:lstStyle/>
          <a:p>
            <a:r>
              <a:rPr lang="en-US"/>
              <a:t>Filter on</a:t>
            </a:r>
          </a:p>
          <a:p>
            <a:pPr lvl="1"/>
            <a:r>
              <a:rPr lang="en-US"/>
              <a:t>All pages</a:t>
            </a:r>
          </a:p>
          <a:p>
            <a:pPr lvl="1"/>
            <a:r>
              <a:rPr lang="en-US"/>
              <a:t>This page</a:t>
            </a:r>
          </a:p>
          <a:p>
            <a:pPr lvl="1"/>
            <a:r>
              <a:rPr lang="en-US"/>
              <a:t>This visual</a:t>
            </a:r>
          </a:p>
        </p:txBody>
      </p:sp>
      <p:pic>
        <p:nvPicPr>
          <p:cNvPr id="11" name="Picture 10">
            <a:extLst>
              <a:ext uri="{FF2B5EF4-FFF2-40B4-BE49-F238E27FC236}">
                <a16:creationId xmlns:a16="http://schemas.microsoft.com/office/drawing/2014/main" id="{108F1824-C829-44E3-907D-5B410C571E03}"/>
              </a:ext>
            </a:extLst>
          </p:cNvPr>
          <p:cNvPicPr>
            <a:picLocks noChangeAspect="1"/>
          </p:cNvPicPr>
          <p:nvPr/>
        </p:nvPicPr>
        <p:blipFill>
          <a:blip r:embed="rId2"/>
          <a:stretch>
            <a:fillRect/>
          </a:stretch>
        </p:blipFill>
        <p:spPr>
          <a:xfrm>
            <a:off x="5279221" y="1501751"/>
            <a:ext cx="1876447" cy="3991022"/>
          </a:xfrm>
          <a:prstGeom prst="rect">
            <a:avLst/>
          </a:prstGeom>
        </p:spPr>
      </p:pic>
      <p:sp>
        <p:nvSpPr>
          <p:cNvPr id="9" name="Rectangle 8">
            <a:extLst>
              <a:ext uri="{FF2B5EF4-FFF2-40B4-BE49-F238E27FC236}">
                <a16:creationId xmlns:a16="http://schemas.microsoft.com/office/drawing/2014/main" id="{3C94577D-EB7F-4F22-B181-49B535B6CC2E}"/>
              </a:ext>
            </a:extLst>
          </p:cNvPr>
          <p:cNvSpPr/>
          <p:nvPr/>
        </p:nvSpPr>
        <p:spPr bwMode="auto">
          <a:xfrm>
            <a:off x="5292867" y="2306523"/>
            <a:ext cx="1803622" cy="300587"/>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sp>
        <p:nvSpPr>
          <p:cNvPr id="7" name="Rectangle 6">
            <a:extLst>
              <a:ext uri="{FF2B5EF4-FFF2-40B4-BE49-F238E27FC236}">
                <a16:creationId xmlns:a16="http://schemas.microsoft.com/office/drawing/2014/main" id="{FC8A1EE2-7477-4B36-8189-7B27FACE9B34}"/>
              </a:ext>
            </a:extLst>
          </p:cNvPr>
          <p:cNvSpPr/>
          <p:nvPr/>
        </p:nvSpPr>
        <p:spPr bwMode="auto">
          <a:xfrm>
            <a:off x="5279221" y="3725488"/>
            <a:ext cx="1803622" cy="300587"/>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sp>
        <p:nvSpPr>
          <p:cNvPr id="8" name="Rectangle 7">
            <a:extLst>
              <a:ext uri="{FF2B5EF4-FFF2-40B4-BE49-F238E27FC236}">
                <a16:creationId xmlns:a16="http://schemas.microsoft.com/office/drawing/2014/main" id="{EF582DA9-D2C4-4576-B05B-BCA2A664C9AB}"/>
              </a:ext>
            </a:extLst>
          </p:cNvPr>
          <p:cNvSpPr/>
          <p:nvPr/>
        </p:nvSpPr>
        <p:spPr bwMode="auto">
          <a:xfrm>
            <a:off x="5279221" y="4656892"/>
            <a:ext cx="1803622" cy="300587"/>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3850536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3" end="3"/>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9" grpId="0" animBg="1"/>
      <p:bldP spid="7" grpId="0" animBg="1"/>
      <p:bldP spid="8" grpId="0" animBg="1"/>
    </p:bld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2912926"/>
          </a:xfrm>
        </p:spPr>
        <p:txBody>
          <a:bodyPr/>
          <a:lstStyle/>
          <a:p>
            <a:r>
              <a:rPr lang="en-US"/>
              <a:t>Filter on</a:t>
            </a:r>
          </a:p>
          <a:p>
            <a:pPr lvl="1"/>
            <a:r>
              <a:rPr lang="en-US"/>
              <a:t>All pages</a:t>
            </a:r>
          </a:p>
          <a:p>
            <a:pPr lvl="1"/>
            <a:r>
              <a:rPr lang="en-US"/>
              <a:t>This page</a:t>
            </a:r>
          </a:p>
          <a:p>
            <a:pPr lvl="1"/>
            <a:r>
              <a:rPr lang="en-US"/>
              <a:t>This visual</a:t>
            </a:r>
          </a:p>
          <a:p>
            <a:r>
              <a:rPr lang="en-US"/>
              <a:t>Types of filters</a:t>
            </a:r>
          </a:p>
          <a:p>
            <a:pPr lvl="1"/>
            <a:r>
              <a:rPr lang="en-US"/>
              <a:t>Basic (select item(s) from list)</a:t>
            </a:r>
          </a:p>
        </p:txBody>
      </p:sp>
      <p:pic>
        <p:nvPicPr>
          <p:cNvPr id="5" name="Picture 4">
            <a:extLst>
              <a:ext uri="{FF2B5EF4-FFF2-40B4-BE49-F238E27FC236}">
                <a16:creationId xmlns:a16="http://schemas.microsoft.com/office/drawing/2014/main" id="{C928317D-284A-485F-B944-C90C6C35BF79}"/>
              </a:ext>
            </a:extLst>
          </p:cNvPr>
          <p:cNvPicPr>
            <a:picLocks noChangeAspect="1"/>
          </p:cNvPicPr>
          <p:nvPr/>
        </p:nvPicPr>
        <p:blipFill>
          <a:blip r:embed="rId2"/>
          <a:stretch>
            <a:fillRect/>
          </a:stretch>
        </p:blipFill>
        <p:spPr>
          <a:xfrm>
            <a:off x="5317321" y="2178035"/>
            <a:ext cx="1800246" cy="2638456"/>
          </a:xfrm>
          <a:prstGeom prst="rect">
            <a:avLst/>
          </a:prstGeom>
        </p:spPr>
      </p:pic>
    </p:spTree>
    <p:extLst>
      <p:ext uri="{BB962C8B-B14F-4D97-AF65-F5344CB8AC3E}">
        <p14:creationId xmlns:p14="http://schemas.microsoft.com/office/powerpoint/2010/main" val="24436593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ppt_x"/>
                                          </p:val>
                                        </p:tav>
                                        <p:tav tm="100000">
                                          <p:val>
                                            <p:strVal val="#ppt_x"/>
                                          </p:val>
                                        </p:tav>
                                      </p:tavLst>
                                    </p:anim>
                                    <p:anim calcmode="lin" valueType="num">
                                      <p:cBhvr additive="base">
                                        <p:cTn id="12"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3364915"/>
          </a:xfrm>
        </p:spPr>
        <p:txBody>
          <a:bodyPr/>
          <a:lstStyle/>
          <a:p>
            <a:r>
              <a:rPr lang="en-US"/>
              <a:t>Filter on</a:t>
            </a:r>
          </a:p>
          <a:p>
            <a:pPr lvl="1"/>
            <a:r>
              <a:rPr lang="en-US"/>
              <a:t>All pages</a:t>
            </a:r>
          </a:p>
          <a:p>
            <a:pPr lvl="1"/>
            <a:r>
              <a:rPr lang="en-US"/>
              <a:t>This page</a:t>
            </a:r>
          </a:p>
          <a:p>
            <a:pPr lvl="1"/>
            <a:r>
              <a:rPr lang="en-US"/>
              <a:t>This visual</a:t>
            </a:r>
          </a:p>
          <a:p>
            <a:r>
              <a:rPr lang="en-US"/>
              <a:t>Types of filters</a:t>
            </a:r>
          </a:p>
          <a:p>
            <a:pPr lvl="1"/>
            <a:r>
              <a:rPr lang="en-US"/>
              <a:t>Basic (select item(s) from list)</a:t>
            </a:r>
          </a:p>
          <a:p>
            <a:pPr lvl="1"/>
            <a:r>
              <a:rPr lang="en-US"/>
              <a:t>Advanced (text, numeric or data field operators, combine with AND/OR)</a:t>
            </a:r>
          </a:p>
        </p:txBody>
      </p:sp>
      <p:pic>
        <p:nvPicPr>
          <p:cNvPr id="6" name="Picture 5">
            <a:extLst>
              <a:ext uri="{FF2B5EF4-FFF2-40B4-BE49-F238E27FC236}">
                <a16:creationId xmlns:a16="http://schemas.microsoft.com/office/drawing/2014/main" id="{9506CE52-1743-4F9A-B0B2-72C04161AB1A}"/>
              </a:ext>
            </a:extLst>
          </p:cNvPr>
          <p:cNvPicPr>
            <a:picLocks noChangeAspect="1"/>
          </p:cNvPicPr>
          <p:nvPr/>
        </p:nvPicPr>
        <p:blipFill>
          <a:blip r:embed="rId2"/>
          <a:stretch>
            <a:fillRect/>
          </a:stretch>
        </p:blipFill>
        <p:spPr>
          <a:xfrm>
            <a:off x="5283983" y="545613"/>
            <a:ext cx="1866923" cy="3829095"/>
          </a:xfrm>
          <a:prstGeom prst="rect">
            <a:avLst/>
          </a:prstGeom>
        </p:spPr>
      </p:pic>
    </p:spTree>
    <p:extLst>
      <p:ext uri="{BB962C8B-B14F-4D97-AF65-F5344CB8AC3E}">
        <p14:creationId xmlns:p14="http://schemas.microsoft.com/office/powerpoint/2010/main" val="42508889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3"/>
            <a:ext cx="11238029" cy="3816905"/>
          </a:xfrm>
        </p:spPr>
        <p:txBody>
          <a:bodyPr/>
          <a:lstStyle/>
          <a:p>
            <a:r>
              <a:rPr lang="en-US"/>
              <a:t>Filter on</a:t>
            </a:r>
          </a:p>
          <a:p>
            <a:pPr lvl="1"/>
            <a:r>
              <a:rPr lang="en-US"/>
              <a:t>All pages</a:t>
            </a:r>
          </a:p>
          <a:p>
            <a:pPr lvl="1"/>
            <a:r>
              <a:rPr lang="en-US"/>
              <a:t>This page</a:t>
            </a:r>
          </a:p>
          <a:p>
            <a:pPr lvl="1"/>
            <a:r>
              <a:rPr lang="en-US"/>
              <a:t>This visual</a:t>
            </a:r>
          </a:p>
          <a:p>
            <a:r>
              <a:rPr lang="en-US"/>
              <a:t>Types of filters</a:t>
            </a:r>
          </a:p>
          <a:p>
            <a:pPr lvl="1"/>
            <a:r>
              <a:rPr lang="en-US"/>
              <a:t>Basic (select item(s) from list)</a:t>
            </a:r>
          </a:p>
          <a:p>
            <a:pPr lvl="1"/>
            <a:r>
              <a:rPr lang="en-US"/>
              <a:t>Advanced (text, numeric or data field operators, combine with AND/OR)</a:t>
            </a:r>
          </a:p>
          <a:p>
            <a:pPr lvl="1"/>
            <a:r>
              <a:rPr lang="en-US"/>
              <a:t>Top N (only visual-level filter)</a:t>
            </a:r>
          </a:p>
        </p:txBody>
      </p:sp>
      <p:pic>
        <p:nvPicPr>
          <p:cNvPr id="6" name="Picture 5">
            <a:extLst>
              <a:ext uri="{FF2B5EF4-FFF2-40B4-BE49-F238E27FC236}">
                <a16:creationId xmlns:a16="http://schemas.microsoft.com/office/drawing/2014/main" id="{4CC3AEE4-8FB6-46AA-87AB-A198FEAA201B}"/>
              </a:ext>
            </a:extLst>
          </p:cNvPr>
          <p:cNvPicPr>
            <a:picLocks noChangeAspect="1"/>
          </p:cNvPicPr>
          <p:nvPr/>
        </p:nvPicPr>
        <p:blipFill>
          <a:blip r:embed="rId2"/>
          <a:stretch>
            <a:fillRect/>
          </a:stretch>
        </p:blipFill>
        <p:spPr>
          <a:xfrm>
            <a:off x="5317321" y="2109259"/>
            <a:ext cx="1800246" cy="2257452"/>
          </a:xfrm>
          <a:prstGeom prst="rect">
            <a:avLst/>
          </a:prstGeom>
        </p:spPr>
      </p:pic>
    </p:spTree>
    <p:extLst>
      <p:ext uri="{BB962C8B-B14F-4D97-AF65-F5344CB8AC3E}">
        <p14:creationId xmlns:p14="http://schemas.microsoft.com/office/powerpoint/2010/main" val="28140639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4268894"/>
          </a:xfrm>
        </p:spPr>
        <p:txBody>
          <a:bodyPr/>
          <a:lstStyle/>
          <a:p>
            <a:r>
              <a:rPr lang="en-US"/>
              <a:t>Filter on</a:t>
            </a:r>
          </a:p>
          <a:p>
            <a:pPr lvl="1"/>
            <a:r>
              <a:rPr lang="en-US"/>
              <a:t>All pages</a:t>
            </a:r>
          </a:p>
          <a:p>
            <a:pPr lvl="1"/>
            <a:r>
              <a:rPr lang="en-US"/>
              <a:t>This page</a:t>
            </a:r>
          </a:p>
          <a:p>
            <a:pPr lvl="1"/>
            <a:r>
              <a:rPr lang="en-US"/>
              <a:t>This visual</a:t>
            </a:r>
          </a:p>
          <a:p>
            <a:r>
              <a:rPr lang="en-US"/>
              <a:t>Types of filters</a:t>
            </a:r>
          </a:p>
          <a:p>
            <a:pPr lvl="1"/>
            <a:r>
              <a:rPr lang="en-US"/>
              <a:t>Basic (select item(s) from list)</a:t>
            </a:r>
          </a:p>
          <a:p>
            <a:pPr lvl="1"/>
            <a:r>
              <a:rPr lang="en-US"/>
              <a:t>Advanced (text, numeric or data field operators, combine with AND/OR)</a:t>
            </a:r>
          </a:p>
          <a:p>
            <a:pPr lvl="1"/>
            <a:r>
              <a:rPr lang="en-US"/>
              <a:t>Top N (only visual-level filter)</a:t>
            </a:r>
          </a:p>
          <a:p>
            <a:pPr lvl="1"/>
            <a:r>
              <a:rPr lang="en-US"/>
              <a:t>Relative date and Relative time</a:t>
            </a:r>
          </a:p>
        </p:txBody>
      </p:sp>
      <p:pic>
        <p:nvPicPr>
          <p:cNvPr id="5" name="Picture 4">
            <a:extLst>
              <a:ext uri="{FF2B5EF4-FFF2-40B4-BE49-F238E27FC236}">
                <a16:creationId xmlns:a16="http://schemas.microsoft.com/office/drawing/2014/main" id="{AF327597-13F9-44BB-9469-1A20FE4461B8}"/>
              </a:ext>
            </a:extLst>
          </p:cNvPr>
          <p:cNvPicPr>
            <a:picLocks noChangeAspect="1"/>
          </p:cNvPicPr>
          <p:nvPr/>
        </p:nvPicPr>
        <p:blipFill>
          <a:blip r:embed="rId2"/>
          <a:stretch>
            <a:fillRect/>
          </a:stretch>
        </p:blipFill>
        <p:spPr>
          <a:xfrm>
            <a:off x="5317321" y="2139934"/>
            <a:ext cx="1800246" cy="2714657"/>
          </a:xfrm>
          <a:prstGeom prst="rect">
            <a:avLst/>
          </a:prstGeom>
        </p:spPr>
      </p:pic>
    </p:spTree>
    <p:extLst>
      <p:ext uri="{BB962C8B-B14F-4D97-AF65-F5344CB8AC3E}">
        <p14:creationId xmlns:p14="http://schemas.microsoft.com/office/powerpoint/2010/main" val="37466902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4871609"/>
          </a:xfrm>
        </p:spPr>
        <p:txBody>
          <a:bodyPr/>
          <a:lstStyle/>
          <a:p>
            <a:r>
              <a:rPr lang="en-US"/>
              <a:t>Filter on</a:t>
            </a:r>
          </a:p>
          <a:p>
            <a:pPr lvl="1"/>
            <a:r>
              <a:rPr lang="en-US"/>
              <a:t>All pages</a:t>
            </a:r>
          </a:p>
          <a:p>
            <a:pPr lvl="1"/>
            <a:r>
              <a:rPr lang="en-US"/>
              <a:t>This page</a:t>
            </a:r>
          </a:p>
          <a:p>
            <a:pPr lvl="1"/>
            <a:r>
              <a:rPr lang="en-US"/>
              <a:t>This visual</a:t>
            </a:r>
          </a:p>
          <a:p>
            <a:r>
              <a:rPr lang="en-US"/>
              <a:t>Types of filters</a:t>
            </a:r>
          </a:p>
          <a:p>
            <a:pPr lvl="1"/>
            <a:r>
              <a:rPr lang="en-US"/>
              <a:t>Basic (select item(s) from list)</a:t>
            </a:r>
          </a:p>
          <a:p>
            <a:pPr lvl="1"/>
            <a:r>
              <a:rPr lang="en-US"/>
              <a:t>Advanced (text, numeric or data field operators, combine with AND/OR)</a:t>
            </a:r>
          </a:p>
          <a:p>
            <a:pPr lvl="1"/>
            <a:r>
              <a:rPr lang="en-US"/>
              <a:t>Top N (only visual-level filter)</a:t>
            </a:r>
          </a:p>
          <a:p>
            <a:pPr lvl="1"/>
            <a:r>
              <a:rPr lang="en-US"/>
              <a:t>Relative date and Relative time</a:t>
            </a:r>
          </a:p>
          <a:p>
            <a:r>
              <a:rPr lang="en-US"/>
              <a:t>Filters can be hidden/visible, locked/unlocked</a:t>
            </a:r>
          </a:p>
        </p:txBody>
      </p:sp>
      <p:pic>
        <p:nvPicPr>
          <p:cNvPr id="16" name="Picture 15">
            <a:extLst>
              <a:ext uri="{FF2B5EF4-FFF2-40B4-BE49-F238E27FC236}">
                <a16:creationId xmlns:a16="http://schemas.microsoft.com/office/drawing/2014/main" id="{4F11C980-75AB-4163-9BC7-E79D6A40204E}"/>
              </a:ext>
            </a:extLst>
          </p:cNvPr>
          <p:cNvPicPr>
            <a:picLocks noChangeAspect="1"/>
          </p:cNvPicPr>
          <p:nvPr/>
        </p:nvPicPr>
        <p:blipFill>
          <a:blip r:embed="rId2"/>
          <a:stretch>
            <a:fillRect/>
          </a:stretch>
        </p:blipFill>
        <p:spPr>
          <a:xfrm>
            <a:off x="5264933" y="1487464"/>
            <a:ext cx="1905023" cy="4019598"/>
          </a:xfrm>
          <a:prstGeom prst="rect">
            <a:avLst/>
          </a:prstGeom>
        </p:spPr>
      </p:pic>
      <p:sp>
        <p:nvSpPr>
          <p:cNvPr id="10" name="Rectangle 9">
            <a:extLst>
              <a:ext uri="{FF2B5EF4-FFF2-40B4-BE49-F238E27FC236}">
                <a16:creationId xmlns:a16="http://schemas.microsoft.com/office/drawing/2014/main" id="{F63EA889-EF47-422B-AD4B-2E0D7F0D60F0}"/>
              </a:ext>
            </a:extLst>
          </p:cNvPr>
          <p:cNvSpPr/>
          <p:nvPr/>
        </p:nvSpPr>
        <p:spPr bwMode="auto">
          <a:xfrm>
            <a:off x="6555836" y="1446931"/>
            <a:ext cx="322686" cy="300587"/>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DF20387D-F915-4BB6-B97C-A80CA3C878AD}"/>
              </a:ext>
            </a:extLst>
          </p:cNvPr>
          <p:cNvSpPr/>
          <p:nvPr/>
        </p:nvSpPr>
        <p:spPr bwMode="auto">
          <a:xfrm>
            <a:off x="6789732" y="2613936"/>
            <a:ext cx="225440" cy="427918"/>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3001797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animBg="1"/>
    </p:bld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Slicer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2310402"/>
          </a:xfrm>
        </p:spPr>
        <p:txBody>
          <a:bodyPr/>
          <a:lstStyle/>
          <a:p>
            <a:r>
              <a:rPr lang="en-US"/>
              <a:t>Core visual, used to filter other visuals</a:t>
            </a:r>
          </a:p>
          <a:p>
            <a:r>
              <a:rPr lang="en-US"/>
              <a:t>By default, filter all other visuals, optionally edit interactions</a:t>
            </a:r>
          </a:p>
          <a:p>
            <a:r>
              <a:rPr lang="en-US"/>
              <a:t>Can be applied to multiple pages if synced</a:t>
            </a:r>
          </a:p>
          <a:p>
            <a:r>
              <a:rPr lang="en-US"/>
              <a:t>Layout is responsive to the data type of the field</a:t>
            </a:r>
          </a:p>
        </p:txBody>
      </p:sp>
      <p:pic>
        <p:nvPicPr>
          <p:cNvPr id="6" name="Picture 5">
            <a:extLst>
              <a:ext uri="{FF2B5EF4-FFF2-40B4-BE49-F238E27FC236}">
                <a16:creationId xmlns:a16="http://schemas.microsoft.com/office/drawing/2014/main" id="{CD153005-E541-4CF8-921F-F6A3C040B00E}"/>
              </a:ext>
            </a:extLst>
          </p:cNvPr>
          <p:cNvPicPr>
            <a:picLocks noChangeAspect="1"/>
          </p:cNvPicPr>
          <p:nvPr/>
        </p:nvPicPr>
        <p:blipFill>
          <a:blip r:embed="rId2"/>
          <a:stretch>
            <a:fillRect/>
          </a:stretch>
        </p:blipFill>
        <p:spPr>
          <a:xfrm>
            <a:off x="4507687" y="3853590"/>
            <a:ext cx="3419515" cy="1552594"/>
          </a:xfrm>
          <a:prstGeom prst="rect">
            <a:avLst/>
          </a:prstGeom>
        </p:spPr>
      </p:pic>
    </p:spTree>
    <p:extLst>
      <p:ext uri="{BB962C8B-B14F-4D97-AF65-F5344CB8AC3E}">
        <p14:creationId xmlns:p14="http://schemas.microsoft.com/office/powerpoint/2010/main" val="35853860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500" fill="hold"/>
                                        <p:tgtEl>
                                          <p:spTgt spid="6"/>
                                        </p:tgtEl>
                                        <p:attrNameLst>
                                          <p:attrName>ppt_x</p:attrName>
                                        </p:attrNameLst>
                                      </p:cBhvr>
                                      <p:tavLst>
                                        <p:tav tm="0">
                                          <p:val>
                                            <p:strVal val="#ppt_x"/>
                                          </p:val>
                                        </p:tav>
                                        <p:tav tm="100000">
                                          <p:val>
                                            <p:strVal val="#ppt_x"/>
                                          </p:val>
                                        </p:tav>
                                      </p:tavLst>
                                    </p:anim>
                                    <p:anim calcmode="lin" valueType="num">
                                      <p:cBhvr additive="base">
                                        <p:cTn id="20"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Slicer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3515835"/>
          </a:xfrm>
        </p:spPr>
        <p:txBody>
          <a:bodyPr/>
          <a:lstStyle/>
          <a:p>
            <a:r>
              <a:rPr lang="en-US"/>
              <a:t>Core visual, used to filter other visuals</a:t>
            </a:r>
          </a:p>
          <a:p>
            <a:r>
              <a:rPr lang="en-US"/>
              <a:t>By default, filter all other visuals, optionally edit interactions</a:t>
            </a:r>
          </a:p>
          <a:p>
            <a:r>
              <a:rPr lang="en-US"/>
              <a:t>Can be applied to multiple pages if synced</a:t>
            </a:r>
          </a:p>
          <a:p>
            <a:r>
              <a:rPr lang="en-US"/>
              <a:t>Layout is responsive to the data type of the field</a:t>
            </a:r>
          </a:p>
          <a:p>
            <a:r>
              <a:rPr lang="en-US"/>
              <a:t>Using a date field offers relative date or time</a:t>
            </a:r>
          </a:p>
          <a:p>
            <a:pPr marL="0" indent="0">
              <a:buNone/>
            </a:pPr>
            <a:endParaRPr lang="en-US"/>
          </a:p>
        </p:txBody>
      </p:sp>
      <p:pic>
        <p:nvPicPr>
          <p:cNvPr id="5" name="Picture 4">
            <a:extLst>
              <a:ext uri="{FF2B5EF4-FFF2-40B4-BE49-F238E27FC236}">
                <a16:creationId xmlns:a16="http://schemas.microsoft.com/office/drawing/2014/main" id="{80F08044-C90A-47CD-97BD-AA27192ABD37}"/>
              </a:ext>
            </a:extLst>
          </p:cNvPr>
          <p:cNvPicPr>
            <a:picLocks noChangeAspect="1"/>
          </p:cNvPicPr>
          <p:nvPr/>
        </p:nvPicPr>
        <p:blipFill>
          <a:blip r:embed="rId2"/>
          <a:stretch>
            <a:fillRect/>
          </a:stretch>
        </p:blipFill>
        <p:spPr>
          <a:xfrm>
            <a:off x="5107769" y="4362419"/>
            <a:ext cx="2219352" cy="2390804"/>
          </a:xfrm>
          <a:prstGeom prst="rect">
            <a:avLst/>
          </a:prstGeom>
        </p:spPr>
      </p:pic>
    </p:spTree>
    <p:extLst>
      <p:ext uri="{BB962C8B-B14F-4D97-AF65-F5344CB8AC3E}">
        <p14:creationId xmlns:p14="http://schemas.microsoft.com/office/powerpoint/2010/main" val="19570594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Advanced Filtering Technique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39" y="1464333"/>
            <a:ext cx="11839049" cy="4520918"/>
          </a:xfrm>
        </p:spPr>
        <p:txBody>
          <a:bodyPr/>
          <a:lstStyle/>
          <a:p>
            <a:r>
              <a:rPr lang="en-US"/>
              <a:t>Visual interactions (use CTRL-click to filter multiple elements)</a:t>
            </a:r>
          </a:p>
          <a:p>
            <a:r>
              <a:rPr lang="en-US" err="1"/>
              <a:t>Drillthrough</a:t>
            </a:r>
            <a:r>
              <a:rPr lang="en-US"/>
              <a:t> (to another page)</a:t>
            </a:r>
          </a:p>
          <a:p>
            <a:r>
              <a:rPr lang="en-US"/>
              <a:t>Report tooltip (receive filter from visual)</a:t>
            </a:r>
          </a:p>
          <a:p>
            <a:r>
              <a:rPr lang="en-US"/>
              <a:t>Bookmarks (create by author or consumer (personal bookmarks)</a:t>
            </a:r>
          </a:p>
          <a:p>
            <a:r>
              <a:rPr lang="en-US"/>
              <a:t>Report options (e.g., persistent filters, visual header, filter pane)</a:t>
            </a:r>
          </a:p>
          <a:p>
            <a:r>
              <a:rPr lang="en-US"/>
              <a:t>Query reduction options (disable cross filtering, add apply buttons)</a:t>
            </a:r>
          </a:p>
        </p:txBody>
      </p:sp>
    </p:spTree>
    <p:extLst>
      <p:ext uri="{BB962C8B-B14F-4D97-AF65-F5344CB8AC3E}">
        <p14:creationId xmlns:p14="http://schemas.microsoft.com/office/powerpoint/2010/main" val="12361928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B109C48-152A-4DD3-8A78-FA711538DE1B}"/>
              </a:ext>
            </a:extLst>
          </p:cNvPr>
          <p:cNvGrpSpPr/>
          <p:nvPr/>
        </p:nvGrpSpPr>
        <p:grpSpPr>
          <a:xfrm>
            <a:off x="3071764" y="1171289"/>
            <a:ext cx="9362948" cy="5777516"/>
            <a:chOff x="3071764" y="993489"/>
            <a:chExt cx="9362948" cy="5777516"/>
          </a:xfrm>
        </p:grpSpPr>
        <p:pic>
          <p:nvPicPr>
            <p:cNvPr id="6" name="Picture 4" descr="flow of data">
              <a:extLst>
                <a:ext uri="{FF2B5EF4-FFF2-40B4-BE49-F238E27FC236}">
                  <a16:creationId xmlns:a16="http://schemas.microsoft.com/office/drawing/2014/main" id="{34434C73-DDEB-4036-B9A7-7A9B00F88D7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71764" y="993489"/>
              <a:ext cx="9362948" cy="5777516"/>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9EDAAD71-59F0-47EB-A15F-ED5FDCDB2D68}"/>
                </a:ext>
              </a:extLst>
            </p:cNvPr>
            <p:cNvSpPr txBox="1"/>
            <p:nvPr/>
          </p:nvSpPr>
          <p:spPr>
            <a:xfrm>
              <a:off x="5725160" y="5750560"/>
              <a:ext cx="4549451" cy="369332"/>
            </a:xfrm>
            <a:prstGeom prst="rect">
              <a:avLst/>
            </a:prstGeom>
            <a:solidFill>
              <a:schemeClr val="bg1"/>
            </a:solidFill>
          </p:spPr>
          <p:txBody>
            <a:bodyPr wrap="square" lIns="0" tIns="0" rIns="0" bIns="0" rtlCol="0">
              <a:spAutoFit/>
            </a:bodyPr>
            <a:lstStyle/>
            <a:p>
              <a:pPr algn="l"/>
              <a:r>
                <a:rPr lang="en-US" sz="1200">
                  <a:solidFill>
                    <a:schemeClr val="bg1">
                      <a:lumMod val="50000"/>
                    </a:schemeClr>
                  </a:solidFill>
                </a:rPr>
                <a:t>Data is stored as tables in Microsoft</a:t>
              </a:r>
            </a:p>
            <a:p>
              <a:pPr algn="l"/>
              <a:r>
                <a:rPr lang="en-US" sz="1200">
                  <a:solidFill>
                    <a:schemeClr val="bg1">
                      <a:lumMod val="50000"/>
                    </a:schemeClr>
                  </a:solidFill>
                </a:rPr>
                <a:t>Common Data Model compliant folders.</a:t>
              </a:r>
            </a:p>
          </p:txBody>
        </p:sp>
      </p:grpSp>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Dataflows</a:t>
            </a:r>
          </a:p>
        </p:txBody>
      </p:sp>
      <p:sp>
        <p:nvSpPr>
          <p:cNvPr id="4" name="TextBox 3">
            <a:extLst>
              <a:ext uri="{FF2B5EF4-FFF2-40B4-BE49-F238E27FC236}">
                <a16:creationId xmlns:a16="http://schemas.microsoft.com/office/drawing/2014/main" id="{D4917F3F-DCCF-4C8F-B2BF-8DFC2DD1037A}"/>
              </a:ext>
            </a:extLst>
          </p:cNvPr>
          <p:cNvSpPr txBox="1"/>
          <p:nvPr/>
        </p:nvSpPr>
        <p:spPr>
          <a:xfrm>
            <a:off x="492759" y="2111804"/>
            <a:ext cx="2774547" cy="2523768"/>
          </a:xfrm>
          <a:prstGeom prst="rect">
            <a:avLst/>
          </a:prstGeom>
          <a:noFill/>
        </p:spPr>
        <p:txBody>
          <a:bodyPr wrap="square" lIns="0" tIns="0" rIns="0" bIns="0" rtlCol="0" anchor="t">
            <a:spAutoFit/>
          </a:bodyPr>
          <a:lstStyle/>
          <a:p>
            <a:r>
              <a:rPr lang="en-US" sz="2000">
                <a:solidFill>
                  <a:srgbClr val="171717"/>
                </a:solidFill>
                <a:latin typeface="Segoe UI"/>
                <a:cs typeface="Segoe UI"/>
              </a:rPr>
              <a:t>Dataflows are a self-service, cloud-based, data preparation technology. </a:t>
            </a:r>
            <a:endParaRPr lang="en-US" sz="2000">
              <a:solidFill>
                <a:srgbClr val="171717"/>
              </a:solidFill>
              <a:latin typeface="Segoe UI" panose="020B0502040204020203" pitchFamily="34" charset="0"/>
            </a:endParaRPr>
          </a:p>
          <a:p>
            <a:pPr algn="l"/>
            <a:endParaRPr lang="en-US" sz="2000">
              <a:solidFill>
                <a:srgbClr val="171717"/>
              </a:solidFill>
              <a:latin typeface="Segoe UI" panose="020B0502040204020203" pitchFamily="34" charset="0"/>
            </a:endParaRPr>
          </a:p>
          <a:p>
            <a:r>
              <a:rPr lang="en-US" sz="1600">
                <a:solidFill>
                  <a:schemeClr val="bg1">
                    <a:lumMod val="65000"/>
                  </a:schemeClr>
                </a:solidFill>
                <a:latin typeface="Segoe UI"/>
                <a:cs typeface="Segoe UI"/>
              </a:rPr>
              <a:t>Dataflows are available in Power BI, Power Apps and Dynamics 365 Customer Insights.</a:t>
            </a:r>
          </a:p>
        </p:txBody>
      </p:sp>
    </p:spTree>
    <p:extLst>
      <p:ext uri="{BB962C8B-B14F-4D97-AF65-F5344CB8AC3E}">
        <p14:creationId xmlns:p14="http://schemas.microsoft.com/office/powerpoint/2010/main" val="2306054761"/>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Selection of Report Filter</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697685" cy="3892797"/>
          </a:xfrm>
        </p:spPr>
        <p:txBody>
          <a:bodyPr/>
          <a:lstStyle/>
          <a:p>
            <a:r>
              <a:rPr lang="en-US"/>
              <a:t>Filter pane or Slicer</a:t>
            </a:r>
          </a:p>
          <a:p>
            <a:r>
              <a:rPr lang="en-US"/>
              <a:t>Filter pane</a:t>
            </a:r>
          </a:p>
          <a:p>
            <a:pPr lvl="1"/>
            <a:r>
              <a:rPr lang="en-US"/>
              <a:t>Advantages; same location, advanced filtering, better performance</a:t>
            </a:r>
          </a:p>
          <a:p>
            <a:pPr lvl="1"/>
            <a:r>
              <a:rPr lang="en-US"/>
              <a:t>Disadvantages; less design flexibility, more difficult to see which filters are applied</a:t>
            </a:r>
          </a:p>
          <a:p>
            <a:r>
              <a:rPr lang="en-US"/>
              <a:t>Slicers</a:t>
            </a:r>
          </a:p>
          <a:p>
            <a:pPr lvl="1"/>
            <a:r>
              <a:rPr lang="en-US"/>
              <a:t>Advantages; intuitive layout on report canvas, hierarchical slicer, filter context visible, support edit visual interaction, synced slicers</a:t>
            </a:r>
          </a:p>
          <a:p>
            <a:pPr lvl="1"/>
            <a:r>
              <a:rPr lang="en-US"/>
              <a:t>Disadvantages; can impact performance, take up space in report canvas</a:t>
            </a:r>
          </a:p>
        </p:txBody>
      </p:sp>
    </p:spTree>
    <p:extLst>
      <p:ext uri="{BB962C8B-B14F-4D97-AF65-F5344CB8AC3E}">
        <p14:creationId xmlns:p14="http://schemas.microsoft.com/office/powerpoint/2010/main" val="35234187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Filtering Tip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3717171"/>
          </a:xfrm>
        </p:spPr>
        <p:txBody>
          <a:bodyPr/>
          <a:lstStyle/>
          <a:p>
            <a:r>
              <a:rPr lang="en-US"/>
              <a:t>Use either filters or slicers. </a:t>
            </a:r>
            <a:br>
              <a:rPr lang="en-US"/>
            </a:br>
            <a:r>
              <a:rPr lang="en-US"/>
              <a:t>Avoid using both filter techniques because it can create confusion.</a:t>
            </a:r>
          </a:p>
          <a:p>
            <a:r>
              <a:rPr lang="en-US"/>
              <a:t>Create a bookmark to reset all slicers to default values</a:t>
            </a:r>
          </a:p>
          <a:p>
            <a:r>
              <a:rPr lang="en-US"/>
              <a:t>When a requirement is in place to lay out many slicers, consider creating a page that is dedicated to showing all slicers.</a:t>
            </a:r>
          </a:p>
        </p:txBody>
      </p:sp>
    </p:spTree>
    <p:extLst>
      <p:ext uri="{BB962C8B-B14F-4D97-AF65-F5344CB8AC3E}">
        <p14:creationId xmlns:p14="http://schemas.microsoft.com/office/powerpoint/2010/main" val="5553954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Guided Analytical Experienc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954242"/>
          </a:xfrm>
        </p:spPr>
        <p:txBody>
          <a:bodyPr/>
          <a:lstStyle/>
          <a:p>
            <a:r>
              <a:rPr lang="en-US"/>
              <a:t>Navigation between three levels:</a:t>
            </a:r>
          </a:p>
          <a:p>
            <a:pPr lvl="1"/>
            <a:r>
              <a:rPr lang="en-US"/>
              <a:t>High-level metrics (simple)</a:t>
            </a:r>
          </a:p>
        </p:txBody>
      </p:sp>
      <p:grpSp>
        <p:nvGrpSpPr>
          <p:cNvPr id="10" name="Group 9">
            <a:extLst>
              <a:ext uri="{FF2B5EF4-FFF2-40B4-BE49-F238E27FC236}">
                <a16:creationId xmlns:a16="http://schemas.microsoft.com/office/drawing/2014/main" id="{79B7EDE5-F314-4FF0-8BFC-91958366F399}"/>
              </a:ext>
            </a:extLst>
          </p:cNvPr>
          <p:cNvGrpSpPr/>
          <p:nvPr/>
        </p:nvGrpSpPr>
        <p:grpSpPr>
          <a:xfrm>
            <a:off x="4458697" y="2516734"/>
            <a:ext cx="7969121" cy="4442907"/>
            <a:chOff x="4459266" y="2516609"/>
            <a:chExt cx="7970138" cy="4443474"/>
          </a:xfrm>
        </p:grpSpPr>
        <p:pic>
          <p:nvPicPr>
            <p:cNvPr id="7" name="Picture 6">
              <a:extLst>
                <a:ext uri="{FF2B5EF4-FFF2-40B4-BE49-F238E27FC236}">
                  <a16:creationId xmlns:a16="http://schemas.microsoft.com/office/drawing/2014/main" id="{73D465AA-2A46-44AF-AC5F-C84B1A8ED5A1}"/>
                </a:ext>
              </a:extLst>
            </p:cNvPr>
            <p:cNvPicPr>
              <a:picLocks noChangeAspect="1"/>
            </p:cNvPicPr>
            <p:nvPr/>
          </p:nvPicPr>
          <p:blipFill>
            <a:blip r:embed="rId2"/>
            <a:stretch>
              <a:fillRect/>
            </a:stretch>
          </p:blipFill>
          <p:spPr>
            <a:xfrm>
              <a:off x="4459266" y="2516609"/>
              <a:ext cx="7970138" cy="4443474"/>
            </a:xfrm>
            <a:prstGeom prst="rect">
              <a:avLst/>
            </a:prstGeom>
          </p:spPr>
        </p:pic>
        <p:sp>
          <p:nvSpPr>
            <p:cNvPr id="9" name="Rectangle 8">
              <a:extLst>
                <a:ext uri="{FF2B5EF4-FFF2-40B4-BE49-F238E27FC236}">
                  <a16:creationId xmlns:a16="http://schemas.microsoft.com/office/drawing/2014/main" id="{34B40E74-3359-461E-816E-9CD2A61C948B}"/>
                </a:ext>
              </a:extLst>
            </p:cNvPr>
            <p:cNvSpPr/>
            <p:nvPr/>
          </p:nvSpPr>
          <p:spPr bwMode="auto">
            <a:xfrm>
              <a:off x="4597052" y="2788345"/>
              <a:ext cx="4033381" cy="556103"/>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9799411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42"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1000"/>
                                        <p:tgtEl>
                                          <p:spTgt spid="10"/>
                                        </p:tgtEl>
                                      </p:cBhvr>
                                    </p:animEffect>
                                    <p:anim calcmode="lin" valueType="num">
                                      <p:cBhvr>
                                        <p:cTn id="12" dur="1000" fill="hold"/>
                                        <p:tgtEl>
                                          <p:spTgt spid="10"/>
                                        </p:tgtEl>
                                        <p:attrNameLst>
                                          <p:attrName>ppt_x</p:attrName>
                                        </p:attrNameLst>
                                      </p:cBhvr>
                                      <p:tavLst>
                                        <p:tav tm="0">
                                          <p:val>
                                            <p:strVal val="#ppt_x"/>
                                          </p:val>
                                        </p:tav>
                                        <p:tav tm="100000">
                                          <p:val>
                                            <p:strVal val="#ppt_x"/>
                                          </p:val>
                                        </p:tav>
                                      </p:tavLst>
                                    </p:anim>
                                    <p:anim calcmode="lin" valueType="num">
                                      <p:cBhvr>
                                        <p:cTn id="13"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78238D45-9E42-496C-82D0-6FE0E7972971}"/>
              </a:ext>
            </a:extLst>
          </p:cNvPr>
          <p:cNvGrpSpPr/>
          <p:nvPr/>
        </p:nvGrpSpPr>
        <p:grpSpPr>
          <a:xfrm>
            <a:off x="4458697" y="2516734"/>
            <a:ext cx="7969121" cy="4442907"/>
            <a:chOff x="4459266" y="2516609"/>
            <a:chExt cx="7970138" cy="4443474"/>
          </a:xfrm>
        </p:grpSpPr>
        <p:pic>
          <p:nvPicPr>
            <p:cNvPr id="5" name="Picture 4">
              <a:extLst>
                <a:ext uri="{FF2B5EF4-FFF2-40B4-BE49-F238E27FC236}">
                  <a16:creationId xmlns:a16="http://schemas.microsoft.com/office/drawing/2014/main" id="{CD9FB8AD-4770-466C-BB18-2B8E4246E4F5}"/>
                </a:ext>
              </a:extLst>
            </p:cNvPr>
            <p:cNvPicPr>
              <a:picLocks noChangeAspect="1"/>
            </p:cNvPicPr>
            <p:nvPr/>
          </p:nvPicPr>
          <p:blipFill>
            <a:blip r:embed="rId2"/>
            <a:stretch>
              <a:fillRect/>
            </a:stretch>
          </p:blipFill>
          <p:spPr>
            <a:xfrm>
              <a:off x="4459266" y="2516609"/>
              <a:ext cx="7970138" cy="4443474"/>
            </a:xfrm>
            <a:prstGeom prst="rect">
              <a:avLst/>
            </a:prstGeom>
          </p:spPr>
        </p:pic>
        <p:sp>
          <p:nvSpPr>
            <p:cNvPr id="7" name="Rectangle 6">
              <a:extLst>
                <a:ext uri="{FF2B5EF4-FFF2-40B4-BE49-F238E27FC236}">
                  <a16:creationId xmlns:a16="http://schemas.microsoft.com/office/drawing/2014/main" id="{6AFBCE7C-D6CB-40E4-8672-E14F985C909B}"/>
                </a:ext>
              </a:extLst>
            </p:cNvPr>
            <p:cNvSpPr/>
            <p:nvPr/>
          </p:nvSpPr>
          <p:spPr bwMode="auto">
            <a:xfrm>
              <a:off x="4597052" y="3497262"/>
              <a:ext cx="4033381" cy="1162420"/>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Guided Analytical Experienc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1406231"/>
          </a:xfrm>
          <a:solidFill>
            <a:schemeClr val="bg1"/>
          </a:solidFill>
        </p:spPr>
        <p:txBody>
          <a:bodyPr/>
          <a:lstStyle/>
          <a:p>
            <a:r>
              <a:rPr lang="en-US"/>
              <a:t>Navigation between three levels:</a:t>
            </a:r>
          </a:p>
          <a:p>
            <a:pPr lvl="1"/>
            <a:r>
              <a:rPr lang="en-US"/>
              <a:t>High-level metrics (simple)</a:t>
            </a:r>
          </a:p>
          <a:p>
            <a:pPr lvl="1"/>
            <a:r>
              <a:rPr lang="en-US"/>
              <a:t>Supporting visuals (more context)</a:t>
            </a:r>
          </a:p>
        </p:txBody>
      </p:sp>
    </p:spTree>
    <p:extLst>
      <p:ext uri="{BB962C8B-B14F-4D97-AF65-F5344CB8AC3E}">
        <p14:creationId xmlns:p14="http://schemas.microsoft.com/office/powerpoint/2010/main" val="38947535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AEC4503-BFB5-4D34-8112-4CE619E75DF8}"/>
              </a:ext>
            </a:extLst>
          </p:cNvPr>
          <p:cNvGrpSpPr/>
          <p:nvPr/>
        </p:nvGrpSpPr>
        <p:grpSpPr>
          <a:xfrm>
            <a:off x="4458697" y="2516734"/>
            <a:ext cx="7969121" cy="4442907"/>
            <a:chOff x="4459266" y="2516609"/>
            <a:chExt cx="7970138" cy="4443474"/>
          </a:xfrm>
        </p:grpSpPr>
        <p:pic>
          <p:nvPicPr>
            <p:cNvPr id="5" name="Picture 4">
              <a:extLst>
                <a:ext uri="{FF2B5EF4-FFF2-40B4-BE49-F238E27FC236}">
                  <a16:creationId xmlns:a16="http://schemas.microsoft.com/office/drawing/2014/main" id="{2CAF34C8-1FB9-408E-99E8-E6E0F91A9581}"/>
                </a:ext>
              </a:extLst>
            </p:cNvPr>
            <p:cNvPicPr>
              <a:picLocks noChangeAspect="1"/>
            </p:cNvPicPr>
            <p:nvPr/>
          </p:nvPicPr>
          <p:blipFill>
            <a:blip r:embed="rId2"/>
            <a:stretch>
              <a:fillRect/>
            </a:stretch>
          </p:blipFill>
          <p:spPr>
            <a:xfrm>
              <a:off x="4459266" y="2516609"/>
              <a:ext cx="7970138" cy="4443474"/>
            </a:xfrm>
            <a:prstGeom prst="rect">
              <a:avLst/>
            </a:prstGeom>
          </p:spPr>
        </p:pic>
        <p:sp>
          <p:nvSpPr>
            <p:cNvPr id="7" name="Rectangle 6">
              <a:extLst>
                <a:ext uri="{FF2B5EF4-FFF2-40B4-BE49-F238E27FC236}">
                  <a16:creationId xmlns:a16="http://schemas.microsoft.com/office/drawing/2014/main" id="{20372236-4C1C-4D03-AEC7-C9139317895F}"/>
                </a:ext>
              </a:extLst>
            </p:cNvPr>
            <p:cNvSpPr/>
            <p:nvPr/>
          </p:nvSpPr>
          <p:spPr bwMode="auto">
            <a:xfrm>
              <a:off x="8630433" y="5047989"/>
              <a:ext cx="3594970" cy="1505286"/>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Guided Analytical Experienc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3"/>
            <a:ext cx="11238029" cy="2234879"/>
          </a:xfrm>
          <a:solidFill>
            <a:schemeClr val="bg1"/>
          </a:solidFill>
        </p:spPr>
        <p:txBody>
          <a:bodyPr/>
          <a:lstStyle/>
          <a:p>
            <a:r>
              <a:rPr lang="en-US"/>
              <a:t>Navigation between three levels:</a:t>
            </a:r>
          </a:p>
          <a:p>
            <a:pPr lvl="1"/>
            <a:r>
              <a:rPr lang="en-US"/>
              <a:t>High-level metrics (simple)</a:t>
            </a:r>
          </a:p>
          <a:p>
            <a:pPr lvl="1"/>
            <a:r>
              <a:rPr lang="en-US"/>
              <a:t>Supporting visuals (more context)</a:t>
            </a:r>
          </a:p>
          <a:p>
            <a:pPr lvl="1"/>
            <a:r>
              <a:rPr lang="en-US"/>
              <a:t>Details, when required (drill, tooltips (visual/page), </a:t>
            </a:r>
            <a:r>
              <a:rPr lang="en-US" err="1"/>
              <a:t>drillthrough</a:t>
            </a:r>
            <a:r>
              <a:rPr lang="en-US"/>
              <a:t>, paginated report visual)</a:t>
            </a:r>
          </a:p>
        </p:txBody>
      </p:sp>
    </p:spTree>
    <p:extLst>
      <p:ext uri="{BB962C8B-B14F-4D97-AF65-F5344CB8AC3E}">
        <p14:creationId xmlns:p14="http://schemas.microsoft.com/office/powerpoint/2010/main" val="37941709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echniques To Highlight Value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502317"/>
          </a:xfrm>
        </p:spPr>
        <p:txBody>
          <a:bodyPr/>
          <a:lstStyle/>
          <a:p>
            <a:r>
              <a:rPr lang="en-US"/>
              <a:t>Conditional formatting (colors, data bars, icons)</a:t>
            </a:r>
          </a:p>
        </p:txBody>
      </p:sp>
      <p:pic>
        <p:nvPicPr>
          <p:cNvPr id="1028" name="Picture 4" descr="Image shows a matrix visual titled &quot;Inventory on hand breakdown&quot;. The On hand column includes various city values. A circular icon indicates highest and lowest values. An empty circle represents the lowest value; a filled circle represents the highest value.">
            <a:extLst>
              <a:ext uri="{FF2B5EF4-FFF2-40B4-BE49-F238E27FC236}">
                <a16:creationId xmlns:a16="http://schemas.microsoft.com/office/drawing/2014/main" id="{5C18E91F-5166-40AA-8CE9-25EA881BCF1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455514"/>
            <a:ext cx="6480000" cy="35305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3572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028"/>
                                        </p:tgtEl>
                                        <p:attrNameLst>
                                          <p:attrName>style.visibility</p:attrName>
                                        </p:attrNameLst>
                                      </p:cBhvr>
                                      <p:to>
                                        <p:strVal val="visible"/>
                                      </p:to>
                                    </p:set>
                                    <p:anim calcmode="lin" valueType="num">
                                      <p:cBhvr additive="base">
                                        <p:cTn id="7" dur="500" fill="hold"/>
                                        <p:tgtEl>
                                          <p:spTgt spid="1028"/>
                                        </p:tgtEl>
                                        <p:attrNameLst>
                                          <p:attrName>ppt_x</p:attrName>
                                        </p:attrNameLst>
                                      </p:cBhvr>
                                      <p:tavLst>
                                        <p:tav tm="0">
                                          <p:val>
                                            <p:strVal val="#ppt_x"/>
                                          </p:val>
                                        </p:tav>
                                        <p:tav tm="100000">
                                          <p:val>
                                            <p:strVal val="#ppt_x"/>
                                          </p:val>
                                        </p:tav>
                                      </p:tavLst>
                                    </p:anim>
                                    <p:anim calcmode="lin" valueType="num">
                                      <p:cBhvr additive="base">
                                        <p:cTn id="8" dur="500" fill="hold"/>
                                        <p:tgtEl>
                                          <p:spTgt spid="102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echniques To Highlight Value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39" y="1464333"/>
            <a:ext cx="11839049" cy="1105111"/>
          </a:xfrm>
        </p:spPr>
        <p:txBody>
          <a:bodyPr/>
          <a:lstStyle/>
          <a:p>
            <a:r>
              <a:rPr lang="en-US"/>
              <a:t>Conditional formatting (colors, data bars, icons)</a:t>
            </a:r>
          </a:p>
          <a:p>
            <a:r>
              <a:rPr lang="en-US"/>
              <a:t>Overlaid analytics (e.g., trend line, constant line, min/max line)</a:t>
            </a:r>
          </a:p>
        </p:txBody>
      </p:sp>
      <p:pic>
        <p:nvPicPr>
          <p:cNvPr id="2050" name="Picture 2" descr="Image shows a line chart titled Returns over time. The time series is for returns made during the month of June . An overlaid trend line that is a dashed line indicates that returns are increasing over time.">
            <a:extLst>
              <a:ext uri="{FF2B5EF4-FFF2-40B4-BE49-F238E27FC236}">
                <a16:creationId xmlns:a16="http://schemas.microsoft.com/office/drawing/2014/main" id="{DAABE8B8-3802-4E02-BE57-77AA917D4E5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922559"/>
            <a:ext cx="6480000" cy="2699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56893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anim calcmode="lin" valueType="num">
                                      <p:cBhvr additive="base">
                                        <p:cTn id="7" dur="500" fill="hold"/>
                                        <p:tgtEl>
                                          <p:spTgt spid="2050"/>
                                        </p:tgtEl>
                                        <p:attrNameLst>
                                          <p:attrName>ppt_x</p:attrName>
                                        </p:attrNameLst>
                                      </p:cBhvr>
                                      <p:tavLst>
                                        <p:tav tm="0">
                                          <p:val>
                                            <p:strVal val="#ppt_x"/>
                                          </p:val>
                                        </p:tav>
                                        <p:tav tm="100000">
                                          <p:val>
                                            <p:strVal val="#ppt_x"/>
                                          </p:val>
                                        </p:tav>
                                      </p:tavLst>
                                    </p:anim>
                                    <p:anim calcmode="lin" valueType="num">
                                      <p:cBhvr additive="base">
                                        <p:cTn id="8" dur="500" fill="hold"/>
                                        <p:tgtEl>
                                          <p:spTgt spid="205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echniques To Highlight Value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39" y="1464333"/>
            <a:ext cx="11839049" cy="1707903"/>
          </a:xfrm>
        </p:spPr>
        <p:txBody>
          <a:bodyPr/>
          <a:lstStyle/>
          <a:p>
            <a:r>
              <a:rPr lang="en-US"/>
              <a:t>Conditional formatting (colors, data bars, icons)</a:t>
            </a:r>
          </a:p>
          <a:p>
            <a:r>
              <a:rPr lang="en-US"/>
              <a:t>Overlaid analytics (e.g., trend line, constant line, min/max line)</a:t>
            </a:r>
          </a:p>
          <a:p>
            <a:r>
              <a:rPr lang="en-US"/>
              <a:t>Anomaly detection (for line chart with date field)</a:t>
            </a:r>
          </a:p>
        </p:txBody>
      </p:sp>
      <p:pic>
        <p:nvPicPr>
          <p:cNvPr id="3074" name="Picture 2" descr="Graphical user interface Description automatically generated.">
            <a:extLst>
              <a:ext uri="{FF2B5EF4-FFF2-40B4-BE49-F238E27FC236}">
                <a16:creationId xmlns:a16="http://schemas.microsoft.com/office/drawing/2014/main" id="{5AB3B273-8C07-484D-A3CD-93DDB24A344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3397845"/>
            <a:ext cx="6480000" cy="31153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86111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074"/>
                                        </p:tgtEl>
                                        <p:attrNameLst>
                                          <p:attrName>style.visibility</p:attrName>
                                        </p:attrNameLst>
                                      </p:cBhvr>
                                      <p:to>
                                        <p:strVal val="visible"/>
                                      </p:to>
                                    </p:set>
                                    <p:anim calcmode="lin" valueType="num">
                                      <p:cBhvr additive="base">
                                        <p:cTn id="7" dur="500" fill="hold"/>
                                        <p:tgtEl>
                                          <p:spTgt spid="3074"/>
                                        </p:tgtEl>
                                        <p:attrNameLst>
                                          <p:attrName>ppt_x</p:attrName>
                                        </p:attrNameLst>
                                      </p:cBhvr>
                                      <p:tavLst>
                                        <p:tav tm="0">
                                          <p:val>
                                            <p:strVal val="#ppt_x"/>
                                          </p:val>
                                        </p:tav>
                                        <p:tav tm="100000">
                                          <p:val>
                                            <p:strVal val="#ppt_x"/>
                                          </p:val>
                                        </p:tav>
                                      </p:tavLst>
                                    </p:anim>
                                    <p:anim calcmode="lin" valueType="num">
                                      <p:cBhvr additive="base">
                                        <p:cTn id="8" dur="500" fill="hold"/>
                                        <p:tgtEl>
                                          <p:spTgt spid="307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echniques To Highlight Value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3"/>
            <a:ext cx="11711821" cy="2310697"/>
          </a:xfrm>
        </p:spPr>
        <p:txBody>
          <a:bodyPr/>
          <a:lstStyle/>
          <a:p>
            <a:r>
              <a:rPr lang="en-US"/>
              <a:t>Conditional formatting (colors, data bars, icons)</a:t>
            </a:r>
          </a:p>
          <a:p>
            <a:r>
              <a:rPr lang="en-US"/>
              <a:t>Overlaid analytics (e.g., trend line, constant line, min/max line)</a:t>
            </a:r>
          </a:p>
          <a:p>
            <a:r>
              <a:rPr lang="en-US"/>
              <a:t>Anomaly detection (for line chart with date field)</a:t>
            </a:r>
          </a:p>
          <a:p>
            <a:r>
              <a:rPr lang="en-US"/>
              <a:t>Specialized visuals (Key influencers, Decomposition Tree)</a:t>
            </a:r>
          </a:p>
        </p:txBody>
      </p:sp>
    </p:spTree>
    <p:extLst>
      <p:ext uri="{BB962C8B-B14F-4D97-AF65-F5344CB8AC3E}">
        <p14:creationId xmlns:p14="http://schemas.microsoft.com/office/powerpoint/2010/main" val="2918814522"/>
      </p:ext>
    </p:extLst>
  </p:cSld>
  <p:clrMapOvr>
    <a:masterClrMapping/>
  </p:clrMapOvr>
  <p:transition>
    <p:fade/>
  </p:transition>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Use Button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3214598"/>
          </a:xfrm>
        </p:spPr>
        <p:txBody>
          <a:bodyPr/>
          <a:lstStyle/>
          <a:p>
            <a:r>
              <a:rPr lang="en-US"/>
              <a:t>Support six different actions</a:t>
            </a:r>
          </a:p>
          <a:p>
            <a:pPr lvl="1"/>
            <a:r>
              <a:rPr lang="en-US"/>
              <a:t>Back</a:t>
            </a:r>
          </a:p>
          <a:p>
            <a:pPr lvl="1"/>
            <a:r>
              <a:rPr lang="en-US"/>
              <a:t>Q&amp;A</a:t>
            </a:r>
          </a:p>
          <a:p>
            <a:pPr lvl="1"/>
            <a:r>
              <a:rPr lang="en-US"/>
              <a:t>Bookmark</a:t>
            </a:r>
          </a:p>
          <a:p>
            <a:pPr lvl="1"/>
            <a:r>
              <a:rPr lang="en-US" err="1"/>
              <a:t>Drillthrough</a:t>
            </a:r>
            <a:endParaRPr lang="en-US"/>
          </a:p>
          <a:p>
            <a:pPr lvl="1"/>
            <a:r>
              <a:rPr lang="en-US"/>
              <a:t>Page navigation</a:t>
            </a:r>
          </a:p>
          <a:p>
            <a:pPr lvl="1"/>
            <a:r>
              <a:rPr lang="en-US"/>
              <a:t>Web URL</a:t>
            </a:r>
          </a:p>
        </p:txBody>
      </p:sp>
    </p:spTree>
    <p:extLst>
      <p:ext uri="{BB962C8B-B14F-4D97-AF65-F5344CB8AC3E}">
        <p14:creationId xmlns:p14="http://schemas.microsoft.com/office/powerpoint/2010/main" val="14473298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Microsoft Power Platform</a:t>
            </a:r>
          </a:p>
        </p:txBody>
      </p:sp>
      <p:sp>
        <p:nvSpPr>
          <p:cNvPr id="8" name="TextBox 7">
            <a:extLst>
              <a:ext uri="{FF2B5EF4-FFF2-40B4-BE49-F238E27FC236}">
                <a16:creationId xmlns:a16="http://schemas.microsoft.com/office/drawing/2014/main" id="{1CA714EF-26F6-4959-AFF5-A6EE5BA38B90}"/>
              </a:ext>
            </a:extLst>
          </p:cNvPr>
          <p:cNvSpPr txBox="1"/>
          <p:nvPr/>
        </p:nvSpPr>
        <p:spPr>
          <a:xfrm>
            <a:off x="2234223" y="6186274"/>
            <a:ext cx="7968027" cy="369332"/>
          </a:xfrm>
          <a:prstGeom prst="rect">
            <a:avLst/>
          </a:prstGeom>
          <a:noFill/>
        </p:spPr>
        <p:txBody>
          <a:bodyPr wrap="square">
            <a:spAutoFit/>
          </a:bodyPr>
          <a:lstStyle/>
          <a:p>
            <a:pPr algn="ctr" defTabSz="913432">
              <a:defRPr/>
            </a:pPr>
            <a:r>
              <a:rPr lang="en-US">
                <a:solidFill>
                  <a:srgbClr val="1A1A1A"/>
                </a:solidFill>
                <a:latin typeface="Segoe UI Semilight"/>
                <a:cs typeface="Segoe UI Semilight"/>
              </a:rPr>
              <a:t>The low-code platform that spans Microsoft 365, Dynamics 365 and Azure.</a:t>
            </a:r>
          </a:p>
        </p:txBody>
      </p:sp>
      <p:grpSp>
        <p:nvGrpSpPr>
          <p:cNvPr id="4" name="Group 3">
            <a:extLst>
              <a:ext uri="{FF2B5EF4-FFF2-40B4-BE49-F238E27FC236}">
                <a16:creationId xmlns:a16="http://schemas.microsoft.com/office/drawing/2014/main" id="{89DCAD20-2D7A-4466-BF62-F75C7FF0138B}"/>
              </a:ext>
            </a:extLst>
          </p:cNvPr>
          <p:cNvGrpSpPr/>
          <p:nvPr/>
        </p:nvGrpSpPr>
        <p:grpSpPr>
          <a:xfrm>
            <a:off x="1282656" y="1701952"/>
            <a:ext cx="9869578" cy="3560225"/>
            <a:chOff x="1282819" y="2389603"/>
            <a:chExt cx="9870836" cy="3560680"/>
          </a:xfrm>
        </p:grpSpPr>
        <p:sp>
          <p:nvSpPr>
            <p:cNvPr id="17" name="Rectangle 1231">
              <a:extLst>
                <a:ext uri="{FF2B5EF4-FFF2-40B4-BE49-F238E27FC236}">
                  <a16:creationId xmlns:a16="http://schemas.microsoft.com/office/drawing/2014/main" id="{E82E44DB-352D-4084-8C6A-8AC4524EEF22}"/>
                </a:ext>
              </a:extLst>
            </p:cNvPr>
            <p:cNvSpPr/>
            <p:nvPr/>
          </p:nvSpPr>
          <p:spPr>
            <a:xfrm>
              <a:off x="1282819" y="3705153"/>
              <a:ext cx="1771946" cy="493696"/>
            </a:xfrm>
            <a:prstGeom prst="rect">
              <a:avLst/>
            </a:prstGeom>
          </p:spPr>
          <p:txBody>
            <a:bodyPr wrap="none" lIns="0" tIns="0" rIns="0" bIns="0">
              <a:noAutofit/>
            </a:bodyPr>
            <a:lstStyle/>
            <a:p>
              <a:pPr algn="ctr" defTabSz="878302">
                <a:spcAft>
                  <a:spcPts val="408"/>
                </a:spcAft>
                <a:defRPr/>
              </a:pPr>
              <a:r>
                <a:rPr lang="en-US" sz="2040">
                  <a:latin typeface="Segoe UI Semibold" panose="020B0702040204020203" pitchFamily="34" charset="0"/>
                  <a:cs typeface="Segoe UI Semibold" panose="020B0702040204020203" pitchFamily="34" charset="0"/>
                </a:rPr>
                <a:t>Power BI</a:t>
              </a:r>
            </a:p>
            <a:p>
              <a:pPr algn="ctr" defTabSz="878302">
                <a:spcAft>
                  <a:spcPts val="408"/>
                </a:spcAft>
                <a:defRPr/>
              </a:pPr>
              <a:r>
                <a:rPr lang="en-GB" sz="1632">
                  <a:latin typeface="Segoe UI"/>
                  <a:cs typeface="Segoe UI Semibold" panose="020B0702040204020203" pitchFamily="34" charset="0"/>
                </a:rPr>
                <a:t>Business analytics</a:t>
              </a:r>
            </a:p>
            <a:p>
              <a:pPr algn="ctr" defTabSz="878302">
                <a:spcAft>
                  <a:spcPts val="408"/>
                </a:spcAft>
                <a:defRPr/>
              </a:pPr>
              <a:endParaRPr lang="en-US" sz="1632">
                <a:latin typeface="Segoe UI Semibold" panose="020B0702040204020203" pitchFamily="34" charset="0"/>
                <a:cs typeface="Segoe UI Semibold" panose="020B0702040204020203" pitchFamily="34" charset="0"/>
              </a:endParaRPr>
            </a:p>
          </p:txBody>
        </p:sp>
        <p:sp>
          <p:nvSpPr>
            <p:cNvPr id="18" name="Rectangle 1231">
              <a:extLst>
                <a:ext uri="{FF2B5EF4-FFF2-40B4-BE49-F238E27FC236}">
                  <a16:creationId xmlns:a16="http://schemas.microsoft.com/office/drawing/2014/main" id="{9353D4D1-E392-4E44-8CDC-E7200BBB6426}"/>
                </a:ext>
              </a:extLst>
            </p:cNvPr>
            <p:cNvSpPr/>
            <p:nvPr/>
          </p:nvSpPr>
          <p:spPr>
            <a:xfrm>
              <a:off x="3982449" y="3705153"/>
              <a:ext cx="1771946" cy="493696"/>
            </a:xfrm>
            <a:prstGeom prst="rect">
              <a:avLst/>
            </a:prstGeom>
          </p:spPr>
          <p:txBody>
            <a:bodyPr wrap="none" lIns="0" tIns="0" rIns="0" bIns="0">
              <a:noAutofit/>
            </a:bodyPr>
            <a:lstStyle/>
            <a:p>
              <a:pPr algn="ctr" defTabSz="878302">
                <a:spcAft>
                  <a:spcPts val="408"/>
                </a:spcAft>
                <a:defRPr/>
              </a:pPr>
              <a:r>
                <a:rPr lang="en-US" sz="2040">
                  <a:latin typeface="Segoe UI Semibold" panose="020B0702040204020203" pitchFamily="34" charset="0"/>
                  <a:cs typeface="Segoe UI Semibold" panose="020B0702040204020203" pitchFamily="34" charset="0"/>
                </a:rPr>
                <a:t>Power Apps</a:t>
              </a:r>
            </a:p>
            <a:p>
              <a:pPr algn="ctr" defTabSz="878302">
                <a:spcAft>
                  <a:spcPts val="408"/>
                </a:spcAft>
                <a:defRPr/>
              </a:pPr>
              <a:r>
                <a:rPr lang="en-GB" sz="1632">
                  <a:latin typeface="Segoe UI"/>
                  <a:cs typeface="Segoe UI Semibold" panose="020B0702040204020203" pitchFamily="34" charset="0"/>
                </a:rPr>
                <a:t>Application development</a:t>
              </a:r>
            </a:p>
            <a:p>
              <a:pPr algn="ctr" defTabSz="878302">
                <a:spcAft>
                  <a:spcPts val="408"/>
                </a:spcAft>
                <a:defRPr/>
              </a:pPr>
              <a:endParaRPr lang="en-US" sz="1632">
                <a:latin typeface="Segoe UI Semibold" panose="020B0702040204020203" pitchFamily="34" charset="0"/>
                <a:cs typeface="Segoe UI Semibold" panose="020B0702040204020203" pitchFamily="34" charset="0"/>
              </a:endParaRPr>
            </a:p>
          </p:txBody>
        </p:sp>
        <p:sp>
          <p:nvSpPr>
            <p:cNvPr id="19" name="Rectangle 1231">
              <a:extLst>
                <a:ext uri="{FF2B5EF4-FFF2-40B4-BE49-F238E27FC236}">
                  <a16:creationId xmlns:a16="http://schemas.microsoft.com/office/drawing/2014/main" id="{12851534-1492-4C42-BC6A-F830BC198E3B}"/>
                </a:ext>
              </a:extLst>
            </p:cNvPr>
            <p:cNvSpPr/>
            <p:nvPr/>
          </p:nvSpPr>
          <p:spPr>
            <a:xfrm>
              <a:off x="6682080" y="3705153"/>
              <a:ext cx="1771946" cy="493696"/>
            </a:xfrm>
            <a:prstGeom prst="rect">
              <a:avLst/>
            </a:prstGeom>
          </p:spPr>
          <p:txBody>
            <a:bodyPr wrap="none" lIns="0" tIns="0" rIns="0" bIns="0">
              <a:noAutofit/>
            </a:bodyPr>
            <a:lstStyle/>
            <a:p>
              <a:pPr algn="ctr" defTabSz="878302">
                <a:spcAft>
                  <a:spcPts val="408"/>
                </a:spcAft>
                <a:defRPr/>
              </a:pPr>
              <a:r>
                <a:rPr lang="en-US" sz="2040">
                  <a:latin typeface="Segoe UI Semibold" panose="020B0702040204020203" pitchFamily="34" charset="0"/>
                  <a:cs typeface="Segoe UI Semibold" panose="020B0702040204020203" pitchFamily="34" charset="0"/>
                </a:rPr>
                <a:t>Power Automate</a:t>
              </a:r>
            </a:p>
            <a:p>
              <a:pPr algn="ctr" defTabSz="878302">
                <a:spcAft>
                  <a:spcPts val="408"/>
                </a:spcAft>
                <a:defRPr/>
              </a:pPr>
              <a:r>
                <a:rPr lang="en-GB" sz="1632">
                  <a:latin typeface="Segoe UI"/>
                  <a:cs typeface="Segoe UI Semibold" panose="020B0702040204020203" pitchFamily="34" charset="0"/>
                </a:rPr>
                <a:t>Workflow automation</a:t>
              </a:r>
              <a:endParaRPr lang="en-US" sz="1632">
                <a:latin typeface="Segoe UI Semibold" panose="020B0702040204020203" pitchFamily="34" charset="0"/>
                <a:cs typeface="Segoe UI Semibold" panose="020B0702040204020203" pitchFamily="34" charset="0"/>
              </a:endParaRPr>
            </a:p>
          </p:txBody>
        </p:sp>
        <p:sp>
          <p:nvSpPr>
            <p:cNvPr id="20" name="Rectangle 1236">
              <a:extLst>
                <a:ext uri="{FF2B5EF4-FFF2-40B4-BE49-F238E27FC236}">
                  <a16:creationId xmlns:a16="http://schemas.microsoft.com/office/drawing/2014/main" id="{0F8EEF22-490A-459B-B074-06B64D2ABEAA}"/>
                </a:ext>
              </a:extLst>
            </p:cNvPr>
            <p:cNvSpPr/>
            <p:nvPr/>
          </p:nvSpPr>
          <p:spPr>
            <a:xfrm>
              <a:off x="9381709" y="3705153"/>
              <a:ext cx="1771946" cy="493696"/>
            </a:xfrm>
            <a:prstGeom prst="rect">
              <a:avLst/>
            </a:prstGeom>
          </p:spPr>
          <p:txBody>
            <a:bodyPr wrap="none" lIns="0" tIns="0" rIns="0" bIns="0">
              <a:noAutofit/>
            </a:bodyPr>
            <a:lstStyle/>
            <a:p>
              <a:pPr algn="ctr" defTabSz="878302">
                <a:spcAft>
                  <a:spcPts val="408"/>
                </a:spcAft>
                <a:defRPr/>
              </a:pPr>
              <a:r>
                <a:rPr lang="en-US" sz="2040">
                  <a:latin typeface="Segoe UI Semibold" panose="020B0702040204020203" pitchFamily="34" charset="0"/>
                  <a:cs typeface="Segoe UI Semibold" panose="020B0702040204020203" pitchFamily="34" charset="0"/>
                </a:rPr>
                <a:t>Power Virtual Agents</a:t>
              </a:r>
              <a:endParaRPr lang="en-US" sz="1632">
                <a:latin typeface="Segoe UI Semibold" panose="020B0702040204020203" pitchFamily="34" charset="0"/>
                <a:cs typeface="Segoe UI Semibold" panose="020B0702040204020203" pitchFamily="34" charset="0"/>
              </a:endParaRPr>
            </a:p>
            <a:p>
              <a:pPr algn="ctr" defTabSz="878302">
                <a:spcAft>
                  <a:spcPts val="408"/>
                </a:spcAft>
                <a:defRPr/>
              </a:pPr>
              <a:r>
                <a:rPr lang="en-US" sz="1632">
                  <a:latin typeface="Segoe UI"/>
                  <a:cs typeface="Segoe UI Semibold" panose="020B0702040204020203" pitchFamily="34" charset="0"/>
                </a:rPr>
                <a:t>Intelligent virtual agents</a:t>
              </a:r>
            </a:p>
          </p:txBody>
        </p:sp>
        <p:pic>
          <p:nvPicPr>
            <p:cNvPr id="21" name="Picture 2">
              <a:extLst>
                <a:ext uri="{FF2B5EF4-FFF2-40B4-BE49-F238E27FC236}">
                  <a16:creationId xmlns:a16="http://schemas.microsoft.com/office/drawing/2014/main" id="{809F0AE0-E346-4916-A32D-2919EDF44B53}"/>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04132" y="2389603"/>
              <a:ext cx="928581" cy="928581"/>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4">
              <a:extLst>
                <a:ext uri="{FF2B5EF4-FFF2-40B4-BE49-F238E27FC236}">
                  <a16:creationId xmlns:a16="http://schemas.microsoft.com/office/drawing/2014/main" id="{42E7845B-CD14-4112-A359-6F6262E56B6F}"/>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03762" y="2389603"/>
              <a:ext cx="928581" cy="928581"/>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6">
              <a:extLst>
                <a:ext uri="{FF2B5EF4-FFF2-40B4-BE49-F238E27FC236}">
                  <a16:creationId xmlns:a16="http://schemas.microsoft.com/office/drawing/2014/main" id="{1943C38B-48E6-4F2F-8E6A-0240160B2BE4}"/>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04501" y="2389603"/>
              <a:ext cx="928581" cy="92858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17BBF9B-411E-40B9-8665-89763DE0F4CD}"/>
                </a:ext>
                <a:ext uri="{C183D7F6-B498-43B3-948B-1728B52AA6E4}">
                  <adec:decorative xmlns:adec="http://schemas.microsoft.com/office/drawing/2017/decorative" val="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804364" y="2391371"/>
              <a:ext cx="926637" cy="926633"/>
            </a:xfrm>
            <a:prstGeom prst="rect">
              <a:avLst/>
            </a:prstGeom>
            <a:noFill/>
            <a:extLst>
              <a:ext uri="{909E8E84-426E-40DD-AFC4-6F175D3DCCD1}">
                <a14:hiddenFill xmlns:a14="http://schemas.microsoft.com/office/drawing/2010/main">
                  <a:solidFill>
                    <a:srgbClr val="FFFFFF"/>
                  </a:solidFill>
                </a14:hiddenFill>
              </a:ext>
            </a:extLst>
          </p:spPr>
        </p:pic>
        <p:grpSp>
          <p:nvGrpSpPr>
            <p:cNvPr id="25" name="Group 24">
              <a:extLst>
                <a:ext uri="{FF2B5EF4-FFF2-40B4-BE49-F238E27FC236}">
                  <a16:creationId xmlns:a16="http://schemas.microsoft.com/office/drawing/2014/main" id="{98ABF5AB-F4DB-4409-98EA-C77EA3CD6611}"/>
                </a:ext>
              </a:extLst>
            </p:cNvPr>
            <p:cNvGrpSpPr/>
            <p:nvPr/>
          </p:nvGrpSpPr>
          <p:grpSpPr>
            <a:xfrm>
              <a:off x="2664769" y="4774891"/>
              <a:ext cx="7013442" cy="1175392"/>
              <a:chOff x="2611891" y="4686064"/>
              <a:chExt cx="6876547" cy="1152450"/>
            </a:xfrm>
          </p:grpSpPr>
          <p:grpSp>
            <p:nvGrpSpPr>
              <p:cNvPr id="26" name="Group 25">
                <a:extLst>
                  <a:ext uri="{FF2B5EF4-FFF2-40B4-BE49-F238E27FC236}">
                    <a16:creationId xmlns:a16="http://schemas.microsoft.com/office/drawing/2014/main" id="{3EDCDF4A-7764-45FF-9B25-D9CBE0E3FF40}"/>
                  </a:ext>
                </a:extLst>
              </p:cNvPr>
              <p:cNvGrpSpPr/>
              <p:nvPr/>
            </p:nvGrpSpPr>
            <p:grpSpPr>
              <a:xfrm>
                <a:off x="2611891" y="4686064"/>
                <a:ext cx="6548999" cy="1152450"/>
                <a:chOff x="2611891" y="4686064"/>
                <a:chExt cx="6548999" cy="1152450"/>
              </a:xfrm>
            </p:grpSpPr>
            <p:grpSp>
              <p:nvGrpSpPr>
                <p:cNvPr id="28" name="Group 27">
                  <a:extLst>
                    <a:ext uri="{FF2B5EF4-FFF2-40B4-BE49-F238E27FC236}">
                      <a16:creationId xmlns:a16="http://schemas.microsoft.com/office/drawing/2014/main" id="{CF9DD359-74A3-48AB-88F9-72F9E194CA5C}"/>
                    </a:ext>
                  </a:extLst>
                </p:cNvPr>
                <p:cNvGrpSpPr/>
                <p:nvPr/>
              </p:nvGrpSpPr>
              <p:grpSpPr>
                <a:xfrm>
                  <a:off x="4447413" y="4686065"/>
                  <a:ext cx="4713477" cy="1152449"/>
                  <a:chOff x="3611119" y="4686065"/>
                  <a:chExt cx="4713477" cy="1152449"/>
                </a:xfrm>
              </p:grpSpPr>
              <p:sp>
                <p:nvSpPr>
                  <p:cNvPr id="34" name="Rectangle 42">
                    <a:extLst>
                      <a:ext uri="{FF2B5EF4-FFF2-40B4-BE49-F238E27FC236}">
                        <a16:creationId xmlns:a16="http://schemas.microsoft.com/office/drawing/2014/main" id="{97AEBF66-AEDB-4A21-A27E-E4F9266EA983}"/>
                      </a:ext>
                    </a:extLst>
                  </p:cNvPr>
                  <p:cNvSpPr/>
                  <p:nvPr/>
                </p:nvSpPr>
                <p:spPr bwMode="auto">
                  <a:xfrm flipV="1">
                    <a:off x="3918861" y="4686070"/>
                    <a:ext cx="4405735" cy="329847"/>
                  </a:xfrm>
                  <a:custGeom>
                    <a:avLst/>
                    <a:gdLst>
                      <a:gd name="connsiteX0" fmla="*/ 0 w 3416203"/>
                      <a:gd name="connsiteY0" fmla="*/ 0 h 765279"/>
                      <a:gd name="connsiteX1" fmla="*/ 3416203 w 3416203"/>
                      <a:gd name="connsiteY1" fmla="*/ 0 h 765279"/>
                      <a:gd name="connsiteX2" fmla="*/ 3416203 w 3416203"/>
                      <a:gd name="connsiteY2" fmla="*/ 765279 h 765279"/>
                      <a:gd name="connsiteX3" fmla="*/ 0 w 3416203"/>
                      <a:gd name="connsiteY3" fmla="*/ 765279 h 765279"/>
                      <a:gd name="connsiteX4" fmla="*/ 0 w 3416203"/>
                      <a:gd name="connsiteY4" fmla="*/ 0 h 765279"/>
                      <a:gd name="connsiteX0" fmla="*/ 3416203 w 3507643"/>
                      <a:gd name="connsiteY0" fmla="*/ 0 h 765279"/>
                      <a:gd name="connsiteX1" fmla="*/ 3416203 w 3507643"/>
                      <a:gd name="connsiteY1" fmla="*/ 765279 h 765279"/>
                      <a:gd name="connsiteX2" fmla="*/ 0 w 3507643"/>
                      <a:gd name="connsiteY2" fmla="*/ 765279 h 765279"/>
                      <a:gd name="connsiteX3" fmla="*/ 0 w 3507643"/>
                      <a:gd name="connsiteY3" fmla="*/ 0 h 765279"/>
                      <a:gd name="connsiteX4" fmla="*/ 3507643 w 3507643"/>
                      <a:gd name="connsiteY4" fmla="*/ 91440 h 765279"/>
                      <a:gd name="connsiteX0" fmla="*/ 3416203 w 3416203"/>
                      <a:gd name="connsiteY0" fmla="*/ 0 h 765279"/>
                      <a:gd name="connsiteX1" fmla="*/ 3416203 w 3416203"/>
                      <a:gd name="connsiteY1" fmla="*/ 765279 h 765279"/>
                      <a:gd name="connsiteX2" fmla="*/ 0 w 3416203"/>
                      <a:gd name="connsiteY2" fmla="*/ 765279 h 765279"/>
                      <a:gd name="connsiteX3" fmla="*/ 0 w 3416203"/>
                      <a:gd name="connsiteY3" fmla="*/ 0 h 765279"/>
                    </a:gdLst>
                    <a:ahLst/>
                    <a:cxnLst>
                      <a:cxn ang="0">
                        <a:pos x="connsiteX0" y="connsiteY0"/>
                      </a:cxn>
                      <a:cxn ang="0">
                        <a:pos x="connsiteX1" y="connsiteY1"/>
                      </a:cxn>
                      <a:cxn ang="0">
                        <a:pos x="connsiteX2" y="connsiteY2"/>
                      </a:cxn>
                      <a:cxn ang="0">
                        <a:pos x="connsiteX3" y="connsiteY3"/>
                      </a:cxn>
                    </a:cxnLst>
                    <a:rect l="l" t="t" r="r" b="b"/>
                    <a:pathLst>
                      <a:path w="3416203" h="765279">
                        <a:moveTo>
                          <a:pt x="3416203" y="0"/>
                        </a:moveTo>
                        <a:lnTo>
                          <a:pt x="3416203" y="765279"/>
                        </a:lnTo>
                        <a:lnTo>
                          <a:pt x="0" y="765279"/>
                        </a:lnTo>
                        <a:lnTo>
                          <a:pt x="0" y="0"/>
                        </a:lnTo>
                      </a:path>
                    </a:pathLst>
                  </a:custGeom>
                  <a:ln w="15875">
                    <a:solidFill>
                      <a:schemeClr val="accent2"/>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6444" tIns="149156" rIns="186444" bIns="149156" numCol="1" spcCol="0" rtlCol="0" fromWordArt="0" anchor="t" anchorCtr="0" forceAA="0" compatLnSpc="1">
                    <a:prstTxWarp prst="textNoShape">
                      <a:avLst/>
                    </a:prstTxWarp>
                    <a:noAutofit/>
                  </a:bodyPr>
                  <a:lstStyle/>
                  <a:p>
                    <a:pPr defTabSz="950568" fontAlgn="base">
                      <a:spcBef>
                        <a:spcPct val="0"/>
                      </a:spcBef>
                      <a:spcAft>
                        <a:spcPct val="0"/>
                      </a:spcAft>
                      <a:defRPr/>
                    </a:pPr>
                    <a:endParaRPr lang="en-US" sz="204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plug" title="Icon of a power plug showing an A to B connection">
                    <a:extLst>
                      <a:ext uri="{FF2B5EF4-FFF2-40B4-BE49-F238E27FC236}">
                        <a16:creationId xmlns:a16="http://schemas.microsoft.com/office/drawing/2014/main" id="{62BC7CE1-D71B-4F6E-A578-BA69F48FC52D}"/>
                      </a:ext>
                    </a:extLst>
                  </p:cNvPr>
                  <p:cNvSpPr>
                    <a:spLocks noChangeAspect="1" noEditPoints="1"/>
                  </p:cNvSpPr>
                  <p:nvPr/>
                </p:nvSpPr>
                <p:spPr bwMode="auto">
                  <a:xfrm>
                    <a:off x="3611119" y="5029808"/>
                    <a:ext cx="615483" cy="583406"/>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noFill/>
                  <a:ln w="19050">
                    <a:solidFill>
                      <a:schemeClr val="tx1"/>
                    </a:solidFill>
                    <a:headEnd/>
                    <a:tailEnd/>
                  </a:ln>
                </p:spPr>
                <p:style>
                  <a:lnRef idx="1">
                    <a:schemeClr val="dk1"/>
                  </a:lnRef>
                  <a:fillRef idx="0">
                    <a:schemeClr val="dk1"/>
                  </a:fillRef>
                  <a:effectRef idx="0">
                    <a:schemeClr val="dk1"/>
                  </a:effectRef>
                  <a:fontRef idx="minor">
                    <a:schemeClr val="tx1"/>
                  </a:fontRef>
                </p:style>
                <p:txBody>
                  <a:bodyPr vert="horz" wrap="square" lIns="93222" tIns="46610" rIns="93222" bIns="4661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32146">
                      <a:defRPr/>
                    </a:pPr>
                    <a:endParaRPr lang="en-US" sz="918">
                      <a:gradFill>
                        <a:gsLst>
                          <a:gs pos="0">
                            <a:srgbClr val="505050"/>
                          </a:gs>
                          <a:gs pos="100000">
                            <a:srgbClr val="505050"/>
                          </a:gs>
                        </a:gsLst>
                        <a:lin ang="5400000" scaled="1"/>
                      </a:gradFill>
                      <a:latin typeface="Segoe UI"/>
                    </a:endParaRPr>
                  </a:p>
                </p:txBody>
              </p:sp>
              <p:pic>
                <p:nvPicPr>
                  <p:cNvPr id="38" name="Graphic 37">
                    <a:extLst>
                      <a:ext uri="{FF2B5EF4-FFF2-40B4-BE49-F238E27FC236}">
                        <a16:creationId xmlns:a16="http://schemas.microsoft.com/office/drawing/2014/main" id="{B15AFE0A-9806-4B0F-9A46-E76F5719E03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633072" y="5118868"/>
                    <a:ext cx="700873" cy="719646"/>
                  </a:xfrm>
                  <a:prstGeom prst="rect">
                    <a:avLst/>
                  </a:prstGeom>
                </p:spPr>
              </p:pic>
              <p:cxnSp>
                <p:nvCxnSpPr>
                  <p:cNvPr id="41" name="Straight Connector 40">
                    <a:extLst>
                      <a:ext uri="{FF2B5EF4-FFF2-40B4-BE49-F238E27FC236}">
                        <a16:creationId xmlns:a16="http://schemas.microsoft.com/office/drawing/2014/main" id="{828C6549-0CC6-481C-8A9D-F8EC82C226F3}"/>
                      </a:ext>
                    </a:extLst>
                  </p:cNvPr>
                  <p:cNvCxnSpPr>
                    <a:cxnSpLocks/>
                  </p:cNvCxnSpPr>
                  <p:nvPr/>
                </p:nvCxnSpPr>
                <p:spPr>
                  <a:xfrm>
                    <a:off x="6175564" y="4686065"/>
                    <a:ext cx="0" cy="329847"/>
                  </a:xfrm>
                  <a:prstGeom prst="line">
                    <a:avLst/>
                  </a:prstGeom>
                  <a:ln w="15875">
                    <a:solidFill>
                      <a:schemeClr val="accent2"/>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29" name="Straight Connector 28">
                  <a:extLst>
                    <a:ext uri="{FF2B5EF4-FFF2-40B4-BE49-F238E27FC236}">
                      <a16:creationId xmlns:a16="http://schemas.microsoft.com/office/drawing/2014/main" id="{EF7AB662-CE92-4C5D-86C3-7772799F465C}"/>
                    </a:ext>
                  </a:extLst>
                </p:cNvPr>
                <p:cNvCxnSpPr>
                  <a:cxnSpLocks/>
                </p:cNvCxnSpPr>
                <p:nvPr/>
              </p:nvCxnSpPr>
              <p:spPr>
                <a:xfrm flipV="1">
                  <a:off x="2991324" y="4686064"/>
                  <a:ext cx="1822581" cy="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16DAC6B-9668-45F9-A4CF-583380EC39F6}"/>
                    </a:ext>
                  </a:extLst>
                </p:cNvPr>
                <p:cNvCxnSpPr/>
                <p:nvPr/>
              </p:nvCxnSpPr>
              <p:spPr>
                <a:xfrm>
                  <a:off x="2991324" y="4691069"/>
                  <a:ext cx="0" cy="329847"/>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31" name="Picture 30" descr="A picture containing graphics, room&#10;&#10;Description automatically generated">
                  <a:extLst>
                    <a:ext uri="{FF2B5EF4-FFF2-40B4-BE49-F238E27FC236}">
                      <a16:creationId xmlns:a16="http://schemas.microsoft.com/office/drawing/2014/main" id="{0C4CA5C1-FA5F-49F9-BCB3-9AF0B84EBA3D}"/>
                    </a:ext>
                  </a:extLst>
                </p:cNvPr>
                <p:cNvPicPr>
                  <a:picLocks noChangeAspect="1"/>
                </p:cNvPicPr>
                <p:nvPr/>
              </p:nvPicPr>
              <p:blipFill>
                <a:blip r:embed="rId9">
                  <a:duotone>
                    <a:schemeClr val="accent1">
                      <a:shade val="45000"/>
                      <a:satMod val="135000"/>
                    </a:schemeClr>
                    <a:prstClr val="white"/>
                  </a:duotone>
                  <a:extLst>
                    <a:ext uri="{BEBA8EAE-BF5A-486C-A8C5-ECC9F3942E4B}">
                      <a14:imgProps xmlns:a14="http://schemas.microsoft.com/office/drawing/2010/main">
                        <a14:imgLayer r:embed="rId10">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2611891" y="5007386"/>
                  <a:ext cx="780290" cy="780290"/>
                </a:xfrm>
                <a:prstGeom prst="rect">
                  <a:avLst/>
                </a:prstGeom>
                <a:ln>
                  <a:noFill/>
                </a:ln>
              </p:spPr>
            </p:pic>
            <p:cxnSp>
              <p:nvCxnSpPr>
                <p:cNvPr id="33" name="Straight Connector 32">
                  <a:extLst>
                    <a:ext uri="{FF2B5EF4-FFF2-40B4-BE49-F238E27FC236}">
                      <a16:creationId xmlns:a16="http://schemas.microsoft.com/office/drawing/2014/main" id="{CECD8BD9-3F97-48CC-AEDD-4A92DBAAC5A7}"/>
                    </a:ext>
                  </a:extLst>
                </p:cNvPr>
                <p:cNvCxnSpPr>
                  <a:cxnSpLocks/>
                </p:cNvCxnSpPr>
                <p:nvPr/>
              </p:nvCxnSpPr>
              <p:spPr>
                <a:xfrm flipV="1">
                  <a:off x="3459643" y="5392794"/>
                  <a:ext cx="911290" cy="4737"/>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pic>
            <p:nvPicPr>
              <p:cNvPr id="27" name="Picture 11">
                <a:extLst>
                  <a:ext uri="{FF2B5EF4-FFF2-40B4-BE49-F238E27FC236}">
                    <a16:creationId xmlns:a16="http://schemas.microsoft.com/office/drawing/2014/main" id="{C72AC27E-E052-4D49-864D-2D25F1D873B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8717872" y="5029808"/>
                <a:ext cx="770566" cy="770566"/>
              </a:xfrm>
              <a:prstGeom prst="rect">
                <a:avLst/>
              </a:prstGeom>
            </p:spPr>
          </p:pic>
        </p:grpSp>
      </p:grpSp>
      <p:graphicFrame>
        <p:nvGraphicFramePr>
          <p:cNvPr id="6" name="Table 6">
            <a:extLst>
              <a:ext uri="{FF2B5EF4-FFF2-40B4-BE49-F238E27FC236}">
                <a16:creationId xmlns:a16="http://schemas.microsoft.com/office/drawing/2014/main" id="{6C360479-194D-4E9A-946D-CC9A0C79E921}"/>
              </a:ext>
            </a:extLst>
          </p:cNvPr>
          <p:cNvGraphicFramePr>
            <a:graphicFrameLocks noGrp="1"/>
          </p:cNvGraphicFramePr>
          <p:nvPr>
            <p:extLst>
              <p:ext uri="{D42A27DB-BD31-4B8C-83A1-F6EECF244321}">
                <p14:modId xmlns:p14="http://schemas.microsoft.com/office/powerpoint/2010/main" val="1195382964"/>
              </p:ext>
            </p:extLst>
          </p:nvPr>
        </p:nvGraphicFramePr>
        <p:xfrm>
          <a:off x="1976698" y="5314742"/>
          <a:ext cx="8289925" cy="589332"/>
        </p:xfrm>
        <a:graphic>
          <a:graphicData uri="http://schemas.openxmlformats.org/drawingml/2006/table">
            <a:tbl>
              <a:tblPr bandRow="1">
                <a:tableStyleId>{2D5ABB26-0587-4C30-8999-92F81FD0307C}</a:tableStyleId>
              </a:tblPr>
              <a:tblGrid>
                <a:gridCol w="2072481">
                  <a:extLst>
                    <a:ext uri="{9D8B030D-6E8A-4147-A177-3AD203B41FA5}">
                      <a16:colId xmlns:a16="http://schemas.microsoft.com/office/drawing/2014/main" val="2344132030"/>
                    </a:ext>
                  </a:extLst>
                </a:gridCol>
                <a:gridCol w="1499212">
                  <a:extLst>
                    <a:ext uri="{9D8B030D-6E8A-4147-A177-3AD203B41FA5}">
                      <a16:colId xmlns:a16="http://schemas.microsoft.com/office/drawing/2014/main" val="3739829267"/>
                    </a:ext>
                  </a:extLst>
                </a:gridCol>
                <a:gridCol w="3153162">
                  <a:extLst>
                    <a:ext uri="{9D8B030D-6E8A-4147-A177-3AD203B41FA5}">
                      <a16:colId xmlns:a16="http://schemas.microsoft.com/office/drawing/2014/main" val="436031455"/>
                    </a:ext>
                  </a:extLst>
                </a:gridCol>
                <a:gridCol w="1565070">
                  <a:extLst>
                    <a:ext uri="{9D8B030D-6E8A-4147-A177-3AD203B41FA5}">
                      <a16:colId xmlns:a16="http://schemas.microsoft.com/office/drawing/2014/main" val="874595166"/>
                    </a:ext>
                  </a:extLst>
                </a:gridCol>
              </a:tblGrid>
              <a:tr h="589332">
                <a:tc>
                  <a:txBody>
                    <a:bodyPr/>
                    <a:lstStyle/>
                    <a:p>
                      <a:pPr algn="ctr" defTabSz="950663" fontAlgn="base">
                        <a:lnSpc>
                          <a:spcPct val="90000"/>
                        </a:lnSpc>
                        <a:spcBef>
                          <a:spcPct val="0"/>
                        </a:spcBef>
                        <a:spcAft>
                          <a:spcPts val="408"/>
                        </a:spcAft>
                        <a:defRPr/>
                      </a:pPr>
                      <a:r>
                        <a:rPr lang="en-US" sz="1600" b="1">
                          <a:solidFill>
                            <a:srgbClr val="1A1A1A"/>
                          </a:solidFill>
                        </a:rPr>
                        <a:t>Custom</a:t>
                      </a:r>
                    </a:p>
                    <a:p>
                      <a:pPr algn="ctr" defTabSz="950663" fontAlgn="base">
                        <a:lnSpc>
                          <a:spcPct val="90000"/>
                        </a:lnSpc>
                        <a:spcBef>
                          <a:spcPct val="0"/>
                        </a:spcBef>
                        <a:spcAft>
                          <a:spcPts val="408"/>
                        </a:spcAft>
                        <a:defRPr/>
                      </a:pPr>
                      <a:r>
                        <a:rPr lang="en-US" sz="1600" b="1">
                          <a:solidFill>
                            <a:srgbClr val="1A1A1A"/>
                          </a:solidFill>
                        </a:rPr>
                        <a:t>connectors</a:t>
                      </a:r>
                      <a:endParaRPr lang="en-US" sz="1600" b="1">
                        <a:solidFill>
                          <a:srgbClr val="1A1A1A"/>
                        </a:solidFill>
                        <a:latin typeface="+mn-lt"/>
                        <a:cs typeface="Segoe UI" pitchFamily="34" charset="0"/>
                      </a:endParaRPr>
                    </a:p>
                  </a:txBody>
                  <a:tcPr marL="91428" marR="91428" marT="45714" marB="45714"/>
                </a:tc>
                <a:tc>
                  <a:txBody>
                    <a:bodyPr/>
                    <a:lstStyle/>
                    <a:p>
                      <a:pPr algn="ctr" defTabSz="950663" fontAlgn="base">
                        <a:lnSpc>
                          <a:spcPct val="90000"/>
                        </a:lnSpc>
                        <a:spcBef>
                          <a:spcPct val="0"/>
                        </a:spcBef>
                        <a:spcAft>
                          <a:spcPts val="408"/>
                        </a:spcAft>
                        <a:defRPr/>
                      </a:pPr>
                      <a:r>
                        <a:rPr lang="en-US" sz="1600" b="1">
                          <a:solidFill>
                            <a:srgbClr val="1A1A1A"/>
                          </a:solidFill>
                          <a:latin typeface="+mn-lt"/>
                          <a:cs typeface="Segoe UI" pitchFamily="34" charset="0"/>
                        </a:rPr>
                        <a:t>Data</a:t>
                      </a:r>
                      <a:br>
                        <a:rPr lang="en-US" sz="1600" b="1">
                          <a:solidFill>
                            <a:srgbClr val="1A1A1A"/>
                          </a:solidFill>
                          <a:latin typeface="+mn-lt"/>
                          <a:cs typeface="Segoe UI" pitchFamily="34" charset="0"/>
                        </a:rPr>
                      </a:br>
                      <a:r>
                        <a:rPr lang="en-US" sz="1600" b="1">
                          <a:solidFill>
                            <a:srgbClr val="1A1A1A"/>
                          </a:solidFill>
                          <a:latin typeface="+mn-lt"/>
                          <a:cs typeface="Segoe UI" pitchFamily="34" charset="0"/>
                        </a:rPr>
                        <a:t>connectors</a:t>
                      </a:r>
                    </a:p>
                  </a:txBody>
                  <a:tcPr marL="91428" marR="91428" marT="45714" marB="45714"/>
                </a:tc>
                <a:tc>
                  <a:txBody>
                    <a:bodyPr/>
                    <a:lstStyle/>
                    <a:p>
                      <a:pPr algn="ctr" defTabSz="950663" fontAlgn="base">
                        <a:lnSpc>
                          <a:spcPct val="90000"/>
                        </a:lnSpc>
                        <a:spcBef>
                          <a:spcPct val="0"/>
                        </a:spcBef>
                        <a:spcAft>
                          <a:spcPts val="408"/>
                        </a:spcAft>
                        <a:defRPr/>
                      </a:pPr>
                      <a:r>
                        <a:rPr lang="en-US" sz="1600" b="1">
                          <a:solidFill>
                            <a:srgbClr val="1A1A1A"/>
                          </a:solidFill>
                          <a:latin typeface="+mn-lt"/>
                          <a:cs typeface="Segoe UI" pitchFamily="34" charset="0"/>
                        </a:rPr>
                        <a:t>Artificial </a:t>
                      </a:r>
                    </a:p>
                    <a:p>
                      <a:pPr algn="ctr" defTabSz="950663" fontAlgn="base">
                        <a:lnSpc>
                          <a:spcPct val="90000"/>
                        </a:lnSpc>
                        <a:spcBef>
                          <a:spcPct val="0"/>
                        </a:spcBef>
                        <a:spcAft>
                          <a:spcPts val="408"/>
                        </a:spcAft>
                        <a:defRPr/>
                      </a:pPr>
                      <a:r>
                        <a:rPr lang="en-US" sz="1600" b="1">
                          <a:solidFill>
                            <a:srgbClr val="1A1A1A"/>
                          </a:solidFill>
                          <a:latin typeface="+mn-lt"/>
                          <a:cs typeface="Segoe UI" pitchFamily="34" charset="0"/>
                        </a:rPr>
                        <a:t>Intelligence</a:t>
                      </a:r>
                    </a:p>
                  </a:txBody>
                  <a:tcPr marL="91428" marR="91428" marT="45714" marB="45714"/>
                </a:tc>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lang="en-US" sz="1600" b="1">
                          <a:solidFill>
                            <a:srgbClr val="1A1A1A"/>
                          </a:solidFill>
                          <a:latin typeface="+mn-lt"/>
                          <a:cs typeface="Segoe UI" pitchFamily="34" charset="0"/>
                        </a:rPr>
                        <a:t>Dataverse</a:t>
                      </a:r>
                    </a:p>
                  </a:txBody>
                  <a:tcPr marL="91428" marR="91428" marT="45714" marB="45714"/>
                </a:tc>
                <a:extLst>
                  <a:ext uri="{0D108BD9-81ED-4DB2-BD59-A6C34878D82A}">
                    <a16:rowId xmlns:a16="http://schemas.microsoft.com/office/drawing/2014/main" val="4144452942"/>
                  </a:ext>
                </a:extLst>
              </a:tr>
            </a:tbl>
          </a:graphicData>
        </a:graphic>
      </p:graphicFrame>
    </p:spTree>
    <p:extLst>
      <p:ext uri="{BB962C8B-B14F-4D97-AF65-F5344CB8AC3E}">
        <p14:creationId xmlns:p14="http://schemas.microsoft.com/office/powerpoint/2010/main" val="3242872128"/>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ookmark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3616631"/>
          </a:xfrm>
        </p:spPr>
        <p:txBody>
          <a:bodyPr/>
          <a:lstStyle/>
          <a:p>
            <a:r>
              <a:rPr lang="en-US"/>
              <a:t>Powerful way to turn a Power BI report into a guided analytical experience</a:t>
            </a:r>
          </a:p>
          <a:p>
            <a:r>
              <a:rPr lang="en-US"/>
              <a:t>Commonly, you will add buttons to a report design and configure their actions to apply a bookmark</a:t>
            </a:r>
          </a:p>
          <a:p>
            <a:r>
              <a:rPr lang="en-US"/>
              <a:t>Examples of use cases</a:t>
            </a:r>
          </a:p>
          <a:p>
            <a:pPr lvl="1"/>
            <a:r>
              <a:rPr lang="en-US"/>
              <a:t>Reset slicers</a:t>
            </a:r>
          </a:p>
          <a:p>
            <a:pPr lvl="1"/>
            <a:r>
              <a:rPr lang="en-US"/>
              <a:t>Swap visuals</a:t>
            </a:r>
          </a:p>
        </p:txBody>
      </p:sp>
    </p:spTree>
    <p:extLst>
      <p:ext uri="{BB962C8B-B14F-4D97-AF65-F5344CB8AC3E}">
        <p14:creationId xmlns:p14="http://schemas.microsoft.com/office/powerpoint/2010/main" val="6978042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ookmark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3616631"/>
          </a:xfrm>
        </p:spPr>
        <p:txBody>
          <a:bodyPr/>
          <a:lstStyle/>
          <a:p>
            <a:r>
              <a:rPr lang="en-US"/>
              <a:t>Powerful way to turn a Power BI report into a guided analytical experience</a:t>
            </a:r>
          </a:p>
          <a:p>
            <a:r>
              <a:rPr lang="en-US"/>
              <a:t>Commonly, you will add buttons to a report design and configure their actions to apply a bookmark</a:t>
            </a:r>
          </a:p>
          <a:p>
            <a:r>
              <a:rPr lang="en-US"/>
              <a:t>Examples of use cases</a:t>
            </a:r>
          </a:p>
          <a:p>
            <a:pPr lvl="1"/>
            <a:r>
              <a:rPr lang="en-US"/>
              <a:t>Reset slicers</a:t>
            </a:r>
          </a:p>
          <a:p>
            <a:pPr lvl="1"/>
            <a:r>
              <a:rPr lang="en-US"/>
              <a:t>Swap visuals</a:t>
            </a:r>
          </a:p>
        </p:txBody>
      </p:sp>
      <p:pic>
        <p:nvPicPr>
          <p:cNvPr id="7" name="Picture 2" descr="Animated image shows using buttons to toggle between a bar chart visual and a map visual.">
            <a:extLst>
              <a:ext uri="{FF2B5EF4-FFF2-40B4-BE49-F238E27FC236}">
                <a16:creationId xmlns:a16="http://schemas.microsoft.com/office/drawing/2014/main" id="{CCCB9DD6-1A52-4367-939A-A49CC05A798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864126"/>
            <a:ext cx="6480000" cy="351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4664179"/>
      </p:ext>
    </p:extLst>
  </p:cSld>
  <p:clrMapOvr>
    <a:masterClrMapping/>
  </p:clrMapOvr>
  <p:transition>
    <p:fade/>
  </p:transition>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ookmark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4520725"/>
          </a:xfrm>
        </p:spPr>
        <p:txBody>
          <a:bodyPr/>
          <a:lstStyle/>
          <a:p>
            <a:r>
              <a:rPr lang="en-US"/>
              <a:t>Powerful way to turn a Power BI report into a guided analytical experience</a:t>
            </a:r>
          </a:p>
          <a:p>
            <a:r>
              <a:rPr lang="en-US"/>
              <a:t>Commonly, you will add buttons to a report design and configure their actions to apply a bookmark</a:t>
            </a:r>
          </a:p>
          <a:p>
            <a:r>
              <a:rPr lang="en-US"/>
              <a:t>Examples of use cases</a:t>
            </a:r>
          </a:p>
          <a:p>
            <a:pPr lvl="1"/>
            <a:r>
              <a:rPr lang="en-US"/>
              <a:t>Reset slicers</a:t>
            </a:r>
          </a:p>
          <a:p>
            <a:pPr lvl="1"/>
            <a:r>
              <a:rPr lang="en-US"/>
              <a:t>Swap visuals</a:t>
            </a:r>
          </a:p>
          <a:p>
            <a:pPr lvl="1"/>
            <a:r>
              <a:rPr lang="en-US"/>
              <a:t>Drill down multiple visuals (Year/quarter/month)</a:t>
            </a:r>
          </a:p>
          <a:p>
            <a:pPr marL="233126" lvl="1" indent="0">
              <a:buNone/>
            </a:pPr>
            <a:endParaRPr lang="en-US"/>
          </a:p>
        </p:txBody>
      </p:sp>
    </p:spTree>
    <p:extLst>
      <p:ext uri="{BB962C8B-B14F-4D97-AF65-F5344CB8AC3E}">
        <p14:creationId xmlns:p14="http://schemas.microsoft.com/office/powerpoint/2010/main" val="1546305212"/>
      </p:ext>
    </p:extLst>
  </p:cSld>
  <p:clrMapOvr>
    <a:masterClrMapping/>
  </p:clrMapOvr>
  <p:transition>
    <p:fade/>
  </p:transition>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Bookmark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4520148"/>
          </a:xfrm>
        </p:spPr>
        <p:txBody>
          <a:bodyPr/>
          <a:lstStyle/>
          <a:p>
            <a:r>
              <a:rPr lang="en-US"/>
              <a:t>Powerful way to turn a Power BI report into a guided analytical experience</a:t>
            </a:r>
          </a:p>
          <a:p>
            <a:r>
              <a:rPr lang="en-US"/>
              <a:t>Commonly, you will add buttons to a report design and configure their actions to apply a bookmark</a:t>
            </a:r>
          </a:p>
          <a:p>
            <a:r>
              <a:rPr lang="en-US"/>
              <a:t>Examples of use cases</a:t>
            </a:r>
          </a:p>
          <a:p>
            <a:pPr lvl="1"/>
            <a:r>
              <a:rPr lang="en-US"/>
              <a:t>Reset slicers</a:t>
            </a:r>
          </a:p>
          <a:p>
            <a:pPr lvl="1"/>
            <a:r>
              <a:rPr lang="en-US"/>
              <a:t>Swap visuals</a:t>
            </a:r>
          </a:p>
          <a:p>
            <a:pPr lvl="1"/>
            <a:r>
              <a:rPr lang="en-US"/>
              <a:t>Drill down multiple visuals (Year/quarter/month)</a:t>
            </a:r>
          </a:p>
          <a:p>
            <a:pPr marL="233126" lvl="1" indent="0">
              <a:buNone/>
            </a:pPr>
            <a:endParaRPr lang="en-US"/>
          </a:p>
        </p:txBody>
      </p:sp>
      <p:grpSp>
        <p:nvGrpSpPr>
          <p:cNvPr id="13" name="Group 12">
            <a:extLst>
              <a:ext uri="{FF2B5EF4-FFF2-40B4-BE49-F238E27FC236}">
                <a16:creationId xmlns:a16="http://schemas.microsoft.com/office/drawing/2014/main" id="{0A878C45-5472-4C14-BD86-5D0A3D3D24F4}"/>
              </a:ext>
            </a:extLst>
          </p:cNvPr>
          <p:cNvGrpSpPr/>
          <p:nvPr/>
        </p:nvGrpSpPr>
        <p:grpSpPr>
          <a:xfrm>
            <a:off x="455589" y="2456332"/>
            <a:ext cx="5759265" cy="2664556"/>
            <a:chOff x="455647" y="2456199"/>
            <a:chExt cx="5760000" cy="2664896"/>
          </a:xfrm>
        </p:grpSpPr>
        <p:pic>
          <p:nvPicPr>
            <p:cNvPr id="5" name="Picture 2" descr="Image of bookmark area chart visual across year.">
              <a:extLst>
                <a:ext uri="{FF2B5EF4-FFF2-40B4-BE49-F238E27FC236}">
                  <a16:creationId xmlns:a16="http://schemas.microsoft.com/office/drawing/2014/main" id="{2A55F73D-026F-4B25-9BEA-85B1F774E29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5647" y="2456199"/>
              <a:ext cx="5760000" cy="2664896"/>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1EDEF1EC-C4CE-4A12-8A11-26CD10B5E83B}"/>
                </a:ext>
              </a:extLst>
            </p:cNvPr>
            <p:cNvSpPr/>
            <p:nvPr/>
          </p:nvSpPr>
          <p:spPr bwMode="auto">
            <a:xfrm>
              <a:off x="579147" y="2869313"/>
              <a:ext cx="435716" cy="304800"/>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defRPr/>
              </a:pPr>
              <a:endParaRPr lang="en-DK" sz="2000" err="1">
                <a:solidFill>
                  <a:srgbClr val="FFFFFF"/>
                </a:solidFill>
                <a:latin typeface="Segoe UI"/>
                <a:ea typeface="Segoe UI" pitchFamily="34" charset="0"/>
                <a:cs typeface="Segoe UI" pitchFamily="34" charset="0"/>
              </a:endParaRPr>
            </a:p>
          </p:txBody>
        </p:sp>
      </p:grpSp>
      <p:grpSp>
        <p:nvGrpSpPr>
          <p:cNvPr id="14" name="Group 13">
            <a:extLst>
              <a:ext uri="{FF2B5EF4-FFF2-40B4-BE49-F238E27FC236}">
                <a16:creationId xmlns:a16="http://schemas.microsoft.com/office/drawing/2014/main" id="{F69F53E1-B283-40D3-8973-CB671B4F09AC}"/>
              </a:ext>
            </a:extLst>
          </p:cNvPr>
          <p:cNvGrpSpPr/>
          <p:nvPr/>
        </p:nvGrpSpPr>
        <p:grpSpPr>
          <a:xfrm>
            <a:off x="6523418" y="2456333"/>
            <a:ext cx="5759265" cy="2927427"/>
            <a:chOff x="6524250" y="2456199"/>
            <a:chExt cx="5760000" cy="2927801"/>
          </a:xfrm>
        </p:grpSpPr>
        <p:pic>
          <p:nvPicPr>
            <p:cNvPr id="7" name="Picture 4" descr="Image of bookmark area chart visual across month.">
              <a:extLst>
                <a:ext uri="{FF2B5EF4-FFF2-40B4-BE49-F238E27FC236}">
                  <a16:creationId xmlns:a16="http://schemas.microsoft.com/office/drawing/2014/main" id="{1213BFC8-0373-4919-9835-74A3C49A2DF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24250" y="2456199"/>
              <a:ext cx="5760000" cy="2927801"/>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AC9E219B-23AD-4440-95F0-4478FC3C6133}"/>
                </a:ext>
              </a:extLst>
            </p:cNvPr>
            <p:cNvSpPr/>
            <p:nvPr/>
          </p:nvSpPr>
          <p:spPr bwMode="auto">
            <a:xfrm>
              <a:off x="7765393" y="2927928"/>
              <a:ext cx="435716" cy="304800"/>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defRPr/>
              </a:pPr>
              <a:endParaRPr lang="en-DK" sz="2000" err="1">
                <a:solidFill>
                  <a:srgbClr val="FFFFFF"/>
                </a:soli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34474459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4"/>
                                        </p:tgtEl>
                                        <p:attrNameLst>
                                          <p:attrName>style.visibility</p:attrName>
                                        </p:attrNameLst>
                                      </p:cBhvr>
                                      <p:to>
                                        <p:strVal val="visible"/>
                                      </p:to>
                                    </p:set>
                                    <p:anim calcmode="lin" valueType="num">
                                      <p:cBhvr additive="base">
                                        <p:cTn id="13" dur="500" fill="hold"/>
                                        <p:tgtEl>
                                          <p:spTgt spid="14"/>
                                        </p:tgtEl>
                                        <p:attrNameLst>
                                          <p:attrName>ppt_x</p:attrName>
                                        </p:attrNameLst>
                                      </p:cBhvr>
                                      <p:tavLst>
                                        <p:tav tm="0">
                                          <p:val>
                                            <p:strVal val="#ppt_x"/>
                                          </p:val>
                                        </p:tav>
                                        <p:tav tm="100000">
                                          <p:val>
                                            <p:strVal val="#ppt_x"/>
                                          </p:val>
                                        </p:tav>
                                      </p:tavLst>
                                    </p:anim>
                                    <p:anim calcmode="lin" valueType="num">
                                      <p:cBhvr additive="base">
                                        <p:cTn id="14"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ookmark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4972772"/>
          </a:xfrm>
        </p:spPr>
        <p:txBody>
          <a:bodyPr/>
          <a:lstStyle/>
          <a:p>
            <a:r>
              <a:rPr lang="en-US"/>
              <a:t>Powerful way to turn a Power BI report into a guided analytical experience</a:t>
            </a:r>
          </a:p>
          <a:p>
            <a:r>
              <a:rPr lang="en-US"/>
              <a:t>Commonly, you will add buttons to a report design and configure their actions to apply a bookmark</a:t>
            </a:r>
          </a:p>
          <a:p>
            <a:r>
              <a:rPr lang="en-US"/>
              <a:t>Examples of use cases</a:t>
            </a:r>
          </a:p>
          <a:p>
            <a:pPr lvl="1"/>
            <a:r>
              <a:rPr lang="en-US"/>
              <a:t>Reset slicers</a:t>
            </a:r>
          </a:p>
          <a:p>
            <a:pPr lvl="1"/>
            <a:r>
              <a:rPr lang="en-US"/>
              <a:t>Swap visuals</a:t>
            </a:r>
          </a:p>
          <a:p>
            <a:pPr lvl="1"/>
            <a:r>
              <a:rPr lang="en-US"/>
              <a:t>Drill down multiple visuals (Year/quarter/month)</a:t>
            </a:r>
          </a:p>
          <a:p>
            <a:pPr lvl="1"/>
            <a:r>
              <a:rPr lang="en-US"/>
              <a:t>Pop-up overlays (help navigate report)</a:t>
            </a:r>
          </a:p>
          <a:p>
            <a:pPr marL="233126" lvl="1" indent="0">
              <a:buNone/>
            </a:pPr>
            <a:endParaRPr lang="en-US"/>
          </a:p>
        </p:txBody>
      </p:sp>
    </p:spTree>
    <p:extLst>
      <p:ext uri="{BB962C8B-B14F-4D97-AF65-F5344CB8AC3E}">
        <p14:creationId xmlns:p14="http://schemas.microsoft.com/office/powerpoint/2010/main" val="1025525476"/>
      </p:ext>
    </p:extLst>
  </p:cSld>
  <p:clrMapOvr>
    <a:masterClrMapping/>
  </p:clrMapOvr>
  <p:transition>
    <p:fade/>
  </p:transition>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ookmark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4972772"/>
          </a:xfrm>
        </p:spPr>
        <p:txBody>
          <a:bodyPr/>
          <a:lstStyle/>
          <a:p>
            <a:r>
              <a:rPr lang="en-US"/>
              <a:t>Powerful way to turn a Power BI report into a guided analytical experience</a:t>
            </a:r>
          </a:p>
          <a:p>
            <a:r>
              <a:rPr lang="en-US"/>
              <a:t>Commonly, you will add buttons to a report design and configure their actions to apply a bookmark</a:t>
            </a:r>
          </a:p>
          <a:p>
            <a:r>
              <a:rPr lang="en-US"/>
              <a:t>Examples of use cases</a:t>
            </a:r>
          </a:p>
          <a:p>
            <a:pPr lvl="1"/>
            <a:r>
              <a:rPr lang="en-US"/>
              <a:t>Reset slicers</a:t>
            </a:r>
          </a:p>
          <a:p>
            <a:pPr lvl="1"/>
            <a:r>
              <a:rPr lang="en-US"/>
              <a:t>Swap visuals</a:t>
            </a:r>
          </a:p>
          <a:p>
            <a:pPr lvl="1"/>
            <a:r>
              <a:rPr lang="en-US"/>
              <a:t>Drill down multiple visuals (Year/quarter/month)</a:t>
            </a:r>
          </a:p>
          <a:p>
            <a:pPr lvl="1"/>
            <a:r>
              <a:rPr lang="en-US"/>
              <a:t>Pop-up overlays (help navigate report)</a:t>
            </a:r>
          </a:p>
          <a:p>
            <a:pPr marL="233126" lvl="1" indent="0">
              <a:buNone/>
            </a:pPr>
            <a:endParaRPr lang="en-US"/>
          </a:p>
        </p:txBody>
      </p:sp>
      <p:pic>
        <p:nvPicPr>
          <p:cNvPr id="4" name="Picture 2" descr="Image shows a report page with many visuals. Some visuals and buttons have coach marks that provide instructional text.">
            <a:extLst>
              <a:ext uri="{FF2B5EF4-FFF2-40B4-BE49-F238E27FC236}">
                <a16:creationId xmlns:a16="http://schemas.microsoft.com/office/drawing/2014/main" id="{FC313BB8-27C3-4337-B2B2-5F3DC19EA74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11874" y="191869"/>
            <a:ext cx="9612726" cy="5346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24441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uild Navigation With Button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4" y="1464074"/>
            <a:ext cx="11752327" cy="502317"/>
          </a:xfrm>
        </p:spPr>
        <p:txBody>
          <a:bodyPr/>
          <a:lstStyle/>
          <a:p>
            <a:r>
              <a:rPr lang="en-US"/>
              <a:t>Buttons should be placed in relevant and consistent locations</a:t>
            </a:r>
          </a:p>
        </p:txBody>
      </p:sp>
      <p:pic>
        <p:nvPicPr>
          <p:cNvPr id="7170" name="Picture 2" descr="Image shows page navigation buttons for the Sales and Returns pages. The page icons are highlighted when the page is open.">
            <a:extLst>
              <a:ext uri="{FF2B5EF4-FFF2-40B4-BE49-F238E27FC236}">
                <a16:creationId xmlns:a16="http://schemas.microsoft.com/office/drawing/2014/main" id="{D46BCE6A-7D7D-4F72-B826-471671236A7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84856" y="2438206"/>
            <a:ext cx="4896919" cy="43648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559619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170"/>
                                        </p:tgtEl>
                                        <p:attrNameLst>
                                          <p:attrName>style.visibility</p:attrName>
                                        </p:attrNameLst>
                                      </p:cBhvr>
                                      <p:to>
                                        <p:strVal val="visible"/>
                                      </p:to>
                                    </p:set>
                                    <p:anim calcmode="lin" valueType="num">
                                      <p:cBhvr additive="base">
                                        <p:cTn id="7" dur="500" fill="hold"/>
                                        <p:tgtEl>
                                          <p:spTgt spid="7170"/>
                                        </p:tgtEl>
                                        <p:attrNameLst>
                                          <p:attrName>ppt_x</p:attrName>
                                        </p:attrNameLst>
                                      </p:cBhvr>
                                      <p:tavLst>
                                        <p:tav tm="0">
                                          <p:val>
                                            <p:strVal val="#ppt_x"/>
                                          </p:val>
                                        </p:tav>
                                        <p:tav tm="100000">
                                          <p:val>
                                            <p:strVal val="#ppt_x"/>
                                          </p:val>
                                        </p:tav>
                                      </p:tavLst>
                                    </p:anim>
                                    <p:anim calcmode="lin" valueType="num">
                                      <p:cBhvr additive="base">
                                        <p:cTn id="8" dur="500" fill="hold"/>
                                        <p:tgtEl>
                                          <p:spTgt spid="717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uild Navigation With Button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4" y="1464074"/>
            <a:ext cx="11752327" cy="2159950"/>
          </a:xfrm>
        </p:spPr>
        <p:txBody>
          <a:bodyPr/>
          <a:lstStyle/>
          <a:p>
            <a:r>
              <a:rPr lang="en-US"/>
              <a:t>Buttons should be placed in relevant and consistent locations</a:t>
            </a:r>
          </a:p>
          <a:p>
            <a:r>
              <a:rPr lang="en-US"/>
              <a:t>Buttons need to be clearly interactive</a:t>
            </a:r>
          </a:p>
          <a:p>
            <a:pPr lvl="1"/>
            <a:r>
              <a:rPr lang="en-US"/>
              <a:t>On-hover formatting (change state when hover over)</a:t>
            </a:r>
          </a:p>
          <a:p>
            <a:endParaRPr lang="en-US"/>
          </a:p>
        </p:txBody>
      </p:sp>
      <p:pic>
        <p:nvPicPr>
          <p:cNvPr id="4" name="Picture 2" descr="Image shows two scenarios. The first scenario shows the &quot;Tabular&quot; button without hover, and the button text is light gray. The second scenario shows the &quot;Tabular&quot; button on hover, and the button text is black.">
            <a:extLst>
              <a:ext uri="{FF2B5EF4-FFF2-40B4-BE49-F238E27FC236}">
                <a16:creationId xmlns:a16="http://schemas.microsoft.com/office/drawing/2014/main" id="{10711E85-D7EB-4B3A-8E7A-3585F7F33A5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98237" y="3449458"/>
            <a:ext cx="5040000" cy="23843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381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uild Navigation With Buttons</a:t>
            </a:r>
          </a:p>
        </p:txBody>
      </p:sp>
      <p:pic>
        <p:nvPicPr>
          <p:cNvPr id="6" name="Picture 2" descr="Image shows the cursor hovering over the &quot;Tabular&quot; button. A tooltip that reads &quot;Tabular view&quot; is revealed.">
            <a:extLst>
              <a:ext uri="{FF2B5EF4-FFF2-40B4-BE49-F238E27FC236}">
                <a16:creationId xmlns:a16="http://schemas.microsoft.com/office/drawing/2014/main" id="{E02623D3-5358-4679-A9C7-FD6C3B6B63F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98237" y="2891047"/>
            <a:ext cx="5040000" cy="4004384"/>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4" y="1464074"/>
            <a:ext cx="11752327" cy="2611997"/>
          </a:xfrm>
        </p:spPr>
        <p:txBody>
          <a:bodyPr/>
          <a:lstStyle/>
          <a:p>
            <a:r>
              <a:rPr lang="en-US"/>
              <a:t>Buttons should be placed in relevant and consistent locations</a:t>
            </a:r>
          </a:p>
          <a:p>
            <a:r>
              <a:rPr lang="en-US"/>
              <a:t>Buttons need to be clearly interactive</a:t>
            </a:r>
          </a:p>
          <a:p>
            <a:pPr lvl="1"/>
            <a:r>
              <a:rPr lang="en-US"/>
              <a:t>On-hover formatting (change state when hover over)</a:t>
            </a:r>
          </a:p>
          <a:p>
            <a:pPr lvl="1"/>
            <a:r>
              <a:rPr lang="en-US"/>
              <a:t>Descriptive tooltips (add text)</a:t>
            </a:r>
          </a:p>
          <a:p>
            <a:endParaRPr lang="en-US"/>
          </a:p>
        </p:txBody>
      </p:sp>
    </p:spTree>
    <p:extLst>
      <p:ext uri="{BB962C8B-B14F-4D97-AF65-F5344CB8AC3E}">
        <p14:creationId xmlns:p14="http://schemas.microsoft.com/office/powerpoint/2010/main" val="14025131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Visual Header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840560" cy="5525487"/>
          </a:xfrm>
        </p:spPr>
        <p:txBody>
          <a:bodyPr/>
          <a:lstStyle/>
          <a:p>
            <a:endParaRPr lang="en-US"/>
          </a:p>
          <a:p>
            <a:endParaRPr lang="en-US"/>
          </a:p>
          <a:p>
            <a:pPr lvl="1"/>
            <a:endParaRPr lang="en-US"/>
          </a:p>
          <a:p>
            <a:pPr lvl="1"/>
            <a:endParaRPr lang="en-US"/>
          </a:p>
          <a:p>
            <a:r>
              <a:rPr lang="en-US"/>
              <a:t>Interactions available to report authors and consumers</a:t>
            </a:r>
          </a:p>
          <a:p>
            <a:r>
              <a:rPr lang="en-US"/>
              <a:t>Located in upper right corner if sufficient space </a:t>
            </a:r>
          </a:p>
          <a:p>
            <a:pPr lvl="1"/>
            <a:r>
              <a:rPr lang="en-US"/>
              <a:t>Leave enough space</a:t>
            </a:r>
          </a:p>
          <a:p>
            <a:r>
              <a:rPr lang="en-US"/>
              <a:t>Can be disabled for all visuals or for single visuals. </a:t>
            </a:r>
            <a:br>
              <a:rPr lang="en-US"/>
            </a:br>
            <a:r>
              <a:rPr lang="en-US"/>
              <a:t>Turn off when not needed, e.g., slicers and buttons</a:t>
            </a:r>
          </a:p>
          <a:p>
            <a:endParaRPr lang="en-US"/>
          </a:p>
        </p:txBody>
      </p:sp>
      <p:pic>
        <p:nvPicPr>
          <p:cNvPr id="10242" name="Picture 2" descr="Image shows visual headers More options menu including options to export data, spotlight, and sort.">
            <a:extLst>
              <a:ext uri="{FF2B5EF4-FFF2-40B4-BE49-F238E27FC236}">
                <a16:creationId xmlns:a16="http://schemas.microsoft.com/office/drawing/2014/main" id="{E3117000-DE4F-4A5D-B427-9A1C67976F4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1051611"/>
            <a:ext cx="6480000" cy="23469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50178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5" end="5"/>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2700429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Using built-in Assistanc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4" y="1464074"/>
            <a:ext cx="11704753" cy="3214791"/>
          </a:xfrm>
        </p:spPr>
        <p:txBody>
          <a:bodyPr/>
          <a:lstStyle/>
          <a:p>
            <a:r>
              <a:rPr lang="en-US"/>
              <a:t>Creating intuitive and simple-to-navigate reports is important</a:t>
            </a:r>
          </a:p>
          <a:p>
            <a:r>
              <a:rPr lang="en-US"/>
              <a:t>Aim for “no training required” experience</a:t>
            </a:r>
          </a:p>
          <a:p>
            <a:r>
              <a:rPr lang="en-US"/>
              <a:t>Provide built-in assistance, e.g.</a:t>
            </a:r>
          </a:p>
          <a:p>
            <a:pPr lvl="1"/>
            <a:r>
              <a:rPr lang="en-US"/>
              <a:t>Information page (dedicated page with instructions)</a:t>
            </a:r>
          </a:p>
          <a:p>
            <a:pPr lvl="1"/>
            <a:r>
              <a:rPr lang="en-US"/>
              <a:t>Visual header tooltip icon (add descriptive text for a visual)</a:t>
            </a:r>
          </a:p>
          <a:p>
            <a:pPr marL="0" indent="0">
              <a:buNone/>
            </a:pPr>
            <a:endParaRPr lang="en-US"/>
          </a:p>
        </p:txBody>
      </p:sp>
      <p:pic>
        <p:nvPicPr>
          <p:cNvPr id="5" name="Picture 2" descr="Image shows a KPI visual with the cursor hovering over the Help icon. A tooltip is reads Turnover ratio = COGS/Avg inventory.">
            <a:extLst>
              <a:ext uri="{FF2B5EF4-FFF2-40B4-BE49-F238E27FC236}">
                <a16:creationId xmlns:a16="http://schemas.microsoft.com/office/drawing/2014/main" id="{50036054-2352-444E-8E25-96D1BF6537F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56000" y="4098253"/>
            <a:ext cx="6480000" cy="12433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69948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nodeType="clickEffect">
                                  <p:stCondLst>
                                    <p:cond delay="0"/>
                                  </p:stCondLst>
                                  <p:childTnLst>
                                    <p:set>
                                      <p:cBhvr>
                                        <p:cTn id="22" dur="1" fill="hold">
                                          <p:stCondLst>
                                            <p:cond delay="0"/>
                                          </p:stCondLst>
                                        </p:cTn>
                                        <p:tgtEl>
                                          <p:spTgt spid="5"/>
                                        </p:tgtEl>
                                        <p:attrNameLst>
                                          <p:attrName>style.visibility</p:attrName>
                                        </p:attrNameLst>
                                      </p:cBhvr>
                                      <p:to>
                                        <p:strVal val="visible"/>
                                      </p:to>
                                    </p:set>
                                    <p:anim calcmode="lin" valueType="num">
                                      <p:cBhvr additive="base">
                                        <p:cTn id="23" dur="500" fill="hold"/>
                                        <p:tgtEl>
                                          <p:spTgt spid="5"/>
                                        </p:tgtEl>
                                        <p:attrNameLst>
                                          <p:attrName>ppt_x</p:attrName>
                                        </p:attrNameLst>
                                      </p:cBhvr>
                                      <p:tavLst>
                                        <p:tav tm="0">
                                          <p:val>
                                            <p:strVal val="#ppt_x"/>
                                          </p:val>
                                        </p:tav>
                                        <p:tav tm="100000">
                                          <p:val>
                                            <p:strVal val="#ppt_x"/>
                                          </p:val>
                                        </p:tav>
                                      </p:tavLst>
                                    </p:anim>
                                    <p:anim calcmode="lin" valueType="num">
                                      <p:cBhvr additive="base">
                                        <p:cTn id="24"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Using built-in Assistanc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4" y="1464074"/>
            <a:ext cx="11704753" cy="3666838"/>
          </a:xfrm>
        </p:spPr>
        <p:txBody>
          <a:bodyPr/>
          <a:lstStyle/>
          <a:p>
            <a:r>
              <a:rPr lang="en-US"/>
              <a:t>Creating intuitive and simple-to-navigate reports is important</a:t>
            </a:r>
          </a:p>
          <a:p>
            <a:r>
              <a:rPr lang="en-US"/>
              <a:t>Aim for “no training required” experience</a:t>
            </a:r>
          </a:p>
          <a:p>
            <a:r>
              <a:rPr lang="en-US"/>
              <a:t>Provide built-in assistance, e.g.</a:t>
            </a:r>
          </a:p>
          <a:p>
            <a:pPr lvl="1"/>
            <a:r>
              <a:rPr lang="en-US"/>
              <a:t>Information page (dedicated page with instructions)</a:t>
            </a:r>
          </a:p>
          <a:p>
            <a:pPr lvl="1"/>
            <a:r>
              <a:rPr lang="en-US"/>
              <a:t>Visual header tooltip icon (add descriptive text for a visual)</a:t>
            </a:r>
          </a:p>
          <a:p>
            <a:pPr lvl="1"/>
            <a:r>
              <a:rPr lang="en-US"/>
              <a:t>Button with overlay (image to explain navigation of report)</a:t>
            </a:r>
          </a:p>
          <a:p>
            <a:pPr marL="0" indent="0">
              <a:buNone/>
            </a:pPr>
            <a:endParaRPr lang="en-US"/>
          </a:p>
        </p:txBody>
      </p:sp>
    </p:spTree>
    <p:extLst>
      <p:ext uri="{BB962C8B-B14F-4D97-AF65-F5344CB8AC3E}">
        <p14:creationId xmlns:p14="http://schemas.microsoft.com/office/powerpoint/2010/main" val="3335761655"/>
      </p:ext>
    </p:extLst>
  </p:cSld>
  <p:clrMapOvr>
    <a:masterClrMapping/>
  </p:clrMapOvr>
  <p:transition>
    <p:fade/>
  </p:transition>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Using built-in Assistanc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4" y="1464074"/>
            <a:ext cx="11704753" cy="3666838"/>
          </a:xfrm>
        </p:spPr>
        <p:txBody>
          <a:bodyPr/>
          <a:lstStyle/>
          <a:p>
            <a:r>
              <a:rPr lang="en-US"/>
              <a:t>Creating intuitive and simple-to-navigate reports is important</a:t>
            </a:r>
          </a:p>
          <a:p>
            <a:r>
              <a:rPr lang="en-US"/>
              <a:t>Aim for “no training required” experience</a:t>
            </a:r>
          </a:p>
          <a:p>
            <a:r>
              <a:rPr lang="en-US"/>
              <a:t>Provide built-in assistance, e.g.</a:t>
            </a:r>
          </a:p>
          <a:p>
            <a:pPr lvl="1"/>
            <a:r>
              <a:rPr lang="en-US"/>
              <a:t>Information page (dedicated page with instructions)</a:t>
            </a:r>
          </a:p>
          <a:p>
            <a:pPr lvl="1"/>
            <a:r>
              <a:rPr lang="en-US"/>
              <a:t>Visual header tooltip icon (add descriptive text for a visual)</a:t>
            </a:r>
          </a:p>
          <a:p>
            <a:pPr lvl="1"/>
            <a:r>
              <a:rPr lang="en-US"/>
              <a:t>Button with overlay (image to explain navigation of report)</a:t>
            </a:r>
          </a:p>
          <a:p>
            <a:pPr marL="0" indent="0">
              <a:buNone/>
            </a:pPr>
            <a:endParaRPr lang="en-US"/>
          </a:p>
        </p:txBody>
      </p:sp>
      <p:pic>
        <p:nvPicPr>
          <p:cNvPr id="5" name="Picture 2" descr="Image shows a report page with many visuals. Some visuals and buttons have coach marks that provide instructional text.">
            <a:extLst>
              <a:ext uri="{FF2B5EF4-FFF2-40B4-BE49-F238E27FC236}">
                <a16:creationId xmlns:a16="http://schemas.microsoft.com/office/drawing/2014/main" id="{2C3B9EC3-EB4E-4F70-9D41-ED3841541B2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11874" y="1329101"/>
            <a:ext cx="9612726" cy="5346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38390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AI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502317"/>
          </a:xfrm>
        </p:spPr>
        <p:txBody>
          <a:bodyPr/>
          <a:lstStyle/>
          <a:p>
            <a:r>
              <a:rPr lang="en-US"/>
              <a:t>Key influencers</a:t>
            </a:r>
          </a:p>
        </p:txBody>
      </p:sp>
      <p:pic>
        <p:nvPicPr>
          <p:cNvPr id="11266" name="Picture 2">
            <a:extLst>
              <a:ext uri="{FF2B5EF4-FFF2-40B4-BE49-F238E27FC236}">
                <a16:creationId xmlns:a16="http://schemas.microsoft.com/office/drawing/2014/main" id="{E221E5A1-E5EF-4DE5-85AB-51E83E7744B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042555"/>
            <a:ext cx="6480000" cy="42473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51070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1266"/>
                                        </p:tgtEl>
                                        <p:attrNameLst>
                                          <p:attrName>style.visibility</p:attrName>
                                        </p:attrNameLst>
                                      </p:cBhvr>
                                      <p:to>
                                        <p:strVal val="visible"/>
                                      </p:to>
                                    </p:set>
                                    <p:anim calcmode="lin" valueType="num">
                                      <p:cBhvr additive="base">
                                        <p:cTn id="7" dur="500" fill="hold"/>
                                        <p:tgtEl>
                                          <p:spTgt spid="11266"/>
                                        </p:tgtEl>
                                        <p:attrNameLst>
                                          <p:attrName>ppt_x</p:attrName>
                                        </p:attrNameLst>
                                      </p:cBhvr>
                                      <p:tavLst>
                                        <p:tav tm="0">
                                          <p:val>
                                            <p:strVal val="#ppt_x"/>
                                          </p:val>
                                        </p:tav>
                                        <p:tav tm="100000">
                                          <p:val>
                                            <p:strVal val="#ppt_x"/>
                                          </p:val>
                                        </p:tav>
                                      </p:tavLst>
                                    </p:anim>
                                    <p:anim calcmode="lin" valueType="num">
                                      <p:cBhvr additive="base">
                                        <p:cTn id="8" dur="500" fill="hold"/>
                                        <p:tgtEl>
                                          <p:spTgt spid="1126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AI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105111"/>
          </a:xfrm>
        </p:spPr>
        <p:txBody>
          <a:bodyPr/>
          <a:lstStyle/>
          <a:p>
            <a:r>
              <a:rPr lang="en-US"/>
              <a:t>Key influencers</a:t>
            </a:r>
          </a:p>
          <a:p>
            <a:r>
              <a:rPr lang="en-US"/>
              <a:t>Decomposition tree</a:t>
            </a:r>
          </a:p>
        </p:txBody>
      </p:sp>
      <p:pic>
        <p:nvPicPr>
          <p:cNvPr id="4" name="Picture 2" descr="Image shows a Decomposition tree visual helping report consumers to analyze sales opportunity revenue across two dimensions: Product category and Region.">
            <a:extLst>
              <a:ext uri="{FF2B5EF4-FFF2-40B4-BE49-F238E27FC236}">
                <a16:creationId xmlns:a16="http://schemas.microsoft.com/office/drawing/2014/main" id="{786CCC75-40BB-44B3-8EDA-65A81652DCF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705846"/>
            <a:ext cx="6480000" cy="42161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86401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AI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707903"/>
          </a:xfrm>
        </p:spPr>
        <p:txBody>
          <a:bodyPr/>
          <a:lstStyle/>
          <a:p>
            <a:r>
              <a:rPr lang="en-US"/>
              <a:t>Key influencers</a:t>
            </a:r>
          </a:p>
          <a:p>
            <a:r>
              <a:rPr lang="en-US"/>
              <a:t>Decomposition tree</a:t>
            </a:r>
          </a:p>
          <a:p>
            <a:r>
              <a:rPr lang="en-US"/>
              <a:t>Q&amp;A</a:t>
            </a:r>
          </a:p>
        </p:txBody>
      </p:sp>
      <p:pic>
        <p:nvPicPr>
          <p:cNvPr id="6" name="Picture 2">
            <a:extLst>
              <a:ext uri="{FF2B5EF4-FFF2-40B4-BE49-F238E27FC236}">
                <a16:creationId xmlns:a16="http://schemas.microsoft.com/office/drawing/2014/main" id="{F3BC65C7-AFFF-4980-A200-AF9498C895A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1694154"/>
            <a:ext cx="6480000" cy="51715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63450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AI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3516284"/>
          </a:xfrm>
        </p:spPr>
        <p:txBody>
          <a:bodyPr/>
          <a:lstStyle/>
          <a:p>
            <a:r>
              <a:rPr lang="en-US"/>
              <a:t>Key influencers</a:t>
            </a:r>
          </a:p>
          <a:p>
            <a:r>
              <a:rPr lang="en-US"/>
              <a:t>Decomposition tree</a:t>
            </a:r>
          </a:p>
          <a:p>
            <a:r>
              <a:rPr lang="en-US"/>
              <a:t>Q&amp;A</a:t>
            </a:r>
          </a:p>
          <a:p>
            <a:endParaRPr lang="en-US"/>
          </a:p>
          <a:p>
            <a:r>
              <a:rPr lang="en-US"/>
              <a:t>Make sure the AI visual is large enough to fully interact</a:t>
            </a:r>
          </a:p>
          <a:p>
            <a:endParaRPr lang="en-US"/>
          </a:p>
        </p:txBody>
      </p:sp>
    </p:spTree>
    <p:extLst>
      <p:ext uri="{BB962C8B-B14F-4D97-AF65-F5344CB8AC3E}">
        <p14:creationId xmlns:p14="http://schemas.microsoft.com/office/powerpoint/2010/main" val="3735077586"/>
      </p:ext>
    </p:extLst>
  </p:cSld>
  <p:clrMapOvr>
    <a:masterClrMapping/>
  </p:clrMapOvr>
  <p:transition>
    <p:fade/>
  </p:transition>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Report Design Too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502253"/>
          </a:xfrm>
        </p:spPr>
        <p:txBody>
          <a:bodyPr/>
          <a:lstStyle/>
          <a:p>
            <a:r>
              <a:rPr lang="en-US"/>
              <a:t>Format commands (Format ribbon, help to arrange objects)</a:t>
            </a:r>
          </a:p>
        </p:txBody>
      </p:sp>
      <p:grpSp>
        <p:nvGrpSpPr>
          <p:cNvPr id="6" name="Group 5">
            <a:extLst>
              <a:ext uri="{FF2B5EF4-FFF2-40B4-BE49-F238E27FC236}">
                <a16:creationId xmlns:a16="http://schemas.microsoft.com/office/drawing/2014/main" id="{B888FAE4-8D4C-43A0-8527-34636408655F}"/>
              </a:ext>
            </a:extLst>
          </p:cNvPr>
          <p:cNvGrpSpPr/>
          <p:nvPr/>
        </p:nvGrpSpPr>
        <p:grpSpPr>
          <a:xfrm>
            <a:off x="2977858" y="2109226"/>
            <a:ext cx="6479173" cy="1480627"/>
            <a:chOff x="2978237" y="2109049"/>
            <a:chExt cx="6480000" cy="1480816"/>
          </a:xfrm>
        </p:grpSpPr>
        <p:pic>
          <p:nvPicPr>
            <p:cNvPr id="15362" name="Picture 2" descr="Screenshot of the Format tab on Power BI Desktop.">
              <a:extLst>
                <a:ext uri="{FF2B5EF4-FFF2-40B4-BE49-F238E27FC236}">
                  <a16:creationId xmlns:a16="http://schemas.microsoft.com/office/drawing/2014/main" id="{1F4CB4E1-B99A-4BE2-B35A-DC97FE68ABF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159851"/>
              <a:ext cx="6480000" cy="1350879"/>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BDE09CD9-A036-46C1-B769-4E26DD86C835}"/>
                </a:ext>
              </a:extLst>
            </p:cNvPr>
            <p:cNvSpPr/>
            <p:nvPr/>
          </p:nvSpPr>
          <p:spPr bwMode="auto">
            <a:xfrm>
              <a:off x="5371280" y="2109049"/>
              <a:ext cx="2883720" cy="1480816"/>
            </a:xfrm>
            <a:prstGeom prst="rect">
              <a:avLst/>
            </a:prstGeom>
            <a:noFill/>
            <a:ln w="5715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defRPr/>
              </a:pPr>
              <a:endParaRPr lang="en-DK" sz="2000" err="1">
                <a:solidFill>
                  <a:srgbClr val="FFFFFF"/>
                </a:soli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42666892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Report Design Too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707903"/>
          </a:xfrm>
        </p:spPr>
        <p:txBody>
          <a:bodyPr/>
          <a:lstStyle/>
          <a:p>
            <a:r>
              <a:rPr lang="en-US"/>
              <a:t>Format commands (Format ribbon, help to arrange objects)</a:t>
            </a:r>
          </a:p>
          <a:p>
            <a:r>
              <a:rPr lang="en-US"/>
              <a:t>Selection pane (Layer order, Tab order)</a:t>
            </a:r>
          </a:p>
          <a:p>
            <a:pPr marL="0" indent="0">
              <a:buNone/>
            </a:pPr>
            <a:endParaRPr lang="en-US"/>
          </a:p>
        </p:txBody>
      </p:sp>
      <p:pic>
        <p:nvPicPr>
          <p:cNvPr id="4" name="Picture 2" descr="Screenshot of the Selection pane and the Layer order tab. Several objects and groups are listed.">
            <a:extLst>
              <a:ext uri="{FF2B5EF4-FFF2-40B4-BE49-F238E27FC236}">
                <a16:creationId xmlns:a16="http://schemas.microsoft.com/office/drawing/2014/main" id="{D930B192-9FCC-4BBC-B8DD-CF9AC1DA3D2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05261" y="2870485"/>
            <a:ext cx="2520000" cy="381286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Screenshot of the Selection pane and the Tab order tab. Several objects and groups are listed.">
            <a:extLst>
              <a:ext uri="{FF2B5EF4-FFF2-40B4-BE49-F238E27FC236}">
                <a16:creationId xmlns:a16="http://schemas.microsoft.com/office/drawing/2014/main" id="{245D294D-289B-4278-84D8-41B8C6535E6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11213" y="2870485"/>
            <a:ext cx="2520000" cy="33307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62322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500" fill="hold"/>
                                        <p:tgtEl>
                                          <p:spTgt spid="6"/>
                                        </p:tgtEl>
                                        <p:attrNameLst>
                                          <p:attrName>ppt_x</p:attrName>
                                        </p:attrNameLst>
                                      </p:cBhvr>
                                      <p:tavLst>
                                        <p:tav tm="0">
                                          <p:val>
                                            <p:strVal val="#ppt_x"/>
                                          </p:val>
                                        </p:tav>
                                        <p:tav tm="100000">
                                          <p:val>
                                            <p:strVal val="#ppt_x"/>
                                          </p:val>
                                        </p:tav>
                                      </p:tavLst>
                                    </p:anim>
                                    <p:anim calcmode="lin" valueType="num">
                                      <p:cBhvr additive="base">
                                        <p:cTn id="14"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Report Design Too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2813014"/>
          </a:xfrm>
        </p:spPr>
        <p:txBody>
          <a:bodyPr/>
          <a:lstStyle/>
          <a:p>
            <a:r>
              <a:rPr lang="en-US"/>
              <a:t>Format commands (Format ribbon, help to arrange objects)</a:t>
            </a:r>
          </a:p>
          <a:p>
            <a:r>
              <a:rPr lang="en-US"/>
              <a:t>Selection pane (Layer order, Tab order)</a:t>
            </a:r>
          </a:p>
          <a:p>
            <a:r>
              <a:rPr lang="en-US"/>
              <a:t>Report layout options (View ribbon, gridlines, snap to grid, lock objects)</a:t>
            </a:r>
          </a:p>
          <a:p>
            <a:pPr marL="0" indent="0">
              <a:buNone/>
            </a:pPr>
            <a:endParaRPr lang="en-US" b="1"/>
          </a:p>
        </p:txBody>
      </p:sp>
      <p:pic>
        <p:nvPicPr>
          <p:cNvPr id="5" name="Picture 2" descr="Screenshot of the View tab, showing the page options of Gridlines, Snap to grid, and Lock objects.">
            <a:extLst>
              <a:ext uri="{FF2B5EF4-FFF2-40B4-BE49-F238E27FC236}">
                <a16:creationId xmlns:a16="http://schemas.microsoft.com/office/drawing/2014/main" id="{D28E5BD0-8DB3-4D40-BABD-A3A10CBE877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3676553"/>
            <a:ext cx="6480000" cy="13292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58918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Power Query / M Language</a:t>
            </a:r>
          </a:p>
        </p:txBody>
      </p:sp>
      <p:sp>
        <p:nvSpPr>
          <p:cNvPr id="6" name="Content Placeholder 2">
            <a:extLst>
              <a:ext uri="{FF2B5EF4-FFF2-40B4-BE49-F238E27FC236}">
                <a16:creationId xmlns:a16="http://schemas.microsoft.com/office/drawing/2014/main" id="{ACA0514C-E1EC-4C45-A770-147BC7DAEBF7}"/>
              </a:ext>
            </a:extLst>
          </p:cNvPr>
          <p:cNvSpPr>
            <a:spLocks noGrp="1"/>
          </p:cNvSpPr>
          <p:nvPr>
            <p:ph idx="1"/>
          </p:nvPr>
        </p:nvSpPr>
        <p:spPr>
          <a:xfrm>
            <a:off x="855767" y="1544815"/>
            <a:ext cx="10724938" cy="4309447"/>
          </a:xfrm>
        </p:spPr>
        <p:txBody>
          <a:bodyPr>
            <a:normAutofit/>
          </a:bodyPr>
          <a:lstStyle/>
          <a:p>
            <a:pPr marL="0" indent="0">
              <a:buNone/>
            </a:pPr>
            <a:r>
              <a:rPr lang="en-US" sz="2448">
                <a:latin typeface="Segoe UI" panose="020B0502040204020203" pitchFamily="34" charset="0"/>
              </a:rPr>
              <a:t>The Power Query Formula Language is a powerful </a:t>
            </a:r>
            <a:r>
              <a:rPr lang="en-US" sz="2448" b="1">
                <a:solidFill>
                  <a:srgbClr val="F2C811"/>
                </a:solidFill>
                <a:latin typeface="Segoe UI" panose="020B0502040204020203" pitchFamily="34" charset="0"/>
              </a:rPr>
              <a:t>query</a:t>
            </a:r>
            <a:r>
              <a:rPr lang="en-US" sz="2448" b="1">
                <a:solidFill>
                  <a:srgbClr val="217346"/>
                </a:solidFill>
                <a:latin typeface="Segoe UI" panose="020B0502040204020203" pitchFamily="34" charset="0"/>
              </a:rPr>
              <a:t> </a:t>
            </a:r>
            <a:r>
              <a:rPr lang="en-US" sz="2448" b="1">
                <a:solidFill>
                  <a:srgbClr val="F2C811"/>
                </a:solidFill>
                <a:latin typeface="Segoe UI" panose="020B0502040204020203" pitchFamily="34" charset="0"/>
              </a:rPr>
              <a:t>language</a:t>
            </a:r>
            <a:r>
              <a:rPr lang="en-US" sz="2448">
                <a:latin typeface="Segoe UI" panose="020B0502040204020203" pitchFamily="34" charset="0"/>
              </a:rPr>
              <a:t> optimized for building queries that </a:t>
            </a:r>
            <a:r>
              <a:rPr lang="en-US" sz="2448" b="1" u="sng">
                <a:solidFill>
                  <a:srgbClr val="F2C811"/>
                </a:solidFill>
                <a:latin typeface="Segoe UI" panose="020B0502040204020203" pitchFamily="34" charset="0"/>
              </a:rPr>
              <a:t>m</a:t>
            </a:r>
            <a:r>
              <a:rPr lang="en-US" sz="2448">
                <a:latin typeface="Segoe UI" panose="020B0502040204020203" pitchFamily="34" charset="0"/>
              </a:rPr>
              <a:t>ashup data. It's a functional, case sensitive language.</a:t>
            </a:r>
          </a:p>
          <a:p>
            <a:pPr marL="0" indent="0">
              <a:buNone/>
            </a:pPr>
            <a:endParaRPr lang="en-US" sz="2448">
              <a:latin typeface="Segoe UI" panose="020B0502040204020203" pitchFamily="34" charset="0"/>
            </a:endParaRPr>
          </a:p>
          <a:p>
            <a:pPr marL="0" indent="0">
              <a:buNone/>
            </a:pPr>
            <a:r>
              <a:rPr lang="en-US" sz="2448">
                <a:latin typeface="Segoe UI" panose="020B0502040204020203" pitchFamily="34" charset="0"/>
              </a:rPr>
              <a:t>For computer language theorists: Power Query is a mostly pure, </a:t>
            </a:r>
            <a:r>
              <a:rPr lang="en-US" sz="2448" u="sng">
                <a:latin typeface="Segoe UI" panose="020B0502040204020203" pitchFamily="34" charset="0"/>
              </a:rPr>
              <a:t>higher-order</a:t>
            </a:r>
            <a:r>
              <a:rPr lang="en-US" sz="2448">
                <a:latin typeface="Segoe UI" panose="020B0502040204020203" pitchFamily="34" charset="0"/>
              </a:rPr>
              <a:t>, </a:t>
            </a:r>
            <a:r>
              <a:rPr lang="en-US" sz="2448" u="sng">
                <a:latin typeface="Segoe UI" panose="020B0502040204020203" pitchFamily="34" charset="0"/>
              </a:rPr>
              <a:t>dynamically typed</a:t>
            </a:r>
            <a:r>
              <a:rPr lang="en-US" sz="2448">
                <a:latin typeface="Segoe UI" panose="020B0502040204020203" pitchFamily="34" charset="0"/>
              </a:rPr>
              <a:t>, </a:t>
            </a:r>
            <a:r>
              <a:rPr lang="en-US" sz="2448" u="sng">
                <a:latin typeface="Segoe UI" panose="020B0502040204020203" pitchFamily="34" charset="0"/>
              </a:rPr>
              <a:t>partially lazy</a:t>
            </a:r>
            <a:r>
              <a:rPr lang="en-US" sz="2448">
                <a:latin typeface="Segoe UI" panose="020B0502040204020203" pitchFamily="34" charset="0"/>
              </a:rPr>
              <a:t>, functional language. You can create a variety of data mashup queries from simple to advanced scenarios.</a:t>
            </a:r>
          </a:p>
        </p:txBody>
      </p:sp>
      <p:sp>
        <p:nvSpPr>
          <p:cNvPr id="8" name="TextBox 7">
            <a:extLst>
              <a:ext uri="{FF2B5EF4-FFF2-40B4-BE49-F238E27FC236}">
                <a16:creationId xmlns:a16="http://schemas.microsoft.com/office/drawing/2014/main" id="{1CA714EF-26F6-4959-AFF5-A6EE5BA38B90}"/>
              </a:ext>
            </a:extLst>
          </p:cNvPr>
          <p:cNvSpPr txBox="1"/>
          <p:nvPr/>
        </p:nvSpPr>
        <p:spPr>
          <a:xfrm>
            <a:off x="4729908" y="844166"/>
            <a:ext cx="2976657" cy="369332"/>
          </a:xfrm>
          <a:prstGeom prst="rect">
            <a:avLst/>
          </a:prstGeom>
          <a:noFill/>
        </p:spPr>
        <p:txBody>
          <a:bodyPr wrap="square">
            <a:spAutoFit/>
          </a:bodyPr>
          <a:lstStyle/>
          <a:p>
            <a:pPr algn="ctr"/>
            <a:r>
              <a:rPr lang="en-US">
                <a:latin typeface="Segoe UI" panose="020B0502040204020203" pitchFamily="34" charset="0"/>
              </a:rPr>
              <a:t>(informally known as “M”)</a:t>
            </a:r>
            <a:endParaRPr lang="en-US">
              <a:latin typeface="Segoe UI" panose="020B0502040204020203" pitchFamily="34" charset="0"/>
              <a:cs typeface="Segoe UI" panose="020B0502040204020203" pitchFamily="34" charset="0"/>
            </a:endParaRPr>
          </a:p>
        </p:txBody>
      </p:sp>
      <p:pic>
        <p:nvPicPr>
          <p:cNvPr id="5" name="Picture 4" descr="Power Query icon&#10;&#10;Description automatically generated">
            <a:extLst>
              <a:ext uri="{FF2B5EF4-FFF2-40B4-BE49-F238E27FC236}">
                <a16:creationId xmlns:a16="http://schemas.microsoft.com/office/drawing/2014/main" id="{113060C0-7F1E-45E5-A47F-D3F71A8808AD}"/>
              </a:ext>
            </a:extLst>
          </p:cNvPr>
          <p:cNvPicPr>
            <a:picLocks noChangeAspect="1"/>
          </p:cNvPicPr>
          <p:nvPr/>
        </p:nvPicPr>
        <p:blipFill>
          <a:blip r:embed="rId3"/>
          <a:stretch>
            <a:fillRect/>
          </a:stretch>
        </p:blipFill>
        <p:spPr>
          <a:xfrm>
            <a:off x="9890943" y="4314514"/>
            <a:ext cx="2270391" cy="2270391"/>
          </a:xfrm>
          <a:prstGeom prst="rect">
            <a:avLst/>
          </a:prstGeom>
        </p:spPr>
      </p:pic>
    </p:spTree>
    <p:extLst>
      <p:ext uri="{BB962C8B-B14F-4D97-AF65-F5344CB8AC3E}">
        <p14:creationId xmlns:p14="http://schemas.microsoft.com/office/powerpoint/2010/main" val="749599461"/>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Report Design Too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478854" cy="4520918"/>
          </a:xfrm>
        </p:spPr>
        <p:txBody>
          <a:bodyPr/>
          <a:lstStyle/>
          <a:p>
            <a:r>
              <a:rPr lang="en-US"/>
              <a:t>Format commands (Format ribbon, help to arrange objects)</a:t>
            </a:r>
          </a:p>
          <a:p>
            <a:r>
              <a:rPr lang="en-US"/>
              <a:t>Selection pane (Layer order, Tab order)</a:t>
            </a:r>
          </a:p>
          <a:p>
            <a:r>
              <a:rPr lang="en-US"/>
              <a:t>Report layout options (View ribbon, gridlines, snap to grid, lock objects)</a:t>
            </a:r>
          </a:p>
          <a:p>
            <a:r>
              <a:rPr lang="en-US"/>
              <a:t>Page view (View ribbon, fit to page, fit to width, show actual size)</a:t>
            </a:r>
          </a:p>
          <a:p>
            <a:pPr marL="0" indent="0">
              <a:buNone/>
            </a:pPr>
            <a:endParaRPr lang="en-US"/>
          </a:p>
          <a:p>
            <a:pPr marL="0" indent="0">
              <a:buNone/>
            </a:pPr>
            <a:endParaRPr lang="en-US" b="1"/>
          </a:p>
        </p:txBody>
      </p:sp>
      <p:pic>
        <p:nvPicPr>
          <p:cNvPr id="4" name="Picture 2" descr="Screenshot of the View tab, showing the Page view command.">
            <a:extLst>
              <a:ext uri="{FF2B5EF4-FFF2-40B4-BE49-F238E27FC236}">
                <a16:creationId xmlns:a16="http://schemas.microsoft.com/office/drawing/2014/main" id="{EFA33D57-F0C8-4743-80CE-0578D9FA2CA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4369130"/>
            <a:ext cx="6480000" cy="13188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437933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Report Design Too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4520918"/>
          </a:xfrm>
        </p:spPr>
        <p:txBody>
          <a:bodyPr/>
          <a:lstStyle/>
          <a:p>
            <a:r>
              <a:rPr lang="en-US"/>
              <a:t>Format commands (Format ribbon, help to arrange objects)</a:t>
            </a:r>
          </a:p>
          <a:p>
            <a:r>
              <a:rPr lang="en-US"/>
              <a:t>Selection pane (Layer order, Tab order)</a:t>
            </a:r>
          </a:p>
          <a:p>
            <a:r>
              <a:rPr lang="en-US"/>
              <a:t>Report layout options (View ribbon, gridlines, snap to grid, lock objects)</a:t>
            </a:r>
          </a:p>
          <a:p>
            <a:r>
              <a:rPr lang="en-US"/>
              <a:t>Page view (View ribbon, fit to page, fit to width, show actual size)</a:t>
            </a:r>
          </a:p>
          <a:p>
            <a:r>
              <a:rPr lang="en-US"/>
              <a:t>Undo/redo (CTRL+Z or CTRL +Y)</a:t>
            </a:r>
          </a:p>
          <a:p>
            <a:pPr marL="0" indent="0">
              <a:buNone/>
            </a:pPr>
            <a:endParaRPr lang="en-US" b="1"/>
          </a:p>
        </p:txBody>
      </p:sp>
    </p:spTree>
    <p:extLst>
      <p:ext uri="{BB962C8B-B14F-4D97-AF65-F5344CB8AC3E}">
        <p14:creationId xmlns:p14="http://schemas.microsoft.com/office/powerpoint/2010/main" val="538353258"/>
      </p:ext>
    </p:extLst>
  </p:cSld>
  <p:clrMapOvr>
    <a:masterClrMapping/>
  </p:clrMapOvr>
  <p:transition>
    <p:fade/>
  </p:transition>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Mobile Experience</a:t>
            </a:r>
          </a:p>
        </p:txBody>
      </p:sp>
      <p:pic>
        <p:nvPicPr>
          <p:cNvPr id="19458" name="Picture 2" descr="Screenshot of a report in a tablet device beside the same report that is laid out vertically in a mobile phone.">
            <a:extLst>
              <a:ext uri="{FF2B5EF4-FFF2-40B4-BE49-F238E27FC236}">
                <a16:creationId xmlns:a16="http://schemas.microsoft.com/office/drawing/2014/main" id="{B8344FD6-1A0E-4049-9FAA-DBF01BB6375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3280" y="2197772"/>
            <a:ext cx="6480000" cy="4442120"/>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384418" cy="5556586"/>
          </a:xfrm>
        </p:spPr>
        <p:txBody>
          <a:bodyPr/>
          <a:lstStyle/>
          <a:p>
            <a:r>
              <a:rPr lang="en-US"/>
              <a:t>Create report page that's designed for mobile devices when opened in portrait view.</a:t>
            </a:r>
          </a:p>
          <a:p>
            <a:endParaRPr lang="en-US"/>
          </a:p>
          <a:p>
            <a:endParaRPr lang="en-US"/>
          </a:p>
          <a:p>
            <a:endParaRPr lang="en-US"/>
          </a:p>
          <a:p>
            <a:endParaRPr lang="en-US"/>
          </a:p>
          <a:p>
            <a:endParaRPr lang="en-US"/>
          </a:p>
          <a:p>
            <a:endParaRPr lang="en-US"/>
          </a:p>
          <a:p>
            <a:endParaRPr lang="en-US"/>
          </a:p>
          <a:p>
            <a:pPr marL="0" indent="0">
              <a:buNone/>
            </a:pPr>
            <a:r>
              <a:rPr lang="en-US" sz="1800">
                <a:hlinkClick r:id="rId3"/>
              </a:rPr>
              <a:t>Create stunning, mobile-optimized Power BI reports with mobile layout’s new visual formatting pane (Preview) </a:t>
            </a:r>
            <a:endParaRPr lang="en-US" sz="1800"/>
          </a:p>
        </p:txBody>
      </p:sp>
      <p:pic>
        <p:nvPicPr>
          <p:cNvPr id="19460" name="Picture 4" descr="Screenshot of two report icons. The first is for a non-optimized report and the second is for a mobile-optimized report. The second icon includes a mobile phone icon.">
            <a:extLst>
              <a:ext uri="{FF2B5EF4-FFF2-40B4-BE49-F238E27FC236}">
                <a16:creationId xmlns:a16="http://schemas.microsoft.com/office/drawing/2014/main" id="{02E2C583-E75B-4222-A804-1AB2540A259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54507" y="2460241"/>
            <a:ext cx="5676900" cy="1304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0899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9458"/>
                                        </p:tgtEl>
                                        <p:attrNameLst>
                                          <p:attrName>style.visibility</p:attrName>
                                        </p:attrNameLst>
                                      </p:cBhvr>
                                      <p:to>
                                        <p:strVal val="visible"/>
                                      </p:to>
                                    </p:set>
                                    <p:anim calcmode="lin" valueType="num">
                                      <p:cBhvr additive="base">
                                        <p:cTn id="7" dur="500" fill="hold"/>
                                        <p:tgtEl>
                                          <p:spTgt spid="19458"/>
                                        </p:tgtEl>
                                        <p:attrNameLst>
                                          <p:attrName>ppt_x</p:attrName>
                                        </p:attrNameLst>
                                      </p:cBhvr>
                                      <p:tavLst>
                                        <p:tav tm="0">
                                          <p:val>
                                            <p:strVal val="#ppt_x"/>
                                          </p:val>
                                        </p:tav>
                                        <p:tav tm="100000">
                                          <p:val>
                                            <p:strVal val="#ppt_x"/>
                                          </p:val>
                                        </p:tav>
                                      </p:tavLst>
                                    </p:anim>
                                    <p:anim calcmode="lin" valueType="num">
                                      <p:cBhvr additive="base">
                                        <p:cTn id="8" dur="500" fill="hold"/>
                                        <p:tgtEl>
                                          <p:spTgt spid="1945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9460"/>
                                        </p:tgtEl>
                                        <p:attrNameLst>
                                          <p:attrName>style.visibility</p:attrName>
                                        </p:attrNameLst>
                                      </p:cBhvr>
                                      <p:to>
                                        <p:strVal val="visible"/>
                                      </p:to>
                                    </p:set>
                                    <p:anim calcmode="lin" valueType="num">
                                      <p:cBhvr additive="base">
                                        <p:cTn id="13" dur="500" fill="hold"/>
                                        <p:tgtEl>
                                          <p:spTgt spid="19460"/>
                                        </p:tgtEl>
                                        <p:attrNameLst>
                                          <p:attrName>ppt_x</p:attrName>
                                        </p:attrNameLst>
                                      </p:cBhvr>
                                      <p:tavLst>
                                        <p:tav tm="0">
                                          <p:val>
                                            <p:strVal val="#ppt_x"/>
                                          </p:val>
                                        </p:tav>
                                        <p:tav tm="100000">
                                          <p:val>
                                            <p:strVal val="#ppt_x"/>
                                          </p:val>
                                        </p:tav>
                                      </p:tavLst>
                                    </p:anim>
                                    <p:anim calcmode="lin" valueType="num">
                                      <p:cBhvr additive="base">
                                        <p:cTn id="14" dur="500" fill="hold"/>
                                        <p:tgtEl>
                                          <p:spTgt spid="1946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Design Reports For Accessibility</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840560" cy="5826788"/>
          </a:xfrm>
        </p:spPr>
        <p:txBody>
          <a:bodyPr/>
          <a:lstStyle/>
          <a:p>
            <a:r>
              <a:rPr lang="en-US"/>
              <a:t>Avoid creating a new report version that addresses a particular accessibility requirement</a:t>
            </a:r>
          </a:p>
          <a:p>
            <a:r>
              <a:rPr lang="en-US"/>
              <a:t>Styling </a:t>
            </a:r>
          </a:p>
          <a:p>
            <a:pPr lvl="1"/>
            <a:r>
              <a:rPr lang="en-US"/>
              <a:t>Larger fonts, color blindness. E.g., built-in theme Color blind safe or High contrast</a:t>
            </a:r>
          </a:p>
          <a:p>
            <a:r>
              <a:rPr lang="en-US"/>
              <a:t>Alt text </a:t>
            </a:r>
          </a:p>
          <a:p>
            <a:pPr lvl="1"/>
            <a:r>
              <a:rPr lang="en-US"/>
              <a:t>Can describe the appearance and function of report objects to screen reader users</a:t>
            </a:r>
          </a:p>
          <a:p>
            <a:r>
              <a:rPr lang="en-US"/>
              <a:t>Tab order </a:t>
            </a:r>
          </a:p>
          <a:p>
            <a:pPr lvl="1"/>
            <a:r>
              <a:rPr lang="en-US"/>
              <a:t>Build a logical sequence</a:t>
            </a:r>
          </a:p>
          <a:p>
            <a:r>
              <a:rPr lang="en-US"/>
              <a:t>Conditional formatting </a:t>
            </a:r>
          </a:p>
          <a:p>
            <a:pPr lvl="1"/>
            <a:r>
              <a:rPr lang="en-US"/>
              <a:t>Use icons and colors</a:t>
            </a:r>
          </a:p>
          <a:p>
            <a:pPr marL="0" indent="0">
              <a:buNone/>
            </a:pPr>
            <a:endParaRPr lang="en-US"/>
          </a:p>
        </p:txBody>
      </p:sp>
    </p:spTree>
    <p:extLst>
      <p:ext uri="{BB962C8B-B14F-4D97-AF65-F5344CB8AC3E}">
        <p14:creationId xmlns:p14="http://schemas.microsoft.com/office/powerpoint/2010/main" val="32133047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
                                            <p:txEl>
                                              <p:pRg st="7" end="7"/>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A2448F0F-750E-454F-8370-1E41DF6BCCB6}"/>
              </a:ext>
            </a:extLst>
          </p:cNvPr>
          <p:cNvSpPr/>
          <p:nvPr/>
        </p:nvSpPr>
        <p:spPr>
          <a:xfrm>
            <a:off x="1560078" y="631450"/>
            <a:ext cx="5488759" cy="548875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sp>
        <p:nvSpPr>
          <p:cNvPr id="43" name="Rectangle 42">
            <a:extLst>
              <a:ext uri="{FF2B5EF4-FFF2-40B4-BE49-F238E27FC236}">
                <a16:creationId xmlns:a16="http://schemas.microsoft.com/office/drawing/2014/main" id="{8BE93587-7EBF-453A-9E42-A743C659B286}"/>
              </a:ext>
            </a:extLst>
          </p:cNvPr>
          <p:cNvSpPr/>
          <p:nvPr/>
        </p:nvSpPr>
        <p:spPr>
          <a:xfrm rot="16200000">
            <a:off x="5343925" y="-2720097"/>
            <a:ext cx="1748627" cy="12434715"/>
          </a:xfrm>
          <a:prstGeom prst="rect">
            <a:avLst/>
          </a:prstGeom>
          <a:solidFill>
            <a:srgbClr val="EAEAEA">
              <a:alpha val="3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932649">
              <a:defRPr/>
            </a:pPr>
            <a:endParaRPr lang="en-US" sz="2448" b="1">
              <a:solidFill>
                <a:srgbClr val="000000"/>
              </a:solidFill>
              <a:latin typeface="Segoe UI Semibold" panose="020B0702040204020203" pitchFamily="34" charset="0"/>
              <a:cs typeface="Segoe UI Semibold" panose="020B0702040204020203" pitchFamily="34" charset="0"/>
            </a:endParaRPr>
          </a:p>
          <a:p>
            <a:pPr marL="2797946" lvl="6" defTabSz="932649">
              <a:defRPr/>
            </a:pPr>
            <a:endParaRPr lang="en-US" sz="2448" b="1">
              <a:solidFill>
                <a:srgbClr val="000000"/>
              </a:solidFill>
              <a:latin typeface="Segoe UI Semibold" panose="020B0702040204020203" pitchFamily="34" charset="0"/>
              <a:cs typeface="Segoe UI Semibold" panose="020B0702040204020203" pitchFamily="34" charset="0"/>
            </a:endParaRPr>
          </a:p>
          <a:p>
            <a:pPr marL="2797946" lvl="6" defTabSz="932649">
              <a:defRPr/>
            </a:pPr>
            <a:r>
              <a:rPr lang="en-US" sz="2448" b="1">
                <a:solidFill>
                  <a:srgbClr val="000000"/>
                </a:solidFill>
                <a:latin typeface="Segoe UI Semibold" panose="020B0702040204020203" pitchFamily="34" charset="0"/>
                <a:cs typeface="Segoe UI Semibold" panose="020B0702040204020203" pitchFamily="34" charset="0"/>
              </a:rPr>
              <a:t>POWER BI REPORT</a:t>
            </a:r>
          </a:p>
          <a:p>
            <a:pPr marL="2797946" lvl="6" defTabSz="932649">
              <a:defRPr/>
            </a:pPr>
            <a:r>
              <a:rPr lang="en-US" sz="1836" b="1" i="1">
                <a:solidFill>
                  <a:srgbClr val="000000"/>
                </a:solidFill>
                <a:latin typeface="Segoe UI Light" panose="020B0502040204020203" pitchFamily="34" charset="0"/>
                <a:cs typeface="Segoe UI Light" panose="020B0502040204020203" pitchFamily="34" charset="0"/>
              </a:rPr>
              <a:t>Design Thought Process</a:t>
            </a: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CA" sz="1836" b="1" i="1">
              <a:solidFill>
                <a:srgbClr val="000000"/>
              </a:solidFill>
              <a:latin typeface="Segoe UI Light" panose="020B0502040204020203" pitchFamily="34" charset="0"/>
              <a:cs typeface="Segoe UI Light" panose="020B0502040204020203" pitchFamily="34" charset="0"/>
            </a:endParaRPr>
          </a:p>
        </p:txBody>
      </p:sp>
      <p:sp>
        <p:nvSpPr>
          <p:cNvPr id="148" name="Freeform: Shape 147">
            <a:extLst>
              <a:ext uri="{FF2B5EF4-FFF2-40B4-BE49-F238E27FC236}">
                <a16:creationId xmlns:a16="http://schemas.microsoft.com/office/drawing/2014/main" id="{40659ACA-1BBA-4BE7-8CE6-752D6CF7EBEC}"/>
              </a:ext>
            </a:extLst>
          </p:cNvPr>
          <p:cNvSpPr/>
          <p:nvPr/>
        </p:nvSpPr>
        <p:spPr>
          <a:xfrm rot="8100000">
            <a:off x="1291349" y="362721"/>
            <a:ext cx="6026213" cy="6026216"/>
          </a:xfrm>
          <a:custGeom>
            <a:avLst/>
            <a:gdLst>
              <a:gd name="connsiteX0" fmla="*/ 1682508 w 4478158"/>
              <a:gd name="connsiteY0" fmla="*/ 250772 h 4478160"/>
              <a:gd name="connsiteX1" fmla="*/ 1752498 w 4478158"/>
              <a:gd name="connsiteY1" fmla="*/ 133916 h 4478160"/>
              <a:gd name="connsiteX2" fmla="*/ 1659341 w 4478158"/>
              <a:gd name="connsiteY2" fmla="*/ 78120 h 4478160"/>
              <a:gd name="connsiteX3" fmla="*/ 1811428 w 4478158"/>
              <a:gd name="connsiteY3" fmla="*/ 40988 h 4478160"/>
              <a:gd name="connsiteX4" fmla="*/ 3652293 w 4478158"/>
              <a:gd name="connsiteY4" fmla="*/ 502105 h 4478160"/>
              <a:gd name="connsiteX5" fmla="*/ 3763804 w 4478158"/>
              <a:gd name="connsiteY5" fmla="*/ 602896 h 4478160"/>
              <a:gd name="connsiteX6" fmla="*/ 3822347 w 4478158"/>
              <a:gd name="connsiteY6" fmla="*/ 655811 h 4478160"/>
              <a:gd name="connsiteX7" fmla="*/ 3853919 w 4478158"/>
              <a:gd name="connsiteY7" fmla="*/ 690741 h 4478160"/>
              <a:gd name="connsiteX8" fmla="*/ 3848013 w 4478158"/>
              <a:gd name="connsiteY8" fmla="*/ 792483 h 4478160"/>
              <a:gd name="connsiteX9" fmla="*/ 3848013 w 4478158"/>
              <a:gd name="connsiteY9" fmla="*/ 792484 h 4478160"/>
              <a:gd name="connsiteX10" fmla="*/ 3853919 w 4478158"/>
              <a:gd name="connsiteY10" fmla="*/ 690741 h 4478160"/>
              <a:gd name="connsiteX11" fmla="*/ 3976054 w 4478158"/>
              <a:gd name="connsiteY11" fmla="*/ 825864 h 4478160"/>
              <a:gd name="connsiteX12" fmla="*/ 4437170 w 4478158"/>
              <a:gd name="connsiteY12" fmla="*/ 2666730 h 4478160"/>
              <a:gd name="connsiteX13" fmla="*/ 4420751 w 4478158"/>
              <a:gd name="connsiteY13" fmla="*/ 2733981 h 4478160"/>
              <a:gd name="connsiteX14" fmla="*/ 4309537 w 4478158"/>
              <a:gd name="connsiteY14" fmla="*/ 2803038 h 4478160"/>
              <a:gd name="connsiteX15" fmla="*/ 4249278 w 4478158"/>
              <a:gd name="connsiteY15" fmla="*/ 2705993 h 4478160"/>
              <a:gd name="connsiteX16" fmla="*/ 4266950 w 4478158"/>
              <a:gd name="connsiteY16" fmla="*/ 2633613 h 4478160"/>
              <a:gd name="connsiteX17" fmla="*/ 3841542 w 4478158"/>
              <a:gd name="connsiteY17" fmla="*/ 935304 h 4478160"/>
              <a:gd name="connsiteX18" fmla="*/ 3704945 w 4478158"/>
              <a:gd name="connsiteY18" fmla="*/ 784179 h 4478160"/>
              <a:gd name="connsiteX19" fmla="*/ 3704944 w 4478158"/>
              <a:gd name="connsiteY19" fmla="*/ 784179 h 4478160"/>
              <a:gd name="connsiteX20" fmla="*/ 3699739 w 4478158"/>
              <a:gd name="connsiteY20" fmla="*/ 778420 h 4478160"/>
              <a:gd name="connsiteX21" fmla="*/ 3602229 w 4478158"/>
              <a:gd name="connsiteY21" fmla="*/ 690284 h 4478160"/>
              <a:gd name="connsiteX22" fmla="*/ 3542854 w 4478158"/>
              <a:gd name="connsiteY22" fmla="*/ 636618 h 4478160"/>
              <a:gd name="connsiteX23" fmla="*/ 1844546 w 4478158"/>
              <a:gd name="connsiteY23" fmla="*/ 211210 h 4478160"/>
              <a:gd name="connsiteX24" fmla="*/ 39167 w 4478158"/>
              <a:gd name="connsiteY24" fmla="*/ 1824055 h 4478160"/>
              <a:gd name="connsiteX25" fmla="*/ 40988 w 4478158"/>
              <a:gd name="connsiteY25" fmla="*/ 1811428 h 4478160"/>
              <a:gd name="connsiteX26" fmla="*/ 655811 w 4478158"/>
              <a:gd name="connsiteY26" fmla="*/ 655811 h 4478160"/>
              <a:gd name="connsiteX27" fmla="*/ 1396512 w 4478158"/>
              <a:gd name="connsiteY27" fmla="*/ 163952 h 4478160"/>
              <a:gd name="connsiteX28" fmla="*/ 1536124 w 4478158"/>
              <a:gd name="connsiteY28" fmla="*/ 115118 h 4478160"/>
              <a:gd name="connsiteX29" fmla="*/ 1628348 w 4478158"/>
              <a:gd name="connsiteY29" fmla="*/ 170356 h 4478160"/>
              <a:gd name="connsiteX30" fmla="*/ 1555590 w 4478158"/>
              <a:gd name="connsiteY30" fmla="*/ 291831 h 4478160"/>
              <a:gd name="connsiteX31" fmla="*/ 1461762 w 4478158"/>
              <a:gd name="connsiteY31" fmla="*/ 324651 h 4478160"/>
              <a:gd name="connsiteX32" fmla="*/ 778421 w 4478158"/>
              <a:gd name="connsiteY32" fmla="*/ 778420 h 4478160"/>
              <a:gd name="connsiteX33" fmla="*/ 211210 w 4478158"/>
              <a:gd name="connsiteY33" fmla="*/ 1844547 h 4478160"/>
              <a:gd name="connsiteX34" fmla="*/ 209174 w 4478158"/>
              <a:gd name="connsiteY34" fmla="*/ 1858654 h 4478160"/>
              <a:gd name="connsiteX35" fmla="*/ 137211 w 4478158"/>
              <a:gd name="connsiteY35" fmla="*/ 1755594 h 4478160"/>
              <a:gd name="connsiteX36" fmla="*/ 782918 w 4478158"/>
              <a:gd name="connsiteY36" fmla="*/ 3937235 h 4478160"/>
              <a:gd name="connsiteX37" fmla="*/ 782918 w 4478158"/>
              <a:gd name="connsiteY37" fmla="*/ 3812109 h 4478160"/>
              <a:gd name="connsiteX38" fmla="*/ 902740 w 4478158"/>
              <a:gd name="connsiteY38" fmla="*/ 3812109 h 4478160"/>
              <a:gd name="connsiteX39" fmla="*/ 935306 w 4478158"/>
              <a:gd name="connsiteY39" fmla="*/ 3841544 h 4478160"/>
              <a:gd name="connsiteX40" fmla="*/ 2633614 w 4478158"/>
              <a:gd name="connsiteY40" fmla="*/ 4266952 h 4478160"/>
              <a:gd name="connsiteX41" fmla="*/ 2708498 w 4478158"/>
              <a:gd name="connsiteY41" fmla="*/ 4248668 h 4478160"/>
              <a:gd name="connsiteX42" fmla="*/ 2827208 w 4478158"/>
              <a:gd name="connsiteY42" fmla="*/ 4219684 h 4478160"/>
              <a:gd name="connsiteX43" fmla="*/ 2834453 w 4478158"/>
              <a:gd name="connsiteY43" fmla="*/ 4217151 h 4478160"/>
              <a:gd name="connsiteX44" fmla="*/ 3016398 w 4478158"/>
              <a:gd name="connsiteY44" fmla="*/ 4153510 h 4478160"/>
              <a:gd name="connsiteX45" fmla="*/ 3699739 w 4478158"/>
              <a:gd name="connsiteY45" fmla="*/ 3699741 h 4478160"/>
              <a:gd name="connsiteX46" fmla="*/ 4219683 w 4478158"/>
              <a:gd name="connsiteY46" fmla="*/ 2827210 h 4478160"/>
              <a:gd name="connsiteX47" fmla="*/ 4220115 w 4478158"/>
              <a:gd name="connsiteY47" fmla="*/ 2825438 h 4478160"/>
              <a:gd name="connsiteX48" fmla="*/ 4285103 w 4478158"/>
              <a:gd name="connsiteY48" fmla="*/ 2930098 h 4478160"/>
              <a:gd name="connsiteX49" fmla="*/ 4388551 w 4478158"/>
              <a:gd name="connsiteY49" fmla="*/ 2865864 h 4478160"/>
              <a:gd name="connsiteX50" fmla="*/ 4385936 w 4478158"/>
              <a:gd name="connsiteY50" fmla="*/ 2876577 h 4478160"/>
              <a:gd name="connsiteX51" fmla="*/ 3822347 w 4478158"/>
              <a:gd name="connsiteY51" fmla="*/ 3822349 h 4478160"/>
              <a:gd name="connsiteX52" fmla="*/ 3081647 w 4478158"/>
              <a:gd name="connsiteY52" fmla="*/ 4314208 h 4478160"/>
              <a:gd name="connsiteX53" fmla="*/ 2881320 w 4478158"/>
              <a:gd name="connsiteY53" fmla="*/ 4384278 h 4478160"/>
              <a:gd name="connsiteX54" fmla="*/ 2876575 w 4478158"/>
              <a:gd name="connsiteY54" fmla="*/ 4385937 h 4478160"/>
              <a:gd name="connsiteX55" fmla="*/ 2755884 w 4478158"/>
              <a:gd name="connsiteY55" fmla="*/ 4415405 h 4478160"/>
              <a:gd name="connsiteX56" fmla="*/ 2666730 w 4478158"/>
              <a:gd name="connsiteY56" fmla="*/ 4437172 h 4478160"/>
              <a:gd name="connsiteX57" fmla="*/ 825865 w 4478158"/>
              <a:gd name="connsiteY57" fmla="*/ 3976055 h 4478160"/>
              <a:gd name="connsiteX58" fmla="*/ 655810 w 4478158"/>
              <a:gd name="connsiteY58" fmla="*/ 3822348 h 4478160"/>
              <a:gd name="connsiteX59" fmla="*/ 10247 w 4478158"/>
              <a:gd name="connsiteY59" fmla="*/ 2024458 h 4478160"/>
              <a:gd name="connsiteX60" fmla="*/ 20560 w 4478158"/>
              <a:gd name="connsiteY60" fmla="*/ 1952981 h 4478160"/>
              <a:gd name="connsiteX61" fmla="*/ 20561 w 4478158"/>
              <a:gd name="connsiteY61" fmla="*/ 1952980 h 4478160"/>
              <a:gd name="connsiteX62" fmla="*/ 39166 w 4478158"/>
              <a:gd name="connsiteY62" fmla="*/ 1824056 h 4478160"/>
              <a:gd name="connsiteX63" fmla="*/ 137211 w 4478158"/>
              <a:gd name="connsiteY63" fmla="*/ 1755594 h 4478160"/>
              <a:gd name="connsiteX64" fmla="*/ 209174 w 4478158"/>
              <a:gd name="connsiteY64" fmla="*/ 1858654 h 4478160"/>
              <a:gd name="connsiteX65" fmla="*/ 190837 w 4478158"/>
              <a:gd name="connsiteY65" fmla="*/ 1985725 h 4478160"/>
              <a:gd name="connsiteX66" fmla="*/ 182848 w 4478158"/>
              <a:gd name="connsiteY66" fmla="*/ 2041079 h 4478160"/>
              <a:gd name="connsiteX67" fmla="*/ 778420 w 4478158"/>
              <a:gd name="connsiteY67" fmla="*/ 3699740 h 4478160"/>
              <a:gd name="connsiteX68" fmla="*/ 805619 w 4478158"/>
              <a:gd name="connsiteY68" fmla="*/ 3724324 h 4478160"/>
              <a:gd name="connsiteX69" fmla="*/ 687863 w 4478158"/>
              <a:gd name="connsiteY69" fmla="*/ 3724324 h 4478160"/>
              <a:gd name="connsiteX70" fmla="*/ 687863 w 4478158"/>
              <a:gd name="connsiteY70" fmla="*/ 3851319 h 4478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478158" h="4478160">
                <a:moveTo>
                  <a:pt x="1682508" y="250772"/>
                </a:moveTo>
                <a:lnTo>
                  <a:pt x="1752498" y="133916"/>
                </a:lnTo>
                <a:lnTo>
                  <a:pt x="1659341" y="78120"/>
                </a:lnTo>
                <a:lnTo>
                  <a:pt x="1811428" y="40988"/>
                </a:lnTo>
                <a:cubicBezTo>
                  <a:pt x="2446537" y="-81977"/>
                  <a:pt x="3124622" y="71729"/>
                  <a:pt x="3652293" y="502105"/>
                </a:cubicBezTo>
                <a:lnTo>
                  <a:pt x="3763804" y="602896"/>
                </a:lnTo>
                <a:lnTo>
                  <a:pt x="3822347" y="655811"/>
                </a:lnTo>
                <a:lnTo>
                  <a:pt x="3853919" y="690741"/>
                </a:lnTo>
                <a:lnTo>
                  <a:pt x="3848013" y="792483"/>
                </a:lnTo>
                <a:lnTo>
                  <a:pt x="3848013" y="792484"/>
                </a:lnTo>
                <a:lnTo>
                  <a:pt x="3853919" y="690741"/>
                </a:lnTo>
                <a:lnTo>
                  <a:pt x="3976054" y="825864"/>
                </a:lnTo>
                <a:cubicBezTo>
                  <a:pt x="4406430" y="1353535"/>
                  <a:pt x="4560135" y="2031620"/>
                  <a:pt x="4437170" y="2666730"/>
                </a:cubicBezTo>
                <a:lnTo>
                  <a:pt x="4420751" y="2733981"/>
                </a:lnTo>
                <a:lnTo>
                  <a:pt x="4309537" y="2803038"/>
                </a:lnTo>
                <a:lnTo>
                  <a:pt x="4249278" y="2705993"/>
                </a:lnTo>
                <a:lnTo>
                  <a:pt x="4266950" y="2633613"/>
                </a:lnTo>
                <a:cubicBezTo>
                  <a:pt x="4380392" y="2047687"/>
                  <a:pt x="4238590" y="1422112"/>
                  <a:pt x="3841542" y="935304"/>
                </a:cubicBezTo>
                <a:lnTo>
                  <a:pt x="3704945" y="784179"/>
                </a:lnTo>
                <a:lnTo>
                  <a:pt x="3704944" y="784179"/>
                </a:lnTo>
                <a:lnTo>
                  <a:pt x="3699739" y="778420"/>
                </a:lnTo>
                <a:lnTo>
                  <a:pt x="3602229" y="690284"/>
                </a:lnTo>
                <a:lnTo>
                  <a:pt x="3542854" y="636618"/>
                </a:lnTo>
                <a:cubicBezTo>
                  <a:pt x="3056046" y="239570"/>
                  <a:pt x="2430472" y="97767"/>
                  <a:pt x="1844546" y="211210"/>
                </a:cubicBezTo>
                <a:close/>
                <a:moveTo>
                  <a:pt x="39167" y="1824055"/>
                </a:moveTo>
                <a:lnTo>
                  <a:pt x="40988" y="1811428"/>
                </a:lnTo>
                <a:cubicBezTo>
                  <a:pt x="122964" y="1388022"/>
                  <a:pt x="327906" y="983716"/>
                  <a:pt x="655811" y="655811"/>
                </a:cubicBezTo>
                <a:cubicBezTo>
                  <a:pt x="874415" y="437207"/>
                  <a:pt x="1126975" y="273253"/>
                  <a:pt x="1396512" y="163952"/>
                </a:cubicBezTo>
                <a:lnTo>
                  <a:pt x="1536124" y="115118"/>
                </a:lnTo>
                <a:lnTo>
                  <a:pt x="1628348" y="170356"/>
                </a:lnTo>
                <a:lnTo>
                  <a:pt x="1555590" y="291831"/>
                </a:lnTo>
                <a:lnTo>
                  <a:pt x="1461762" y="324651"/>
                </a:lnTo>
                <a:cubicBezTo>
                  <a:pt x="1213097" y="425489"/>
                  <a:pt x="980096" y="576745"/>
                  <a:pt x="778421" y="778420"/>
                </a:cubicBezTo>
                <a:cubicBezTo>
                  <a:pt x="475908" y="1080933"/>
                  <a:pt x="286838" y="1453928"/>
                  <a:pt x="211210" y="1844547"/>
                </a:cubicBezTo>
                <a:lnTo>
                  <a:pt x="209174" y="1858654"/>
                </a:lnTo>
                <a:lnTo>
                  <a:pt x="137211" y="1755594"/>
                </a:lnTo>
                <a:close/>
                <a:moveTo>
                  <a:pt x="782918" y="3937235"/>
                </a:moveTo>
                <a:lnTo>
                  <a:pt x="782918" y="3812109"/>
                </a:lnTo>
                <a:lnTo>
                  <a:pt x="902740" y="3812109"/>
                </a:lnTo>
                <a:lnTo>
                  <a:pt x="935306" y="3841544"/>
                </a:lnTo>
                <a:cubicBezTo>
                  <a:pt x="1422114" y="4238590"/>
                  <a:pt x="2047687" y="4380394"/>
                  <a:pt x="2633614" y="4266952"/>
                </a:cubicBezTo>
                <a:lnTo>
                  <a:pt x="2708498" y="4248668"/>
                </a:lnTo>
                <a:lnTo>
                  <a:pt x="2827208" y="4219684"/>
                </a:lnTo>
                <a:lnTo>
                  <a:pt x="2834453" y="4217151"/>
                </a:lnTo>
                <a:lnTo>
                  <a:pt x="3016398" y="4153510"/>
                </a:lnTo>
                <a:cubicBezTo>
                  <a:pt x="3265063" y="4052672"/>
                  <a:pt x="3498064" y="3901416"/>
                  <a:pt x="3699739" y="3699741"/>
                </a:cubicBezTo>
                <a:cubicBezTo>
                  <a:pt x="3951833" y="3447647"/>
                  <a:pt x="4125148" y="3146606"/>
                  <a:pt x="4219683" y="2827210"/>
                </a:cubicBezTo>
                <a:lnTo>
                  <a:pt x="4220115" y="2825438"/>
                </a:lnTo>
                <a:lnTo>
                  <a:pt x="4285103" y="2930098"/>
                </a:lnTo>
                <a:lnTo>
                  <a:pt x="4388551" y="2865864"/>
                </a:lnTo>
                <a:lnTo>
                  <a:pt x="4385936" y="2876577"/>
                </a:lnTo>
                <a:cubicBezTo>
                  <a:pt x="4283465" y="3222784"/>
                  <a:pt x="4095602" y="3549094"/>
                  <a:pt x="3822347" y="3822349"/>
                </a:cubicBezTo>
                <a:cubicBezTo>
                  <a:pt x="3603744" y="4040953"/>
                  <a:pt x="3351184" y="4204906"/>
                  <a:pt x="3081647" y="4314208"/>
                </a:cubicBezTo>
                <a:lnTo>
                  <a:pt x="2881320" y="4384278"/>
                </a:lnTo>
                <a:lnTo>
                  <a:pt x="2876575" y="4385937"/>
                </a:lnTo>
                <a:lnTo>
                  <a:pt x="2755884" y="4415405"/>
                </a:lnTo>
                <a:lnTo>
                  <a:pt x="2666730" y="4437172"/>
                </a:lnTo>
                <a:cubicBezTo>
                  <a:pt x="2031621" y="4560137"/>
                  <a:pt x="1353537" y="4406430"/>
                  <a:pt x="825865" y="3976055"/>
                </a:cubicBezTo>
                <a:close/>
                <a:moveTo>
                  <a:pt x="655810" y="3822348"/>
                </a:moveTo>
                <a:cubicBezTo>
                  <a:pt x="163953" y="3330490"/>
                  <a:pt x="-51237" y="2666730"/>
                  <a:pt x="10247" y="2024458"/>
                </a:cubicBezTo>
                <a:lnTo>
                  <a:pt x="20560" y="1952981"/>
                </a:lnTo>
                <a:lnTo>
                  <a:pt x="20561" y="1952980"/>
                </a:lnTo>
                <a:lnTo>
                  <a:pt x="39166" y="1824056"/>
                </a:lnTo>
                <a:lnTo>
                  <a:pt x="137211" y="1755594"/>
                </a:lnTo>
                <a:lnTo>
                  <a:pt x="209174" y="1858654"/>
                </a:lnTo>
                <a:lnTo>
                  <a:pt x="190837" y="1985725"/>
                </a:lnTo>
                <a:lnTo>
                  <a:pt x="182848" y="2041079"/>
                </a:lnTo>
                <a:cubicBezTo>
                  <a:pt x="126127" y="2633613"/>
                  <a:pt x="324652" y="3245971"/>
                  <a:pt x="778420" y="3699740"/>
                </a:cubicBezTo>
                <a:lnTo>
                  <a:pt x="805619" y="3724324"/>
                </a:lnTo>
                <a:lnTo>
                  <a:pt x="687863" y="3724324"/>
                </a:lnTo>
                <a:lnTo>
                  <a:pt x="687863" y="3851319"/>
                </a:lnTo>
                <a:close/>
              </a:path>
            </a:pathLst>
          </a:custGeom>
          <a:solidFill>
            <a:schemeClr val="bg1">
              <a:lumMod val="75000"/>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12" name="TextBox 11">
            <a:extLst>
              <a:ext uri="{FF2B5EF4-FFF2-40B4-BE49-F238E27FC236}">
                <a16:creationId xmlns:a16="http://schemas.microsoft.com/office/drawing/2014/main" id="{CE1B6C43-A200-4158-99F3-90B1BBDEC2D9}"/>
              </a:ext>
            </a:extLst>
          </p:cNvPr>
          <p:cNvSpPr txBox="1"/>
          <p:nvPr/>
        </p:nvSpPr>
        <p:spPr>
          <a:xfrm rot="3101169">
            <a:off x="5861527" y="1330472"/>
            <a:ext cx="1510792" cy="376684"/>
          </a:xfrm>
          <a:prstGeom prst="rect">
            <a:avLst/>
          </a:prstGeom>
          <a:noFill/>
        </p:spPr>
        <p:txBody>
          <a:bodyPr wrap="none" rtlCol="0">
            <a:prstTxWarp prst="textArchUp">
              <a:avLst/>
            </a:prstTxWarp>
            <a:spAutoFit/>
          </a:bodyPr>
          <a:lstStyle/>
          <a:p>
            <a:pPr algn="ctr" defTabSz="932649">
              <a:defRPr/>
            </a:pPr>
            <a:r>
              <a:rPr lang="en-CA" sz="1836">
                <a:solidFill>
                  <a:srgbClr val="000000"/>
                </a:solidFill>
                <a:latin typeface="Segoe UI"/>
              </a:rPr>
              <a:t>UNDERSTAND</a:t>
            </a:r>
          </a:p>
        </p:txBody>
      </p:sp>
      <p:sp>
        <p:nvSpPr>
          <p:cNvPr id="149" name="TextBox 148">
            <a:extLst>
              <a:ext uri="{FF2B5EF4-FFF2-40B4-BE49-F238E27FC236}">
                <a16:creationId xmlns:a16="http://schemas.microsoft.com/office/drawing/2014/main" id="{C38B9824-2B56-40C3-A86F-36F9996F5ED8}"/>
              </a:ext>
            </a:extLst>
          </p:cNvPr>
          <p:cNvSpPr txBox="1"/>
          <p:nvPr/>
        </p:nvSpPr>
        <p:spPr>
          <a:xfrm>
            <a:off x="3617062" y="6245487"/>
            <a:ext cx="1510792" cy="376684"/>
          </a:xfrm>
          <a:prstGeom prst="rect">
            <a:avLst/>
          </a:prstGeom>
          <a:noFill/>
        </p:spPr>
        <p:txBody>
          <a:bodyPr wrap="none" rtlCol="0">
            <a:prstTxWarp prst="textArchDown">
              <a:avLst>
                <a:gd name="adj" fmla="val 938077"/>
              </a:avLst>
            </a:prstTxWarp>
            <a:spAutoFit/>
          </a:bodyPr>
          <a:lstStyle/>
          <a:p>
            <a:pPr algn="ctr" defTabSz="932649">
              <a:defRPr/>
            </a:pPr>
            <a:r>
              <a:rPr lang="en-CA" sz="1836">
                <a:solidFill>
                  <a:srgbClr val="000000"/>
                </a:solidFill>
                <a:latin typeface="Segoe UI"/>
              </a:rPr>
              <a:t>EXPLORE</a:t>
            </a:r>
          </a:p>
        </p:txBody>
      </p:sp>
      <p:sp>
        <p:nvSpPr>
          <p:cNvPr id="150" name="TextBox 149">
            <a:extLst>
              <a:ext uri="{FF2B5EF4-FFF2-40B4-BE49-F238E27FC236}">
                <a16:creationId xmlns:a16="http://schemas.microsoft.com/office/drawing/2014/main" id="{D23C2F4F-480F-4D85-91F5-596D114FA5CB}"/>
              </a:ext>
            </a:extLst>
          </p:cNvPr>
          <p:cNvSpPr txBox="1"/>
          <p:nvPr/>
        </p:nvSpPr>
        <p:spPr>
          <a:xfrm rot="18074945">
            <a:off x="1023248" y="1637347"/>
            <a:ext cx="1510792" cy="376684"/>
          </a:xfrm>
          <a:prstGeom prst="rect">
            <a:avLst/>
          </a:prstGeom>
          <a:noFill/>
        </p:spPr>
        <p:txBody>
          <a:bodyPr wrap="none" rtlCol="0">
            <a:prstTxWarp prst="textArchUp">
              <a:avLst/>
            </a:prstTxWarp>
            <a:spAutoFit/>
          </a:bodyPr>
          <a:lstStyle/>
          <a:p>
            <a:pPr algn="ctr" defTabSz="932649">
              <a:defRPr/>
            </a:pPr>
            <a:r>
              <a:rPr lang="en-CA" sz="1836">
                <a:solidFill>
                  <a:srgbClr val="000000"/>
                </a:solidFill>
                <a:latin typeface="Segoe UI"/>
              </a:rPr>
              <a:t>MATERIALIZE</a:t>
            </a:r>
          </a:p>
        </p:txBody>
      </p:sp>
      <p:grpSp>
        <p:nvGrpSpPr>
          <p:cNvPr id="192" name="Group 191">
            <a:extLst>
              <a:ext uri="{FF2B5EF4-FFF2-40B4-BE49-F238E27FC236}">
                <a16:creationId xmlns:a16="http://schemas.microsoft.com/office/drawing/2014/main" id="{6EC0DFF8-8992-4976-81C0-5D690EF86642}"/>
              </a:ext>
            </a:extLst>
          </p:cNvPr>
          <p:cNvGrpSpPr/>
          <p:nvPr/>
        </p:nvGrpSpPr>
        <p:grpSpPr>
          <a:xfrm>
            <a:off x="7900885" y="540674"/>
            <a:ext cx="3882945" cy="2604899"/>
            <a:chOff x="665628" y="2493869"/>
            <a:chExt cx="2572872" cy="2554381"/>
          </a:xfrm>
        </p:grpSpPr>
        <p:sp>
          <p:nvSpPr>
            <p:cNvPr id="193" name="Rectangle: Rounded Corners 192">
              <a:extLst>
                <a:ext uri="{FF2B5EF4-FFF2-40B4-BE49-F238E27FC236}">
                  <a16:creationId xmlns:a16="http://schemas.microsoft.com/office/drawing/2014/main" id="{BD2443E8-7532-4E99-8347-14BA6739A89C}"/>
                </a:ext>
              </a:extLst>
            </p:cNvPr>
            <p:cNvSpPr/>
            <p:nvPr/>
          </p:nvSpPr>
          <p:spPr>
            <a:xfrm>
              <a:off x="665629" y="2493869"/>
              <a:ext cx="2572871" cy="2554381"/>
            </a:xfrm>
            <a:prstGeom prst="roundRect">
              <a:avLst>
                <a:gd name="adj" fmla="val 4745"/>
              </a:avLst>
            </a:prstGeom>
            <a:solidFill>
              <a:srgbClr val="FFFFFF"/>
            </a:solidFill>
            <a:ln>
              <a:solidFill>
                <a:srgbClr val="FFFFFF"/>
              </a:solidFill>
            </a:ln>
            <a:effectLst>
              <a:outerShdw blurRad="127000" sx="102000" sy="102000" algn="ctr"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sp>
          <p:nvSpPr>
            <p:cNvPr id="194" name="Rectangle: Rounded Corners 193">
              <a:extLst>
                <a:ext uri="{FF2B5EF4-FFF2-40B4-BE49-F238E27FC236}">
                  <a16:creationId xmlns:a16="http://schemas.microsoft.com/office/drawing/2014/main" id="{086DEA2A-5534-4DCE-B50A-5A29DB1634CE}"/>
                </a:ext>
              </a:extLst>
            </p:cNvPr>
            <p:cNvSpPr/>
            <p:nvPr/>
          </p:nvSpPr>
          <p:spPr>
            <a:xfrm>
              <a:off x="665628" y="2493869"/>
              <a:ext cx="2572871" cy="373156"/>
            </a:xfrm>
            <a:prstGeom prst="roundRect">
              <a:avLst>
                <a:gd name="adj" fmla="val 32823"/>
              </a:avLst>
            </a:prstGeom>
            <a:solidFill>
              <a:srgbClr val="00B050"/>
            </a:solidFill>
            <a:ln>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sp>
          <p:nvSpPr>
            <p:cNvPr id="195" name="Rectangle: Rounded Corners 194">
              <a:extLst>
                <a:ext uri="{FF2B5EF4-FFF2-40B4-BE49-F238E27FC236}">
                  <a16:creationId xmlns:a16="http://schemas.microsoft.com/office/drawing/2014/main" id="{0155F319-16A5-4198-B4A8-BC6D9EAAC093}"/>
                </a:ext>
              </a:extLst>
            </p:cNvPr>
            <p:cNvSpPr/>
            <p:nvPr/>
          </p:nvSpPr>
          <p:spPr>
            <a:xfrm>
              <a:off x="665628" y="2680446"/>
              <a:ext cx="2572871" cy="1948703"/>
            </a:xfrm>
            <a:prstGeom prst="roundRect">
              <a:avLst>
                <a:gd name="adj" fmla="val 0"/>
              </a:avLst>
            </a:prstGeom>
            <a:solidFill>
              <a:schemeClr val="bg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lnSpc>
                  <a:spcPts val="1836"/>
                </a:lnSpc>
                <a:defRPr/>
              </a:pPr>
              <a:endParaRPr lang="en-US" sz="1836">
                <a:solidFill>
                  <a:srgbClr val="000000"/>
                </a:solidFill>
                <a:latin typeface="Segoe UI Semibold" panose="020B0702040204020203" pitchFamily="34" charset="0"/>
                <a:cs typeface="Segoe UI Semibold" panose="020B0702040204020203" pitchFamily="34" charset="0"/>
              </a:endParaRPr>
            </a:p>
            <a:p>
              <a:pPr algn="ctr" defTabSz="932649">
                <a:lnSpc>
                  <a:spcPts val="1836"/>
                </a:lnSpc>
                <a:defRPr/>
              </a:pPr>
              <a:endParaRPr lang="en-US" sz="1836">
                <a:solidFill>
                  <a:srgbClr val="000000"/>
                </a:solidFill>
                <a:latin typeface="Segoe UI Semibold" panose="020B0702040204020203" pitchFamily="34" charset="0"/>
                <a:cs typeface="Segoe UI Semibold" panose="020B0702040204020203" pitchFamily="34" charset="0"/>
              </a:endParaRPr>
            </a:p>
            <a:p>
              <a:pPr algn="ctr" defTabSz="932649">
                <a:lnSpc>
                  <a:spcPts val="1836"/>
                </a:lnSpc>
                <a:defRPr/>
              </a:pPr>
              <a:endParaRPr lang="en-US" sz="1836">
                <a:solidFill>
                  <a:srgbClr val="000000"/>
                </a:solidFill>
                <a:latin typeface="Segoe UI Semibold" panose="020B0702040204020203" pitchFamily="34" charset="0"/>
                <a:cs typeface="Segoe UI Semibold" panose="020B0702040204020203" pitchFamily="34" charset="0"/>
              </a:endParaRPr>
            </a:p>
            <a:p>
              <a:pPr algn="ctr" defTabSz="932649">
                <a:lnSpc>
                  <a:spcPts val="1836"/>
                </a:lnSpc>
                <a:defRPr/>
              </a:pPr>
              <a:r>
                <a:rPr lang="en-US" sz="1632">
                  <a:solidFill>
                    <a:srgbClr val="FFFFFF"/>
                  </a:solidFill>
                  <a:highlight>
                    <a:srgbClr val="00B050"/>
                  </a:highlight>
                  <a:latin typeface="Nexa Heavy" panose="02000000000000000000" pitchFamily="2" charset="0"/>
                  <a:cs typeface="Segoe UI Semibold" panose="020B0702040204020203" pitchFamily="34" charset="0"/>
                </a:rPr>
                <a:t>TEST &amp; IMPLEMENT</a:t>
              </a:r>
            </a:p>
            <a:p>
              <a:pPr algn="ctr" defTabSz="932649">
                <a:lnSpc>
                  <a:spcPts val="1836"/>
                </a:lnSpc>
                <a:defRPr/>
              </a:pPr>
              <a:r>
                <a:rPr lang="en-US" sz="1224">
                  <a:solidFill>
                    <a:srgbClr val="000000"/>
                  </a:solidFill>
                  <a:latin typeface="Segoe UI Semibold" panose="020B0702040204020203" pitchFamily="34" charset="0"/>
                  <a:cs typeface="Segoe UI Semibold" panose="020B0702040204020203" pitchFamily="34" charset="0"/>
                </a:rPr>
                <a:t>YOUR </a:t>
              </a:r>
              <a:r>
                <a:rPr lang="en-US" sz="1632">
                  <a:solidFill>
                    <a:srgbClr val="000000"/>
                  </a:solidFill>
                  <a:latin typeface="Nexa Heavy" panose="02000000000000000000" pitchFamily="2" charset="0"/>
                  <a:cs typeface="Segoe UI Semibold" panose="020B0702040204020203" pitchFamily="34" charset="0"/>
                </a:rPr>
                <a:t>REPORT</a:t>
              </a:r>
              <a:r>
                <a:rPr lang="en-US" sz="1632">
                  <a:solidFill>
                    <a:srgbClr val="000000"/>
                  </a:solidFill>
                  <a:latin typeface="Segoe UI Semibold" panose="020B0702040204020203" pitchFamily="34" charset="0"/>
                  <a:cs typeface="Segoe UI Semibold" panose="020B0702040204020203" pitchFamily="34" charset="0"/>
                </a:rPr>
                <a:t>  </a:t>
              </a:r>
            </a:p>
            <a:p>
              <a:pPr algn="ctr" defTabSz="932649">
                <a:lnSpc>
                  <a:spcPts val="1836"/>
                </a:lnSpc>
                <a:defRPr/>
              </a:pPr>
              <a:r>
                <a:rPr lang="en-US" sz="1632" i="1">
                  <a:solidFill>
                    <a:srgbClr val="FFFFFF">
                      <a:lumMod val="65000"/>
                    </a:srgbClr>
                  </a:solidFill>
                  <a:latin typeface="Segoe UI Light" panose="020B0502040204020203" pitchFamily="34" charset="0"/>
                  <a:cs typeface="Segoe UI Light" panose="020B0502040204020203" pitchFamily="34" charset="0"/>
                </a:rPr>
                <a:t>Return to your users for feedback &amp; Put the vision into production.</a:t>
              </a:r>
              <a:endParaRPr lang="en-CA" sz="1632" i="1">
                <a:solidFill>
                  <a:srgbClr val="FFFFFF">
                    <a:lumMod val="65000"/>
                  </a:srgbClr>
                </a:solidFill>
                <a:latin typeface="Segoe UI Light" panose="020B0502040204020203" pitchFamily="34" charset="0"/>
                <a:cs typeface="Segoe UI Light" panose="020B0502040204020203" pitchFamily="34" charset="0"/>
              </a:endParaRPr>
            </a:p>
          </p:txBody>
        </p:sp>
      </p:grpSp>
      <p:grpSp>
        <p:nvGrpSpPr>
          <p:cNvPr id="67" name="Group 66">
            <a:extLst>
              <a:ext uri="{FF2B5EF4-FFF2-40B4-BE49-F238E27FC236}">
                <a16:creationId xmlns:a16="http://schemas.microsoft.com/office/drawing/2014/main" id="{34B5EA52-5A37-49C5-9C76-491779686EC8}"/>
              </a:ext>
            </a:extLst>
          </p:cNvPr>
          <p:cNvGrpSpPr/>
          <p:nvPr/>
        </p:nvGrpSpPr>
        <p:grpSpPr>
          <a:xfrm>
            <a:off x="1029224" y="103520"/>
            <a:ext cx="6491096" cy="6544649"/>
            <a:chOff x="3326931" y="650008"/>
            <a:chExt cx="5396156" cy="5440679"/>
          </a:xfrm>
        </p:grpSpPr>
        <p:sp>
          <p:nvSpPr>
            <p:cNvPr id="68" name="Freeform: Shape 67">
              <a:extLst>
                <a:ext uri="{FF2B5EF4-FFF2-40B4-BE49-F238E27FC236}">
                  <a16:creationId xmlns:a16="http://schemas.microsoft.com/office/drawing/2014/main" id="{291359F3-1753-4797-9E51-694D0B3D9228}"/>
                </a:ext>
              </a:extLst>
            </p:cNvPr>
            <p:cNvSpPr/>
            <p:nvPr/>
          </p:nvSpPr>
          <p:spPr>
            <a:xfrm rot="8100000">
              <a:off x="6500581" y="650008"/>
              <a:ext cx="805620" cy="1967534"/>
            </a:xfrm>
            <a:custGeom>
              <a:avLst/>
              <a:gdLst>
                <a:gd name="connsiteX0" fmla="*/ 655812 w 805620"/>
                <a:gd name="connsiteY0" fmla="*/ 1938563 h 1967534"/>
                <a:gd name="connsiteX1" fmla="*/ 10248 w 805620"/>
                <a:gd name="connsiteY1" fmla="*/ 140673 h 1967534"/>
                <a:gd name="connsiteX2" fmla="*/ 20562 w 805620"/>
                <a:gd name="connsiteY2" fmla="*/ 69196 h 1967534"/>
                <a:gd name="connsiteX3" fmla="*/ 119657 w 805620"/>
                <a:gd name="connsiteY3" fmla="*/ 0 h 1967534"/>
                <a:gd name="connsiteX4" fmla="*/ 190838 w 805620"/>
                <a:gd name="connsiteY4" fmla="*/ 101940 h 1967534"/>
                <a:gd name="connsiteX5" fmla="*/ 182850 w 805620"/>
                <a:gd name="connsiteY5" fmla="*/ 157294 h 1967534"/>
                <a:gd name="connsiteX6" fmla="*/ 778422 w 805620"/>
                <a:gd name="connsiteY6" fmla="*/ 1815955 h 1967534"/>
                <a:gd name="connsiteX7" fmla="*/ 805620 w 805620"/>
                <a:gd name="connsiteY7" fmla="*/ 1840539 h 1967534"/>
                <a:gd name="connsiteX8" fmla="*/ 687865 w 805620"/>
                <a:gd name="connsiteY8" fmla="*/ 1840539 h 1967534"/>
                <a:gd name="connsiteX9" fmla="*/ 687865 w 805620"/>
                <a:gd name="connsiteY9" fmla="*/ 1967534 h 1967534"/>
                <a:gd name="connsiteX10" fmla="*/ 655812 w 805620"/>
                <a:gd name="connsiteY10" fmla="*/ 1938563 h 1967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05620" h="1967534">
                  <a:moveTo>
                    <a:pt x="655812" y="1938563"/>
                  </a:moveTo>
                  <a:cubicBezTo>
                    <a:pt x="163954" y="1446705"/>
                    <a:pt x="-51235" y="782945"/>
                    <a:pt x="10248" y="140673"/>
                  </a:cubicBezTo>
                  <a:lnTo>
                    <a:pt x="20562" y="69196"/>
                  </a:lnTo>
                  <a:lnTo>
                    <a:pt x="119657" y="0"/>
                  </a:lnTo>
                  <a:lnTo>
                    <a:pt x="190838" y="101940"/>
                  </a:lnTo>
                  <a:lnTo>
                    <a:pt x="182850" y="157294"/>
                  </a:lnTo>
                  <a:cubicBezTo>
                    <a:pt x="126129" y="749828"/>
                    <a:pt x="324653" y="1362186"/>
                    <a:pt x="778422" y="1815955"/>
                  </a:cubicBezTo>
                  <a:lnTo>
                    <a:pt x="805620" y="1840539"/>
                  </a:lnTo>
                  <a:lnTo>
                    <a:pt x="687865" y="1840539"/>
                  </a:lnTo>
                  <a:lnTo>
                    <a:pt x="687865" y="1967534"/>
                  </a:lnTo>
                  <a:lnTo>
                    <a:pt x="655812" y="1938563"/>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649">
                <a:defRPr/>
              </a:pPr>
              <a:endParaRPr lang="en-CA" sz="1836">
                <a:solidFill>
                  <a:srgbClr val="000000"/>
                </a:solidFill>
                <a:latin typeface="Segoe UI"/>
              </a:endParaRPr>
            </a:p>
          </p:txBody>
        </p:sp>
        <p:sp>
          <p:nvSpPr>
            <p:cNvPr id="69" name="Freeform: Shape 68">
              <a:extLst>
                <a:ext uri="{FF2B5EF4-FFF2-40B4-BE49-F238E27FC236}">
                  <a16:creationId xmlns:a16="http://schemas.microsoft.com/office/drawing/2014/main" id="{82FD66C1-F33A-41BE-8A8F-B9C64D4A6674}"/>
                </a:ext>
              </a:extLst>
            </p:cNvPr>
            <p:cNvSpPr/>
            <p:nvPr/>
          </p:nvSpPr>
          <p:spPr>
            <a:xfrm rot="8100000">
              <a:off x="4047195" y="1363690"/>
              <a:ext cx="1972966" cy="666051"/>
            </a:xfrm>
            <a:custGeom>
              <a:avLst/>
              <a:gdLst>
                <a:gd name="connsiteX0" fmla="*/ 0 w 1972966"/>
                <a:gd name="connsiteY0" fmla="*/ 125127 h 666051"/>
                <a:gd name="connsiteX1" fmla="*/ 0 w 1972966"/>
                <a:gd name="connsiteY1" fmla="*/ 0 h 666051"/>
                <a:gd name="connsiteX2" fmla="*/ 119822 w 1972966"/>
                <a:gd name="connsiteY2" fmla="*/ 0 h 666051"/>
                <a:gd name="connsiteX3" fmla="*/ 152388 w 1972966"/>
                <a:gd name="connsiteY3" fmla="*/ 29435 h 666051"/>
                <a:gd name="connsiteX4" fmla="*/ 1850696 w 1972966"/>
                <a:gd name="connsiteY4" fmla="*/ 454843 h 666051"/>
                <a:gd name="connsiteX5" fmla="*/ 1925581 w 1972966"/>
                <a:gd name="connsiteY5" fmla="*/ 436559 h 666051"/>
                <a:gd name="connsiteX6" fmla="*/ 1863309 w 1972966"/>
                <a:gd name="connsiteY6" fmla="*/ 530959 h 666051"/>
                <a:gd name="connsiteX7" fmla="*/ 1972966 w 1972966"/>
                <a:gd name="connsiteY7" fmla="*/ 603296 h 666051"/>
                <a:gd name="connsiteX8" fmla="*/ 1883812 w 1972966"/>
                <a:gd name="connsiteY8" fmla="*/ 625063 h 666051"/>
                <a:gd name="connsiteX9" fmla="*/ 42947 w 1972966"/>
                <a:gd name="connsiteY9" fmla="*/ 163946 h 666051"/>
                <a:gd name="connsiteX10" fmla="*/ 0 w 1972966"/>
                <a:gd name="connsiteY10" fmla="*/ 125127 h 66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72966" h="666051">
                  <a:moveTo>
                    <a:pt x="0" y="125127"/>
                  </a:moveTo>
                  <a:lnTo>
                    <a:pt x="0" y="0"/>
                  </a:lnTo>
                  <a:lnTo>
                    <a:pt x="119822" y="0"/>
                  </a:lnTo>
                  <a:lnTo>
                    <a:pt x="152388" y="29435"/>
                  </a:lnTo>
                  <a:cubicBezTo>
                    <a:pt x="639196" y="426482"/>
                    <a:pt x="1264769" y="568285"/>
                    <a:pt x="1850696" y="454843"/>
                  </a:cubicBezTo>
                  <a:lnTo>
                    <a:pt x="1925581" y="436559"/>
                  </a:lnTo>
                  <a:lnTo>
                    <a:pt x="1863309" y="530959"/>
                  </a:lnTo>
                  <a:lnTo>
                    <a:pt x="1972966" y="603296"/>
                  </a:lnTo>
                  <a:lnTo>
                    <a:pt x="1883812" y="625063"/>
                  </a:lnTo>
                  <a:cubicBezTo>
                    <a:pt x="1248703" y="748028"/>
                    <a:pt x="570619" y="594322"/>
                    <a:pt x="42947" y="163946"/>
                  </a:cubicBezTo>
                  <a:lnTo>
                    <a:pt x="0" y="125127"/>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649">
                <a:defRPr/>
              </a:pPr>
              <a:endParaRPr lang="en-CA" sz="1836">
                <a:solidFill>
                  <a:srgbClr val="000000"/>
                </a:solidFill>
                <a:latin typeface="Segoe UI"/>
              </a:endParaRPr>
            </a:p>
          </p:txBody>
        </p:sp>
        <p:sp>
          <p:nvSpPr>
            <p:cNvPr id="70" name="Freeform: Shape 69">
              <a:extLst>
                <a:ext uri="{FF2B5EF4-FFF2-40B4-BE49-F238E27FC236}">
                  <a16:creationId xmlns:a16="http://schemas.microsoft.com/office/drawing/2014/main" id="{E52549D2-C16D-4375-A4E0-557473615B77}"/>
                </a:ext>
              </a:extLst>
            </p:cNvPr>
            <p:cNvSpPr/>
            <p:nvPr/>
          </p:nvSpPr>
          <p:spPr>
            <a:xfrm rot="8100000">
              <a:off x="7133906" y="2396566"/>
              <a:ext cx="1589181" cy="1743535"/>
            </a:xfrm>
            <a:custGeom>
              <a:avLst/>
              <a:gdLst>
                <a:gd name="connsiteX0" fmla="*/ 0 w 1589181"/>
                <a:gd name="connsiteY0" fmla="*/ 1708937 h 1743535"/>
                <a:gd name="connsiteX1" fmla="*/ 1822 w 1589181"/>
                <a:gd name="connsiteY1" fmla="*/ 1696310 h 1743535"/>
                <a:gd name="connsiteX2" fmla="*/ 616645 w 1589181"/>
                <a:gd name="connsiteY2" fmla="*/ 540692 h 1743535"/>
                <a:gd name="connsiteX3" fmla="*/ 1357346 w 1589181"/>
                <a:gd name="connsiteY3" fmla="*/ 48833 h 1743535"/>
                <a:gd name="connsiteX4" fmla="*/ 1496957 w 1589181"/>
                <a:gd name="connsiteY4" fmla="*/ 0 h 1743535"/>
                <a:gd name="connsiteX5" fmla="*/ 1589181 w 1589181"/>
                <a:gd name="connsiteY5" fmla="*/ 55238 h 1743535"/>
                <a:gd name="connsiteX6" fmla="*/ 1516424 w 1589181"/>
                <a:gd name="connsiteY6" fmla="*/ 176713 h 1743535"/>
                <a:gd name="connsiteX7" fmla="*/ 1422596 w 1589181"/>
                <a:gd name="connsiteY7" fmla="*/ 209533 h 1743535"/>
                <a:gd name="connsiteX8" fmla="*/ 739255 w 1589181"/>
                <a:gd name="connsiteY8" fmla="*/ 663301 h 1743535"/>
                <a:gd name="connsiteX9" fmla="*/ 172044 w 1589181"/>
                <a:gd name="connsiteY9" fmla="*/ 1729428 h 1743535"/>
                <a:gd name="connsiteX10" fmla="*/ 170008 w 1589181"/>
                <a:gd name="connsiteY10" fmla="*/ 1743535 h 1743535"/>
                <a:gd name="connsiteX11" fmla="*/ 98045 w 1589181"/>
                <a:gd name="connsiteY11" fmla="*/ 1640475 h 1743535"/>
                <a:gd name="connsiteX12" fmla="*/ 0 w 1589181"/>
                <a:gd name="connsiteY12" fmla="*/ 1708937 h 1743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89181" h="1743535">
                  <a:moveTo>
                    <a:pt x="0" y="1708937"/>
                  </a:moveTo>
                  <a:lnTo>
                    <a:pt x="1822" y="1696310"/>
                  </a:lnTo>
                  <a:cubicBezTo>
                    <a:pt x="83798" y="1272904"/>
                    <a:pt x="288739" y="868598"/>
                    <a:pt x="616645" y="540692"/>
                  </a:cubicBezTo>
                  <a:cubicBezTo>
                    <a:pt x="835249" y="322088"/>
                    <a:pt x="1087809" y="158135"/>
                    <a:pt x="1357346" y="48833"/>
                  </a:cubicBezTo>
                  <a:lnTo>
                    <a:pt x="1496957" y="0"/>
                  </a:lnTo>
                  <a:lnTo>
                    <a:pt x="1589181" y="55238"/>
                  </a:lnTo>
                  <a:lnTo>
                    <a:pt x="1516424" y="176713"/>
                  </a:lnTo>
                  <a:lnTo>
                    <a:pt x="1422596" y="209533"/>
                  </a:lnTo>
                  <a:cubicBezTo>
                    <a:pt x="1173931" y="310370"/>
                    <a:pt x="940930" y="461626"/>
                    <a:pt x="739255" y="663301"/>
                  </a:cubicBezTo>
                  <a:cubicBezTo>
                    <a:pt x="436742" y="965814"/>
                    <a:pt x="247672" y="1338810"/>
                    <a:pt x="172044" y="1729428"/>
                  </a:cubicBezTo>
                  <a:lnTo>
                    <a:pt x="170008" y="1743535"/>
                  </a:lnTo>
                  <a:lnTo>
                    <a:pt x="98045" y="1640475"/>
                  </a:lnTo>
                  <a:lnTo>
                    <a:pt x="0" y="1708937"/>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649">
                <a:defRPr/>
              </a:pPr>
              <a:endParaRPr lang="en-CA" sz="1836">
                <a:solidFill>
                  <a:srgbClr val="000000"/>
                </a:solidFill>
                <a:latin typeface="Segoe UI"/>
              </a:endParaRPr>
            </a:p>
          </p:txBody>
        </p:sp>
        <p:sp>
          <p:nvSpPr>
            <p:cNvPr id="71" name="Freeform: Shape 70">
              <a:extLst>
                <a:ext uri="{FF2B5EF4-FFF2-40B4-BE49-F238E27FC236}">
                  <a16:creationId xmlns:a16="http://schemas.microsoft.com/office/drawing/2014/main" id="{BBA1B614-0606-4314-82AA-2978FAE9E4DB}"/>
                </a:ext>
              </a:extLst>
            </p:cNvPr>
            <p:cNvSpPr/>
            <p:nvPr/>
          </p:nvSpPr>
          <p:spPr>
            <a:xfrm rot="8100000">
              <a:off x="3326931" y="2579755"/>
              <a:ext cx="1616707" cy="1558840"/>
            </a:xfrm>
            <a:custGeom>
              <a:avLst/>
              <a:gdLst>
                <a:gd name="connsiteX0" fmla="*/ 0 w 1616707"/>
                <a:gd name="connsiteY0" fmla="*/ 1486622 h 1558840"/>
                <a:gd name="connsiteX1" fmla="*/ 62608 w 1616707"/>
                <a:gd name="connsiteY1" fmla="*/ 1391713 h 1558840"/>
                <a:gd name="connsiteX2" fmla="*/ 244554 w 1616707"/>
                <a:gd name="connsiteY2" fmla="*/ 1328072 h 1558840"/>
                <a:gd name="connsiteX3" fmla="*/ 927895 w 1616707"/>
                <a:gd name="connsiteY3" fmla="*/ 874303 h 1558840"/>
                <a:gd name="connsiteX4" fmla="*/ 1447839 w 1616707"/>
                <a:gd name="connsiteY4" fmla="*/ 1772 h 1558840"/>
                <a:gd name="connsiteX5" fmla="*/ 1448271 w 1616707"/>
                <a:gd name="connsiteY5" fmla="*/ 0 h 1558840"/>
                <a:gd name="connsiteX6" fmla="*/ 1513259 w 1616707"/>
                <a:gd name="connsiteY6" fmla="*/ 104660 h 1558840"/>
                <a:gd name="connsiteX7" fmla="*/ 1616707 w 1616707"/>
                <a:gd name="connsiteY7" fmla="*/ 40426 h 1558840"/>
                <a:gd name="connsiteX8" fmla="*/ 1614092 w 1616707"/>
                <a:gd name="connsiteY8" fmla="*/ 51139 h 1558840"/>
                <a:gd name="connsiteX9" fmla="*/ 1050503 w 1616707"/>
                <a:gd name="connsiteY9" fmla="*/ 996911 h 1558840"/>
                <a:gd name="connsiteX10" fmla="*/ 309803 w 1616707"/>
                <a:gd name="connsiteY10" fmla="*/ 1488770 h 1558840"/>
                <a:gd name="connsiteX11" fmla="*/ 109476 w 1616707"/>
                <a:gd name="connsiteY11" fmla="*/ 1558840 h 1558840"/>
                <a:gd name="connsiteX12" fmla="*/ 0 w 1616707"/>
                <a:gd name="connsiteY12" fmla="*/ 1486622 h 1558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16707" h="1558840">
                  <a:moveTo>
                    <a:pt x="0" y="1486622"/>
                  </a:moveTo>
                  <a:lnTo>
                    <a:pt x="62608" y="1391713"/>
                  </a:lnTo>
                  <a:lnTo>
                    <a:pt x="244554" y="1328072"/>
                  </a:lnTo>
                  <a:cubicBezTo>
                    <a:pt x="493219" y="1227234"/>
                    <a:pt x="726220" y="1075978"/>
                    <a:pt x="927895" y="874303"/>
                  </a:cubicBezTo>
                  <a:cubicBezTo>
                    <a:pt x="1179989" y="622209"/>
                    <a:pt x="1353304" y="321168"/>
                    <a:pt x="1447839" y="1772"/>
                  </a:cubicBezTo>
                  <a:lnTo>
                    <a:pt x="1448271" y="0"/>
                  </a:lnTo>
                  <a:lnTo>
                    <a:pt x="1513259" y="104660"/>
                  </a:lnTo>
                  <a:lnTo>
                    <a:pt x="1616707" y="40426"/>
                  </a:lnTo>
                  <a:lnTo>
                    <a:pt x="1614092" y="51139"/>
                  </a:lnTo>
                  <a:cubicBezTo>
                    <a:pt x="1511621" y="397346"/>
                    <a:pt x="1323758" y="723656"/>
                    <a:pt x="1050503" y="996911"/>
                  </a:cubicBezTo>
                  <a:cubicBezTo>
                    <a:pt x="831900" y="1215515"/>
                    <a:pt x="579340" y="1379468"/>
                    <a:pt x="309803" y="1488770"/>
                  </a:cubicBezTo>
                  <a:lnTo>
                    <a:pt x="109476" y="1558840"/>
                  </a:lnTo>
                  <a:lnTo>
                    <a:pt x="0" y="1486622"/>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649">
                <a:defRPr/>
              </a:pPr>
              <a:endParaRPr lang="en-CA" sz="1836">
                <a:solidFill>
                  <a:srgbClr val="000000"/>
                </a:solidFill>
                <a:latin typeface="Segoe UI"/>
              </a:endParaRPr>
            </a:p>
          </p:txBody>
        </p:sp>
        <p:sp>
          <p:nvSpPr>
            <p:cNvPr id="72" name="Freeform: Shape 71">
              <a:extLst>
                <a:ext uri="{FF2B5EF4-FFF2-40B4-BE49-F238E27FC236}">
                  <a16:creationId xmlns:a16="http://schemas.microsoft.com/office/drawing/2014/main" id="{8ADFD8DD-C342-4EDC-8001-A38523440108}"/>
                </a:ext>
              </a:extLst>
            </p:cNvPr>
            <p:cNvSpPr/>
            <p:nvPr/>
          </p:nvSpPr>
          <p:spPr>
            <a:xfrm rot="8100000">
              <a:off x="5999029" y="4697061"/>
              <a:ext cx="2104462" cy="699340"/>
            </a:xfrm>
            <a:custGeom>
              <a:avLst/>
              <a:gdLst>
                <a:gd name="connsiteX0" fmla="*/ 23166 w 2104462"/>
                <a:gd name="connsiteY0" fmla="*/ 250773 h 699340"/>
                <a:gd name="connsiteX1" fmla="*/ 93156 w 2104462"/>
                <a:gd name="connsiteY1" fmla="*/ 133917 h 699340"/>
                <a:gd name="connsiteX2" fmla="*/ 0 w 2104462"/>
                <a:gd name="connsiteY2" fmla="*/ 78121 h 699340"/>
                <a:gd name="connsiteX3" fmla="*/ 152086 w 2104462"/>
                <a:gd name="connsiteY3" fmla="*/ 40989 h 699340"/>
                <a:gd name="connsiteX4" fmla="*/ 1992951 w 2104462"/>
                <a:gd name="connsiteY4" fmla="*/ 502106 h 699340"/>
                <a:gd name="connsiteX5" fmla="*/ 2104462 w 2104462"/>
                <a:gd name="connsiteY5" fmla="*/ 602897 h 699340"/>
                <a:gd name="connsiteX6" fmla="*/ 2098864 w 2104462"/>
                <a:gd name="connsiteY6" fmla="*/ 699340 h 699340"/>
                <a:gd name="connsiteX7" fmla="*/ 1942887 w 2104462"/>
                <a:gd name="connsiteY7" fmla="*/ 690285 h 699340"/>
                <a:gd name="connsiteX8" fmla="*/ 1883512 w 2104462"/>
                <a:gd name="connsiteY8" fmla="*/ 636619 h 699340"/>
                <a:gd name="connsiteX9" fmla="*/ 185204 w 2104462"/>
                <a:gd name="connsiteY9" fmla="*/ 211211 h 699340"/>
                <a:gd name="connsiteX10" fmla="*/ 23166 w 2104462"/>
                <a:gd name="connsiteY10" fmla="*/ 250773 h 699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04462" h="699340">
                  <a:moveTo>
                    <a:pt x="23166" y="250773"/>
                  </a:moveTo>
                  <a:lnTo>
                    <a:pt x="93156" y="133917"/>
                  </a:lnTo>
                  <a:lnTo>
                    <a:pt x="0" y="78121"/>
                  </a:lnTo>
                  <a:lnTo>
                    <a:pt x="152086" y="40989"/>
                  </a:lnTo>
                  <a:cubicBezTo>
                    <a:pt x="787195" y="-81976"/>
                    <a:pt x="1465280" y="71730"/>
                    <a:pt x="1992951" y="502106"/>
                  </a:cubicBezTo>
                  <a:lnTo>
                    <a:pt x="2104462" y="602897"/>
                  </a:lnTo>
                  <a:lnTo>
                    <a:pt x="2098864" y="699340"/>
                  </a:lnTo>
                  <a:lnTo>
                    <a:pt x="1942887" y="690285"/>
                  </a:lnTo>
                  <a:lnTo>
                    <a:pt x="1883512" y="636619"/>
                  </a:lnTo>
                  <a:cubicBezTo>
                    <a:pt x="1396704" y="239571"/>
                    <a:pt x="771130" y="97768"/>
                    <a:pt x="185204" y="211211"/>
                  </a:cubicBezTo>
                  <a:lnTo>
                    <a:pt x="23166" y="250773"/>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73" name="Freeform: Shape 72">
              <a:extLst>
                <a:ext uri="{FF2B5EF4-FFF2-40B4-BE49-F238E27FC236}">
                  <a16:creationId xmlns:a16="http://schemas.microsoft.com/office/drawing/2014/main" id="{C90FE649-BD73-4034-BF74-90320FD34AF0}"/>
                </a:ext>
              </a:extLst>
            </p:cNvPr>
            <p:cNvSpPr/>
            <p:nvPr/>
          </p:nvSpPr>
          <p:spPr>
            <a:xfrm rot="8100000">
              <a:off x="4700877" y="3978390"/>
              <a:ext cx="773214" cy="2112297"/>
            </a:xfrm>
            <a:custGeom>
              <a:avLst/>
              <a:gdLst>
                <a:gd name="connsiteX0" fmla="*/ 604593 w 773214"/>
                <a:gd name="connsiteY0" fmla="*/ 2112297 h 2112297"/>
                <a:gd name="connsiteX1" fmla="*/ 544334 w 773214"/>
                <a:gd name="connsiteY1" fmla="*/ 2015252 h 2112297"/>
                <a:gd name="connsiteX2" fmla="*/ 562006 w 773214"/>
                <a:gd name="connsiteY2" fmla="*/ 1942872 h 2112297"/>
                <a:gd name="connsiteX3" fmla="*/ 136598 w 773214"/>
                <a:gd name="connsiteY3" fmla="*/ 244564 h 2112297"/>
                <a:gd name="connsiteX4" fmla="*/ 0 w 773214"/>
                <a:gd name="connsiteY4" fmla="*/ 93438 h 2112297"/>
                <a:gd name="connsiteX5" fmla="*/ 143069 w 773214"/>
                <a:gd name="connsiteY5" fmla="*/ 101743 h 2112297"/>
                <a:gd name="connsiteX6" fmla="*/ 148975 w 773214"/>
                <a:gd name="connsiteY6" fmla="*/ 0 h 2112297"/>
                <a:gd name="connsiteX7" fmla="*/ 271109 w 773214"/>
                <a:gd name="connsiteY7" fmla="*/ 135124 h 2112297"/>
                <a:gd name="connsiteX8" fmla="*/ 732226 w 773214"/>
                <a:gd name="connsiteY8" fmla="*/ 1975989 h 2112297"/>
                <a:gd name="connsiteX9" fmla="*/ 715807 w 773214"/>
                <a:gd name="connsiteY9" fmla="*/ 2043240 h 2112297"/>
                <a:gd name="connsiteX10" fmla="*/ 604593 w 773214"/>
                <a:gd name="connsiteY10" fmla="*/ 2112297 h 2112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3214" h="2112297">
                  <a:moveTo>
                    <a:pt x="604593" y="2112297"/>
                  </a:moveTo>
                  <a:lnTo>
                    <a:pt x="544334" y="2015252"/>
                  </a:lnTo>
                  <a:lnTo>
                    <a:pt x="562006" y="1942872"/>
                  </a:lnTo>
                  <a:cubicBezTo>
                    <a:pt x="675448" y="1356946"/>
                    <a:pt x="533646" y="731372"/>
                    <a:pt x="136598" y="244564"/>
                  </a:cubicBezTo>
                  <a:lnTo>
                    <a:pt x="0" y="93438"/>
                  </a:lnTo>
                  <a:lnTo>
                    <a:pt x="143069" y="101743"/>
                  </a:lnTo>
                  <a:lnTo>
                    <a:pt x="148975" y="0"/>
                  </a:lnTo>
                  <a:lnTo>
                    <a:pt x="271109" y="135124"/>
                  </a:lnTo>
                  <a:cubicBezTo>
                    <a:pt x="701486" y="662795"/>
                    <a:pt x="855191" y="1340880"/>
                    <a:pt x="732226" y="1975989"/>
                  </a:cubicBezTo>
                  <a:lnTo>
                    <a:pt x="715807" y="2043240"/>
                  </a:lnTo>
                  <a:lnTo>
                    <a:pt x="604593" y="2112297"/>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649">
                <a:defRPr/>
              </a:pPr>
              <a:endParaRPr lang="en-CA" sz="1836">
                <a:solidFill>
                  <a:srgbClr val="000000"/>
                </a:solidFill>
                <a:latin typeface="Segoe UI"/>
              </a:endParaRPr>
            </a:p>
          </p:txBody>
        </p:sp>
      </p:grpSp>
      <p:grpSp>
        <p:nvGrpSpPr>
          <p:cNvPr id="35" name="Group 34">
            <a:extLst>
              <a:ext uri="{FF2B5EF4-FFF2-40B4-BE49-F238E27FC236}">
                <a16:creationId xmlns:a16="http://schemas.microsoft.com/office/drawing/2014/main" id="{552B650F-8459-44B7-AADC-CAC3A0FDC73F}"/>
              </a:ext>
            </a:extLst>
          </p:cNvPr>
          <p:cNvGrpSpPr/>
          <p:nvPr/>
        </p:nvGrpSpPr>
        <p:grpSpPr>
          <a:xfrm>
            <a:off x="2641850" y="843367"/>
            <a:ext cx="703811" cy="703811"/>
            <a:chOff x="4514418" y="598134"/>
            <a:chExt cx="690162" cy="690162"/>
          </a:xfrm>
        </p:grpSpPr>
        <p:grpSp>
          <p:nvGrpSpPr>
            <p:cNvPr id="36" name="Group 35">
              <a:extLst>
                <a:ext uri="{FF2B5EF4-FFF2-40B4-BE49-F238E27FC236}">
                  <a16:creationId xmlns:a16="http://schemas.microsoft.com/office/drawing/2014/main" id="{27C6342B-8F05-4184-9E43-CF1E9C3633E2}"/>
                </a:ext>
              </a:extLst>
            </p:cNvPr>
            <p:cNvGrpSpPr/>
            <p:nvPr/>
          </p:nvGrpSpPr>
          <p:grpSpPr>
            <a:xfrm>
              <a:off x="4514418" y="598134"/>
              <a:ext cx="690162" cy="690162"/>
              <a:chOff x="6989114" y="876300"/>
              <a:chExt cx="1257300" cy="1257300"/>
            </a:xfrm>
          </p:grpSpPr>
          <p:sp>
            <p:nvSpPr>
              <p:cNvPr id="38" name="Oval 37">
                <a:extLst>
                  <a:ext uri="{FF2B5EF4-FFF2-40B4-BE49-F238E27FC236}">
                    <a16:creationId xmlns:a16="http://schemas.microsoft.com/office/drawing/2014/main" id="{EA0A948C-44B4-447D-A34A-1445A0C2D212}"/>
                  </a:ext>
                </a:extLst>
              </p:cNvPr>
              <p:cNvSpPr/>
              <p:nvPr/>
            </p:nvSpPr>
            <p:spPr>
              <a:xfrm>
                <a:off x="6989114" y="876300"/>
                <a:ext cx="1257300" cy="1257300"/>
              </a:xfrm>
              <a:prstGeom prst="ellipse">
                <a:avLst/>
              </a:prstGeom>
              <a:solidFill>
                <a:srgbClr val="FFFFFF"/>
              </a:solidFill>
              <a:ln>
                <a:solidFill>
                  <a:srgbClr val="FFFFFF"/>
                </a:solidFill>
              </a:ln>
              <a:effectLst>
                <a:outerShdw blurRad="127000" sx="102000" sy="102000" algn="ctr"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649">
                  <a:defRPr/>
                </a:pPr>
                <a:endParaRPr lang="en-CA" sz="1836">
                  <a:solidFill>
                    <a:srgbClr val="FFFFFF"/>
                  </a:solidFill>
                  <a:latin typeface="Segoe UI"/>
                </a:endParaRPr>
              </a:p>
            </p:txBody>
          </p:sp>
          <p:sp>
            <p:nvSpPr>
              <p:cNvPr id="39" name="Chord 38">
                <a:extLst>
                  <a:ext uri="{FF2B5EF4-FFF2-40B4-BE49-F238E27FC236}">
                    <a16:creationId xmlns:a16="http://schemas.microsoft.com/office/drawing/2014/main" id="{B68CD48D-9FDB-4149-9C5E-69056BB89458}"/>
                  </a:ext>
                </a:extLst>
              </p:cNvPr>
              <p:cNvSpPr/>
              <p:nvPr/>
            </p:nvSpPr>
            <p:spPr>
              <a:xfrm rot="17507038">
                <a:off x="7063406" y="950592"/>
                <a:ext cx="1108714" cy="1108714"/>
              </a:xfrm>
              <a:prstGeom prst="chord">
                <a:avLst/>
              </a:prstGeom>
              <a:solidFill>
                <a:srgbClr val="00B050"/>
              </a:solidFill>
              <a:ln>
                <a:noFill/>
              </a:ln>
              <a:effectLst>
                <a:innerShdw blurRad="101600" dist="25400" dir="19800000">
                  <a:srgbClr val="223C50">
                    <a:alpha val="50000"/>
                  </a:srgb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grpSp>
        <p:sp>
          <p:nvSpPr>
            <p:cNvPr id="37" name="TextBox 36">
              <a:extLst>
                <a:ext uri="{FF2B5EF4-FFF2-40B4-BE49-F238E27FC236}">
                  <a16:creationId xmlns:a16="http://schemas.microsoft.com/office/drawing/2014/main" id="{F89CB068-67C0-4FBC-A461-B2D3391802DA}"/>
                </a:ext>
              </a:extLst>
            </p:cNvPr>
            <p:cNvSpPr txBox="1"/>
            <p:nvPr/>
          </p:nvSpPr>
          <p:spPr>
            <a:xfrm>
              <a:off x="4651442" y="744334"/>
              <a:ext cx="404278" cy="531812"/>
            </a:xfrm>
            <a:prstGeom prst="rect">
              <a:avLst/>
            </a:prstGeom>
            <a:noFill/>
          </p:spPr>
          <p:txBody>
            <a:bodyPr wrap="none" rtlCol="0">
              <a:spAutoFit/>
            </a:bodyPr>
            <a:lstStyle/>
            <a:p>
              <a:pPr algn="ctr" defTabSz="932649">
                <a:defRPr/>
              </a:pPr>
              <a:r>
                <a:rPr lang="en-CA" sz="2856">
                  <a:solidFill>
                    <a:srgbClr val="FFFFFF"/>
                  </a:solidFill>
                  <a:latin typeface="Segoe UI Black" panose="020B0A02040204020203" pitchFamily="34" charset="0"/>
                  <a:ea typeface="Segoe UI Black" panose="020B0A02040204020203" pitchFamily="34" charset="0"/>
                </a:rPr>
                <a:t>6</a:t>
              </a:r>
            </a:p>
          </p:txBody>
        </p:sp>
      </p:grpSp>
    </p:spTree>
    <p:extLst>
      <p:ext uri="{BB962C8B-B14F-4D97-AF65-F5344CB8AC3E}">
        <p14:creationId xmlns:p14="http://schemas.microsoft.com/office/powerpoint/2010/main" val="1038855138"/>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efore You Publish The Report</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840560" cy="5475089"/>
          </a:xfrm>
        </p:spPr>
        <p:txBody>
          <a:bodyPr/>
          <a:lstStyle/>
          <a:p>
            <a:r>
              <a:rPr lang="en-US"/>
              <a:t>Testing </a:t>
            </a:r>
          </a:p>
          <a:p>
            <a:pPr lvl="1"/>
            <a:r>
              <a:rPr lang="en-US"/>
              <a:t>User acceptance test, test on different interfaces (Service, mobile app, embedded)</a:t>
            </a:r>
          </a:p>
          <a:p>
            <a:r>
              <a:rPr lang="en-US"/>
              <a:t>Prepare for publication</a:t>
            </a:r>
          </a:p>
          <a:p>
            <a:pPr lvl="1"/>
            <a:r>
              <a:rPr lang="en-US"/>
              <a:t>Set intended initial experience, e.g., define first page, reset filters and slicers, visual drill state, sort orders, and button state</a:t>
            </a:r>
          </a:p>
          <a:p>
            <a:r>
              <a:rPr lang="en-US"/>
              <a:t>Provide support </a:t>
            </a:r>
          </a:p>
          <a:p>
            <a:pPr lvl="1"/>
            <a:r>
              <a:rPr lang="en-US"/>
              <a:t>Training, built-in assistance, documentation</a:t>
            </a:r>
          </a:p>
          <a:p>
            <a:r>
              <a:rPr lang="en-US"/>
              <a:t>Manage change </a:t>
            </a:r>
          </a:p>
          <a:p>
            <a:pPr lvl="1"/>
            <a:r>
              <a:rPr lang="en-US"/>
              <a:t>Often, it's better to publish a new report that includes many updates than release smaller incremental changes, consider using Deployment pipelines</a:t>
            </a:r>
          </a:p>
          <a:p>
            <a:pPr marL="0" indent="0">
              <a:buNone/>
            </a:pPr>
            <a:endParaRPr lang="en-US"/>
          </a:p>
        </p:txBody>
      </p:sp>
    </p:spTree>
    <p:extLst>
      <p:ext uri="{BB962C8B-B14F-4D97-AF65-F5344CB8AC3E}">
        <p14:creationId xmlns:p14="http://schemas.microsoft.com/office/powerpoint/2010/main" val="39480955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4" end="4"/>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9907" y="2081513"/>
            <a:ext cx="4602449" cy="1553817"/>
          </a:xfrm>
        </p:spPr>
        <p:txBody>
          <a:bodyPr/>
          <a:lstStyle/>
          <a:p>
            <a:br>
              <a:rPr lang="en-US" sz="1400">
                <a:latin typeface="Segoe UI Bold" panose="020B0802040204020203" pitchFamily="34" charset="0"/>
                <a:ea typeface="Times New Roman" panose="02020603050405020304" pitchFamily="18" charset="0"/>
                <a:cs typeface="Segoe UI Bold" panose="020B0802040204020203" pitchFamily="34" charset="0"/>
              </a:rPr>
            </a:br>
            <a:r>
              <a:rPr lang="en-US" sz="1400">
                <a:latin typeface="Segoe UI Bold" panose="020B0802040204020203" pitchFamily="34" charset="0"/>
                <a:ea typeface="Times New Roman" panose="02020603050405020304" pitchFamily="18" charset="0"/>
                <a:cs typeface="Segoe UI Bold" panose="020B0802040204020203" pitchFamily="34" charset="0"/>
              </a:rPr>
              <a:t> </a:t>
            </a:r>
            <a:br>
              <a:rPr lang="en-US" sz="3649">
                <a:ea typeface="Times New Roman" panose="02020603050405020304" pitchFamily="18" charset="0"/>
                <a:cs typeface="Segoe UI"/>
              </a:rPr>
            </a:br>
            <a:br>
              <a:rPr lang="en-US" sz="3649">
                <a:ea typeface="Times New Roman" panose="02020603050405020304" pitchFamily="18" charset="0"/>
                <a:cs typeface="Segoe UI"/>
              </a:rPr>
            </a:br>
            <a:endParaRPr lang="en-US" sz="3649">
              <a:cs typeface="Segoe UI"/>
            </a:endParaRPr>
          </a:p>
        </p:txBody>
      </p:sp>
      <p:graphicFrame>
        <p:nvGraphicFramePr>
          <p:cNvPr id="3" name="Table 3">
            <a:extLst>
              <a:ext uri="{FF2B5EF4-FFF2-40B4-BE49-F238E27FC236}">
                <a16:creationId xmlns:a16="http://schemas.microsoft.com/office/drawing/2014/main" id="{81CF9FAA-7165-415E-AB1E-8075FE3ED399}"/>
              </a:ext>
            </a:extLst>
          </p:cNvPr>
          <p:cNvGraphicFramePr>
            <a:graphicFrameLocks noGrp="1"/>
          </p:cNvGraphicFramePr>
          <p:nvPr/>
        </p:nvGraphicFramePr>
        <p:xfrm>
          <a:off x="729740" y="1723502"/>
          <a:ext cx="10975593" cy="3256012"/>
        </p:xfrm>
        <a:graphic>
          <a:graphicData uri="http://schemas.openxmlformats.org/drawingml/2006/table">
            <a:tbl>
              <a:tblPr firstRow="1" bandRow="1">
                <a:tableStyleId>{2D5ABB26-0587-4C30-8999-92F81FD0307C}</a:tableStyleId>
              </a:tblPr>
              <a:tblGrid>
                <a:gridCol w="10975593">
                  <a:extLst>
                    <a:ext uri="{9D8B030D-6E8A-4147-A177-3AD203B41FA5}">
                      <a16:colId xmlns:a16="http://schemas.microsoft.com/office/drawing/2014/main" val="159140880"/>
                    </a:ext>
                  </a:extLst>
                </a:gridCol>
              </a:tblGrid>
              <a:tr h="700951">
                <a:tc>
                  <a:txBody>
                    <a:bodyPr/>
                    <a:lstStyle/>
                    <a:p>
                      <a:r>
                        <a:rPr kumimoji="0" lang="en-US" sz="40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Bold" panose="020B0802040204020203" pitchFamily="34" charset="0"/>
                          <a:ea typeface="Times New Roman" panose="02020603050405020304" pitchFamily="18" charset="0"/>
                          <a:cs typeface="Segoe UI Bold" panose="020B0802040204020203" pitchFamily="34" charset="0"/>
                        </a:rPr>
                        <a:t>Data Culture</a:t>
                      </a:r>
                      <a:endParaRPr lang="en-US" sz="1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17299406"/>
                  </a:ext>
                </a:extLst>
              </a:tr>
              <a:tr h="238552">
                <a:tc>
                  <a:txBody>
                    <a:bodyPr/>
                    <a:lstStyle/>
                    <a:p>
                      <a:endParaRPr lang="en-US" sz="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90607938"/>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Times New Roman" panose="02020603050405020304" pitchFamily="18" charset="0"/>
                          <a:cs typeface="Segoe UI"/>
                        </a:rPr>
                        <a:t>Objective:</a:t>
                      </a:r>
                      <a:endParaRPr lang="en-US" sz="16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06375184"/>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Times New Roman" panose="02020603050405020304" pitchFamily="18" charset="0"/>
                          <a:cs typeface="Segoe UI"/>
                        </a:rPr>
                        <a:t>Self-service BI as a two-edged sword</a:t>
                      </a:r>
                      <a:endPar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112843642"/>
                  </a:ext>
                </a:extLst>
              </a:tr>
              <a:tr h="579046">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Data governance and enablement</a:t>
                      </a:r>
                      <a:endPar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93632906"/>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Finding balance with managed self-service BI</a:t>
                      </a:r>
                      <a:endPar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59052171"/>
                  </a:ext>
                </a:extLst>
              </a:tr>
            </a:tbl>
          </a:graphicData>
        </a:graphic>
      </p:graphicFrame>
    </p:spTree>
    <p:extLst>
      <p:ext uri="{BB962C8B-B14F-4D97-AF65-F5344CB8AC3E}">
        <p14:creationId xmlns:p14="http://schemas.microsoft.com/office/powerpoint/2010/main" val="3434448082"/>
      </p:ext>
    </p:extLst>
  </p:cSld>
  <p:clrMapOvr>
    <a:masterClrMapping/>
  </p:clrMapOvr>
  <p:transition spd="slow">
    <p:push dir="u"/>
  </p:transition>
</p:sld>
</file>

<file path=ppt/slides/slide17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018B52-93C5-4EB8-84B3-F4421E515827}"/>
              </a:ext>
            </a:extLst>
          </p:cNvPr>
          <p:cNvSpPr>
            <a:spLocks noGrp="1"/>
          </p:cNvSpPr>
          <p:nvPr>
            <p:ph type="title"/>
          </p:nvPr>
        </p:nvSpPr>
        <p:spPr>
          <a:xfrm>
            <a:off x="600059" y="1487073"/>
            <a:ext cx="11239464" cy="1130181"/>
          </a:xfrm>
        </p:spPr>
        <p:txBody>
          <a:bodyPr/>
          <a:lstStyle/>
          <a:p>
            <a:r>
              <a:rPr lang="en-US"/>
              <a:t>Self-service BI tools are sometimes described as a two-edged sword.</a:t>
            </a:r>
          </a:p>
        </p:txBody>
      </p:sp>
      <p:pic>
        <p:nvPicPr>
          <p:cNvPr id="6" name="Picture 5" descr="A close up of a white wall&#10;&#10;Description automatically generated">
            <a:extLst>
              <a:ext uri="{FF2B5EF4-FFF2-40B4-BE49-F238E27FC236}">
                <a16:creationId xmlns:a16="http://schemas.microsoft.com/office/drawing/2014/main" id="{98D0A6F7-96AB-48FF-A41F-C27B3B9E308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1170" b="23750"/>
          <a:stretch/>
        </p:blipFill>
        <p:spPr>
          <a:xfrm>
            <a:off x="882" y="2948229"/>
            <a:ext cx="12434711" cy="4046296"/>
          </a:xfrm>
          <a:prstGeom prst="rect">
            <a:avLst/>
          </a:prstGeom>
        </p:spPr>
      </p:pic>
    </p:spTree>
    <p:extLst>
      <p:ext uri="{BB962C8B-B14F-4D97-AF65-F5344CB8AC3E}">
        <p14:creationId xmlns:p14="http://schemas.microsoft.com/office/powerpoint/2010/main" val="1486793624"/>
      </p:ext>
    </p:extLst>
  </p:cSld>
  <p:clrMapOvr>
    <a:masterClrMapping/>
  </p:clrMapOvr>
  <p:transition spd="slow">
    <p:push dir="u"/>
  </p:transition>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3721FC77-B81C-46DA-B090-548540ECF95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8582" r="8382"/>
          <a:stretch/>
        </p:blipFill>
        <p:spPr>
          <a:xfrm rot="16200000">
            <a:off x="-1390502" y="1391383"/>
            <a:ext cx="6994529" cy="4211756"/>
          </a:xfrm>
          <a:prstGeom prst="rect">
            <a:avLst/>
          </a:prstGeom>
        </p:spPr>
      </p:pic>
      <p:sp>
        <p:nvSpPr>
          <p:cNvPr id="4" name="Title 3"/>
          <p:cNvSpPr>
            <a:spLocks noGrp="1"/>
          </p:cNvSpPr>
          <p:nvPr>
            <p:ph type="title"/>
          </p:nvPr>
        </p:nvSpPr>
        <p:spPr>
          <a:xfrm>
            <a:off x="172644" y="2340178"/>
            <a:ext cx="3898722" cy="1921090"/>
          </a:xfrm>
        </p:spPr>
        <p:txBody>
          <a:bodyPr/>
          <a:lstStyle/>
          <a:p>
            <a:r>
              <a:rPr lang="en-GB"/>
              <a:t>Self-service BI as a two-edged sword</a:t>
            </a:r>
          </a:p>
        </p:txBody>
      </p:sp>
      <p:sp>
        <p:nvSpPr>
          <p:cNvPr id="3" name="Rectangle 2">
            <a:extLst>
              <a:ext uri="{FF2B5EF4-FFF2-40B4-BE49-F238E27FC236}">
                <a16:creationId xmlns:a16="http://schemas.microsoft.com/office/drawing/2014/main" id="{9C39A657-A30C-4753-8B78-67AEF0F52FAC}"/>
              </a:ext>
            </a:extLst>
          </p:cNvPr>
          <p:cNvSpPr/>
          <p:nvPr/>
        </p:nvSpPr>
        <p:spPr>
          <a:xfrm>
            <a:off x="6066108" y="500297"/>
            <a:ext cx="6201098" cy="5908020"/>
          </a:xfrm>
          <a:prstGeom prst="rect">
            <a:avLst/>
          </a:prstGeom>
        </p:spPr>
        <p:txBody>
          <a:bodyPr/>
          <a:lstStyle/>
          <a:p>
            <a:r>
              <a:rPr lang="en-GB" sz="2448"/>
              <a:t>Why does this phrase mean “</a:t>
            </a:r>
            <a:r>
              <a:rPr lang="en-US" sz="2448"/>
              <a:t>something that has or can have both favorable and unfavorable consequences</a:t>
            </a:r>
            <a:r>
              <a:rPr lang="en-GB" sz="2448"/>
              <a:t>”?</a:t>
            </a:r>
          </a:p>
          <a:p>
            <a:pPr lvl="0"/>
            <a:endParaRPr lang="en-GB" sz="2448"/>
          </a:p>
          <a:p>
            <a:pPr lvl="0"/>
            <a:r>
              <a:rPr lang="en-GB" sz="2448"/>
              <a:t>It should instead mean “</a:t>
            </a:r>
            <a:r>
              <a:rPr lang="en-GB" sz="2448" b="1"/>
              <a:t>something that can be used in multiple ways, with each way having specific strengths and weaknesses.</a:t>
            </a:r>
            <a:r>
              <a:rPr lang="en-GB" sz="2448"/>
              <a:t>”</a:t>
            </a:r>
          </a:p>
          <a:p>
            <a:pPr lvl="0"/>
            <a:endParaRPr lang="en-GB" sz="2448"/>
          </a:p>
          <a:p>
            <a:pPr lvl="0"/>
            <a:r>
              <a:rPr lang="en-GB" sz="2448"/>
              <a:t>When you know how to use the true edge and the false edge, you have significant advantages over an opponent with a single-edge sword. Rather than fearing your weapon, you should learn its capabilities for optimal use.</a:t>
            </a:r>
          </a:p>
          <a:p>
            <a:pPr lvl="0"/>
            <a:endParaRPr lang="en-GB" sz="2448"/>
          </a:p>
          <a:p>
            <a:pPr lvl="0"/>
            <a:endParaRPr lang="en-GB" sz="2448"/>
          </a:p>
          <a:p>
            <a:pPr lvl="0"/>
            <a:endParaRPr lang="en-GB" sz="2448"/>
          </a:p>
        </p:txBody>
      </p:sp>
      <p:pic>
        <p:nvPicPr>
          <p:cNvPr id="18" name="Graphic 17">
            <a:extLst>
              <a:ext uri="{FF2B5EF4-FFF2-40B4-BE49-F238E27FC236}">
                <a16:creationId xmlns:a16="http://schemas.microsoft.com/office/drawing/2014/main" id="{84E9F257-5365-476A-B64B-E5BD560523C3}"/>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586052"/>
            <a:ext cx="642000" cy="640690"/>
          </a:xfrm>
          <a:prstGeom prst="rect">
            <a:avLst/>
          </a:prstGeom>
        </p:spPr>
      </p:pic>
      <p:pic>
        <p:nvPicPr>
          <p:cNvPr id="13" name="Graphic 17">
            <a:extLst>
              <a:ext uri="{FF2B5EF4-FFF2-40B4-BE49-F238E27FC236}">
                <a16:creationId xmlns:a16="http://schemas.microsoft.com/office/drawing/2014/main" id="{D75019AA-4BB2-4CB5-BD3D-B7C6175AC8A7}"/>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2140379"/>
            <a:ext cx="642000" cy="640690"/>
          </a:xfrm>
          <a:prstGeom prst="rect">
            <a:avLst/>
          </a:prstGeom>
        </p:spPr>
      </p:pic>
      <p:pic>
        <p:nvPicPr>
          <p:cNvPr id="15" name="Graphic 17">
            <a:extLst>
              <a:ext uri="{FF2B5EF4-FFF2-40B4-BE49-F238E27FC236}">
                <a16:creationId xmlns:a16="http://schemas.microsoft.com/office/drawing/2014/main" id="{DE729E47-9FBE-429B-B7D7-4C4FDF60B8DB}"/>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3606941"/>
            <a:ext cx="642000" cy="640690"/>
          </a:xfrm>
          <a:prstGeom prst="rect">
            <a:avLst/>
          </a:prstGeom>
        </p:spPr>
      </p:pic>
    </p:spTree>
    <p:extLst>
      <p:ext uri="{BB962C8B-B14F-4D97-AF65-F5344CB8AC3E}">
        <p14:creationId xmlns:p14="http://schemas.microsoft.com/office/powerpoint/2010/main" val="2623831376"/>
      </p:ext>
    </p:extLst>
  </p:cSld>
  <p:clrMapOvr>
    <a:masterClrMapping/>
  </p:clrMapOvr>
  <p:transition spd="slow">
    <p:push/>
  </p:transition>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Online Media 8" title="SSBI 1: True Edge Rising">
            <a:hlinkClick r:id="" action="ppaction://media"/>
            <a:extLst>
              <a:ext uri="{FF2B5EF4-FFF2-40B4-BE49-F238E27FC236}">
                <a16:creationId xmlns:a16="http://schemas.microsoft.com/office/drawing/2014/main" id="{126064D2-474C-47F2-8DF6-89E713C42429}"/>
              </a:ext>
            </a:extLst>
          </p:cNvPr>
          <p:cNvPicPr>
            <a:picLocks noRot="1" noChangeAspect="1"/>
          </p:cNvPicPr>
          <p:nvPr>
            <a:videoFile r:link="rId1"/>
          </p:nvPr>
        </p:nvPicPr>
        <p:blipFill>
          <a:blip r:embed="rId4"/>
          <a:stretch>
            <a:fillRect/>
          </a:stretch>
        </p:blipFill>
        <p:spPr>
          <a:xfrm>
            <a:off x="1494497" y="1210094"/>
            <a:ext cx="10098360" cy="5680326"/>
          </a:xfrm>
          <a:prstGeom prst="rect">
            <a:avLst/>
          </a:prstGeom>
        </p:spPr>
      </p:pic>
      <p:sp>
        <p:nvSpPr>
          <p:cNvPr id="8" name="Title 7">
            <a:extLst>
              <a:ext uri="{FF2B5EF4-FFF2-40B4-BE49-F238E27FC236}">
                <a16:creationId xmlns:a16="http://schemas.microsoft.com/office/drawing/2014/main" id="{B75CDF9D-950F-448D-BDA6-E66567BF32B7}"/>
              </a:ext>
            </a:extLst>
          </p:cNvPr>
          <p:cNvSpPr>
            <a:spLocks noGrp="1"/>
          </p:cNvSpPr>
          <p:nvPr>
            <p:ph type="title"/>
          </p:nvPr>
        </p:nvSpPr>
        <p:spPr/>
        <p:txBody>
          <a:bodyPr/>
          <a:lstStyle/>
          <a:p>
            <a:r>
              <a:rPr lang="en-US"/>
              <a:t>True Edge, False Edge - IT and self-service</a:t>
            </a:r>
          </a:p>
        </p:txBody>
      </p:sp>
      <p:sp>
        <p:nvSpPr>
          <p:cNvPr id="12" name="TextBox 11">
            <a:extLst>
              <a:ext uri="{FF2B5EF4-FFF2-40B4-BE49-F238E27FC236}">
                <a16:creationId xmlns:a16="http://schemas.microsoft.com/office/drawing/2014/main" id="{0AA7413D-BDB2-4A1C-BE0A-317670A0A1E6}"/>
              </a:ext>
            </a:extLst>
          </p:cNvPr>
          <p:cNvSpPr txBox="1"/>
          <p:nvPr/>
        </p:nvSpPr>
        <p:spPr>
          <a:xfrm rot="16200000">
            <a:off x="-527521" y="4868401"/>
            <a:ext cx="3393157" cy="650879"/>
          </a:xfrm>
          <a:prstGeom prst="rect">
            <a:avLst/>
          </a:prstGeom>
          <a:noFill/>
          <a:ln>
            <a:solidFill>
              <a:schemeClr val="tx1"/>
            </a:solidFill>
          </a:ln>
        </p:spPr>
        <p:txBody>
          <a:bodyPr wrap="square" lIns="186497" tIns="149198" rIns="186497" bIns="149198" rtlCol="0">
            <a:spAutoFit/>
          </a:bodyPr>
          <a:lstStyle/>
          <a:p>
            <a:pPr>
              <a:lnSpc>
                <a:spcPct val="90000"/>
              </a:lnSpc>
              <a:spcAft>
                <a:spcPts val="612"/>
              </a:spcAft>
            </a:pPr>
            <a:r>
              <a:rPr lang="en-US" sz="2448">
                <a:gradFill>
                  <a:gsLst>
                    <a:gs pos="2917">
                      <a:schemeClr val="tx1"/>
                    </a:gs>
                    <a:gs pos="30000">
                      <a:schemeClr val="tx1"/>
                    </a:gs>
                  </a:gsLst>
                  <a:lin ang="5400000" scaled="0"/>
                </a:gradFill>
              </a:rPr>
              <a:t>True Edge Rising</a:t>
            </a:r>
          </a:p>
        </p:txBody>
      </p:sp>
      <p:grpSp>
        <p:nvGrpSpPr>
          <p:cNvPr id="6" name="Group 5">
            <a:extLst>
              <a:ext uri="{FF2B5EF4-FFF2-40B4-BE49-F238E27FC236}">
                <a16:creationId xmlns:a16="http://schemas.microsoft.com/office/drawing/2014/main" id="{25183BD5-6B30-4479-B559-52C083A71A27}"/>
              </a:ext>
            </a:extLst>
          </p:cNvPr>
          <p:cNvGrpSpPr/>
          <p:nvPr/>
        </p:nvGrpSpPr>
        <p:grpSpPr>
          <a:xfrm>
            <a:off x="550408" y="1305954"/>
            <a:ext cx="801002" cy="800888"/>
            <a:chOff x="550478" y="463089"/>
            <a:chExt cx="801104" cy="800990"/>
          </a:xfrm>
        </p:grpSpPr>
        <p:sp>
          <p:nvSpPr>
            <p:cNvPr id="7" name="Oval 6">
              <a:extLst>
                <a:ext uri="{FF2B5EF4-FFF2-40B4-BE49-F238E27FC236}">
                  <a16:creationId xmlns:a16="http://schemas.microsoft.com/office/drawing/2014/main" id="{D8DD5BCD-1F20-4266-84E0-4230735D2DA8}"/>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10" name="Graphic 9">
              <a:extLst>
                <a:ext uri="{FF2B5EF4-FFF2-40B4-BE49-F238E27FC236}">
                  <a16:creationId xmlns:a16="http://schemas.microsoft.com/office/drawing/2014/main" id="{47068224-1D6F-4A47-87D7-521F3BF95AC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76073736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9"/>
                </p:tgtEl>
              </p:cMediaNode>
            </p:video>
            <p:seq concurrent="1" nextAc="seek">
              <p:cTn id="8" restart="whenNotActive" fill="hold" evtFilter="cancelBubble" nodeType="interactiveSeq">
                <p:stCondLst>
                  <p:cond evt="onClick" delay="0">
                    <p:tgtEl>
                      <p:spTgt spid="9"/>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9"/>
                                        </p:tgtEl>
                                      </p:cBhvr>
                                    </p:cmd>
                                  </p:childTnLst>
                                </p:cTn>
                              </p:par>
                            </p:childTnLst>
                          </p:cTn>
                        </p:par>
                      </p:childTnLst>
                    </p:cTn>
                  </p:par>
                </p:childTnLst>
              </p:cTn>
              <p:nextCondLst>
                <p:cond evt="onClick" delay="0">
                  <p:tgtEl>
                    <p:spTgt spid="9"/>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Primitive Values</a:t>
            </a:r>
          </a:p>
        </p:txBody>
      </p:sp>
      <p:graphicFrame>
        <p:nvGraphicFramePr>
          <p:cNvPr id="6" name="Table 5">
            <a:extLst>
              <a:ext uri="{FF2B5EF4-FFF2-40B4-BE49-F238E27FC236}">
                <a16:creationId xmlns:a16="http://schemas.microsoft.com/office/drawing/2014/main" id="{AA9DAA12-8D92-406B-83AD-E4591241EDCD}"/>
              </a:ext>
            </a:extLst>
          </p:cNvPr>
          <p:cNvGraphicFramePr>
            <a:graphicFrameLocks noGrp="1"/>
          </p:cNvGraphicFramePr>
          <p:nvPr>
            <p:extLst>
              <p:ext uri="{D42A27DB-BD31-4B8C-83A1-F6EECF244321}">
                <p14:modId xmlns:p14="http://schemas.microsoft.com/office/powerpoint/2010/main" val="3102052247"/>
              </p:ext>
            </p:extLst>
          </p:nvPr>
        </p:nvGraphicFramePr>
        <p:xfrm>
          <a:off x="855768" y="1542225"/>
          <a:ext cx="10723568" cy="4447991"/>
        </p:xfrm>
        <a:graphic>
          <a:graphicData uri="http://schemas.openxmlformats.org/drawingml/2006/table">
            <a:tbl>
              <a:tblPr/>
              <a:tblGrid>
                <a:gridCol w="5361784">
                  <a:extLst>
                    <a:ext uri="{9D8B030D-6E8A-4147-A177-3AD203B41FA5}">
                      <a16:colId xmlns:a16="http://schemas.microsoft.com/office/drawing/2014/main" val="3367326232"/>
                    </a:ext>
                  </a:extLst>
                </a:gridCol>
                <a:gridCol w="5361784">
                  <a:extLst>
                    <a:ext uri="{9D8B030D-6E8A-4147-A177-3AD203B41FA5}">
                      <a16:colId xmlns:a16="http://schemas.microsoft.com/office/drawing/2014/main" val="2388008421"/>
                    </a:ext>
                  </a:extLst>
                </a:gridCol>
              </a:tblGrid>
              <a:tr h="403400">
                <a:tc>
                  <a:txBody>
                    <a:bodyPr/>
                    <a:lstStyle/>
                    <a:p>
                      <a:pPr algn="l" latinLnBrk="0"/>
                      <a:r>
                        <a:rPr lang="en-US" sz="1500" b="1">
                          <a:solidFill>
                            <a:srgbClr val="000000"/>
                          </a:solidFill>
                          <a:effectLst/>
                          <a:latin typeface="Segoe UI" panose="020B0502040204020203" pitchFamily="34" charset="0"/>
                          <a:cs typeface="Segoe UI" panose="020B0502040204020203" pitchFamily="34" charset="0"/>
                        </a:rPr>
                        <a:t>Typ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latinLnBrk="0"/>
                      <a:r>
                        <a:rPr lang="en-US" sz="1500" b="1">
                          <a:solidFill>
                            <a:srgbClr val="000000"/>
                          </a:solidFill>
                          <a:effectLst/>
                          <a:latin typeface="Segoe UI" panose="020B0502040204020203" pitchFamily="34" charset="0"/>
                          <a:cs typeface="Segoe UI" panose="020B0502040204020203" pitchFamily="34" charset="0"/>
                        </a:rPr>
                        <a:t>Exampl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04467080"/>
                  </a:ext>
                </a:extLst>
              </a:tr>
              <a:tr h="413991">
                <a:tc>
                  <a:txBody>
                    <a:bodyPr/>
                    <a:lstStyle/>
                    <a:p>
                      <a:pPr latinLnBrk="0"/>
                      <a:r>
                        <a:rPr lang="en-US" sz="1500">
                          <a:effectLst/>
                          <a:latin typeface="Segoe UI" panose="020B0502040204020203" pitchFamily="34" charset="0"/>
                          <a:cs typeface="Segoe UI" panose="020B0502040204020203" pitchFamily="34" charset="0"/>
                        </a:rPr>
                        <a:t>binary</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600">
                          <a:latin typeface="Segoe UI" panose="020B0502040204020203" pitchFamily="34" charset="0"/>
                          <a:cs typeface="Segoe UI" panose="020B0502040204020203" pitchFamily="34" charset="0"/>
                        </a:rPr>
                        <a:t>#binary("AQID")</a:t>
                      </a:r>
                      <a:endParaRPr lang="en-US" sz="1500">
                        <a:effectLst/>
                        <a:latin typeface="Segoe UI" panose="020B0502040204020203" pitchFamily="34" charset="0"/>
                        <a:cs typeface="Segoe UI" panose="020B0502040204020203" pitchFamily="34" charset="0"/>
                      </a:endParaRP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99638832"/>
                  </a:ext>
                </a:extLst>
              </a:tr>
              <a:tr h="403400">
                <a:tc>
                  <a:txBody>
                    <a:bodyPr/>
                    <a:lstStyle/>
                    <a:p>
                      <a:pPr latinLnBrk="0"/>
                      <a:r>
                        <a:rPr lang="en-US" sz="1500">
                          <a:effectLst/>
                          <a:latin typeface="Segoe UI" panose="020B0502040204020203" pitchFamily="34" charset="0"/>
                          <a:cs typeface="Segoe UI" panose="020B0502040204020203" pitchFamily="34" charset="0"/>
                        </a:rPr>
                        <a:t>dat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date(2018,7,10)</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78529909"/>
                  </a:ext>
                </a:extLst>
              </a:tr>
              <a:tr h="403400">
                <a:tc>
                  <a:txBody>
                    <a:bodyPr/>
                    <a:lstStyle/>
                    <a:p>
                      <a:pPr latinLnBrk="0"/>
                      <a:r>
                        <a:rPr lang="en-US" sz="1500">
                          <a:effectLst/>
                          <a:latin typeface="Segoe UI" panose="020B0502040204020203" pitchFamily="34" charset="0"/>
                          <a:cs typeface="Segoe UI" panose="020B0502040204020203" pitchFamily="34" charset="0"/>
                        </a:rPr>
                        <a:t>tim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time(18,30,0)</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806300434"/>
                  </a:ext>
                </a:extLst>
              </a:tr>
              <a:tr h="403400">
                <a:tc>
                  <a:txBody>
                    <a:bodyPr/>
                    <a:lstStyle/>
                    <a:p>
                      <a:pPr latinLnBrk="0"/>
                      <a:r>
                        <a:rPr lang="en-US" sz="1500">
                          <a:effectLst/>
                          <a:latin typeface="Segoe UI" panose="020B0502040204020203" pitchFamily="34" charset="0"/>
                          <a:cs typeface="Segoe UI" panose="020B0502040204020203" pitchFamily="34" charset="0"/>
                        </a:rPr>
                        <a:t>datetim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datetime(2018,7,10,18,30,0)</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63427327"/>
                  </a:ext>
                </a:extLst>
              </a:tr>
              <a:tr h="403400">
                <a:tc>
                  <a:txBody>
                    <a:bodyPr/>
                    <a:lstStyle/>
                    <a:p>
                      <a:pPr latinLnBrk="0"/>
                      <a:r>
                        <a:rPr lang="en-US" sz="1500">
                          <a:effectLst/>
                          <a:latin typeface="Segoe UI" panose="020B0502040204020203" pitchFamily="34" charset="0"/>
                          <a:cs typeface="Segoe UI" panose="020B0502040204020203" pitchFamily="34" charset="0"/>
                        </a:rPr>
                        <a:t>datetimezon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datetimezone(2018,7,10,18,30,0,0,6)</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65424114"/>
                  </a:ext>
                </a:extLst>
              </a:tr>
              <a:tr h="403400">
                <a:tc>
                  <a:txBody>
                    <a:bodyPr/>
                    <a:lstStyle/>
                    <a:p>
                      <a:pPr latinLnBrk="0"/>
                      <a:r>
                        <a:rPr lang="en-US" sz="1500">
                          <a:effectLst/>
                          <a:latin typeface="Segoe UI" panose="020B0502040204020203" pitchFamily="34" charset="0"/>
                          <a:cs typeface="Segoe UI" panose="020B0502040204020203" pitchFamily="34" charset="0"/>
                        </a:rPr>
                        <a:t>duration</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duration(1,0,0,0)</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46852429"/>
                  </a:ext>
                </a:extLst>
              </a:tr>
              <a:tr h="403400">
                <a:tc>
                  <a:txBody>
                    <a:bodyPr/>
                    <a:lstStyle/>
                    <a:p>
                      <a:pPr latinLnBrk="0"/>
                      <a:r>
                        <a:rPr lang="en-US" sz="1500">
                          <a:effectLst/>
                          <a:latin typeface="Segoe UI" panose="020B0502040204020203" pitchFamily="34" charset="0"/>
                          <a:cs typeface="Segoe UI" panose="020B0502040204020203" pitchFamily="34" charset="0"/>
                        </a:rPr>
                        <a:t>logical</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true and fals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364063942"/>
                  </a:ext>
                </a:extLst>
              </a:tr>
              <a:tr h="403400">
                <a:tc>
                  <a:txBody>
                    <a:bodyPr/>
                    <a:lstStyle/>
                    <a:p>
                      <a:pPr latinLnBrk="0"/>
                      <a:r>
                        <a:rPr lang="en-US" sz="1500">
                          <a:effectLst/>
                          <a:latin typeface="Segoe UI" panose="020B0502040204020203" pitchFamily="34" charset="0"/>
                          <a:cs typeface="Segoe UI" panose="020B0502040204020203" pitchFamily="34" charset="0"/>
                        </a:rPr>
                        <a:t>null</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null</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53890112"/>
                  </a:ext>
                </a:extLst>
              </a:tr>
              <a:tr h="403400">
                <a:tc>
                  <a:txBody>
                    <a:bodyPr/>
                    <a:lstStyle/>
                    <a:p>
                      <a:pPr latinLnBrk="0"/>
                      <a:r>
                        <a:rPr lang="en-US" sz="1500">
                          <a:effectLst/>
                          <a:latin typeface="Segoe UI" panose="020B0502040204020203" pitchFamily="34" charset="0"/>
                          <a:cs typeface="Segoe UI" panose="020B0502040204020203" pitchFamily="34" charset="0"/>
                        </a:rPr>
                        <a:t>number</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0, 1, -1, 1.5</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299447938"/>
                  </a:ext>
                </a:extLst>
              </a:tr>
              <a:tr h="403400">
                <a:tc>
                  <a:txBody>
                    <a:bodyPr/>
                    <a:lstStyle/>
                    <a:p>
                      <a:pPr latinLnBrk="0"/>
                      <a:r>
                        <a:rPr lang="en-US" sz="1500">
                          <a:effectLst/>
                          <a:latin typeface="Segoe UI" panose="020B0502040204020203" pitchFamily="34" charset="0"/>
                          <a:cs typeface="Segoe UI" panose="020B0502040204020203" pitchFamily="34" charset="0"/>
                        </a:rPr>
                        <a:t>text</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hello, world”</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93034700"/>
                  </a:ext>
                </a:extLst>
              </a:tr>
            </a:tbl>
          </a:graphicData>
        </a:graphic>
      </p:graphicFrame>
    </p:spTree>
    <p:extLst>
      <p:ext uri="{BB962C8B-B14F-4D97-AF65-F5344CB8AC3E}">
        <p14:creationId xmlns:p14="http://schemas.microsoft.com/office/powerpoint/2010/main" val="1513792599"/>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75CDF9D-950F-448D-BDA6-E66567BF32B7}"/>
              </a:ext>
            </a:extLst>
          </p:cNvPr>
          <p:cNvSpPr>
            <a:spLocks noGrp="1"/>
          </p:cNvSpPr>
          <p:nvPr>
            <p:ph type="title"/>
          </p:nvPr>
        </p:nvSpPr>
        <p:spPr/>
        <p:txBody>
          <a:bodyPr/>
          <a:lstStyle/>
          <a:p>
            <a:r>
              <a:rPr lang="en-US"/>
              <a:t>True Edge, False Edge - IT and self-service</a:t>
            </a:r>
          </a:p>
        </p:txBody>
      </p:sp>
      <p:sp>
        <p:nvSpPr>
          <p:cNvPr id="12" name="TextBox 11">
            <a:extLst>
              <a:ext uri="{FF2B5EF4-FFF2-40B4-BE49-F238E27FC236}">
                <a16:creationId xmlns:a16="http://schemas.microsoft.com/office/drawing/2014/main" id="{0AA7413D-BDB2-4A1C-BE0A-317670A0A1E6}"/>
              </a:ext>
            </a:extLst>
          </p:cNvPr>
          <p:cNvSpPr txBox="1"/>
          <p:nvPr/>
        </p:nvSpPr>
        <p:spPr>
          <a:xfrm rot="16200000">
            <a:off x="-527521" y="4868401"/>
            <a:ext cx="3393157" cy="650879"/>
          </a:xfrm>
          <a:prstGeom prst="rect">
            <a:avLst/>
          </a:prstGeom>
          <a:noFill/>
          <a:ln>
            <a:solidFill>
              <a:schemeClr val="tx1"/>
            </a:solidFill>
          </a:ln>
        </p:spPr>
        <p:txBody>
          <a:bodyPr wrap="square" lIns="186497" tIns="149198" rIns="186497" bIns="149198" rtlCol="0">
            <a:spAutoFit/>
          </a:bodyPr>
          <a:lstStyle/>
          <a:p>
            <a:pPr>
              <a:lnSpc>
                <a:spcPct val="90000"/>
              </a:lnSpc>
              <a:spcAft>
                <a:spcPts val="612"/>
              </a:spcAft>
            </a:pPr>
            <a:r>
              <a:rPr lang="en-US" sz="2448">
                <a:gradFill>
                  <a:gsLst>
                    <a:gs pos="2917">
                      <a:schemeClr val="tx1"/>
                    </a:gs>
                    <a:gs pos="30000">
                      <a:schemeClr val="tx1"/>
                    </a:gs>
                  </a:gsLst>
                  <a:lin ang="5400000" scaled="0"/>
                </a:gradFill>
              </a:rPr>
              <a:t>False Edge Rising</a:t>
            </a:r>
          </a:p>
        </p:txBody>
      </p:sp>
      <p:pic>
        <p:nvPicPr>
          <p:cNvPr id="2" name="Online Media 1" title="SSBI 2: False Edge Rising">
            <a:hlinkClick r:id="" action="ppaction://media"/>
            <a:extLst>
              <a:ext uri="{FF2B5EF4-FFF2-40B4-BE49-F238E27FC236}">
                <a16:creationId xmlns:a16="http://schemas.microsoft.com/office/drawing/2014/main" id="{01191F21-864A-474E-951A-076CB3417438}"/>
              </a:ext>
            </a:extLst>
          </p:cNvPr>
          <p:cNvPicPr>
            <a:picLocks noRot="1" noChangeAspect="1"/>
          </p:cNvPicPr>
          <p:nvPr>
            <a:videoFile r:link="rId1"/>
          </p:nvPr>
        </p:nvPicPr>
        <p:blipFill>
          <a:blip r:embed="rId4"/>
          <a:stretch>
            <a:fillRect/>
          </a:stretch>
        </p:blipFill>
        <p:spPr>
          <a:xfrm>
            <a:off x="1494497" y="1210091"/>
            <a:ext cx="10098360" cy="5680327"/>
          </a:xfrm>
          <a:prstGeom prst="rect">
            <a:avLst/>
          </a:prstGeom>
        </p:spPr>
      </p:pic>
      <p:grpSp>
        <p:nvGrpSpPr>
          <p:cNvPr id="6" name="Group 5">
            <a:extLst>
              <a:ext uri="{FF2B5EF4-FFF2-40B4-BE49-F238E27FC236}">
                <a16:creationId xmlns:a16="http://schemas.microsoft.com/office/drawing/2014/main" id="{5D9F0F1C-F285-4A67-8304-3304108DABA4}"/>
              </a:ext>
            </a:extLst>
          </p:cNvPr>
          <p:cNvGrpSpPr/>
          <p:nvPr/>
        </p:nvGrpSpPr>
        <p:grpSpPr>
          <a:xfrm>
            <a:off x="550408" y="1305954"/>
            <a:ext cx="801002" cy="800888"/>
            <a:chOff x="550478" y="463089"/>
            <a:chExt cx="801104" cy="800990"/>
          </a:xfrm>
        </p:grpSpPr>
        <p:sp>
          <p:nvSpPr>
            <p:cNvPr id="7" name="Oval 6">
              <a:extLst>
                <a:ext uri="{FF2B5EF4-FFF2-40B4-BE49-F238E27FC236}">
                  <a16:creationId xmlns:a16="http://schemas.microsoft.com/office/drawing/2014/main" id="{CCEC09C0-F6B9-49EB-A15A-40FD3485715B}"/>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9" name="Graphic 8">
              <a:extLst>
                <a:ext uri="{FF2B5EF4-FFF2-40B4-BE49-F238E27FC236}">
                  <a16:creationId xmlns:a16="http://schemas.microsoft.com/office/drawing/2014/main" id="{296C0EFC-2B56-4C14-96BF-DA1C100D56A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224051121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75CDF9D-950F-448D-BDA6-E66567BF32B7}"/>
              </a:ext>
            </a:extLst>
          </p:cNvPr>
          <p:cNvSpPr>
            <a:spLocks noGrp="1"/>
          </p:cNvSpPr>
          <p:nvPr>
            <p:ph type="title"/>
          </p:nvPr>
        </p:nvSpPr>
        <p:spPr/>
        <p:txBody>
          <a:bodyPr/>
          <a:lstStyle/>
          <a:p>
            <a:r>
              <a:rPr lang="en-US"/>
              <a:t>True Edge, False Edge - IT and self-service</a:t>
            </a:r>
          </a:p>
        </p:txBody>
      </p:sp>
      <p:sp>
        <p:nvSpPr>
          <p:cNvPr id="12" name="TextBox 11">
            <a:extLst>
              <a:ext uri="{FF2B5EF4-FFF2-40B4-BE49-F238E27FC236}">
                <a16:creationId xmlns:a16="http://schemas.microsoft.com/office/drawing/2014/main" id="{0AA7413D-BDB2-4A1C-BE0A-317670A0A1E6}"/>
              </a:ext>
            </a:extLst>
          </p:cNvPr>
          <p:cNvSpPr txBox="1"/>
          <p:nvPr/>
        </p:nvSpPr>
        <p:spPr>
          <a:xfrm rot="16200000">
            <a:off x="-1145236" y="4255915"/>
            <a:ext cx="4628588" cy="640416"/>
          </a:xfrm>
          <a:prstGeom prst="rect">
            <a:avLst/>
          </a:prstGeom>
          <a:noFill/>
          <a:ln>
            <a:solidFill>
              <a:schemeClr val="tx1"/>
            </a:solidFill>
          </a:ln>
        </p:spPr>
        <p:txBody>
          <a:bodyPr wrap="square" lIns="186497" tIns="149198" rIns="186497" bIns="149198" rtlCol="0">
            <a:spAutoFit/>
          </a:bodyPr>
          <a:lstStyle/>
          <a:p>
            <a:pPr>
              <a:lnSpc>
                <a:spcPct val="90000"/>
              </a:lnSpc>
              <a:spcAft>
                <a:spcPts val="612"/>
              </a:spcAft>
            </a:pPr>
            <a:r>
              <a:rPr lang="en-US" sz="2448">
                <a:gradFill>
                  <a:gsLst>
                    <a:gs pos="2917">
                      <a:schemeClr val="tx1"/>
                    </a:gs>
                    <a:gs pos="30000">
                      <a:schemeClr val="tx1"/>
                    </a:gs>
                  </a:gsLst>
                  <a:lin ang="5400000" scaled="0"/>
                </a:gradFill>
              </a:rPr>
              <a:t>False Edge / True Edge Combo</a:t>
            </a:r>
          </a:p>
        </p:txBody>
      </p:sp>
      <p:pic>
        <p:nvPicPr>
          <p:cNvPr id="2" name="Online Media 1" title="SSBI 3: False Edge True Edge Slow Repeat">
            <a:hlinkClick r:id="" action="ppaction://media"/>
            <a:extLst>
              <a:ext uri="{FF2B5EF4-FFF2-40B4-BE49-F238E27FC236}">
                <a16:creationId xmlns:a16="http://schemas.microsoft.com/office/drawing/2014/main" id="{87577CFC-732C-4494-80A4-F0FA585DEEA7}"/>
              </a:ext>
            </a:extLst>
          </p:cNvPr>
          <p:cNvPicPr>
            <a:picLocks noRot="1" noChangeAspect="1"/>
          </p:cNvPicPr>
          <p:nvPr>
            <a:videoFile r:link="rId1"/>
          </p:nvPr>
        </p:nvPicPr>
        <p:blipFill>
          <a:blip r:embed="rId4"/>
          <a:stretch>
            <a:fillRect/>
          </a:stretch>
        </p:blipFill>
        <p:spPr>
          <a:xfrm>
            <a:off x="1489240" y="1210090"/>
            <a:ext cx="10098359" cy="5680327"/>
          </a:xfrm>
          <a:prstGeom prst="rect">
            <a:avLst/>
          </a:prstGeom>
        </p:spPr>
      </p:pic>
      <p:grpSp>
        <p:nvGrpSpPr>
          <p:cNvPr id="6" name="Group 5">
            <a:extLst>
              <a:ext uri="{FF2B5EF4-FFF2-40B4-BE49-F238E27FC236}">
                <a16:creationId xmlns:a16="http://schemas.microsoft.com/office/drawing/2014/main" id="{0C176459-6036-4441-BCCE-113BCF5D04A0}"/>
              </a:ext>
            </a:extLst>
          </p:cNvPr>
          <p:cNvGrpSpPr/>
          <p:nvPr/>
        </p:nvGrpSpPr>
        <p:grpSpPr>
          <a:xfrm>
            <a:off x="550408" y="1305954"/>
            <a:ext cx="801002" cy="800888"/>
            <a:chOff x="550478" y="463089"/>
            <a:chExt cx="801104" cy="800990"/>
          </a:xfrm>
        </p:grpSpPr>
        <p:sp>
          <p:nvSpPr>
            <p:cNvPr id="7" name="Oval 6">
              <a:extLst>
                <a:ext uri="{FF2B5EF4-FFF2-40B4-BE49-F238E27FC236}">
                  <a16:creationId xmlns:a16="http://schemas.microsoft.com/office/drawing/2014/main" id="{EDE3AA5F-22A1-4F09-8C82-382D7AC2C87A}"/>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9" name="Graphic 8">
              <a:extLst>
                <a:ext uri="{FF2B5EF4-FFF2-40B4-BE49-F238E27FC236}">
                  <a16:creationId xmlns:a16="http://schemas.microsoft.com/office/drawing/2014/main" id="{BF0C7070-1CF8-4AAC-8CF2-35B03CBDF91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256559850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3721FC77-B81C-46DA-B090-548540ECF95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8144" r="8423"/>
          <a:stretch/>
        </p:blipFill>
        <p:spPr>
          <a:xfrm rot="16200000">
            <a:off x="-1400529" y="1401412"/>
            <a:ext cx="6994526" cy="4191700"/>
          </a:xfrm>
          <a:prstGeom prst="rect">
            <a:avLst/>
          </a:prstGeom>
        </p:spPr>
      </p:pic>
      <p:sp>
        <p:nvSpPr>
          <p:cNvPr id="4" name="Title 3"/>
          <p:cNvSpPr>
            <a:spLocks noGrp="1"/>
          </p:cNvSpPr>
          <p:nvPr>
            <p:ph type="title"/>
          </p:nvPr>
        </p:nvSpPr>
        <p:spPr>
          <a:xfrm>
            <a:off x="172644" y="2340178"/>
            <a:ext cx="3898722" cy="1921090"/>
          </a:xfrm>
        </p:spPr>
        <p:txBody>
          <a:bodyPr/>
          <a:lstStyle/>
          <a:p>
            <a:r>
              <a:rPr lang="en-GB"/>
              <a:t>Self-service BI as a two-edged sword</a:t>
            </a:r>
          </a:p>
        </p:txBody>
      </p:sp>
      <p:sp>
        <p:nvSpPr>
          <p:cNvPr id="3" name="Rectangle 2">
            <a:extLst>
              <a:ext uri="{FF2B5EF4-FFF2-40B4-BE49-F238E27FC236}">
                <a16:creationId xmlns:a16="http://schemas.microsoft.com/office/drawing/2014/main" id="{9C39A657-A30C-4753-8B78-67AEF0F52FAC}"/>
              </a:ext>
            </a:extLst>
          </p:cNvPr>
          <p:cNvSpPr/>
          <p:nvPr/>
        </p:nvSpPr>
        <p:spPr>
          <a:xfrm>
            <a:off x="6066108" y="500297"/>
            <a:ext cx="5998835" cy="5908020"/>
          </a:xfrm>
          <a:prstGeom prst="rect">
            <a:avLst/>
          </a:prstGeom>
        </p:spPr>
        <p:txBody>
          <a:bodyPr/>
          <a:lstStyle/>
          <a:p>
            <a:pPr lvl="0"/>
            <a:r>
              <a:rPr lang="en-GB" sz="2448"/>
              <a:t>True edge: Strength, power, mechanical advantage. Use when possible. Plan to use the true edge.</a:t>
            </a:r>
          </a:p>
          <a:p>
            <a:pPr lvl="0"/>
            <a:endParaRPr lang="en-GB" sz="2448"/>
          </a:p>
          <a:p>
            <a:pPr lvl="0"/>
            <a:r>
              <a:rPr lang="en-GB" sz="2448"/>
              <a:t>False edge: Weaker, more limited use cases, no mechanical advantage. Agile and quick. Use the false opportunistically, as necessary and appropriate.</a:t>
            </a:r>
          </a:p>
          <a:p>
            <a:pPr lvl="0"/>
            <a:endParaRPr lang="en-GB" sz="2448"/>
          </a:p>
          <a:p>
            <a:pPr lvl="0"/>
            <a:r>
              <a:rPr lang="en-GB" sz="2448"/>
              <a:t>False edge and true edge in combination: Greater than the sum of its parts</a:t>
            </a:r>
          </a:p>
          <a:p>
            <a:pPr lvl="0"/>
            <a:endParaRPr lang="en-GB" sz="2448"/>
          </a:p>
          <a:p>
            <a:pPr lvl="0"/>
            <a:r>
              <a:rPr lang="en-GB" sz="2448"/>
              <a:t>Both: Requires training and practice, and an understanding of each technique.</a:t>
            </a:r>
          </a:p>
        </p:txBody>
      </p:sp>
      <p:pic>
        <p:nvPicPr>
          <p:cNvPr id="18" name="Graphic 17">
            <a:extLst>
              <a:ext uri="{FF2B5EF4-FFF2-40B4-BE49-F238E27FC236}">
                <a16:creationId xmlns:a16="http://schemas.microsoft.com/office/drawing/2014/main" id="{84E9F257-5365-476A-B64B-E5BD560523C3}"/>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625974"/>
            <a:ext cx="642000" cy="640690"/>
          </a:xfrm>
          <a:prstGeom prst="rect">
            <a:avLst/>
          </a:prstGeom>
        </p:spPr>
      </p:pic>
      <p:pic>
        <p:nvPicPr>
          <p:cNvPr id="13" name="Graphic 17">
            <a:extLst>
              <a:ext uri="{FF2B5EF4-FFF2-40B4-BE49-F238E27FC236}">
                <a16:creationId xmlns:a16="http://schemas.microsoft.com/office/drawing/2014/main" id="{D75019AA-4BB2-4CB5-BD3D-B7C6175AC8A7}"/>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43522" y="2188898"/>
            <a:ext cx="642000" cy="640690"/>
          </a:xfrm>
          <a:prstGeom prst="rect">
            <a:avLst/>
          </a:prstGeom>
        </p:spPr>
      </p:pic>
      <p:pic>
        <p:nvPicPr>
          <p:cNvPr id="15" name="Graphic 17">
            <a:extLst>
              <a:ext uri="{FF2B5EF4-FFF2-40B4-BE49-F238E27FC236}">
                <a16:creationId xmlns:a16="http://schemas.microsoft.com/office/drawing/2014/main" id="{DE729E47-9FBE-429B-B7D7-4C4FDF60B8DB}"/>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3971409"/>
            <a:ext cx="642000" cy="640690"/>
          </a:xfrm>
          <a:prstGeom prst="rect">
            <a:avLst/>
          </a:prstGeom>
        </p:spPr>
      </p:pic>
      <p:pic>
        <p:nvPicPr>
          <p:cNvPr id="16" name="Graphic 17">
            <a:extLst>
              <a:ext uri="{FF2B5EF4-FFF2-40B4-BE49-F238E27FC236}">
                <a16:creationId xmlns:a16="http://schemas.microsoft.com/office/drawing/2014/main" id="{270F5F9F-940C-4F7B-9E96-9B428A20155E}"/>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5087171"/>
            <a:ext cx="642000" cy="640690"/>
          </a:xfrm>
          <a:prstGeom prst="rect">
            <a:avLst/>
          </a:prstGeom>
        </p:spPr>
      </p:pic>
    </p:spTree>
    <p:extLst>
      <p:ext uri="{BB962C8B-B14F-4D97-AF65-F5344CB8AC3E}">
        <p14:creationId xmlns:p14="http://schemas.microsoft.com/office/powerpoint/2010/main" val="1033734336"/>
      </p:ext>
    </p:extLst>
  </p:cSld>
  <p:clrMapOvr>
    <a:masterClrMapping/>
  </p:clrMapOvr>
  <p:transition spd="slow">
    <p:push/>
  </p:transition>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130D2CF-0186-4A90-B6E8-5917411680CE}"/>
              </a:ext>
            </a:extLst>
          </p:cNvPr>
          <p:cNvSpPr/>
          <p:nvPr/>
        </p:nvSpPr>
        <p:spPr bwMode="auto">
          <a:xfrm>
            <a:off x="-116944" y="2978624"/>
            <a:ext cx="7088066" cy="4145040"/>
          </a:xfrm>
          <a:prstGeom prst="rect">
            <a:avLst/>
          </a:prstGeom>
          <a:solidFill>
            <a:schemeClr val="bg1">
              <a:alpha val="84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36370C4A-E637-4D73-9D6C-41FF27EC1710}"/>
              </a:ext>
            </a:extLst>
          </p:cNvPr>
          <p:cNvSpPr>
            <a:spLocks noGrp="1"/>
          </p:cNvSpPr>
          <p:nvPr>
            <p:ph type="title"/>
          </p:nvPr>
        </p:nvSpPr>
        <p:spPr/>
        <p:txBody>
          <a:bodyPr>
            <a:normAutofit fontScale="90000"/>
          </a:bodyPr>
          <a:lstStyle/>
          <a:p>
            <a:r>
              <a:rPr lang="en-US">
                <a:solidFill>
                  <a:srgbClr val="FFFFFF"/>
                </a:solidFill>
              </a:rPr>
              <a:t>What do actual swords and edges have to do with Power BI? Does this analogy hold up?</a:t>
            </a:r>
            <a:endParaRPr lang="en-US"/>
          </a:p>
        </p:txBody>
      </p:sp>
      <p:sp>
        <p:nvSpPr>
          <p:cNvPr id="2" name="Text Placeholder 1">
            <a:extLst>
              <a:ext uri="{FF2B5EF4-FFF2-40B4-BE49-F238E27FC236}">
                <a16:creationId xmlns:a16="http://schemas.microsoft.com/office/drawing/2014/main" id="{D61F2367-B799-498D-85FA-A7842ED0314B}"/>
              </a:ext>
            </a:extLst>
          </p:cNvPr>
          <p:cNvSpPr>
            <a:spLocks noGrp="1"/>
          </p:cNvSpPr>
          <p:nvPr>
            <p:ph type="body" sz="quarter" idx="4294967295"/>
          </p:nvPr>
        </p:nvSpPr>
        <p:spPr>
          <a:xfrm>
            <a:off x="820132" y="3275636"/>
            <a:ext cx="10605155" cy="3279157"/>
          </a:xfrm>
          <a:noFill/>
        </p:spPr>
        <p:txBody>
          <a:bodyPr>
            <a:normAutofit fontScale="92500"/>
          </a:bodyPr>
          <a:lstStyle/>
          <a:p>
            <a:pPr marL="0" indent="0">
              <a:lnSpc>
                <a:spcPct val="150000"/>
              </a:lnSpc>
              <a:buNone/>
            </a:pPr>
            <a:r>
              <a:rPr lang="en-GB" sz="2000"/>
              <a:t>In most large organizations, BI starts from the top </a:t>
            </a:r>
            <a:r>
              <a:rPr lang="en-GB" sz="2000" b="1" i="1"/>
              <a:t>and</a:t>
            </a:r>
            <a:r>
              <a:rPr lang="en-GB" sz="2000"/>
              <a:t> the bottom</a:t>
            </a:r>
          </a:p>
          <a:p>
            <a:pPr marL="0" indent="0">
              <a:lnSpc>
                <a:spcPct val="150000"/>
              </a:lnSpc>
              <a:buNone/>
            </a:pPr>
            <a:r>
              <a:rPr lang="en-GB" sz="2000"/>
              <a:t>Change starts where the pain is felt the most, which could be in business or in IT… but is usually more on the business side	</a:t>
            </a:r>
          </a:p>
          <a:p>
            <a:pPr marL="0" indent="0">
              <a:lnSpc>
                <a:spcPct val="150000"/>
              </a:lnSpc>
              <a:buNone/>
            </a:pPr>
            <a:r>
              <a:rPr lang="en-GB" sz="2000"/>
              <a:t>Business users need access to the BI data and tools that they need to complete their tasks, and they </a:t>
            </a:r>
            <a:r>
              <a:rPr lang="en-GB" sz="2000" b="1" i="1"/>
              <a:t>will</a:t>
            </a:r>
            <a:r>
              <a:rPr lang="en-GB" sz="2000"/>
              <a:t> get it with or without IT support</a:t>
            </a:r>
          </a:p>
          <a:p>
            <a:pPr marL="0" indent="0">
              <a:lnSpc>
                <a:spcPct val="150000"/>
              </a:lnSpc>
              <a:buNone/>
            </a:pPr>
            <a:r>
              <a:rPr lang="en-GB" sz="2000"/>
              <a:t>Successful organizations embrace top-down </a:t>
            </a:r>
            <a:r>
              <a:rPr lang="en-GB" sz="2000" b="1" i="1"/>
              <a:t>and </a:t>
            </a:r>
            <a:r>
              <a:rPr lang="en-GB" sz="2000"/>
              <a:t>bottom-up patterns of adoption</a:t>
            </a:r>
          </a:p>
          <a:p>
            <a:pPr marL="0" indent="0">
              <a:lnSpc>
                <a:spcPct val="150000"/>
              </a:lnSpc>
              <a:buNone/>
            </a:pPr>
            <a:r>
              <a:rPr lang="en-GB" sz="2000"/>
              <a:t>The key to success is finding the right balance for the organization, and when to use </a:t>
            </a:r>
            <a:r>
              <a:rPr lang="en-GB" sz="2000" b="1" i="1"/>
              <a:t>each</a:t>
            </a:r>
            <a:r>
              <a:rPr lang="en-GB" sz="2000"/>
              <a:t> approach</a:t>
            </a:r>
          </a:p>
        </p:txBody>
      </p:sp>
      <p:sp>
        <p:nvSpPr>
          <p:cNvPr id="4" name="Title 2">
            <a:extLst>
              <a:ext uri="{FF2B5EF4-FFF2-40B4-BE49-F238E27FC236}">
                <a16:creationId xmlns:a16="http://schemas.microsoft.com/office/drawing/2014/main" id="{CD4FC105-F812-4023-8E5F-6E8B204DC1AE}"/>
              </a:ext>
            </a:extLst>
          </p:cNvPr>
          <p:cNvSpPr txBox="1">
            <a:spLocks/>
          </p:cNvSpPr>
          <p:nvPr/>
        </p:nvSpPr>
        <p:spPr>
          <a:xfrm>
            <a:off x="302482" y="834789"/>
            <a:ext cx="11587037" cy="1655108"/>
          </a:xfrm>
          <a:prstGeom prst="rect">
            <a:avLst/>
          </a:prstGeom>
        </p:spPr>
        <p:txBody>
          <a:bodyPr vert="horz" wrap="square" lIns="0" tIns="0" rIns="0" bIns="0" rtlCol="0" anchor="b" anchorCtr="0">
            <a:normAutofit fontScale="97500"/>
          </a:bodyPr>
          <a:lstStyle>
            <a:lvl1pPr algn="l" defTabSz="951304"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solidFill>
                  <a:schemeClr val="tx1"/>
                </a:solidFill>
              </a:rPr>
              <a:t>What do actual swords and sharp edges have to do with Power BI? Does this analogy hold up to close inspection?</a:t>
            </a:r>
          </a:p>
        </p:txBody>
      </p:sp>
      <p:grpSp>
        <p:nvGrpSpPr>
          <p:cNvPr id="5" name="Group 4">
            <a:extLst>
              <a:ext uri="{FF2B5EF4-FFF2-40B4-BE49-F238E27FC236}">
                <a16:creationId xmlns:a16="http://schemas.microsoft.com/office/drawing/2014/main" id="{C8D01ECB-6397-4690-A959-BC5918C44E39}"/>
              </a:ext>
            </a:extLst>
          </p:cNvPr>
          <p:cNvGrpSpPr/>
          <p:nvPr/>
        </p:nvGrpSpPr>
        <p:grpSpPr>
          <a:xfrm>
            <a:off x="550408" y="463476"/>
            <a:ext cx="801002" cy="800888"/>
            <a:chOff x="550478" y="463089"/>
            <a:chExt cx="801104" cy="800990"/>
          </a:xfrm>
        </p:grpSpPr>
        <p:sp>
          <p:nvSpPr>
            <p:cNvPr id="6" name="Oval 5">
              <a:extLst>
                <a:ext uri="{FF2B5EF4-FFF2-40B4-BE49-F238E27FC236}">
                  <a16:creationId xmlns:a16="http://schemas.microsoft.com/office/drawing/2014/main" id="{7CCE7DFA-B952-428B-96B7-97A91E222256}"/>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7" name="Graphic 6">
              <a:extLst>
                <a:ext uri="{FF2B5EF4-FFF2-40B4-BE49-F238E27FC236}">
                  <a16:creationId xmlns:a16="http://schemas.microsoft.com/office/drawing/2014/main" id="{1C378F1C-82B0-4AB0-9BC7-9DEFFAD0B5B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2694291549"/>
      </p:ext>
    </p:extLst>
  </p:cSld>
  <p:clrMapOvr>
    <a:masterClrMapping/>
  </p:clrMapOvr>
  <p:transition spd="slow">
    <p:push dir="u"/>
  </p:transition>
</p:sld>
</file>

<file path=ppt/slides/slide18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018B52-93C5-4EB8-84B3-F4421E515827}"/>
              </a:ext>
            </a:extLst>
          </p:cNvPr>
          <p:cNvSpPr>
            <a:spLocks noGrp="1"/>
          </p:cNvSpPr>
          <p:nvPr>
            <p:ph type="title"/>
          </p:nvPr>
        </p:nvSpPr>
        <p:spPr>
          <a:xfrm>
            <a:off x="600059" y="1475871"/>
            <a:ext cx="11239464" cy="1130181"/>
          </a:xfrm>
        </p:spPr>
        <p:txBody>
          <a:bodyPr/>
          <a:lstStyle/>
          <a:p>
            <a:r>
              <a:rPr lang="en-US"/>
              <a:t>Two sharp edges are dangerous only if you don’t know they’re both sharp.</a:t>
            </a:r>
          </a:p>
        </p:txBody>
      </p:sp>
      <p:pic>
        <p:nvPicPr>
          <p:cNvPr id="5" name="Picture 4">
            <a:extLst>
              <a:ext uri="{FF2B5EF4-FFF2-40B4-BE49-F238E27FC236}">
                <a16:creationId xmlns:a16="http://schemas.microsoft.com/office/drawing/2014/main" id="{ED123BFE-4A6F-4A5D-8857-FCA56C43F8F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7839" b="16032"/>
          <a:stretch/>
        </p:blipFill>
        <p:spPr>
          <a:xfrm rot="10800000" flipH="1">
            <a:off x="882" y="2958254"/>
            <a:ext cx="12434711" cy="4111480"/>
          </a:xfrm>
          <a:prstGeom prst="rect">
            <a:avLst/>
          </a:prstGeom>
        </p:spPr>
      </p:pic>
    </p:spTree>
    <p:extLst>
      <p:ext uri="{BB962C8B-B14F-4D97-AF65-F5344CB8AC3E}">
        <p14:creationId xmlns:p14="http://schemas.microsoft.com/office/powerpoint/2010/main" val="1598136235"/>
      </p:ext>
    </p:extLst>
  </p:cSld>
  <p:clrMapOvr>
    <a:masterClrMapping/>
  </p:clrMapOvr>
  <p:transition spd="slow">
    <p:push dir="u"/>
  </p:transition>
</p:sld>
</file>

<file path=ppt/slides/slide18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018B52-93C5-4EB8-84B3-F4421E515827}"/>
              </a:ext>
            </a:extLst>
          </p:cNvPr>
          <p:cNvSpPr>
            <a:spLocks noGrp="1"/>
          </p:cNvSpPr>
          <p:nvPr>
            <p:ph type="title"/>
          </p:nvPr>
        </p:nvSpPr>
        <p:spPr>
          <a:xfrm>
            <a:off x="600059" y="1487073"/>
            <a:ext cx="11239464" cy="1130181"/>
          </a:xfrm>
        </p:spPr>
        <p:txBody>
          <a:bodyPr/>
          <a:lstStyle/>
          <a:p>
            <a:r>
              <a:rPr lang="en-US"/>
              <a:t>Data governance can also cut both ways. You need to work mindfully to use it to achieve your chosen goals.</a:t>
            </a:r>
          </a:p>
        </p:txBody>
      </p:sp>
      <p:pic>
        <p:nvPicPr>
          <p:cNvPr id="3" name="Picture 2">
            <a:extLst>
              <a:ext uri="{FF2B5EF4-FFF2-40B4-BE49-F238E27FC236}">
                <a16:creationId xmlns:a16="http://schemas.microsoft.com/office/drawing/2014/main" id="{3206106F-58EC-4959-BA67-C76A2112E77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7839" b="16032"/>
          <a:stretch/>
        </p:blipFill>
        <p:spPr>
          <a:xfrm rot="10800000">
            <a:off x="882" y="2958254"/>
            <a:ext cx="12434711" cy="4111480"/>
          </a:xfrm>
          <a:prstGeom prst="rect">
            <a:avLst/>
          </a:prstGeom>
        </p:spPr>
      </p:pic>
    </p:spTree>
    <p:extLst>
      <p:ext uri="{BB962C8B-B14F-4D97-AF65-F5344CB8AC3E}">
        <p14:creationId xmlns:p14="http://schemas.microsoft.com/office/powerpoint/2010/main" val="429528024"/>
      </p:ext>
    </p:extLst>
  </p:cSld>
  <p:clrMapOvr>
    <a:masterClrMapping/>
  </p:clrMapOvr>
  <p:transition spd="slow">
    <p:push dir="d"/>
  </p:transition>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Freeform: Shape 49">
            <a:extLst>
              <a:ext uri="{FF2B5EF4-FFF2-40B4-BE49-F238E27FC236}">
                <a16:creationId xmlns:a16="http://schemas.microsoft.com/office/drawing/2014/main" id="{90ADC8CE-FDB2-422E-99A5-761B7A573449}"/>
              </a:ext>
            </a:extLst>
          </p:cNvPr>
          <p:cNvSpPr/>
          <p:nvPr/>
        </p:nvSpPr>
        <p:spPr>
          <a:xfrm>
            <a:off x="5697768" y="1207750"/>
            <a:ext cx="1125352" cy="1005759"/>
          </a:xfrm>
          <a:custGeom>
            <a:avLst/>
            <a:gdLst>
              <a:gd name="connsiteX0" fmla="*/ 551693 w 1103386"/>
              <a:gd name="connsiteY0" fmla="*/ 0 h 986128"/>
              <a:gd name="connsiteX1" fmla="*/ 1103386 w 1103386"/>
              <a:gd name="connsiteY1" fmla="*/ 986128 h 986128"/>
              <a:gd name="connsiteX2" fmla="*/ 0 w 1103386"/>
              <a:gd name="connsiteY2" fmla="*/ 986128 h 986128"/>
            </a:gdLst>
            <a:ahLst/>
            <a:cxnLst>
              <a:cxn ang="0">
                <a:pos x="connsiteX0" y="connsiteY0"/>
              </a:cxn>
              <a:cxn ang="0">
                <a:pos x="connsiteX1" y="connsiteY1"/>
              </a:cxn>
              <a:cxn ang="0">
                <a:pos x="connsiteX2" y="connsiteY2"/>
              </a:cxn>
            </a:cxnLst>
            <a:rect l="l" t="t" r="r" b="b"/>
            <a:pathLst>
              <a:path w="1103386" h="986128">
                <a:moveTo>
                  <a:pt x="551693" y="0"/>
                </a:moveTo>
                <a:lnTo>
                  <a:pt x="1103386" y="986128"/>
                </a:lnTo>
                <a:lnTo>
                  <a:pt x="0" y="986128"/>
                </a:lnTo>
                <a:close/>
              </a:path>
            </a:pathLst>
          </a:custGeom>
          <a:solidFill>
            <a:srgbClr val="F2C811"/>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1" name="Freeform: Shape 50">
            <a:extLst>
              <a:ext uri="{FF2B5EF4-FFF2-40B4-BE49-F238E27FC236}">
                <a16:creationId xmlns:a16="http://schemas.microsoft.com/office/drawing/2014/main" id="{540A9DA5-150F-4097-9B98-0ADE9C42019C}"/>
              </a:ext>
            </a:extLst>
          </p:cNvPr>
          <p:cNvSpPr/>
          <p:nvPr/>
        </p:nvSpPr>
        <p:spPr>
          <a:xfrm>
            <a:off x="5126976" y="2228014"/>
            <a:ext cx="2266936" cy="1005759"/>
          </a:xfrm>
          <a:custGeom>
            <a:avLst/>
            <a:gdLst>
              <a:gd name="connsiteX0" fmla="*/ 551694 w 2222688"/>
              <a:gd name="connsiteY0" fmla="*/ 0 h 986128"/>
              <a:gd name="connsiteX1" fmla="*/ 1670994 w 2222688"/>
              <a:gd name="connsiteY1" fmla="*/ 0 h 986128"/>
              <a:gd name="connsiteX2" fmla="*/ 2222688 w 2222688"/>
              <a:gd name="connsiteY2" fmla="*/ 986128 h 986128"/>
              <a:gd name="connsiteX3" fmla="*/ 0 w 2222688"/>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2222688" h="986128">
                <a:moveTo>
                  <a:pt x="551694" y="0"/>
                </a:moveTo>
                <a:lnTo>
                  <a:pt x="1670994" y="0"/>
                </a:lnTo>
                <a:lnTo>
                  <a:pt x="2222688" y="986128"/>
                </a:lnTo>
                <a:lnTo>
                  <a:pt x="0" y="986128"/>
                </a:lnTo>
                <a:close/>
              </a:path>
            </a:pathLst>
          </a:custGeom>
          <a:solidFill>
            <a:srgbClr val="F2C811">
              <a:alpha val="6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2" name="Freeform: Shape 51">
            <a:extLst>
              <a:ext uri="{FF2B5EF4-FFF2-40B4-BE49-F238E27FC236}">
                <a16:creationId xmlns:a16="http://schemas.microsoft.com/office/drawing/2014/main" id="{4A61E59B-6FC8-48BB-9D2C-F446067D04AF}"/>
              </a:ext>
            </a:extLst>
          </p:cNvPr>
          <p:cNvSpPr/>
          <p:nvPr/>
        </p:nvSpPr>
        <p:spPr>
          <a:xfrm>
            <a:off x="4556185" y="3248279"/>
            <a:ext cx="3408519" cy="1005759"/>
          </a:xfrm>
          <a:custGeom>
            <a:avLst/>
            <a:gdLst>
              <a:gd name="connsiteX0" fmla="*/ 551694 w 3341989"/>
              <a:gd name="connsiteY0" fmla="*/ 0 h 986128"/>
              <a:gd name="connsiteX1" fmla="*/ 2790296 w 3341989"/>
              <a:gd name="connsiteY1" fmla="*/ 0 h 986128"/>
              <a:gd name="connsiteX2" fmla="*/ 3341989 w 3341989"/>
              <a:gd name="connsiteY2" fmla="*/ 986128 h 986128"/>
              <a:gd name="connsiteX3" fmla="*/ 0 w 3341989"/>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3341989" h="986128">
                <a:moveTo>
                  <a:pt x="551694" y="0"/>
                </a:moveTo>
                <a:lnTo>
                  <a:pt x="2790296" y="0"/>
                </a:lnTo>
                <a:lnTo>
                  <a:pt x="3341989" y="986128"/>
                </a:lnTo>
                <a:lnTo>
                  <a:pt x="0" y="986128"/>
                </a:lnTo>
                <a:close/>
              </a:path>
            </a:pathLst>
          </a:custGeom>
          <a:solidFill>
            <a:srgbClr val="F2C811">
              <a:alpha val="4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3" name="Freeform: Shape 52">
            <a:extLst>
              <a:ext uri="{FF2B5EF4-FFF2-40B4-BE49-F238E27FC236}">
                <a16:creationId xmlns:a16="http://schemas.microsoft.com/office/drawing/2014/main" id="{36371400-E5A4-47B3-8BDC-3E5C863607DC}"/>
              </a:ext>
            </a:extLst>
          </p:cNvPr>
          <p:cNvSpPr/>
          <p:nvPr/>
        </p:nvSpPr>
        <p:spPr>
          <a:xfrm>
            <a:off x="3985392" y="4268543"/>
            <a:ext cx="4550103" cy="1005759"/>
          </a:xfrm>
          <a:custGeom>
            <a:avLst/>
            <a:gdLst>
              <a:gd name="connsiteX0" fmla="*/ 551693 w 4461290"/>
              <a:gd name="connsiteY0" fmla="*/ 0 h 986128"/>
              <a:gd name="connsiteX1" fmla="*/ 3909596 w 4461290"/>
              <a:gd name="connsiteY1" fmla="*/ 0 h 986128"/>
              <a:gd name="connsiteX2" fmla="*/ 4461290 w 4461290"/>
              <a:gd name="connsiteY2" fmla="*/ 986128 h 986128"/>
              <a:gd name="connsiteX3" fmla="*/ 0 w 4461290"/>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4461290" h="986128">
                <a:moveTo>
                  <a:pt x="551693" y="0"/>
                </a:moveTo>
                <a:lnTo>
                  <a:pt x="3909596" y="0"/>
                </a:lnTo>
                <a:lnTo>
                  <a:pt x="4461290" y="986128"/>
                </a:lnTo>
                <a:lnTo>
                  <a:pt x="0" y="986128"/>
                </a:lnTo>
                <a:close/>
              </a:path>
            </a:pathLst>
          </a:custGeom>
          <a:solidFill>
            <a:srgbClr val="F2C811">
              <a:alpha val="3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4" name="Freeform: Shape 53">
            <a:extLst>
              <a:ext uri="{FF2B5EF4-FFF2-40B4-BE49-F238E27FC236}">
                <a16:creationId xmlns:a16="http://schemas.microsoft.com/office/drawing/2014/main" id="{EFADB998-D455-42D7-9A07-04831BA42409}"/>
              </a:ext>
            </a:extLst>
          </p:cNvPr>
          <p:cNvSpPr/>
          <p:nvPr/>
        </p:nvSpPr>
        <p:spPr>
          <a:xfrm>
            <a:off x="3416845" y="5298425"/>
            <a:ext cx="5687199" cy="1001750"/>
          </a:xfrm>
          <a:custGeom>
            <a:avLst/>
            <a:gdLst>
              <a:gd name="connsiteX0" fmla="*/ 549495 w 5576191"/>
              <a:gd name="connsiteY0" fmla="*/ 0 h 982197"/>
              <a:gd name="connsiteX1" fmla="*/ 5026697 w 5576191"/>
              <a:gd name="connsiteY1" fmla="*/ 0 h 982197"/>
              <a:gd name="connsiteX2" fmla="*/ 5576191 w 5576191"/>
              <a:gd name="connsiteY2" fmla="*/ 982197 h 982197"/>
              <a:gd name="connsiteX3" fmla="*/ 0 w 5576191"/>
              <a:gd name="connsiteY3" fmla="*/ 982197 h 982197"/>
            </a:gdLst>
            <a:ahLst/>
            <a:cxnLst>
              <a:cxn ang="0">
                <a:pos x="connsiteX0" y="connsiteY0"/>
              </a:cxn>
              <a:cxn ang="0">
                <a:pos x="connsiteX1" y="connsiteY1"/>
              </a:cxn>
              <a:cxn ang="0">
                <a:pos x="connsiteX2" y="connsiteY2"/>
              </a:cxn>
              <a:cxn ang="0">
                <a:pos x="connsiteX3" y="connsiteY3"/>
              </a:cxn>
            </a:cxnLst>
            <a:rect l="l" t="t" r="r" b="b"/>
            <a:pathLst>
              <a:path w="5576191" h="982197">
                <a:moveTo>
                  <a:pt x="549495" y="0"/>
                </a:moveTo>
                <a:lnTo>
                  <a:pt x="5026697" y="0"/>
                </a:lnTo>
                <a:lnTo>
                  <a:pt x="5576191" y="982197"/>
                </a:lnTo>
                <a:lnTo>
                  <a:pt x="0" y="982197"/>
                </a:lnTo>
                <a:close/>
              </a:path>
            </a:pathLst>
          </a:custGeom>
          <a:solidFill>
            <a:srgbClr val="F2C811">
              <a:alpha val="1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5" name="TextBox 54">
            <a:extLst>
              <a:ext uri="{FF2B5EF4-FFF2-40B4-BE49-F238E27FC236}">
                <a16:creationId xmlns:a16="http://schemas.microsoft.com/office/drawing/2014/main" id="{D63EDDE2-94C3-492A-A59F-4BAD9AF18E72}"/>
              </a:ext>
            </a:extLst>
          </p:cNvPr>
          <p:cNvSpPr txBox="1"/>
          <p:nvPr/>
        </p:nvSpPr>
        <p:spPr>
          <a:xfrm>
            <a:off x="5992973" y="1750565"/>
            <a:ext cx="541484" cy="286306"/>
          </a:xfrm>
          <a:prstGeom prst="rect">
            <a:avLst/>
          </a:prstGeom>
          <a:noFill/>
        </p:spPr>
        <p:txBody>
          <a:bodyPr wrap="none" rtlCol="0">
            <a:spAutoFit/>
          </a:bodyPr>
          <a:lstStyle/>
          <a:p>
            <a:pPr defTabSz="951061"/>
            <a:r>
              <a:rPr lang="en-US" sz="1224" kern="0">
                <a:solidFill>
                  <a:sysClr val="windowText" lastClr="000000"/>
                </a:solidFill>
                <a:latin typeface="Segoe UI Semibold" panose="020B0702040204020203" pitchFamily="34" charset="0"/>
                <a:cs typeface="Segoe UI Semibold" panose="020B0702040204020203" pitchFamily="34" charset="0"/>
              </a:rPr>
              <a:t>EDW</a:t>
            </a:r>
          </a:p>
        </p:txBody>
      </p:sp>
      <p:sp>
        <p:nvSpPr>
          <p:cNvPr id="56" name="TextBox 55">
            <a:extLst>
              <a:ext uri="{FF2B5EF4-FFF2-40B4-BE49-F238E27FC236}">
                <a16:creationId xmlns:a16="http://schemas.microsoft.com/office/drawing/2014/main" id="{5D88F45D-9042-4DC7-8D30-B214DDA82936}"/>
              </a:ext>
            </a:extLst>
          </p:cNvPr>
          <p:cNvSpPr txBox="1"/>
          <p:nvPr/>
        </p:nvSpPr>
        <p:spPr>
          <a:xfrm>
            <a:off x="5413394" y="2409676"/>
            <a:ext cx="1694099" cy="670577"/>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BUSINESS UNIT</a:t>
            </a:r>
          </a:p>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ASHBOARDS, KPIS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amp; SCORECARDS</a:t>
            </a:r>
          </a:p>
        </p:txBody>
      </p:sp>
      <p:sp>
        <p:nvSpPr>
          <p:cNvPr id="57" name="TextBox 56">
            <a:extLst>
              <a:ext uri="{FF2B5EF4-FFF2-40B4-BE49-F238E27FC236}">
                <a16:creationId xmlns:a16="http://schemas.microsoft.com/office/drawing/2014/main" id="{832ED677-52BD-4DA1-8727-B159F289BB23}"/>
              </a:ext>
            </a:extLst>
          </p:cNvPr>
          <p:cNvSpPr txBox="1"/>
          <p:nvPr/>
        </p:nvSpPr>
        <p:spPr>
          <a:xfrm>
            <a:off x="5280150" y="3519885"/>
            <a:ext cx="1960589" cy="478442"/>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EPARTMENTAL, TEAM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OR GROUP REPORTING</a:t>
            </a:r>
          </a:p>
        </p:txBody>
      </p:sp>
      <p:sp>
        <p:nvSpPr>
          <p:cNvPr id="7" name="Rectangle 6">
            <a:extLst>
              <a:ext uri="{FF2B5EF4-FFF2-40B4-BE49-F238E27FC236}">
                <a16:creationId xmlns:a16="http://schemas.microsoft.com/office/drawing/2014/main" id="{4F0D5D44-941E-4561-A855-D9C003F0B352}"/>
              </a:ext>
            </a:extLst>
          </p:cNvPr>
          <p:cNvSpPr/>
          <p:nvPr/>
        </p:nvSpPr>
        <p:spPr bwMode="auto">
          <a:xfrm>
            <a:off x="9201451" y="3322702"/>
            <a:ext cx="3882609" cy="4145040"/>
          </a:xfrm>
          <a:prstGeom prst="rect">
            <a:avLst/>
          </a:prstGeom>
          <a:solidFill>
            <a:schemeClr val="bg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8" name="TextBox 57">
            <a:extLst>
              <a:ext uri="{FF2B5EF4-FFF2-40B4-BE49-F238E27FC236}">
                <a16:creationId xmlns:a16="http://schemas.microsoft.com/office/drawing/2014/main" id="{153F84BC-318F-48FE-BC99-8699587B2F2E}"/>
              </a:ext>
            </a:extLst>
          </p:cNvPr>
          <p:cNvSpPr txBox="1"/>
          <p:nvPr/>
        </p:nvSpPr>
        <p:spPr>
          <a:xfrm>
            <a:off x="5386418" y="4637438"/>
            <a:ext cx="1748052"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ROJECT REPORTING</a:t>
            </a:r>
          </a:p>
        </p:txBody>
      </p:sp>
      <p:sp>
        <p:nvSpPr>
          <p:cNvPr id="59" name="TextBox 58">
            <a:extLst>
              <a:ext uri="{FF2B5EF4-FFF2-40B4-BE49-F238E27FC236}">
                <a16:creationId xmlns:a16="http://schemas.microsoft.com/office/drawing/2014/main" id="{929C80E4-C577-43B8-A567-0E66AB473CE2}"/>
              </a:ext>
            </a:extLst>
          </p:cNvPr>
          <p:cNvSpPr txBox="1"/>
          <p:nvPr/>
        </p:nvSpPr>
        <p:spPr>
          <a:xfrm>
            <a:off x="5314483" y="5665410"/>
            <a:ext cx="1891923"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ERSONAL REPORTING</a:t>
            </a:r>
          </a:p>
        </p:txBody>
      </p:sp>
      <p:sp>
        <p:nvSpPr>
          <p:cNvPr id="60" name="TextBox 59">
            <a:extLst>
              <a:ext uri="{FF2B5EF4-FFF2-40B4-BE49-F238E27FC236}">
                <a16:creationId xmlns:a16="http://schemas.microsoft.com/office/drawing/2014/main" id="{625F7A5B-C3D1-48F0-BE39-710EDBA98FF0}"/>
              </a:ext>
            </a:extLst>
          </p:cNvPr>
          <p:cNvSpPr txBox="1"/>
          <p:nvPr/>
        </p:nvSpPr>
        <p:spPr>
          <a:xfrm>
            <a:off x="6744089" y="1022046"/>
            <a:ext cx="2251605"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TIGHTER CONTROLS</a:t>
            </a:r>
          </a:p>
        </p:txBody>
      </p:sp>
      <p:sp>
        <p:nvSpPr>
          <p:cNvPr id="61" name="TextBox 60">
            <a:extLst>
              <a:ext uri="{FF2B5EF4-FFF2-40B4-BE49-F238E27FC236}">
                <a16:creationId xmlns:a16="http://schemas.microsoft.com/office/drawing/2014/main" id="{C226A2BB-0E93-4A97-91A9-ED8FA0AC93EA}"/>
              </a:ext>
            </a:extLst>
          </p:cNvPr>
          <p:cNvSpPr txBox="1"/>
          <p:nvPr/>
        </p:nvSpPr>
        <p:spPr>
          <a:xfrm>
            <a:off x="9524903" y="6036263"/>
            <a:ext cx="2169858"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LOOSER CONTROLS</a:t>
            </a:r>
          </a:p>
        </p:txBody>
      </p:sp>
      <p:sp>
        <p:nvSpPr>
          <p:cNvPr id="62" name="TextBox 61">
            <a:extLst>
              <a:ext uri="{FF2B5EF4-FFF2-40B4-BE49-F238E27FC236}">
                <a16:creationId xmlns:a16="http://schemas.microsoft.com/office/drawing/2014/main" id="{32734F2A-6E73-484D-B795-A2035617415A}"/>
              </a:ext>
            </a:extLst>
          </p:cNvPr>
          <p:cNvSpPr txBox="1"/>
          <p:nvPr/>
        </p:nvSpPr>
        <p:spPr>
          <a:xfrm>
            <a:off x="681329" y="5049764"/>
            <a:ext cx="2722558" cy="633693"/>
          </a:xfrm>
          <a:prstGeom prst="rect">
            <a:avLst/>
          </a:prstGeom>
          <a:noFill/>
        </p:spPr>
        <p:txBody>
          <a:bodyPr wrap="square" rtlCol="0">
            <a:spAutoFit/>
          </a:bodyPr>
          <a:lstStyle/>
          <a:p>
            <a:pPr algn="r" defTabSz="951061">
              <a:lnSpc>
                <a:spcPct val="90000"/>
              </a:lnSpc>
              <a:spcAft>
                <a:spcPts val="612"/>
              </a:spcAft>
              <a:defRPr/>
            </a:pPr>
            <a:r>
              <a:rPr lang="en-US" sz="1632" kern="0">
                <a:gradFill>
                  <a:gsLst>
                    <a:gs pos="2917">
                      <a:srgbClr val="000000"/>
                    </a:gs>
                    <a:gs pos="100000">
                      <a:srgbClr val="000000"/>
                    </a:gs>
                  </a:gsLst>
                  <a:lin ang="5400000" scaled="0"/>
                </a:gradFill>
              </a:rPr>
              <a:t>Personal/Private views</a:t>
            </a:r>
          </a:p>
          <a:p>
            <a:pPr algn="r" defTabSz="951061">
              <a:lnSpc>
                <a:spcPct val="90000"/>
              </a:lnSpc>
              <a:spcAft>
                <a:spcPts val="612"/>
              </a:spcAft>
              <a:defRPr/>
            </a:pPr>
            <a:r>
              <a:rPr lang="en-US" sz="1632" kern="0">
                <a:gradFill>
                  <a:gsLst>
                    <a:gs pos="2917">
                      <a:srgbClr val="000000"/>
                    </a:gs>
                    <a:gs pos="100000">
                      <a:srgbClr val="000000"/>
                    </a:gs>
                  </a:gsLst>
                  <a:lin ang="5400000" scaled="0"/>
                </a:gradFill>
              </a:rPr>
              <a:t>Data science exploration</a:t>
            </a:r>
          </a:p>
        </p:txBody>
      </p:sp>
      <p:sp>
        <p:nvSpPr>
          <p:cNvPr id="63" name="TextBox 62">
            <a:extLst>
              <a:ext uri="{FF2B5EF4-FFF2-40B4-BE49-F238E27FC236}">
                <a16:creationId xmlns:a16="http://schemas.microsoft.com/office/drawing/2014/main" id="{A10F0B65-A02A-4EF5-8448-3C6BC6FF91CA}"/>
              </a:ext>
            </a:extLst>
          </p:cNvPr>
          <p:cNvSpPr txBox="1"/>
          <p:nvPr/>
        </p:nvSpPr>
        <p:spPr>
          <a:xfrm>
            <a:off x="1717191" y="3322702"/>
            <a:ext cx="2469210" cy="942692"/>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ush up content</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ower BI Desktop</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Excel or other reports</a:t>
            </a:r>
          </a:p>
        </p:txBody>
      </p:sp>
      <p:sp>
        <p:nvSpPr>
          <p:cNvPr id="64" name="TextBox 63">
            <a:extLst>
              <a:ext uri="{FF2B5EF4-FFF2-40B4-BE49-F238E27FC236}">
                <a16:creationId xmlns:a16="http://schemas.microsoft.com/office/drawing/2014/main" id="{DDEF816C-DBC3-4D32-A390-82CF686C48B6}"/>
              </a:ext>
            </a:extLst>
          </p:cNvPr>
          <p:cNvSpPr txBox="1"/>
          <p:nvPr/>
        </p:nvSpPr>
        <p:spPr>
          <a:xfrm>
            <a:off x="8156579" y="3322702"/>
            <a:ext cx="2731390"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Knowledge managem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Information sharing</a:t>
            </a:r>
          </a:p>
        </p:txBody>
      </p:sp>
      <p:sp>
        <p:nvSpPr>
          <p:cNvPr id="65" name="TextBox 64">
            <a:extLst>
              <a:ext uri="{FF2B5EF4-FFF2-40B4-BE49-F238E27FC236}">
                <a16:creationId xmlns:a16="http://schemas.microsoft.com/office/drawing/2014/main" id="{8109C2A8-62B4-43FB-8D45-1C3A0ECDCAAF}"/>
              </a:ext>
            </a:extLst>
          </p:cNvPr>
          <p:cNvSpPr txBox="1"/>
          <p:nvPr/>
        </p:nvSpPr>
        <p:spPr>
          <a:xfrm>
            <a:off x="2648310" y="1942955"/>
            <a:ext cx="2498285"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ermanent record</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Subject to compliance</a:t>
            </a:r>
          </a:p>
        </p:txBody>
      </p:sp>
      <p:sp>
        <p:nvSpPr>
          <p:cNvPr id="66" name="TextBox 65">
            <a:extLst>
              <a:ext uri="{FF2B5EF4-FFF2-40B4-BE49-F238E27FC236}">
                <a16:creationId xmlns:a16="http://schemas.microsoft.com/office/drawing/2014/main" id="{378C74BE-2DF5-4532-AA7D-C73685017E3C}"/>
              </a:ext>
            </a:extLst>
          </p:cNvPr>
          <p:cNvSpPr txBox="1"/>
          <p:nvPr/>
        </p:nvSpPr>
        <p:spPr>
          <a:xfrm>
            <a:off x="7370673" y="1942955"/>
            <a:ext cx="2259991"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Push down cont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Reporting services</a:t>
            </a:r>
          </a:p>
        </p:txBody>
      </p:sp>
      <p:sp>
        <p:nvSpPr>
          <p:cNvPr id="67" name="Freeform: Shape 66">
            <a:extLst>
              <a:ext uri="{FF2B5EF4-FFF2-40B4-BE49-F238E27FC236}">
                <a16:creationId xmlns:a16="http://schemas.microsoft.com/office/drawing/2014/main" id="{A4B1F4FD-6C72-4607-B63D-6158FDFD2810}"/>
              </a:ext>
            </a:extLst>
          </p:cNvPr>
          <p:cNvSpPr/>
          <p:nvPr/>
        </p:nvSpPr>
        <p:spPr bwMode="auto">
          <a:xfrm>
            <a:off x="6533505" y="1195463"/>
            <a:ext cx="2826654" cy="5086053"/>
          </a:xfrm>
          <a:custGeom>
            <a:avLst/>
            <a:gdLst>
              <a:gd name="connsiteX0" fmla="*/ 2771481 w 2771481"/>
              <a:gd name="connsiteY0" fmla="*/ 4986779 h 4986779"/>
              <a:gd name="connsiteX1" fmla="*/ 0 w 2771481"/>
              <a:gd name="connsiteY1" fmla="*/ 0 h 4986779"/>
            </a:gdLst>
            <a:ahLst/>
            <a:cxnLst>
              <a:cxn ang="0">
                <a:pos x="connsiteX0" y="connsiteY0"/>
              </a:cxn>
              <a:cxn ang="0">
                <a:pos x="connsiteX1" y="connsiteY1"/>
              </a:cxn>
            </a:cxnLst>
            <a:rect l="l" t="t" r="r" b="b"/>
            <a:pathLst>
              <a:path w="2771481" h="4986779">
                <a:moveTo>
                  <a:pt x="2771481" y="4986779"/>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68" name="Freeform: Shape 67">
            <a:extLst>
              <a:ext uri="{FF2B5EF4-FFF2-40B4-BE49-F238E27FC236}">
                <a16:creationId xmlns:a16="http://schemas.microsoft.com/office/drawing/2014/main" id="{78FA720B-F924-450C-A73F-6A32A59BC68D}"/>
              </a:ext>
            </a:extLst>
          </p:cNvPr>
          <p:cNvSpPr/>
          <p:nvPr/>
        </p:nvSpPr>
        <p:spPr bwMode="auto">
          <a:xfrm flipH="1">
            <a:off x="3142571" y="1195463"/>
            <a:ext cx="2836369" cy="5090911"/>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3" name="Freeform: Shape 22">
            <a:extLst>
              <a:ext uri="{FF2B5EF4-FFF2-40B4-BE49-F238E27FC236}">
                <a16:creationId xmlns:a16="http://schemas.microsoft.com/office/drawing/2014/main" id="{EA76710A-1B1A-4F27-8468-E6BEAA7B49C3}"/>
              </a:ext>
            </a:extLst>
          </p:cNvPr>
          <p:cNvSpPr/>
          <p:nvPr/>
        </p:nvSpPr>
        <p:spPr bwMode="auto">
          <a:xfrm rot="19800000" flipH="1">
            <a:off x="294741" y="1743099"/>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 name="TextBox 1">
            <a:extLst>
              <a:ext uri="{FF2B5EF4-FFF2-40B4-BE49-F238E27FC236}">
                <a16:creationId xmlns:a16="http://schemas.microsoft.com/office/drawing/2014/main" id="{D4D1ABB2-43D4-4053-B150-67BB2812CBA8}"/>
              </a:ext>
            </a:extLst>
          </p:cNvPr>
          <p:cNvSpPr txBox="1"/>
          <p:nvPr/>
        </p:nvSpPr>
        <p:spPr>
          <a:xfrm rot="16200000">
            <a:off x="-1019691" y="3014140"/>
            <a:ext cx="3787555" cy="583860"/>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IT-developed and maintained</a:t>
            </a:r>
          </a:p>
        </p:txBody>
      </p:sp>
      <p:sp>
        <p:nvSpPr>
          <p:cNvPr id="25" name="Freeform: Shape 24">
            <a:extLst>
              <a:ext uri="{FF2B5EF4-FFF2-40B4-BE49-F238E27FC236}">
                <a16:creationId xmlns:a16="http://schemas.microsoft.com/office/drawing/2014/main" id="{5E4A8149-DD61-40F9-973E-B8648BAEDEDD}"/>
              </a:ext>
            </a:extLst>
          </p:cNvPr>
          <p:cNvSpPr/>
          <p:nvPr/>
        </p:nvSpPr>
        <p:spPr bwMode="auto">
          <a:xfrm rot="9000000" flipH="1">
            <a:off x="10496682" y="2297951"/>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6" name="TextBox 25">
            <a:extLst>
              <a:ext uri="{FF2B5EF4-FFF2-40B4-BE49-F238E27FC236}">
                <a16:creationId xmlns:a16="http://schemas.microsoft.com/office/drawing/2014/main" id="{5FAF3523-93BB-4847-87C9-D748C40707CC}"/>
              </a:ext>
            </a:extLst>
          </p:cNvPr>
          <p:cNvSpPr txBox="1"/>
          <p:nvPr/>
        </p:nvSpPr>
        <p:spPr>
          <a:xfrm rot="16200000">
            <a:off x="9396634" y="3293123"/>
            <a:ext cx="4512924" cy="583862"/>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Business developed and maintained</a:t>
            </a:r>
          </a:p>
        </p:txBody>
      </p:sp>
      <p:grpSp>
        <p:nvGrpSpPr>
          <p:cNvPr id="3" name="Group 2">
            <a:extLst>
              <a:ext uri="{FF2B5EF4-FFF2-40B4-BE49-F238E27FC236}">
                <a16:creationId xmlns:a16="http://schemas.microsoft.com/office/drawing/2014/main" id="{B0D1FF1E-FE5D-4FAD-A450-D4BAE7C6E9DD}"/>
              </a:ext>
            </a:extLst>
          </p:cNvPr>
          <p:cNvGrpSpPr/>
          <p:nvPr/>
        </p:nvGrpSpPr>
        <p:grpSpPr>
          <a:xfrm>
            <a:off x="2107970" y="2915049"/>
            <a:ext cx="8317331" cy="572466"/>
            <a:chOff x="2066223" y="2435918"/>
            <a:chExt cx="8156028" cy="572466"/>
          </a:xfrm>
        </p:grpSpPr>
        <p:cxnSp>
          <p:nvCxnSpPr>
            <p:cNvPr id="4" name="Straight Connector 3">
              <a:extLst>
                <a:ext uri="{FF2B5EF4-FFF2-40B4-BE49-F238E27FC236}">
                  <a16:creationId xmlns:a16="http://schemas.microsoft.com/office/drawing/2014/main" id="{B340027D-E829-44BC-91B5-408D2950C1ED}"/>
                </a:ext>
              </a:extLst>
            </p:cNvPr>
            <p:cNvCxnSpPr/>
            <p:nvPr/>
          </p:nvCxnSpPr>
          <p:spPr>
            <a:xfrm>
              <a:off x="2066223" y="2539574"/>
              <a:ext cx="8156028" cy="0"/>
            </a:xfrm>
            <a:prstGeom prst="line">
              <a:avLst/>
            </a:prstGeom>
            <a:ln w="381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B99F330-0F2B-4E12-B4CB-C99AC9B5B73E}"/>
                </a:ext>
              </a:extLst>
            </p:cNvPr>
            <p:cNvSpPr txBox="1"/>
            <p:nvPr/>
          </p:nvSpPr>
          <p:spPr>
            <a:xfrm>
              <a:off x="3748873" y="2435918"/>
              <a:ext cx="4636774" cy="572466"/>
            </a:xfrm>
            <a:prstGeom prst="rect">
              <a:avLst/>
            </a:prstGeom>
            <a:noFill/>
          </p:spPr>
          <p:txBody>
            <a:bodyPr wrap="square" lIns="186497" tIns="149198" rIns="186497" bIns="149198" rtlCol="0">
              <a:spAutoFit/>
            </a:bodyPr>
            <a:lstStyle/>
            <a:p>
              <a:pPr>
                <a:lnSpc>
                  <a:spcPct val="90000"/>
                </a:lnSpc>
                <a:spcAft>
                  <a:spcPts val="612"/>
                </a:spcAft>
              </a:pPr>
              <a:r>
                <a:rPr lang="en-US" sz="2040">
                  <a:solidFill>
                    <a:srgbClr val="FF0000"/>
                  </a:solidFill>
                </a:rPr>
                <a:t>Consistent criteria and responsibilities</a:t>
              </a:r>
            </a:p>
          </p:txBody>
        </p:sp>
      </p:grpSp>
      <p:grpSp>
        <p:nvGrpSpPr>
          <p:cNvPr id="31" name="Group 30">
            <a:extLst>
              <a:ext uri="{FF2B5EF4-FFF2-40B4-BE49-F238E27FC236}">
                <a16:creationId xmlns:a16="http://schemas.microsoft.com/office/drawing/2014/main" id="{658A49E3-5187-4AF5-9FCE-91E4DFA386A0}"/>
              </a:ext>
            </a:extLst>
          </p:cNvPr>
          <p:cNvGrpSpPr/>
          <p:nvPr/>
        </p:nvGrpSpPr>
        <p:grpSpPr>
          <a:xfrm>
            <a:off x="550408" y="463476"/>
            <a:ext cx="801002" cy="800888"/>
            <a:chOff x="550478" y="463089"/>
            <a:chExt cx="801104" cy="800990"/>
          </a:xfrm>
        </p:grpSpPr>
        <p:sp>
          <p:nvSpPr>
            <p:cNvPr id="32" name="Oval 31">
              <a:extLst>
                <a:ext uri="{FF2B5EF4-FFF2-40B4-BE49-F238E27FC236}">
                  <a16:creationId xmlns:a16="http://schemas.microsoft.com/office/drawing/2014/main" id="{C0F6D64A-17B0-484D-80BC-9DD7F6D4019D}"/>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3" name="Graphic 32">
              <a:extLst>
                <a:ext uri="{FF2B5EF4-FFF2-40B4-BE49-F238E27FC236}">
                  <a16:creationId xmlns:a16="http://schemas.microsoft.com/office/drawing/2014/main" id="{D5E5B864-3557-473E-8581-DBE7E3AD117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1655363160"/>
      </p:ext>
    </p:extLst>
  </p:cSld>
  <p:clrMapOvr>
    <a:masterClrMapping/>
  </p:clrMapOvr>
  <p:transition spd="slow">
    <p:push/>
  </p:transition>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Freeform: Shape 49">
            <a:extLst>
              <a:ext uri="{FF2B5EF4-FFF2-40B4-BE49-F238E27FC236}">
                <a16:creationId xmlns:a16="http://schemas.microsoft.com/office/drawing/2014/main" id="{90ADC8CE-FDB2-422E-99A5-761B7A573449}"/>
              </a:ext>
            </a:extLst>
          </p:cNvPr>
          <p:cNvSpPr/>
          <p:nvPr/>
        </p:nvSpPr>
        <p:spPr>
          <a:xfrm>
            <a:off x="5697768" y="1207750"/>
            <a:ext cx="1125352" cy="1005759"/>
          </a:xfrm>
          <a:custGeom>
            <a:avLst/>
            <a:gdLst>
              <a:gd name="connsiteX0" fmla="*/ 551693 w 1103386"/>
              <a:gd name="connsiteY0" fmla="*/ 0 h 986128"/>
              <a:gd name="connsiteX1" fmla="*/ 1103386 w 1103386"/>
              <a:gd name="connsiteY1" fmla="*/ 986128 h 986128"/>
              <a:gd name="connsiteX2" fmla="*/ 0 w 1103386"/>
              <a:gd name="connsiteY2" fmla="*/ 986128 h 986128"/>
            </a:gdLst>
            <a:ahLst/>
            <a:cxnLst>
              <a:cxn ang="0">
                <a:pos x="connsiteX0" y="connsiteY0"/>
              </a:cxn>
              <a:cxn ang="0">
                <a:pos x="connsiteX1" y="connsiteY1"/>
              </a:cxn>
              <a:cxn ang="0">
                <a:pos x="connsiteX2" y="connsiteY2"/>
              </a:cxn>
            </a:cxnLst>
            <a:rect l="l" t="t" r="r" b="b"/>
            <a:pathLst>
              <a:path w="1103386" h="986128">
                <a:moveTo>
                  <a:pt x="551693" y="0"/>
                </a:moveTo>
                <a:lnTo>
                  <a:pt x="1103386" y="986128"/>
                </a:lnTo>
                <a:lnTo>
                  <a:pt x="0" y="986128"/>
                </a:lnTo>
                <a:close/>
              </a:path>
            </a:pathLst>
          </a:custGeom>
          <a:solidFill>
            <a:srgbClr val="F2C811"/>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1" name="Freeform: Shape 50">
            <a:extLst>
              <a:ext uri="{FF2B5EF4-FFF2-40B4-BE49-F238E27FC236}">
                <a16:creationId xmlns:a16="http://schemas.microsoft.com/office/drawing/2014/main" id="{540A9DA5-150F-4097-9B98-0ADE9C42019C}"/>
              </a:ext>
            </a:extLst>
          </p:cNvPr>
          <p:cNvSpPr/>
          <p:nvPr/>
        </p:nvSpPr>
        <p:spPr>
          <a:xfrm>
            <a:off x="5126976" y="2228014"/>
            <a:ext cx="2266936" cy="1005759"/>
          </a:xfrm>
          <a:custGeom>
            <a:avLst/>
            <a:gdLst>
              <a:gd name="connsiteX0" fmla="*/ 551694 w 2222688"/>
              <a:gd name="connsiteY0" fmla="*/ 0 h 986128"/>
              <a:gd name="connsiteX1" fmla="*/ 1670994 w 2222688"/>
              <a:gd name="connsiteY1" fmla="*/ 0 h 986128"/>
              <a:gd name="connsiteX2" fmla="*/ 2222688 w 2222688"/>
              <a:gd name="connsiteY2" fmla="*/ 986128 h 986128"/>
              <a:gd name="connsiteX3" fmla="*/ 0 w 2222688"/>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2222688" h="986128">
                <a:moveTo>
                  <a:pt x="551694" y="0"/>
                </a:moveTo>
                <a:lnTo>
                  <a:pt x="1670994" y="0"/>
                </a:lnTo>
                <a:lnTo>
                  <a:pt x="2222688" y="986128"/>
                </a:lnTo>
                <a:lnTo>
                  <a:pt x="0" y="986128"/>
                </a:lnTo>
                <a:close/>
              </a:path>
            </a:pathLst>
          </a:custGeom>
          <a:solidFill>
            <a:srgbClr val="F2C811">
              <a:alpha val="6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2" name="Freeform: Shape 51">
            <a:extLst>
              <a:ext uri="{FF2B5EF4-FFF2-40B4-BE49-F238E27FC236}">
                <a16:creationId xmlns:a16="http://schemas.microsoft.com/office/drawing/2014/main" id="{4A61E59B-6FC8-48BB-9D2C-F446067D04AF}"/>
              </a:ext>
            </a:extLst>
          </p:cNvPr>
          <p:cNvSpPr/>
          <p:nvPr/>
        </p:nvSpPr>
        <p:spPr>
          <a:xfrm>
            <a:off x="4556185" y="3248279"/>
            <a:ext cx="3408519" cy="1005759"/>
          </a:xfrm>
          <a:custGeom>
            <a:avLst/>
            <a:gdLst>
              <a:gd name="connsiteX0" fmla="*/ 551694 w 3341989"/>
              <a:gd name="connsiteY0" fmla="*/ 0 h 986128"/>
              <a:gd name="connsiteX1" fmla="*/ 2790296 w 3341989"/>
              <a:gd name="connsiteY1" fmla="*/ 0 h 986128"/>
              <a:gd name="connsiteX2" fmla="*/ 3341989 w 3341989"/>
              <a:gd name="connsiteY2" fmla="*/ 986128 h 986128"/>
              <a:gd name="connsiteX3" fmla="*/ 0 w 3341989"/>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3341989" h="986128">
                <a:moveTo>
                  <a:pt x="551694" y="0"/>
                </a:moveTo>
                <a:lnTo>
                  <a:pt x="2790296" y="0"/>
                </a:lnTo>
                <a:lnTo>
                  <a:pt x="3341989" y="986128"/>
                </a:lnTo>
                <a:lnTo>
                  <a:pt x="0" y="986128"/>
                </a:lnTo>
                <a:close/>
              </a:path>
            </a:pathLst>
          </a:custGeom>
          <a:solidFill>
            <a:srgbClr val="F2C811">
              <a:alpha val="4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3" name="Freeform: Shape 52">
            <a:extLst>
              <a:ext uri="{FF2B5EF4-FFF2-40B4-BE49-F238E27FC236}">
                <a16:creationId xmlns:a16="http://schemas.microsoft.com/office/drawing/2014/main" id="{36371400-E5A4-47B3-8BDC-3E5C863607DC}"/>
              </a:ext>
            </a:extLst>
          </p:cNvPr>
          <p:cNvSpPr/>
          <p:nvPr/>
        </p:nvSpPr>
        <p:spPr>
          <a:xfrm>
            <a:off x="3985392" y="4268543"/>
            <a:ext cx="4550103" cy="1005759"/>
          </a:xfrm>
          <a:custGeom>
            <a:avLst/>
            <a:gdLst>
              <a:gd name="connsiteX0" fmla="*/ 551693 w 4461290"/>
              <a:gd name="connsiteY0" fmla="*/ 0 h 986128"/>
              <a:gd name="connsiteX1" fmla="*/ 3909596 w 4461290"/>
              <a:gd name="connsiteY1" fmla="*/ 0 h 986128"/>
              <a:gd name="connsiteX2" fmla="*/ 4461290 w 4461290"/>
              <a:gd name="connsiteY2" fmla="*/ 986128 h 986128"/>
              <a:gd name="connsiteX3" fmla="*/ 0 w 4461290"/>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4461290" h="986128">
                <a:moveTo>
                  <a:pt x="551693" y="0"/>
                </a:moveTo>
                <a:lnTo>
                  <a:pt x="3909596" y="0"/>
                </a:lnTo>
                <a:lnTo>
                  <a:pt x="4461290" y="986128"/>
                </a:lnTo>
                <a:lnTo>
                  <a:pt x="0" y="986128"/>
                </a:lnTo>
                <a:close/>
              </a:path>
            </a:pathLst>
          </a:custGeom>
          <a:solidFill>
            <a:srgbClr val="F2C811">
              <a:alpha val="3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4" name="Freeform: Shape 53">
            <a:extLst>
              <a:ext uri="{FF2B5EF4-FFF2-40B4-BE49-F238E27FC236}">
                <a16:creationId xmlns:a16="http://schemas.microsoft.com/office/drawing/2014/main" id="{EFADB998-D455-42D7-9A07-04831BA42409}"/>
              </a:ext>
            </a:extLst>
          </p:cNvPr>
          <p:cNvSpPr/>
          <p:nvPr/>
        </p:nvSpPr>
        <p:spPr>
          <a:xfrm>
            <a:off x="3416845" y="5298425"/>
            <a:ext cx="5687199" cy="1001750"/>
          </a:xfrm>
          <a:custGeom>
            <a:avLst/>
            <a:gdLst>
              <a:gd name="connsiteX0" fmla="*/ 549495 w 5576191"/>
              <a:gd name="connsiteY0" fmla="*/ 0 h 982197"/>
              <a:gd name="connsiteX1" fmla="*/ 5026697 w 5576191"/>
              <a:gd name="connsiteY1" fmla="*/ 0 h 982197"/>
              <a:gd name="connsiteX2" fmla="*/ 5576191 w 5576191"/>
              <a:gd name="connsiteY2" fmla="*/ 982197 h 982197"/>
              <a:gd name="connsiteX3" fmla="*/ 0 w 5576191"/>
              <a:gd name="connsiteY3" fmla="*/ 982197 h 982197"/>
            </a:gdLst>
            <a:ahLst/>
            <a:cxnLst>
              <a:cxn ang="0">
                <a:pos x="connsiteX0" y="connsiteY0"/>
              </a:cxn>
              <a:cxn ang="0">
                <a:pos x="connsiteX1" y="connsiteY1"/>
              </a:cxn>
              <a:cxn ang="0">
                <a:pos x="connsiteX2" y="connsiteY2"/>
              </a:cxn>
              <a:cxn ang="0">
                <a:pos x="connsiteX3" y="connsiteY3"/>
              </a:cxn>
            </a:cxnLst>
            <a:rect l="l" t="t" r="r" b="b"/>
            <a:pathLst>
              <a:path w="5576191" h="982197">
                <a:moveTo>
                  <a:pt x="549495" y="0"/>
                </a:moveTo>
                <a:lnTo>
                  <a:pt x="5026697" y="0"/>
                </a:lnTo>
                <a:lnTo>
                  <a:pt x="5576191" y="982197"/>
                </a:lnTo>
                <a:lnTo>
                  <a:pt x="0" y="982197"/>
                </a:lnTo>
                <a:close/>
              </a:path>
            </a:pathLst>
          </a:custGeom>
          <a:solidFill>
            <a:srgbClr val="F2C811">
              <a:alpha val="1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5" name="TextBox 54">
            <a:extLst>
              <a:ext uri="{FF2B5EF4-FFF2-40B4-BE49-F238E27FC236}">
                <a16:creationId xmlns:a16="http://schemas.microsoft.com/office/drawing/2014/main" id="{D63EDDE2-94C3-492A-A59F-4BAD9AF18E72}"/>
              </a:ext>
            </a:extLst>
          </p:cNvPr>
          <p:cNvSpPr txBox="1"/>
          <p:nvPr/>
        </p:nvSpPr>
        <p:spPr>
          <a:xfrm>
            <a:off x="5992973" y="1750565"/>
            <a:ext cx="541484" cy="286306"/>
          </a:xfrm>
          <a:prstGeom prst="rect">
            <a:avLst/>
          </a:prstGeom>
          <a:noFill/>
        </p:spPr>
        <p:txBody>
          <a:bodyPr wrap="none" rtlCol="0">
            <a:spAutoFit/>
          </a:bodyPr>
          <a:lstStyle/>
          <a:p>
            <a:pPr defTabSz="951061"/>
            <a:r>
              <a:rPr lang="en-US" sz="1224" kern="0">
                <a:solidFill>
                  <a:sysClr val="windowText" lastClr="000000"/>
                </a:solidFill>
                <a:latin typeface="Segoe UI Semibold" panose="020B0702040204020203" pitchFamily="34" charset="0"/>
                <a:cs typeface="Segoe UI Semibold" panose="020B0702040204020203" pitchFamily="34" charset="0"/>
              </a:rPr>
              <a:t>EDW</a:t>
            </a:r>
          </a:p>
        </p:txBody>
      </p:sp>
      <p:sp>
        <p:nvSpPr>
          <p:cNvPr id="56" name="TextBox 55">
            <a:extLst>
              <a:ext uri="{FF2B5EF4-FFF2-40B4-BE49-F238E27FC236}">
                <a16:creationId xmlns:a16="http://schemas.microsoft.com/office/drawing/2014/main" id="{5D88F45D-9042-4DC7-8D30-B214DDA82936}"/>
              </a:ext>
            </a:extLst>
          </p:cNvPr>
          <p:cNvSpPr txBox="1"/>
          <p:nvPr/>
        </p:nvSpPr>
        <p:spPr>
          <a:xfrm>
            <a:off x="5413394" y="2409676"/>
            <a:ext cx="1694099" cy="670577"/>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BUSINESS UNIT</a:t>
            </a:r>
          </a:p>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ASHBOARDS, KPIS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amp; SCORECARDS</a:t>
            </a:r>
          </a:p>
        </p:txBody>
      </p:sp>
      <p:sp>
        <p:nvSpPr>
          <p:cNvPr id="57" name="TextBox 56">
            <a:extLst>
              <a:ext uri="{FF2B5EF4-FFF2-40B4-BE49-F238E27FC236}">
                <a16:creationId xmlns:a16="http://schemas.microsoft.com/office/drawing/2014/main" id="{832ED677-52BD-4DA1-8727-B159F289BB23}"/>
              </a:ext>
            </a:extLst>
          </p:cNvPr>
          <p:cNvSpPr txBox="1"/>
          <p:nvPr/>
        </p:nvSpPr>
        <p:spPr>
          <a:xfrm>
            <a:off x="5280150" y="3519885"/>
            <a:ext cx="1960589" cy="478442"/>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EPARTMENTAL, TEAM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OR GROUP REPORTING</a:t>
            </a:r>
          </a:p>
        </p:txBody>
      </p:sp>
      <p:sp>
        <p:nvSpPr>
          <p:cNvPr id="7" name="Rectangle 6">
            <a:extLst>
              <a:ext uri="{FF2B5EF4-FFF2-40B4-BE49-F238E27FC236}">
                <a16:creationId xmlns:a16="http://schemas.microsoft.com/office/drawing/2014/main" id="{4F0D5D44-941E-4561-A855-D9C003F0B352}"/>
              </a:ext>
            </a:extLst>
          </p:cNvPr>
          <p:cNvSpPr/>
          <p:nvPr/>
        </p:nvSpPr>
        <p:spPr bwMode="auto">
          <a:xfrm>
            <a:off x="9201451" y="3322702"/>
            <a:ext cx="3882609" cy="4145040"/>
          </a:xfrm>
          <a:prstGeom prst="rect">
            <a:avLst/>
          </a:prstGeom>
          <a:solidFill>
            <a:schemeClr val="bg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8" name="TextBox 57">
            <a:extLst>
              <a:ext uri="{FF2B5EF4-FFF2-40B4-BE49-F238E27FC236}">
                <a16:creationId xmlns:a16="http://schemas.microsoft.com/office/drawing/2014/main" id="{153F84BC-318F-48FE-BC99-8699587B2F2E}"/>
              </a:ext>
            </a:extLst>
          </p:cNvPr>
          <p:cNvSpPr txBox="1"/>
          <p:nvPr/>
        </p:nvSpPr>
        <p:spPr>
          <a:xfrm>
            <a:off x="5386418" y="4637438"/>
            <a:ext cx="1748052"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ROJECT REPORTING</a:t>
            </a:r>
          </a:p>
        </p:txBody>
      </p:sp>
      <p:sp>
        <p:nvSpPr>
          <p:cNvPr id="59" name="TextBox 58">
            <a:extLst>
              <a:ext uri="{FF2B5EF4-FFF2-40B4-BE49-F238E27FC236}">
                <a16:creationId xmlns:a16="http://schemas.microsoft.com/office/drawing/2014/main" id="{929C80E4-C577-43B8-A567-0E66AB473CE2}"/>
              </a:ext>
            </a:extLst>
          </p:cNvPr>
          <p:cNvSpPr txBox="1"/>
          <p:nvPr/>
        </p:nvSpPr>
        <p:spPr>
          <a:xfrm>
            <a:off x="5314483" y="5665410"/>
            <a:ext cx="1891923"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ERSONAL REPORTING</a:t>
            </a:r>
          </a:p>
        </p:txBody>
      </p:sp>
      <p:sp>
        <p:nvSpPr>
          <p:cNvPr id="60" name="TextBox 59">
            <a:extLst>
              <a:ext uri="{FF2B5EF4-FFF2-40B4-BE49-F238E27FC236}">
                <a16:creationId xmlns:a16="http://schemas.microsoft.com/office/drawing/2014/main" id="{625F7A5B-C3D1-48F0-BE39-710EDBA98FF0}"/>
              </a:ext>
            </a:extLst>
          </p:cNvPr>
          <p:cNvSpPr txBox="1"/>
          <p:nvPr/>
        </p:nvSpPr>
        <p:spPr>
          <a:xfrm>
            <a:off x="6744089" y="1022046"/>
            <a:ext cx="2251605"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TIGHTER CONTROLS</a:t>
            </a:r>
          </a:p>
        </p:txBody>
      </p:sp>
      <p:sp>
        <p:nvSpPr>
          <p:cNvPr id="61" name="TextBox 60">
            <a:extLst>
              <a:ext uri="{FF2B5EF4-FFF2-40B4-BE49-F238E27FC236}">
                <a16:creationId xmlns:a16="http://schemas.microsoft.com/office/drawing/2014/main" id="{C226A2BB-0E93-4A97-91A9-ED8FA0AC93EA}"/>
              </a:ext>
            </a:extLst>
          </p:cNvPr>
          <p:cNvSpPr txBox="1"/>
          <p:nvPr/>
        </p:nvSpPr>
        <p:spPr>
          <a:xfrm>
            <a:off x="9524903" y="6036263"/>
            <a:ext cx="2169858"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LOOSER CONTROLS</a:t>
            </a:r>
          </a:p>
        </p:txBody>
      </p:sp>
      <p:sp>
        <p:nvSpPr>
          <p:cNvPr id="62" name="TextBox 61">
            <a:extLst>
              <a:ext uri="{FF2B5EF4-FFF2-40B4-BE49-F238E27FC236}">
                <a16:creationId xmlns:a16="http://schemas.microsoft.com/office/drawing/2014/main" id="{32734F2A-6E73-484D-B795-A2035617415A}"/>
              </a:ext>
            </a:extLst>
          </p:cNvPr>
          <p:cNvSpPr txBox="1"/>
          <p:nvPr/>
        </p:nvSpPr>
        <p:spPr>
          <a:xfrm>
            <a:off x="681329" y="5049764"/>
            <a:ext cx="2722558" cy="633693"/>
          </a:xfrm>
          <a:prstGeom prst="rect">
            <a:avLst/>
          </a:prstGeom>
          <a:noFill/>
        </p:spPr>
        <p:txBody>
          <a:bodyPr wrap="square" rtlCol="0">
            <a:spAutoFit/>
          </a:bodyPr>
          <a:lstStyle/>
          <a:p>
            <a:pPr algn="r" defTabSz="951061">
              <a:lnSpc>
                <a:spcPct val="90000"/>
              </a:lnSpc>
              <a:spcAft>
                <a:spcPts val="612"/>
              </a:spcAft>
              <a:defRPr/>
            </a:pPr>
            <a:r>
              <a:rPr lang="en-US" sz="1632" kern="0">
                <a:gradFill>
                  <a:gsLst>
                    <a:gs pos="2917">
                      <a:srgbClr val="000000"/>
                    </a:gs>
                    <a:gs pos="100000">
                      <a:srgbClr val="000000"/>
                    </a:gs>
                  </a:gsLst>
                  <a:lin ang="5400000" scaled="0"/>
                </a:gradFill>
              </a:rPr>
              <a:t>Personal/Private views</a:t>
            </a:r>
          </a:p>
          <a:p>
            <a:pPr algn="r" defTabSz="951061">
              <a:lnSpc>
                <a:spcPct val="90000"/>
              </a:lnSpc>
              <a:spcAft>
                <a:spcPts val="612"/>
              </a:spcAft>
              <a:defRPr/>
            </a:pPr>
            <a:r>
              <a:rPr lang="en-US" sz="1632" kern="0">
                <a:gradFill>
                  <a:gsLst>
                    <a:gs pos="2917">
                      <a:srgbClr val="000000"/>
                    </a:gs>
                    <a:gs pos="100000">
                      <a:srgbClr val="000000"/>
                    </a:gs>
                  </a:gsLst>
                  <a:lin ang="5400000" scaled="0"/>
                </a:gradFill>
              </a:rPr>
              <a:t>Data science exploration</a:t>
            </a:r>
          </a:p>
        </p:txBody>
      </p:sp>
      <p:sp>
        <p:nvSpPr>
          <p:cNvPr id="63" name="TextBox 62">
            <a:extLst>
              <a:ext uri="{FF2B5EF4-FFF2-40B4-BE49-F238E27FC236}">
                <a16:creationId xmlns:a16="http://schemas.microsoft.com/office/drawing/2014/main" id="{A10F0B65-A02A-4EF5-8448-3C6BC6FF91CA}"/>
              </a:ext>
            </a:extLst>
          </p:cNvPr>
          <p:cNvSpPr txBox="1"/>
          <p:nvPr/>
        </p:nvSpPr>
        <p:spPr>
          <a:xfrm>
            <a:off x="1717191" y="3322702"/>
            <a:ext cx="2469210" cy="942692"/>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ush up content</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ower BI Desktop</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Excel or other reports</a:t>
            </a:r>
          </a:p>
        </p:txBody>
      </p:sp>
      <p:sp>
        <p:nvSpPr>
          <p:cNvPr id="64" name="TextBox 63">
            <a:extLst>
              <a:ext uri="{FF2B5EF4-FFF2-40B4-BE49-F238E27FC236}">
                <a16:creationId xmlns:a16="http://schemas.microsoft.com/office/drawing/2014/main" id="{DDEF816C-DBC3-4D32-A390-82CF686C48B6}"/>
              </a:ext>
            </a:extLst>
          </p:cNvPr>
          <p:cNvSpPr txBox="1"/>
          <p:nvPr/>
        </p:nvSpPr>
        <p:spPr>
          <a:xfrm>
            <a:off x="8156579" y="3322702"/>
            <a:ext cx="2731390"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Knowledge managem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Information sharing</a:t>
            </a:r>
          </a:p>
        </p:txBody>
      </p:sp>
      <p:sp>
        <p:nvSpPr>
          <p:cNvPr id="65" name="TextBox 64">
            <a:extLst>
              <a:ext uri="{FF2B5EF4-FFF2-40B4-BE49-F238E27FC236}">
                <a16:creationId xmlns:a16="http://schemas.microsoft.com/office/drawing/2014/main" id="{8109C2A8-62B4-43FB-8D45-1C3A0ECDCAAF}"/>
              </a:ext>
            </a:extLst>
          </p:cNvPr>
          <p:cNvSpPr txBox="1"/>
          <p:nvPr/>
        </p:nvSpPr>
        <p:spPr>
          <a:xfrm>
            <a:off x="2648310" y="1942955"/>
            <a:ext cx="2498285"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ermanent record</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Subject to compliance</a:t>
            </a:r>
          </a:p>
        </p:txBody>
      </p:sp>
      <p:sp>
        <p:nvSpPr>
          <p:cNvPr id="66" name="TextBox 65">
            <a:extLst>
              <a:ext uri="{FF2B5EF4-FFF2-40B4-BE49-F238E27FC236}">
                <a16:creationId xmlns:a16="http://schemas.microsoft.com/office/drawing/2014/main" id="{378C74BE-2DF5-4532-AA7D-C73685017E3C}"/>
              </a:ext>
            </a:extLst>
          </p:cNvPr>
          <p:cNvSpPr txBox="1"/>
          <p:nvPr/>
        </p:nvSpPr>
        <p:spPr>
          <a:xfrm>
            <a:off x="7370673" y="1942955"/>
            <a:ext cx="2259991"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Push down cont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Reporting services</a:t>
            </a:r>
          </a:p>
        </p:txBody>
      </p:sp>
      <p:sp>
        <p:nvSpPr>
          <p:cNvPr id="67" name="Freeform: Shape 66">
            <a:extLst>
              <a:ext uri="{FF2B5EF4-FFF2-40B4-BE49-F238E27FC236}">
                <a16:creationId xmlns:a16="http://schemas.microsoft.com/office/drawing/2014/main" id="{A4B1F4FD-6C72-4607-B63D-6158FDFD2810}"/>
              </a:ext>
            </a:extLst>
          </p:cNvPr>
          <p:cNvSpPr/>
          <p:nvPr/>
        </p:nvSpPr>
        <p:spPr bwMode="auto">
          <a:xfrm>
            <a:off x="6533505" y="1195463"/>
            <a:ext cx="2826654" cy="5086053"/>
          </a:xfrm>
          <a:custGeom>
            <a:avLst/>
            <a:gdLst>
              <a:gd name="connsiteX0" fmla="*/ 2771481 w 2771481"/>
              <a:gd name="connsiteY0" fmla="*/ 4986779 h 4986779"/>
              <a:gd name="connsiteX1" fmla="*/ 0 w 2771481"/>
              <a:gd name="connsiteY1" fmla="*/ 0 h 4986779"/>
            </a:gdLst>
            <a:ahLst/>
            <a:cxnLst>
              <a:cxn ang="0">
                <a:pos x="connsiteX0" y="connsiteY0"/>
              </a:cxn>
              <a:cxn ang="0">
                <a:pos x="connsiteX1" y="connsiteY1"/>
              </a:cxn>
            </a:cxnLst>
            <a:rect l="l" t="t" r="r" b="b"/>
            <a:pathLst>
              <a:path w="2771481" h="4986779">
                <a:moveTo>
                  <a:pt x="2771481" y="4986779"/>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68" name="Freeform: Shape 67">
            <a:extLst>
              <a:ext uri="{FF2B5EF4-FFF2-40B4-BE49-F238E27FC236}">
                <a16:creationId xmlns:a16="http://schemas.microsoft.com/office/drawing/2014/main" id="{78FA720B-F924-450C-A73F-6A32A59BC68D}"/>
              </a:ext>
            </a:extLst>
          </p:cNvPr>
          <p:cNvSpPr/>
          <p:nvPr/>
        </p:nvSpPr>
        <p:spPr bwMode="auto">
          <a:xfrm flipH="1">
            <a:off x="3142571" y="1195463"/>
            <a:ext cx="2836369" cy="5090911"/>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3" name="Freeform: Shape 22">
            <a:extLst>
              <a:ext uri="{FF2B5EF4-FFF2-40B4-BE49-F238E27FC236}">
                <a16:creationId xmlns:a16="http://schemas.microsoft.com/office/drawing/2014/main" id="{EA76710A-1B1A-4F27-8468-E6BEAA7B49C3}"/>
              </a:ext>
            </a:extLst>
          </p:cNvPr>
          <p:cNvSpPr/>
          <p:nvPr/>
        </p:nvSpPr>
        <p:spPr bwMode="auto">
          <a:xfrm rot="19800000" flipH="1">
            <a:off x="294741" y="1743099"/>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 name="TextBox 1">
            <a:extLst>
              <a:ext uri="{FF2B5EF4-FFF2-40B4-BE49-F238E27FC236}">
                <a16:creationId xmlns:a16="http://schemas.microsoft.com/office/drawing/2014/main" id="{D4D1ABB2-43D4-4053-B150-67BB2812CBA8}"/>
              </a:ext>
            </a:extLst>
          </p:cNvPr>
          <p:cNvSpPr txBox="1"/>
          <p:nvPr/>
        </p:nvSpPr>
        <p:spPr>
          <a:xfrm rot="16200000">
            <a:off x="-1019691" y="3014140"/>
            <a:ext cx="3787555" cy="583860"/>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IT-developed and maintained</a:t>
            </a:r>
          </a:p>
        </p:txBody>
      </p:sp>
      <p:sp>
        <p:nvSpPr>
          <p:cNvPr id="25" name="Freeform: Shape 24">
            <a:extLst>
              <a:ext uri="{FF2B5EF4-FFF2-40B4-BE49-F238E27FC236}">
                <a16:creationId xmlns:a16="http://schemas.microsoft.com/office/drawing/2014/main" id="{5E4A8149-DD61-40F9-973E-B8648BAEDEDD}"/>
              </a:ext>
            </a:extLst>
          </p:cNvPr>
          <p:cNvSpPr/>
          <p:nvPr/>
        </p:nvSpPr>
        <p:spPr bwMode="auto">
          <a:xfrm rot="9000000" flipH="1">
            <a:off x="10496682" y="2297951"/>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6" name="TextBox 25">
            <a:extLst>
              <a:ext uri="{FF2B5EF4-FFF2-40B4-BE49-F238E27FC236}">
                <a16:creationId xmlns:a16="http://schemas.microsoft.com/office/drawing/2014/main" id="{5FAF3523-93BB-4847-87C9-D748C40707CC}"/>
              </a:ext>
            </a:extLst>
          </p:cNvPr>
          <p:cNvSpPr txBox="1"/>
          <p:nvPr/>
        </p:nvSpPr>
        <p:spPr>
          <a:xfrm rot="16200000">
            <a:off x="9396634" y="3293123"/>
            <a:ext cx="4512924" cy="583862"/>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Business developed and maintained</a:t>
            </a:r>
          </a:p>
        </p:txBody>
      </p:sp>
      <p:grpSp>
        <p:nvGrpSpPr>
          <p:cNvPr id="3" name="Group 2">
            <a:extLst>
              <a:ext uri="{FF2B5EF4-FFF2-40B4-BE49-F238E27FC236}">
                <a16:creationId xmlns:a16="http://schemas.microsoft.com/office/drawing/2014/main" id="{B0D1FF1E-FE5D-4FAD-A450-D4BAE7C6E9DD}"/>
              </a:ext>
            </a:extLst>
          </p:cNvPr>
          <p:cNvGrpSpPr/>
          <p:nvPr/>
        </p:nvGrpSpPr>
        <p:grpSpPr>
          <a:xfrm>
            <a:off x="2107970" y="4888563"/>
            <a:ext cx="8317331" cy="572466"/>
            <a:chOff x="2066223" y="2435918"/>
            <a:chExt cx="8156028" cy="572466"/>
          </a:xfrm>
        </p:grpSpPr>
        <p:cxnSp>
          <p:nvCxnSpPr>
            <p:cNvPr id="4" name="Straight Connector 3">
              <a:extLst>
                <a:ext uri="{FF2B5EF4-FFF2-40B4-BE49-F238E27FC236}">
                  <a16:creationId xmlns:a16="http://schemas.microsoft.com/office/drawing/2014/main" id="{B340027D-E829-44BC-91B5-408D2950C1ED}"/>
                </a:ext>
              </a:extLst>
            </p:cNvPr>
            <p:cNvCxnSpPr/>
            <p:nvPr/>
          </p:nvCxnSpPr>
          <p:spPr>
            <a:xfrm>
              <a:off x="2066223" y="2539574"/>
              <a:ext cx="8156028" cy="0"/>
            </a:xfrm>
            <a:prstGeom prst="line">
              <a:avLst/>
            </a:prstGeom>
            <a:ln w="381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B99F330-0F2B-4E12-B4CB-C99AC9B5B73E}"/>
                </a:ext>
              </a:extLst>
            </p:cNvPr>
            <p:cNvSpPr txBox="1"/>
            <p:nvPr/>
          </p:nvSpPr>
          <p:spPr>
            <a:xfrm>
              <a:off x="3748873" y="2435918"/>
              <a:ext cx="4636774" cy="572466"/>
            </a:xfrm>
            <a:prstGeom prst="rect">
              <a:avLst/>
            </a:prstGeom>
            <a:noFill/>
          </p:spPr>
          <p:txBody>
            <a:bodyPr wrap="square" lIns="186497" tIns="149198" rIns="186497" bIns="149198" rtlCol="0">
              <a:spAutoFit/>
            </a:bodyPr>
            <a:lstStyle/>
            <a:p>
              <a:pPr>
                <a:lnSpc>
                  <a:spcPct val="90000"/>
                </a:lnSpc>
                <a:spcAft>
                  <a:spcPts val="612"/>
                </a:spcAft>
              </a:pPr>
              <a:r>
                <a:rPr lang="en-US" sz="2040">
                  <a:solidFill>
                    <a:srgbClr val="FF0000"/>
                  </a:solidFill>
                </a:rPr>
                <a:t>Consistent criteria and responsibilities</a:t>
              </a:r>
            </a:p>
          </p:txBody>
        </p:sp>
      </p:grpSp>
      <p:grpSp>
        <p:nvGrpSpPr>
          <p:cNvPr id="31" name="Group 30">
            <a:extLst>
              <a:ext uri="{FF2B5EF4-FFF2-40B4-BE49-F238E27FC236}">
                <a16:creationId xmlns:a16="http://schemas.microsoft.com/office/drawing/2014/main" id="{658A49E3-5187-4AF5-9FCE-91E4DFA386A0}"/>
              </a:ext>
            </a:extLst>
          </p:cNvPr>
          <p:cNvGrpSpPr/>
          <p:nvPr/>
        </p:nvGrpSpPr>
        <p:grpSpPr>
          <a:xfrm>
            <a:off x="550408" y="463476"/>
            <a:ext cx="801002" cy="800888"/>
            <a:chOff x="550478" y="463089"/>
            <a:chExt cx="801104" cy="800990"/>
          </a:xfrm>
        </p:grpSpPr>
        <p:sp>
          <p:nvSpPr>
            <p:cNvPr id="32" name="Oval 31">
              <a:extLst>
                <a:ext uri="{FF2B5EF4-FFF2-40B4-BE49-F238E27FC236}">
                  <a16:creationId xmlns:a16="http://schemas.microsoft.com/office/drawing/2014/main" id="{C0F6D64A-17B0-484D-80BC-9DD7F6D4019D}"/>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3" name="Graphic 32">
              <a:extLst>
                <a:ext uri="{FF2B5EF4-FFF2-40B4-BE49-F238E27FC236}">
                  <a16:creationId xmlns:a16="http://schemas.microsoft.com/office/drawing/2014/main" id="{D5E5B864-3557-473E-8581-DBE7E3AD117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34796460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Freeform: Shape 49">
            <a:extLst>
              <a:ext uri="{FF2B5EF4-FFF2-40B4-BE49-F238E27FC236}">
                <a16:creationId xmlns:a16="http://schemas.microsoft.com/office/drawing/2014/main" id="{90ADC8CE-FDB2-422E-99A5-761B7A573449}"/>
              </a:ext>
            </a:extLst>
          </p:cNvPr>
          <p:cNvSpPr/>
          <p:nvPr/>
        </p:nvSpPr>
        <p:spPr>
          <a:xfrm>
            <a:off x="5697768" y="1207750"/>
            <a:ext cx="1125352" cy="1005759"/>
          </a:xfrm>
          <a:custGeom>
            <a:avLst/>
            <a:gdLst>
              <a:gd name="connsiteX0" fmla="*/ 551693 w 1103386"/>
              <a:gd name="connsiteY0" fmla="*/ 0 h 986128"/>
              <a:gd name="connsiteX1" fmla="*/ 1103386 w 1103386"/>
              <a:gd name="connsiteY1" fmla="*/ 986128 h 986128"/>
              <a:gd name="connsiteX2" fmla="*/ 0 w 1103386"/>
              <a:gd name="connsiteY2" fmla="*/ 986128 h 986128"/>
            </a:gdLst>
            <a:ahLst/>
            <a:cxnLst>
              <a:cxn ang="0">
                <a:pos x="connsiteX0" y="connsiteY0"/>
              </a:cxn>
              <a:cxn ang="0">
                <a:pos x="connsiteX1" y="connsiteY1"/>
              </a:cxn>
              <a:cxn ang="0">
                <a:pos x="connsiteX2" y="connsiteY2"/>
              </a:cxn>
            </a:cxnLst>
            <a:rect l="l" t="t" r="r" b="b"/>
            <a:pathLst>
              <a:path w="1103386" h="986128">
                <a:moveTo>
                  <a:pt x="551693" y="0"/>
                </a:moveTo>
                <a:lnTo>
                  <a:pt x="1103386" y="986128"/>
                </a:lnTo>
                <a:lnTo>
                  <a:pt x="0" y="986128"/>
                </a:lnTo>
                <a:close/>
              </a:path>
            </a:pathLst>
          </a:custGeom>
          <a:solidFill>
            <a:srgbClr val="F2C811"/>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1" name="Freeform: Shape 50">
            <a:extLst>
              <a:ext uri="{FF2B5EF4-FFF2-40B4-BE49-F238E27FC236}">
                <a16:creationId xmlns:a16="http://schemas.microsoft.com/office/drawing/2014/main" id="{540A9DA5-150F-4097-9B98-0ADE9C42019C}"/>
              </a:ext>
            </a:extLst>
          </p:cNvPr>
          <p:cNvSpPr/>
          <p:nvPr/>
        </p:nvSpPr>
        <p:spPr>
          <a:xfrm>
            <a:off x="5126976" y="2228014"/>
            <a:ext cx="2266936" cy="1005759"/>
          </a:xfrm>
          <a:custGeom>
            <a:avLst/>
            <a:gdLst>
              <a:gd name="connsiteX0" fmla="*/ 551694 w 2222688"/>
              <a:gd name="connsiteY0" fmla="*/ 0 h 986128"/>
              <a:gd name="connsiteX1" fmla="*/ 1670994 w 2222688"/>
              <a:gd name="connsiteY1" fmla="*/ 0 h 986128"/>
              <a:gd name="connsiteX2" fmla="*/ 2222688 w 2222688"/>
              <a:gd name="connsiteY2" fmla="*/ 986128 h 986128"/>
              <a:gd name="connsiteX3" fmla="*/ 0 w 2222688"/>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2222688" h="986128">
                <a:moveTo>
                  <a:pt x="551694" y="0"/>
                </a:moveTo>
                <a:lnTo>
                  <a:pt x="1670994" y="0"/>
                </a:lnTo>
                <a:lnTo>
                  <a:pt x="2222688" y="986128"/>
                </a:lnTo>
                <a:lnTo>
                  <a:pt x="0" y="986128"/>
                </a:lnTo>
                <a:close/>
              </a:path>
            </a:pathLst>
          </a:custGeom>
          <a:solidFill>
            <a:srgbClr val="F2C811">
              <a:alpha val="6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2" name="Freeform: Shape 51">
            <a:extLst>
              <a:ext uri="{FF2B5EF4-FFF2-40B4-BE49-F238E27FC236}">
                <a16:creationId xmlns:a16="http://schemas.microsoft.com/office/drawing/2014/main" id="{4A61E59B-6FC8-48BB-9D2C-F446067D04AF}"/>
              </a:ext>
            </a:extLst>
          </p:cNvPr>
          <p:cNvSpPr/>
          <p:nvPr/>
        </p:nvSpPr>
        <p:spPr>
          <a:xfrm>
            <a:off x="4556185" y="3248279"/>
            <a:ext cx="3408519" cy="1005759"/>
          </a:xfrm>
          <a:custGeom>
            <a:avLst/>
            <a:gdLst>
              <a:gd name="connsiteX0" fmla="*/ 551694 w 3341989"/>
              <a:gd name="connsiteY0" fmla="*/ 0 h 986128"/>
              <a:gd name="connsiteX1" fmla="*/ 2790296 w 3341989"/>
              <a:gd name="connsiteY1" fmla="*/ 0 h 986128"/>
              <a:gd name="connsiteX2" fmla="*/ 3341989 w 3341989"/>
              <a:gd name="connsiteY2" fmla="*/ 986128 h 986128"/>
              <a:gd name="connsiteX3" fmla="*/ 0 w 3341989"/>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3341989" h="986128">
                <a:moveTo>
                  <a:pt x="551694" y="0"/>
                </a:moveTo>
                <a:lnTo>
                  <a:pt x="2790296" y="0"/>
                </a:lnTo>
                <a:lnTo>
                  <a:pt x="3341989" y="986128"/>
                </a:lnTo>
                <a:lnTo>
                  <a:pt x="0" y="986128"/>
                </a:lnTo>
                <a:close/>
              </a:path>
            </a:pathLst>
          </a:custGeom>
          <a:solidFill>
            <a:srgbClr val="F2C811">
              <a:alpha val="4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3" name="Freeform: Shape 52">
            <a:extLst>
              <a:ext uri="{FF2B5EF4-FFF2-40B4-BE49-F238E27FC236}">
                <a16:creationId xmlns:a16="http://schemas.microsoft.com/office/drawing/2014/main" id="{36371400-E5A4-47B3-8BDC-3E5C863607DC}"/>
              </a:ext>
            </a:extLst>
          </p:cNvPr>
          <p:cNvSpPr/>
          <p:nvPr/>
        </p:nvSpPr>
        <p:spPr>
          <a:xfrm>
            <a:off x="3985392" y="4268543"/>
            <a:ext cx="4550103" cy="1005759"/>
          </a:xfrm>
          <a:custGeom>
            <a:avLst/>
            <a:gdLst>
              <a:gd name="connsiteX0" fmla="*/ 551693 w 4461290"/>
              <a:gd name="connsiteY0" fmla="*/ 0 h 986128"/>
              <a:gd name="connsiteX1" fmla="*/ 3909596 w 4461290"/>
              <a:gd name="connsiteY1" fmla="*/ 0 h 986128"/>
              <a:gd name="connsiteX2" fmla="*/ 4461290 w 4461290"/>
              <a:gd name="connsiteY2" fmla="*/ 986128 h 986128"/>
              <a:gd name="connsiteX3" fmla="*/ 0 w 4461290"/>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4461290" h="986128">
                <a:moveTo>
                  <a:pt x="551693" y="0"/>
                </a:moveTo>
                <a:lnTo>
                  <a:pt x="3909596" y="0"/>
                </a:lnTo>
                <a:lnTo>
                  <a:pt x="4461290" y="986128"/>
                </a:lnTo>
                <a:lnTo>
                  <a:pt x="0" y="986128"/>
                </a:lnTo>
                <a:close/>
              </a:path>
            </a:pathLst>
          </a:custGeom>
          <a:solidFill>
            <a:srgbClr val="F2C811">
              <a:alpha val="3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4" name="Freeform: Shape 53">
            <a:extLst>
              <a:ext uri="{FF2B5EF4-FFF2-40B4-BE49-F238E27FC236}">
                <a16:creationId xmlns:a16="http://schemas.microsoft.com/office/drawing/2014/main" id="{EFADB998-D455-42D7-9A07-04831BA42409}"/>
              </a:ext>
            </a:extLst>
          </p:cNvPr>
          <p:cNvSpPr/>
          <p:nvPr/>
        </p:nvSpPr>
        <p:spPr>
          <a:xfrm>
            <a:off x="3416845" y="5298425"/>
            <a:ext cx="5687199" cy="1001750"/>
          </a:xfrm>
          <a:custGeom>
            <a:avLst/>
            <a:gdLst>
              <a:gd name="connsiteX0" fmla="*/ 549495 w 5576191"/>
              <a:gd name="connsiteY0" fmla="*/ 0 h 982197"/>
              <a:gd name="connsiteX1" fmla="*/ 5026697 w 5576191"/>
              <a:gd name="connsiteY1" fmla="*/ 0 h 982197"/>
              <a:gd name="connsiteX2" fmla="*/ 5576191 w 5576191"/>
              <a:gd name="connsiteY2" fmla="*/ 982197 h 982197"/>
              <a:gd name="connsiteX3" fmla="*/ 0 w 5576191"/>
              <a:gd name="connsiteY3" fmla="*/ 982197 h 982197"/>
            </a:gdLst>
            <a:ahLst/>
            <a:cxnLst>
              <a:cxn ang="0">
                <a:pos x="connsiteX0" y="connsiteY0"/>
              </a:cxn>
              <a:cxn ang="0">
                <a:pos x="connsiteX1" y="connsiteY1"/>
              </a:cxn>
              <a:cxn ang="0">
                <a:pos x="connsiteX2" y="connsiteY2"/>
              </a:cxn>
              <a:cxn ang="0">
                <a:pos x="connsiteX3" y="connsiteY3"/>
              </a:cxn>
            </a:cxnLst>
            <a:rect l="l" t="t" r="r" b="b"/>
            <a:pathLst>
              <a:path w="5576191" h="982197">
                <a:moveTo>
                  <a:pt x="549495" y="0"/>
                </a:moveTo>
                <a:lnTo>
                  <a:pt x="5026697" y="0"/>
                </a:lnTo>
                <a:lnTo>
                  <a:pt x="5576191" y="982197"/>
                </a:lnTo>
                <a:lnTo>
                  <a:pt x="0" y="982197"/>
                </a:lnTo>
                <a:close/>
              </a:path>
            </a:pathLst>
          </a:custGeom>
          <a:solidFill>
            <a:srgbClr val="F2C811">
              <a:alpha val="1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5" name="TextBox 54">
            <a:extLst>
              <a:ext uri="{FF2B5EF4-FFF2-40B4-BE49-F238E27FC236}">
                <a16:creationId xmlns:a16="http://schemas.microsoft.com/office/drawing/2014/main" id="{D63EDDE2-94C3-492A-A59F-4BAD9AF18E72}"/>
              </a:ext>
            </a:extLst>
          </p:cNvPr>
          <p:cNvSpPr txBox="1"/>
          <p:nvPr/>
        </p:nvSpPr>
        <p:spPr>
          <a:xfrm>
            <a:off x="5992973" y="1750565"/>
            <a:ext cx="541484" cy="286306"/>
          </a:xfrm>
          <a:prstGeom prst="rect">
            <a:avLst/>
          </a:prstGeom>
          <a:noFill/>
        </p:spPr>
        <p:txBody>
          <a:bodyPr wrap="none" rtlCol="0">
            <a:spAutoFit/>
          </a:bodyPr>
          <a:lstStyle/>
          <a:p>
            <a:pPr defTabSz="951061"/>
            <a:r>
              <a:rPr lang="en-US" sz="1224" kern="0">
                <a:solidFill>
                  <a:sysClr val="windowText" lastClr="000000"/>
                </a:solidFill>
                <a:latin typeface="Segoe UI Semibold" panose="020B0702040204020203" pitchFamily="34" charset="0"/>
                <a:cs typeface="Segoe UI Semibold" panose="020B0702040204020203" pitchFamily="34" charset="0"/>
              </a:rPr>
              <a:t>EDW</a:t>
            </a:r>
          </a:p>
        </p:txBody>
      </p:sp>
      <p:sp>
        <p:nvSpPr>
          <p:cNvPr id="56" name="TextBox 55">
            <a:extLst>
              <a:ext uri="{FF2B5EF4-FFF2-40B4-BE49-F238E27FC236}">
                <a16:creationId xmlns:a16="http://schemas.microsoft.com/office/drawing/2014/main" id="{5D88F45D-9042-4DC7-8D30-B214DDA82936}"/>
              </a:ext>
            </a:extLst>
          </p:cNvPr>
          <p:cNvSpPr txBox="1"/>
          <p:nvPr/>
        </p:nvSpPr>
        <p:spPr>
          <a:xfrm>
            <a:off x="5413394" y="2409676"/>
            <a:ext cx="1694099" cy="670577"/>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BUSINESS UNIT</a:t>
            </a:r>
          </a:p>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ASHBOARDS, KPIS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amp; SCORECARDS</a:t>
            </a:r>
          </a:p>
        </p:txBody>
      </p:sp>
      <p:sp>
        <p:nvSpPr>
          <p:cNvPr id="57" name="TextBox 56">
            <a:extLst>
              <a:ext uri="{FF2B5EF4-FFF2-40B4-BE49-F238E27FC236}">
                <a16:creationId xmlns:a16="http://schemas.microsoft.com/office/drawing/2014/main" id="{832ED677-52BD-4DA1-8727-B159F289BB23}"/>
              </a:ext>
            </a:extLst>
          </p:cNvPr>
          <p:cNvSpPr txBox="1"/>
          <p:nvPr/>
        </p:nvSpPr>
        <p:spPr>
          <a:xfrm>
            <a:off x="5280150" y="3519885"/>
            <a:ext cx="1960589" cy="478442"/>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EPARTMENTAL, TEAM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OR GROUP REPORTING</a:t>
            </a:r>
          </a:p>
        </p:txBody>
      </p:sp>
      <p:sp>
        <p:nvSpPr>
          <p:cNvPr id="7" name="Rectangle 6">
            <a:extLst>
              <a:ext uri="{FF2B5EF4-FFF2-40B4-BE49-F238E27FC236}">
                <a16:creationId xmlns:a16="http://schemas.microsoft.com/office/drawing/2014/main" id="{4F0D5D44-941E-4561-A855-D9C003F0B352}"/>
              </a:ext>
            </a:extLst>
          </p:cNvPr>
          <p:cNvSpPr/>
          <p:nvPr/>
        </p:nvSpPr>
        <p:spPr bwMode="auto">
          <a:xfrm>
            <a:off x="9201451" y="3322702"/>
            <a:ext cx="3882609" cy="4145040"/>
          </a:xfrm>
          <a:prstGeom prst="rect">
            <a:avLst/>
          </a:prstGeom>
          <a:solidFill>
            <a:schemeClr val="bg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8" name="TextBox 57">
            <a:extLst>
              <a:ext uri="{FF2B5EF4-FFF2-40B4-BE49-F238E27FC236}">
                <a16:creationId xmlns:a16="http://schemas.microsoft.com/office/drawing/2014/main" id="{153F84BC-318F-48FE-BC99-8699587B2F2E}"/>
              </a:ext>
            </a:extLst>
          </p:cNvPr>
          <p:cNvSpPr txBox="1"/>
          <p:nvPr/>
        </p:nvSpPr>
        <p:spPr>
          <a:xfrm>
            <a:off x="5386418" y="4637438"/>
            <a:ext cx="1748052"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ROJECT REPORTING</a:t>
            </a:r>
          </a:p>
        </p:txBody>
      </p:sp>
      <p:sp>
        <p:nvSpPr>
          <p:cNvPr id="59" name="TextBox 58">
            <a:extLst>
              <a:ext uri="{FF2B5EF4-FFF2-40B4-BE49-F238E27FC236}">
                <a16:creationId xmlns:a16="http://schemas.microsoft.com/office/drawing/2014/main" id="{929C80E4-C577-43B8-A567-0E66AB473CE2}"/>
              </a:ext>
            </a:extLst>
          </p:cNvPr>
          <p:cNvSpPr txBox="1"/>
          <p:nvPr/>
        </p:nvSpPr>
        <p:spPr>
          <a:xfrm>
            <a:off x="5314483" y="5665410"/>
            <a:ext cx="1891923"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ERSONAL REPORTING</a:t>
            </a:r>
          </a:p>
        </p:txBody>
      </p:sp>
      <p:sp>
        <p:nvSpPr>
          <p:cNvPr id="60" name="TextBox 59">
            <a:extLst>
              <a:ext uri="{FF2B5EF4-FFF2-40B4-BE49-F238E27FC236}">
                <a16:creationId xmlns:a16="http://schemas.microsoft.com/office/drawing/2014/main" id="{625F7A5B-C3D1-48F0-BE39-710EDBA98FF0}"/>
              </a:ext>
            </a:extLst>
          </p:cNvPr>
          <p:cNvSpPr txBox="1"/>
          <p:nvPr/>
        </p:nvSpPr>
        <p:spPr>
          <a:xfrm>
            <a:off x="6744089" y="1022046"/>
            <a:ext cx="2251605"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TIGHTER CONTROLS</a:t>
            </a:r>
          </a:p>
        </p:txBody>
      </p:sp>
      <p:sp>
        <p:nvSpPr>
          <p:cNvPr id="61" name="TextBox 60">
            <a:extLst>
              <a:ext uri="{FF2B5EF4-FFF2-40B4-BE49-F238E27FC236}">
                <a16:creationId xmlns:a16="http://schemas.microsoft.com/office/drawing/2014/main" id="{C226A2BB-0E93-4A97-91A9-ED8FA0AC93EA}"/>
              </a:ext>
            </a:extLst>
          </p:cNvPr>
          <p:cNvSpPr txBox="1"/>
          <p:nvPr/>
        </p:nvSpPr>
        <p:spPr>
          <a:xfrm>
            <a:off x="9524903" y="6036263"/>
            <a:ext cx="2169858"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LOOSER CONTROLS</a:t>
            </a:r>
          </a:p>
        </p:txBody>
      </p:sp>
      <p:sp>
        <p:nvSpPr>
          <p:cNvPr id="62" name="TextBox 61">
            <a:extLst>
              <a:ext uri="{FF2B5EF4-FFF2-40B4-BE49-F238E27FC236}">
                <a16:creationId xmlns:a16="http://schemas.microsoft.com/office/drawing/2014/main" id="{32734F2A-6E73-484D-B795-A2035617415A}"/>
              </a:ext>
            </a:extLst>
          </p:cNvPr>
          <p:cNvSpPr txBox="1"/>
          <p:nvPr/>
        </p:nvSpPr>
        <p:spPr>
          <a:xfrm>
            <a:off x="681329" y="5049764"/>
            <a:ext cx="2722558" cy="633693"/>
          </a:xfrm>
          <a:prstGeom prst="rect">
            <a:avLst/>
          </a:prstGeom>
          <a:noFill/>
        </p:spPr>
        <p:txBody>
          <a:bodyPr wrap="square" rtlCol="0">
            <a:spAutoFit/>
          </a:bodyPr>
          <a:lstStyle/>
          <a:p>
            <a:pPr algn="r" defTabSz="951061">
              <a:lnSpc>
                <a:spcPct val="90000"/>
              </a:lnSpc>
              <a:spcAft>
                <a:spcPts val="612"/>
              </a:spcAft>
              <a:defRPr/>
            </a:pPr>
            <a:r>
              <a:rPr lang="en-US" sz="1632" kern="0">
                <a:gradFill>
                  <a:gsLst>
                    <a:gs pos="2917">
                      <a:srgbClr val="000000"/>
                    </a:gs>
                    <a:gs pos="100000">
                      <a:srgbClr val="000000"/>
                    </a:gs>
                  </a:gsLst>
                  <a:lin ang="5400000" scaled="0"/>
                </a:gradFill>
              </a:rPr>
              <a:t>Personal/Private views</a:t>
            </a:r>
          </a:p>
          <a:p>
            <a:pPr algn="r" defTabSz="951061">
              <a:lnSpc>
                <a:spcPct val="90000"/>
              </a:lnSpc>
              <a:spcAft>
                <a:spcPts val="612"/>
              </a:spcAft>
              <a:defRPr/>
            </a:pPr>
            <a:r>
              <a:rPr lang="en-US" sz="1632" kern="0">
                <a:gradFill>
                  <a:gsLst>
                    <a:gs pos="2917">
                      <a:srgbClr val="000000"/>
                    </a:gs>
                    <a:gs pos="100000">
                      <a:srgbClr val="000000"/>
                    </a:gs>
                  </a:gsLst>
                  <a:lin ang="5400000" scaled="0"/>
                </a:gradFill>
              </a:rPr>
              <a:t>Data science exploration</a:t>
            </a:r>
          </a:p>
        </p:txBody>
      </p:sp>
      <p:sp>
        <p:nvSpPr>
          <p:cNvPr id="63" name="TextBox 62">
            <a:extLst>
              <a:ext uri="{FF2B5EF4-FFF2-40B4-BE49-F238E27FC236}">
                <a16:creationId xmlns:a16="http://schemas.microsoft.com/office/drawing/2014/main" id="{A10F0B65-A02A-4EF5-8448-3C6BC6FF91CA}"/>
              </a:ext>
            </a:extLst>
          </p:cNvPr>
          <p:cNvSpPr txBox="1"/>
          <p:nvPr/>
        </p:nvSpPr>
        <p:spPr>
          <a:xfrm>
            <a:off x="1717191" y="3322702"/>
            <a:ext cx="2469210" cy="942692"/>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ush up content</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ower BI Desktop</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Excel or other reports</a:t>
            </a:r>
          </a:p>
        </p:txBody>
      </p:sp>
      <p:sp>
        <p:nvSpPr>
          <p:cNvPr id="64" name="TextBox 63">
            <a:extLst>
              <a:ext uri="{FF2B5EF4-FFF2-40B4-BE49-F238E27FC236}">
                <a16:creationId xmlns:a16="http://schemas.microsoft.com/office/drawing/2014/main" id="{DDEF816C-DBC3-4D32-A390-82CF686C48B6}"/>
              </a:ext>
            </a:extLst>
          </p:cNvPr>
          <p:cNvSpPr txBox="1"/>
          <p:nvPr/>
        </p:nvSpPr>
        <p:spPr>
          <a:xfrm>
            <a:off x="8156579" y="3322702"/>
            <a:ext cx="2731390"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Knowledge managem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Information sharing</a:t>
            </a:r>
          </a:p>
        </p:txBody>
      </p:sp>
      <p:sp>
        <p:nvSpPr>
          <p:cNvPr id="65" name="TextBox 64">
            <a:extLst>
              <a:ext uri="{FF2B5EF4-FFF2-40B4-BE49-F238E27FC236}">
                <a16:creationId xmlns:a16="http://schemas.microsoft.com/office/drawing/2014/main" id="{8109C2A8-62B4-43FB-8D45-1C3A0ECDCAAF}"/>
              </a:ext>
            </a:extLst>
          </p:cNvPr>
          <p:cNvSpPr txBox="1"/>
          <p:nvPr/>
        </p:nvSpPr>
        <p:spPr>
          <a:xfrm>
            <a:off x="2648310" y="1942955"/>
            <a:ext cx="2498285"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ermanent record</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Subject to compliance</a:t>
            </a:r>
          </a:p>
        </p:txBody>
      </p:sp>
      <p:sp>
        <p:nvSpPr>
          <p:cNvPr id="66" name="TextBox 65">
            <a:extLst>
              <a:ext uri="{FF2B5EF4-FFF2-40B4-BE49-F238E27FC236}">
                <a16:creationId xmlns:a16="http://schemas.microsoft.com/office/drawing/2014/main" id="{378C74BE-2DF5-4532-AA7D-C73685017E3C}"/>
              </a:ext>
            </a:extLst>
          </p:cNvPr>
          <p:cNvSpPr txBox="1"/>
          <p:nvPr/>
        </p:nvSpPr>
        <p:spPr>
          <a:xfrm>
            <a:off x="7370673" y="1942955"/>
            <a:ext cx="2259991"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Push down cont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Reporting services</a:t>
            </a:r>
          </a:p>
        </p:txBody>
      </p:sp>
      <p:sp>
        <p:nvSpPr>
          <p:cNvPr id="67" name="Freeform: Shape 66">
            <a:extLst>
              <a:ext uri="{FF2B5EF4-FFF2-40B4-BE49-F238E27FC236}">
                <a16:creationId xmlns:a16="http://schemas.microsoft.com/office/drawing/2014/main" id="{A4B1F4FD-6C72-4607-B63D-6158FDFD2810}"/>
              </a:ext>
            </a:extLst>
          </p:cNvPr>
          <p:cNvSpPr/>
          <p:nvPr/>
        </p:nvSpPr>
        <p:spPr bwMode="auto">
          <a:xfrm>
            <a:off x="6533505" y="1195463"/>
            <a:ext cx="2826654" cy="5086053"/>
          </a:xfrm>
          <a:custGeom>
            <a:avLst/>
            <a:gdLst>
              <a:gd name="connsiteX0" fmla="*/ 2771481 w 2771481"/>
              <a:gd name="connsiteY0" fmla="*/ 4986779 h 4986779"/>
              <a:gd name="connsiteX1" fmla="*/ 0 w 2771481"/>
              <a:gd name="connsiteY1" fmla="*/ 0 h 4986779"/>
            </a:gdLst>
            <a:ahLst/>
            <a:cxnLst>
              <a:cxn ang="0">
                <a:pos x="connsiteX0" y="connsiteY0"/>
              </a:cxn>
              <a:cxn ang="0">
                <a:pos x="connsiteX1" y="connsiteY1"/>
              </a:cxn>
            </a:cxnLst>
            <a:rect l="l" t="t" r="r" b="b"/>
            <a:pathLst>
              <a:path w="2771481" h="4986779">
                <a:moveTo>
                  <a:pt x="2771481" y="4986779"/>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68" name="Freeform: Shape 67">
            <a:extLst>
              <a:ext uri="{FF2B5EF4-FFF2-40B4-BE49-F238E27FC236}">
                <a16:creationId xmlns:a16="http://schemas.microsoft.com/office/drawing/2014/main" id="{78FA720B-F924-450C-A73F-6A32A59BC68D}"/>
              </a:ext>
            </a:extLst>
          </p:cNvPr>
          <p:cNvSpPr/>
          <p:nvPr/>
        </p:nvSpPr>
        <p:spPr bwMode="auto">
          <a:xfrm flipH="1">
            <a:off x="3142571" y="1195463"/>
            <a:ext cx="2836369" cy="5090911"/>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3" name="Freeform: Shape 22">
            <a:extLst>
              <a:ext uri="{FF2B5EF4-FFF2-40B4-BE49-F238E27FC236}">
                <a16:creationId xmlns:a16="http://schemas.microsoft.com/office/drawing/2014/main" id="{EA76710A-1B1A-4F27-8468-E6BEAA7B49C3}"/>
              </a:ext>
            </a:extLst>
          </p:cNvPr>
          <p:cNvSpPr/>
          <p:nvPr/>
        </p:nvSpPr>
        <p:spPr bwMode="auto">
          <a:xfrm rot="19800000" flipH="1">
            <a:off x="294741" y="1743099"/>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 name="TextBox 1">
            <a:extLst>
              <a:ext uri="{FF2B5EF4-FFF2-40B4-BE49-F238E27FC236}">
                <a16:creationId xmlns:a16="http://schemas.microsoft.com/office/drawing/2014/main" id="{D4D1ABB2-43D4-4053-B150-67BB2812CBA8}"/>
              </a:ext>
            </a:extLst>
          </p:cNvPr>
          <p:cNvSpPr txBox="1"/>
          <p:nvPr/>
        </p:nvSpPr>
        <p:spPr>
          <a:xfrm rot="16200000">
            <a:off x="-1019691" y="3014140"/>
            <a:ext cx="3787555" cy="583860"/>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IT-developed and maintained</a:t>
            </a:r>
          </a:p>
        </p:txBody>
      </p:sp>
      <p:sp>
        <p:nvSpPr>
          <p:cNvPr id="25" name="Freeform: Shape 24">
            <a:extLst>
              <a:ext uri="{FF2B5EF4-FFF2-40B4-BE49-F238E27FC236}">
                <a16:creationId xmlns:a16="http://schemas.microsoft.com/office/drawing/2014/main" id="{5E4A8149-DD61-40F9-973E-B8648BAEDEDD}"/>
              </a:ext>
            </a:extLst>
          </p:cNvPr>
          <p:cNvSpPr/>
          <p:nvPr/>
        </p:nvSpPr>
        <p:spPr bwMode="auto">
          <a:xfrm rot="9000000" flipH="1">
            <a:off x="10496682" y="2297951"/>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6" name="TextBox 25">
            <a:extLst>
              <a:ext uri="{FF2B5EF4-FFF2-40B4-BE49-F238E27FC236}">
                <a16:creationId xmlns:a16="http://schemas.microsoft.com/office/drawing/2014/main" id="{5FAF3523-93BB-4847-87C9-D748C40707CC}"/>
              </a:ext>
            </a:extLst>
          </p:cNvPr>
          <p:cNvSpPr txBox="1"/>
          <p:nvPr/>
        </p:nvSpPr>
        <p:spPr>
          <a:xfrm rot="16200000">
            <a:off x="9396634" y="3293123"/>
            <a:ext cx="4512924" cy="583862"/>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Business developed and maintained</a:t>
            </a:r>
          </a:p>
        </p:txBody>
      </p:sp>
      <p:grpSp>
        <p:nvGrpSpPr>
          <p:cNvPr id="3" name="Group 2">
            <a:extLst>
              <a:ext uri="{FF2B5EF4-FFF2-40B4-BE49-F238E27FC236}">
                <a16:creationId xmlns:a16="http://schemas.microsoft.com/office/drawing/2014/main" id="{B0D1FF1E-FE5D-4FAD-A450-D4BAE7C6E9DD}"/>
              </a:ext>
            </a:extLst>
          </p:cNvPr>
          <p:cNvGrpSpPr/>
          <p:nvPr/>
        </p:nvGrpSpPr>
        <p:grpSpPr>
          <a:xfrm>
            <a:off x="2107970" y="2892753"/>
            <a:ext cx="8317331" cy="572466"/>
            <a:chOff x="2066223" y="2435918"/>
            <a:chExt cx="8156028" cy="572466"/>
          </a:xfrm>
        </p:grpSpPr>
        <p:cxnSp>
          <p:nvCxnSpPr>
            <p:cNvPr id="4" name="Straight Connector 3">
              <a:extLst>
                <a:ext uri="{FF2B5EF4-FFF2-40B4-BE49-F238E27FC236}">
                  <a16:creationId xmlns:a16="http://schemas.microsoft.com/office/drawing/2014/main" id="{B340027D-E829-44BC-91B5-408D2950C1ED}"/>
                </a:ext>
              </a:extLst>
            </p:cNvPr>
            <p:cNvCxnSpPr/>
            <p:nvPr/>
          </p:nvCxnSpPr>
          <p:spPr>
            <a:xfrm>
              <a:off x="2066223" y="2539574"/>
              <a:ext cx="8156028" cy="0"/>
            </a:xfrm>
            <a:prstGeom prst="line">
              <a:avLst/>
            </a:prstGeom>
            <a:ln w="381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B99F330-0F2B-4E12-B4CB-C99AC9B5B73E}"/>
                </a:ext>
              </a:extLst>
            </p:cNvPr>
            <p:cNvSpPr txBox="1"/>
            <p:nvPr/>
          </p:nvSpPr>
          <p:spPr>
            <a:xfrm>
              <a:off x="3748873" y="2435918"/>
              <a:ext cx="4636774" cy="572466"/>
            </a:xfrm>
            <a:prstGeom prst="rect">
              <a:avLst/>
            </a:prstGeom>
            <a:noFill/>
          </p:spPr>
          <p:txBody>
            <a:bodyPr wrap="square" lIns="186497" tIns="149198" rIns="186497" bIns="149198" rtlCol="0">
              <a:spAutoFit/>
            </a:bodyPr>
            <a:lstStyle/>
            <a:p>
              <a:pPr>
                <a:lnSpc>
                  <a:spcPct val="90000"/>
                </a:lnSpc>
                <a:spcAft>
                  <a:spcPts val="612"/>
                </a:spcAft>
              </a:pPr>
              <a:r>
                <a:rPr lang="en-US" sz="2040">
                  <a:solidFill>
                    <a:srgbClr val="FF0000"/>
                  </a:solidFill>
                </a:rPr>
                <a:t>Consistent criteria and responsibilities</a:t>
              </a:r>
            </a:p>
          </p:txBody>
        </p:sp>
      </p:grpSp>
      <p:grpSp>
        <p:nvGrpSpPr>
          <p:cNvPr id="31" name="Group 30">
            <a:extLst>
              <a:ext uri="{FF2B5EF4-FFF2-40B4-BE49-F238E27FC236}">
                <a16:creationId xmlns:a16="http://schemas.microsoft.com/office/drawing/2014/main" id="{658A49E3-5187-4AF5-9FCE-91E4DFA386A0}"/>
              </a:ext>
            </a:extLst>
          </p:cNvPr>
          <p:cNvGrpSpPr/>
          <p:nvPr/>
        </p:nvGrpSpPr>
        <p:grpSpPr>
          <a:xfrm>
            <a:off x="550408" y="463476"/>
            <a:ext cx="801002" cy="800888"/>
            <a:chOff x="550478" y="463089"/>
            <a:chExt cx="801104" cy="800990"/>
          </a:xfrm>
        </p:grpSpPr>
        <p:sp>
          <p:nvSpPr>
            <p:cNvPr id="32" name="Oval 31">
              <a:extLst>
                <a:ext uri="{FF2B5EF4-FFF2-40B4-BE49-F238E27FC236}">
                  <a16:creationId xmlns:a16="http://schemas.microsoft.com/office/drawing/2014/main" id="{C0F6D64A-17B0-484D-80BC-9DD7F6D4019D}"/>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3" name="Graphic 32">
              <a:extLst>
                <a:ext uri="{FF2B5EF4-FFF2-40B4-BE49-F238E27FC236}">
                  <a16:creationId xmlns:a16="http://schemas.microsoft.com/office/drawing/2014/main" id="{D5E5B864-3557-473E-8581-DBE7E3AD117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40008382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5" name="Group 34"/>
          <p:cNvGrpSpPr/>
          <p:nvPr/>
        </p:nvGrpSpPr>
        <p:grpSpPr>
          <a:xfrm>
            <a:off x="1766" y="1936"/>
            <a:ext cx="5420556" cy="6991648"/>
            <a:chOff x="-618" y="973"/>
            <a:chExt cx="2849058" cy="6857027"/>
          </a:xfrm>
          <a:solidFill>
            <a:srgbClr val="000000"/>
          </a:solidFill>
        </p:grpSpPr>
        <p:sp>
          <p:nvSpPr>
            <p:cNvPr id="37" name="Rectangle 15"/>
            <p:cNvSpPr/>
            <p:nvPr/>
          </p:nvSpPr>
          <p:spPr bwMode="auto">
            <a:xfrm>
              <a:off x="-618" y="973"/>
              <a:ext cx="2849058" cy="685702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5" tIns="146243" rIns="182805" bIns="146243" numCol="1" spcCol="0" rtlCol="0" fromWordArt="0" anchor="t" anchorCtr="0" forceAA="0" compatLnSpc="1">
              <a:prstTxWarp prst="textNoShape">
                <a:avLst/>
              </a:prstTxWarp>
              <a:noAutofit/>
            </a:bodyPr>
            <a:lstStyle/>
            <a:p>
              <a:pPr algn="ctr" defTabSz="931998"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 name="Freeform 14"/>
            <p:cNvSpPr>
              <a:spLocks/>
            </p:cNvSpPr>
            <p:nvPr/>
          </p:nvSpPr>
          <p:spPr bwMode="auto">
            <a:xfrm rot="9900000">
              <a:off x="281101" y="1213467"/>
              <a:ext cx="172974" cy="172974"/>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grpSp>
          <p:nvGrpSpPr>
            <p:cNvPr id="41" name="Group 40"/>
            <p:cNvGrpSpPr/>
            <p:nvPr/>
          </p:nvGrpSpPr>
          <p:grpSpPr>
            <a:xfrm>
              <a:off x="316244" y="3172634"/>
              <a:ext cx="255342" cy="224444"/>
              <a:chOff x="681704" y="2920137"/>
              <a:chExt cx="321649" cy="282726"/>
            </a:xfrm>
            <a:grpFill/>
          </p:grpSpPr>
          <p:sp>
            <p:nvSpPr>
              <p:cNvPr id="68"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9"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grpSp>
        <p:grpSp>
          <p:nvGrpSpPr>
            <p:cNvPr id="51" name="Group 379"/>
            <p:cNvGrpSpPr/>
            <p:nvPr/>
          </p:nvGrpSpPr>
          <p:grpSpPr>
            <a:xfrm>
              <a:off x="313308" y="4124009"/>
              <a:ext cx="276800" cy="192694"/>
              <a:chOff x="3543365" y="7242824"/>
              <a:chExt cx="1238250" cy="862020"/>
            </a:xfrm>
            <a:grpFill/>
          </p:grpSpPr>
          <p:sp>
            <p:nvSpPr>
              <p:cNvPr id="52"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3"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4"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5"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6"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7"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8"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9"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0"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1"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2"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3"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4"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5"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6"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7"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grpSp>
      </p:grpSp>
      <p:pic>
        <p:nvPicPr>
          <p:cNvPr id="33" name="Picture 32"/>
          <p:cNvPicPr>
            <a:picLocks noChangeAspect="1"/>
          </p:cNvPicPr>
          <p:nvPr/>
        </p:nvPicPr>
        <p:blipFill>
          <a:blip r:embed="rId3"/>
          <a:stretch>
            <a:fillRect/>
          </a:stretch>
        </p:blipFill>
        <p:spPr>
          <a:xfrm>
            <a:off x="5624914" y="-31564"/>
            <a:ext cx="6536077" cy="7149306"/>
          </a:xfrm>
          <a:prstGeom prst="rect">
            <a:avLst/>
          </a:prstGeom>
        </p:spPr>
      </p:pic>
      <p:sp>
        <p:nvSpPr>
          <p:cNvPr id="71" name="Title 2"/>
          <p:cNvSpPr txBox="1">
            <a:spLocks/>
          </p:cNvSpPr>
          <p:nvPr/>
        </p:nvSpPr>
        <p:spPr>
          <a:xfrm>
            <a:off x="275483" y="2112464"/>
            <a:ext cx="5147531" cy="1269185"/>
          </a:xfrm>
          <a:prstGeom prst="rect">
            <a:avLst/>
          </a:prstGeom>
        </p:spPr>
        <p:txBody>
          <a:bodyPr vert="horz" wrap="square" lIns="146264" tIns="91415" rIns="146264" bIns="91415"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470"/>
            <a:r>
              <a:rPr lang="en-US" sz="3999">
                <a:gradFill>
                  <a:gsLst>
                    <a:gs pos="66272">
                      <a:srgbClr val="FFB900"/>
                    </a:gs>
                    <a:gs pos="45562">
                      <a:srgbClr val="FFB900"/>
                    </a:gs>
                  </a:gsLst>
                  <a:lin ang="5400000" scaled="0"/>
                </a:gradFill>
                <a:latin typeface="Segoe UI Semibold" panose="020B0702040204020203" pitchFamily="34" charset="0"/>
                <a:cs typeface="Segoe UI Semibold" panose="020B0702040204020203" pitchFamily="34" charset="0"/>
              </a:rPr>
              <a:t>Three general approaches to delivering Power BI solutions</a:t>
            </a:r>
            <a:endParaRPr lang="en-US" sz="4399">
              <a:gradFill>
                <a:gsLst>
                  <a:gs pos="66272">
                    <a:srgbClr val="FFB900"/>
                  </a:gs>
                  <a:gs pos="45562">
                    <a:srgbClr val="FFB900"/>
                  </a:gs>
                </a:gsLst>
                <a:lin ang="5400000" scaled="0"/>
              </a:gradFill>
              <a:latin typeface="Segoe UI Light"/>
            </a:endParaRPr>
          </a:p>
        </p:txBody>
      </p:sp>
      <p:sp>
        <p:nvSpPr>
          <p:cNvPr id="2" name="Rectangle 1">
            <a:extLst>
              <a:ext uri="{FF2B5EF4-FFF2-40B4-BE49-F238E27FC236}">
                <a16:creationId xmlns:a16="http://schemas.microsoft.com/office/drawing/2014/main" id="{2E0A03D0-4A09-4574-B714-070FFFD9F254}"/>
              </a:ext>
            </a:extLst>
          </p:cNvPr>
          <p:cNvSpPr/>
          <p:nvPr/>
        </p:nvSpPr>
        <p:spPr bwMode="auto">
          <a:xfrm>
            <a:off x="7823154" y="343026"/>
            <a:ext cx="2122476" cy="5713536"/>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30" name="Rectangle 29">
            <a:extLst>
              <a:ext uri="{FF2B5EF4-FFF2-40B4-BE49-F238E27FC236}">
                <a16:creationId xmlns:a16="http://schemas.microsoft.com/office/drawing/2014/main" id="{070FB034-351F-44E9-A822-73809EC6A02C}"/>
              </a:ext>
            </a:extLst>
          </p:cNvPr>
          <p:cNvSpPr/>
          <p:nvPr/>
        </p:nvSpPr>
        <p:spPr bwMode="auto">
          <a:xfrm>
            <a:off x="6099717" y="6056562"/>
            <a:ext cx="5742875" cy="823740"/>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grpSp>
        <p:nvGrpSpPr>
          <p:cNvPr id="31" name="Group 30">
            <a:extLst>
              <a:ext uri="{FF2B5EF4-FFF2-40B4-BE49-F238E27FC236}">
                <a16:creationId xmlns:a16="http://schemas.microsoft.com/office/drawing/2014/main" id="{1214089C-4349-479C-B8B9-08AEFF570E13}"/>
              </a:ext>
            </a:extLst>
          </p:cNvPr>
          <p:cNvGrpSpPr/>
          <p:nvPr/>
        </p:nvGrpSpPr>
        <p:grpSpPr>
          <a:xfrm>
            <a:off x="550408" y="463476"/>
            <a:ext cx="801002" cy="800888"/>
            <a:chOff x="550478" y="463089"/>
            <a:chExt cx="801104" cy="800990"/>
          </a:xfrm>
          <a:effectLst>
            <a:glow rad="228600">
              <a:schemeClr val="accent1">
                <a:satMod val="175000"/>
                <a:alpha val="40000"/>
              </a:schemeClr>
            </a:glow>
          </a:effectLst>
        </p:grpSpPr>
        <p:sp>
          <p:nvSpPr>
            <p:cNvPr id="32" name="Oval 31">
              <a:extLst>
                <a:ext uri="{FF2B5EF4-FFF2-40B4-BE49-F238E27FC236}">
                  <a16:creationId xmlns:a16="http://schemas.microsoft.com/office/drawing/2014/main" id="{5471111E-2306-461E-9DC1-CFF47EC179E4}"/>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4" name="Graphic 33">
              <a:extLst>
                <a:ext uri="{FF2B5EF4-FFF2-40B4-BE49-F238E27FC236}">
                  <a16:creationId xmlns:a16="http://schemas.microsoft.com/office/drawing/2014/main" id="{8245D45F-2D16-4E5B-BBD7-EA471883065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37512374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500"/>
                                        <p:tgtEl>
                                          <p:spTgt spid="30"/>
                                        </p:tgtEl>
                                      </p:cBhvr>
                                    </p:animEffect>
                                  </p:childTnLst>
                                </p:cTn>
                              </p:par>
                              <p:par>
                                <p:cTn id="13" presetID="10" presetClass="exit" presetSubtype="0" fill="hold" grpId="1" nodeType="withEffect">
                                  <p:stCondLst>
                                    <p:cond delay="0"/>
                                  </p:stCondLst>
                                  <p:childTnLst>
                                    <p:animEffect transition="out" filter="fade">
                                      <p:cBhvr>
                                        <p:cTn id="14" dur="500"/>
                                        <p:tgtEl>
                                          <p:spTgt spid="2"/>
                                        </p:tgtEl>
                                      </p:cBhvr>
                                    </p:animEffect>
                                    <p:set>
                                      <p:cBhvr>
                                        <p:cTn id="15" dur="1" fill="hold">
                                          <p:stCondLst>
                                            <p:cond delay="499"/>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30"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Structured Values</a:t>
            </a:r>
          </a:p>
        </p:txBody>
      </p:sp>
      <p:graphicFrame>
        <p:nvGraphicFramePr>
          <p:cNvPr id="4" name="Table 3">
            <a:extLst>
              <a:ext uri="{FF2B5EF4-FFF2-40B4-BE49-F238E27FC236}">
                <a16:creationId xmlns:a16="http://schemas.microsoft.com/office/drawing/2014/main" id="{4D79699D-3EFE-46AE-9FD9-6AF6AC8AF368}"/>
              </a:ext>
            </a:extLst>
          </p:cNvPr>
          <p:cNvGraphicFramePr>
            <a:graphicFrameLocks noGrp="1"/>
          </p:cNvGraphicFramePr>
          <p:nvPr>
            <p:extLst>
              <p:ext uri="{D42A27DB-BD31-4B8C-83A1-F6EECF244321}">
                <p14:modId xmlns:p14="http://schemas.microsoft.com/office/powerpoint/2010/main" val="4182372854"/>
              </p:ext>
            </p:extLst>
          </p:nvPr>
        </p:nvGraphicFramePr>
        <p:xfrm>
          <a:off x="855768" y="1545336"/>
          <a:ext cx="10723568" cy="1613600"/>
        </p:xfrm>
        <a:graphic>
          <a:graphicData uri="http://schemas.openxmlformats.org/drawingml/2006/table">
            <a:tbl>
              <a:tblPr/>
              <a:tblGrid>
                <a:gridCol w="5361784">
                  <a:extLst>
                    <a:ext uri="{9D8B030D-6E8A-4147-A177-3AD203B41FA5}">
                      <a16:colId xmlns:a16="http://schemas.microsoft.com/office/drawing/2014/main" val="3367326232"/>
                    </a:ext>
                  </a:extLst>
                </a:gridCol>
                <a:gridCol w="5361784">
                  <a:extLst>
                    <a:ext uri="{9D8B030D-6E8A-4147-A177-3AD203B41FA5}">
                      <a16:colId xmlns:a16="http://schemas.microsoft.com/office/drawing/2014/main" val="2388008421"/>
                    </a:ext>
                  </a:extLst>
                </a:gridCol>
              </a:tblGrid>
              <a:tr h="403400">
                <a:tc>
                  <a:txBody>
                    <a:bodyPr/>
                    <a:lstStyle/>
                    <a:p>
                      <a:pPr algn="l" latinLnBrk="0"/>
                      <a:r>
                        <a:rPr lang="en-US" sz="1500" b="1">
                          <a:solidFill>
                            <a:srgbClr val="000000"/>
                          </a:solidFill>
                          <a:effectLst/>
                          <a:latin typeface="Segoe UI" panose="020B0502040204020203" pitchFamily="34" charset="0"/>
                          <a:cs typeface="Segoe UI" panose="020B0502040204020203" pitchFamily="34" charset="0"/>
                        </a:rPr>
                        <a:t>Typ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latinLnBrk="0"/>
                      <a:r>
                        <a:rPr lang="en-US" sz="1500" b="1">
                          <a:solidFill>
                            <a:srgbClr val="000000"/>
                          </a:solidFill>
                          <a:effectLst/>
                          <a:latin typeface="Segoe UI" panose="020B0502040204020203" pitchFamily="34" charset="0"/>
                          <a:cs typeface="Segoe UI" panose="020B0502040204020203" pitchFamily="34" charset="0"/>
                        </a:rPr>
                        <a:t>Exampl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04467080"/>
                  </a:ext>
                </a:extLst>
              </a:tr>
              <a:tr h="403400">
                <a:tc>
                  <a:txBody>
                    <a:bodyPr/>
                    <a:lstStyle/>
                    <a:p>
                      <a:pPr latinLnBrk="0"/>
                      <a:r>
                        <a:rPr lang="en-US" sz="1500">
                          <a:effectLst/>
                          <a:latin typeface="Segoe UI" panose="020B0502040204020203" pitchFamily="34" charset="0"/>
                          <a:cs typeface="Segoe UI" panose="020B0502040204020203" pitchFamily="34" charset="0"/>
                        </a:rPr>
                        <a:t>list</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foo”, “bar”, 10}</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99638832"/>
                  </a:ext>
                </a:extLst>
              </a:tr>
              <a:tr h="403400">
                <a:tc>
                  <a:txBody>
                    <a:bodyPr/>
                    <a:lstStyle/>
                    <a:p>
                      <a:pPr latinLnBrk="0"/>
                      <a:r>
                        <a:rPr lang="en-US" sz="1500">
                          <a:effectLst/>
                          <a:latin typeface="Segoe UI" panose="020B0502040204020203" pitchFamily="34" charset="0"/>
                          <a:cs typeface="Segoe UI" panose="020B0502040204020203" pitchFamily="34" charset="0"/>
                        </a:rPr>
                        <a:t>record</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a = 10, b = 20]</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78529909"/>
                  </a:ext>
                </a:extLst>
              </a:tr>
              <a:tr h="403400">
                <a:tc>
                  <a:txBody>
                    <a:bodyPr/>
                    <a:lstStyle/>
                    <a:p>
                      <a:pPr latinLnBrk="0"/>
                      <a:r>
                        <a:rPr lang="en-US" sz="1500">
                          <a:effectLst/>
                          <a:latin typeface="Segoe UI" panose="020B0502040204020203" pitchFamily="34" charset="0"/>
                          <a:cs typeface="Segoe UI" panose="020B0502040204020203" pitchFamily="34" charset="0"/>
                        </a:rPr>
                        <a:t>tabl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table({“Animal”}, {{“Cat”},{“Dog”}})</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63427327"/>
                  </a:ext>
                </a:extLst>
              </a:tr>
            </a:tbl>
          </a:graphicData>
        </a:graphic>
      </p:graphicFrame>
    </p:spTree>
    <p:extLst>
      <p:ext uri="{BB962C8B-B14F-4D97-AF65-F5344CB8AC3E}">
        <p14:creationId xmlns:p14="http://schemas.microsoft.com/office/powerpoint/2010/main" val="1362187620"/>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227821CB-AFA2-425F-8324-C88DC4533E22}"/>
              </a:ext>
            </a:extLst>
          </p:cNvPr>
          <p:cNvGraphicFramePr/>
          <p:nvPr/>
        </p:nvGraphicFramePr>
        <p:xfrm>
          <a:off x="782040" y="591919"/>
          <a:ext cx="11370946" cy="590612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4" name="Diagram 3">
            <a:extLst>
              <a:ext uri="{FF2B5EF4-FFF2-40B4-BE49-F238E27FC236}">
                <a16:creationId xmlns:a16="http://schemas.microsoft.com/office/drawing/2014/main" id="{B909EB46-6B5C-4C38-82DC-F764277A1326}"/>
              </a:ext>
            </a:extLst>
          </p:cNvPr>
          <p:cNvGraphicFramePr/>
          <p:nvPr/>
        </p:nvGraphicFramePr>
        <p:xfrm>
          <a:off x="13495981" y="1372507"/>
          <a:ext cx="10139076" cy="678927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6" name="Arrow: Right 5">
            <a:extLst>
              <a:ext uri="{FF2B5EF4-FFF2-40B4-BE49-F238E27FC236}">
                <a16:creationId xmlns:a16="http://schemas.microsoft.com/office/drawing/2014/main" id="{55C9C9B2-477B-4C1E-B94A-F2C81FA19ED3}"/>
              </a:ext>
            </a:extLst>
          </p:cNvPr>
          <p:cNvSpPr/>
          <p:nvPr/>
        </p:nvSpPr>
        <p:spPr>
          <a:xfrm rot="20745194">
            <a:off x="13634272" y="2377725"/>
            <a:ext cx="8616617" cy="106393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48"/>
              <a:t>Well-defined requirements for each phase</a:t>
            </a:r>
          </a:p>
        </p:txBody>
      </p:sp>
      <p:cxnSp>
        <p:nvCxnSpPr>
          <p:cNvPr id="8" name="Straight Connector 7">
            <a:extLst>
              <a:ext uri="{FF2B5EF4-FFF2-40B4-BE49-F238E27FC236}">
                <a16:creationId xmlns:a16="http://schemas.microsoft.com/office/drawing/2014/main" id="{000B0E48-40BA-4D87-BDA2-904DE01BF44B}"/>
              </a:ext>
            </a:extLst>
          </p:cNvPr>
          <p:cNvCxnSpPr>
            <a:cxnSpLocks/>
          </p:cNvCxnSpPr>
          <p:nvPr/>
        </p:nvCxnSpPr>
        <p:spPr>
          <a:xfrm flipH="1">
            <a:off x="13164472" y="4672203"/>
            <a:ext cx="331511" cy="408014"/>
          </a:xfrm>
          <a:prstGeom prst="line">
            <a:avLst/>
          </a:prstGeom>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6BFCC5FC-980A-4002-BA6E-274CEABB2C19}"/>
              </a:ext>
            </a:extLst>
          </p:cNvPr>
          <p:cNvCxnSpPr>
            <a:cxnSpLocks/>
          </p:cNvCxnSpPr>
          <p:nvPr/>
        </p:nvCxnSpPr>
        <p:spPr>
          <a:xfrm flipH="1" flipV="1">
            <a:off x="13164472" y="5738036"/>
            <a:ext cx="331511" cy="366380"/>
          </a:xfrm>
          <a:prstGeom prst="line">
            <a:avLst/>
          </a:prstGeom>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9DD43764-EEA4-43FC-B5E4-450717836B11}"/>
              </a:ext>
            </a:extLst>
          </p:cNvPr>
          <p:cNvGrpSpPr/>
          <p:nvPr/>
        </p:nvGrpSpPr>
        <p:grpSpPr>
          <a:xfrm>
            <a:off x="550408" y="463476"/>
            <a:ext cx="801002" cy="800888"/>
            <a:chOff x="550478" y="463089"/>
            <a:chExt cx="801104" cy="800990"/>
          </a:xfrm>
        </p:grpSpPr>
        <p:sp>
          <p:nvSpPr>
            <p:cNvPr id="9" name="Oval 8">
              <a:extLst>
                <a:ext uri="{FF2B5EF4-FFF2-40B4-BE49-F238E27FC236}">
                  <a16:creationId xmlns:a16="http://schemas.microsoft.com/office/drawing/2014/main" id="{52697C6E-B6D1-4A67-B77A-C0F1DEFCB9A4}"/>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11" name="Graphic 10">
              <a:extLst>
                <a:ext uri="{FF2B5EF4-FFF2-40B4-BE49-F238E27FC236}">
                  <a16:creationId xmlns:a16="http://schemas.microsoft.com/office/drawing/2014/main" id="{14EEE643-D1E9-4C35-9618-7DA8CD47F78D}"/>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4125500449"/>
      </p:ext>
    </p:extLst>
  </p:cSld>
  <p:clrMapOvr>
    <a:masterClrMapping/>
  </p:clrMapOvr>
  <p:transition spd="slow">
    <p:push/>
  </p:transition>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227821CB-AFA2-425F-8324-C88DC4533E22}"/>
              </a:ext>
            </a:extLst>
          </p:cNvPr>
          <p:cNvGraphicFramePr/>
          <p:nvPr/>
        </p:nvGraphicFramePr>
        <p:xfrm>
          <a:off x="-2640707" y="3820826"/>
          <a:ext cx="4201768" cy="218241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0" name="Diagram 9">
            <a:extLst>
              <a:ext uri="{FF2B5EF4-FFF2-40B4-BE49-F238E27FC236}">
                <a16:creationId xmlns:a16="http://schemas.microsoft.com/office/drawing/2014/main" id="{0D6F6CF4-8447-4C63-92BB-6011168390EF}"/>
              </a:ext>
            </a:extLst>
          </p:cNvPr>
          <p:cNvGraphicFramePr/>
          <p:nvPr/>
        </p:nvGraphicFramePr>
        <p:xfrm>
          <a:off x="1992992" y="1358140"/>
          <a:ext cx="10139076" cy="678927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2" name="Arrow: Right 11">
            <a:extLst>
              <a:ext uri="{FF2B5EF4-FFF2-40B4-BE49-F238E27FC236}">
                <a16:creationId xmlns:a16="http://schemas.microsoft.com/office/drawing/2014/main" id="{B6C0A25F-78E3-47B8-99FF-8CBE9229F352}"/>
              </a:ext>
            </a:extLst>
          </p:cNvPr>
          <p:cNvSpPr/>
          <p:nvPr/>
        </p:nvSpPr>
        <p:spPr>
          <a:xfrm rot="20745194">
            <a:off x="2131282" y="2363358"/>
            <a:ext cx="8616617" cy="106393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48"/>
              <a:t>Well-defined requirements for each phase</a:t>
            </a:r>
          </a:p>
        </p:txBody>
      </p:sp>
      <p:cxnSp>
        <p:nvCxnSpPr>
          <p:cNvPr id="14" name="Straight Connector 13">
            <a:extLst>
              <a:ext uri="{FF2B5EF4-FFF2-40B4-BE49-F238E27FC236}">
                <a16:creationId xmlns:a16="http://schemas.microsoft.com/office/drawing/2014/main" id="{EFDC3643-3C23-4C0E-8952-714942F5AA8E}"/>
              </a:ext>
            </a:extLst>
          </p:cNvPr>
          <p:cNvCxnSpPr>
            <a:cxnSpLocks/>
          </p:cNvCxnSpPr>
          <p:nvPr/>
        </p:nvCxnSpPr>
        <p:spPr>
          <a:xfrm flipH="1">
            <a:off x="1661481" y="4657836"/>
            <a:ext cx="331511" cy="408014"/>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62FB221-0359-4871-B5F3-A2D28E2C6441}"/>
              </a:ext>
            </a:extLst>
          </p:cNvPr>
          <p:cNvCxnSpPr>
            <a:cxnSpLocks/>
          </p:cNvCxnSpPr>
          <p:nvPr/>
        </p:nvCxnSpPr>
        <p:spPr>
          <a:xfrm flipH="1" flipV="1">
            <a:off x="1661481" y="5723669"/>
            <a:ext cx="331511" cy="366380"/>
          </a:xfrm>
          <a:prstGeom prst="line">
            <a:avLst/>
          </a:prstGeom>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E8C4FCC9-34C1-47C5-976E-45AE25F8ADC7}"/>
              </a:ext>
            </a:extLst>
          </p:cNvPr>
          <p:cNvGrpSpPr/>
          <p:nvPr/>
        </p:nvGrpSpPr>
        <p:grpSpPr>
          <a:xfrm>
            <a:off x="550408" y="463476"/>
            <a:ext cx="801002" cy="800888"/>
            <a:chOff x="550478" y="463089"/>
            <a:chExt cx="801104" cy="800990"/>
          </a:xfrm>
        </p:grpSpPr>
        <p:sp>
          <p:nvSpPr>
            <p:cNvPr id="13" name="Oval 12">
              <a:extLst>
                <a:ext uri="{FF2B5EF4-FFF2-40B4-BE49-F238E27FC236}">
                  <a16:creationId xmlns:a16="http://schemas.microsoft.com/office/drawing/2014/main" id="{2B50BBDF-F25C-476C-8F9C-5EA5AB0DF4A8}"/>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15" name="Graphic 14">
              <a:extLst>
                <a:ext uri="{FF2B5EF4-FFF2-40B4-BE49-F238E27FC236}">
                  <a16:creationId xmlns:a16="http://schemas.microsoft.com/office/drawing/2014/main" id="{20E0CFF2-C0F0-4A3E-9AE4-F8D488D6C605}"/>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6250634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9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018B52-93C5-4EB8-84B3-F4421E515827}"/>
              </a:ext>
            </a:extLst>
          </p:cNvPr>
          <p:cNvSpPr>
            <a:spLocks noGrp="1"/>
          </p:cNvSpPr>
          <p:nvPr>
            <p:ph type="title"/>
          </p:nvPr>
        </p:nvSpPr>
        <p:spPr>
          <a:xfrm>
            <a:off x="600059" y="1487073"/>
            <a:ext cx="11239464" cy="1130181"/>
          </a:xfrm>
        </p:spPr>
        <p:txBody>
          <a:bodyPr/>
          <a:lstStyle/>
          <a:p>
            <a:r>
              <a:rPr lang="en-US"/>
              <a:t>Successful data governance makes “yes, and” the default answer, and makes “no” the exception.</a:t>
            </a:r>
          </a:p>
        </p:txBody>
      </p:sp>
      <p:pic>
        <p:nvPicPr>
          <p:cNvPr id="6" name="Picture 5" descr="A close up of a white wall&#10;&#10;Description automatically generated">
            <a:extLst>
              <a:ext uri="{FF2B5EF4-FFF2-40B4-BE49-F238E27FC236}">
                <a16:creationId xmlns:a16="http://schemas.microsoft.com/office/drawing/2014/main" id="{98D0A6F7-96AB-48FF-A41F-C27B3B9E308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1170" b="23750"/>
          <a:stretch/>
        </p:blipFill>
        <p:spPr>
          <a:xfrm flipH="1">
            <a:off x="882" y="2948229"/>
            <a:ext cx="12434711" cy="4046296"/>
          </a:xfrm>
          <a:prstGeom prst="rect">
            <a:avLst/>
          </a:prstGeom>
        </p:spPr>
      </p:pic>
    </p:spTree>
    <p:extLst>
      <p:ext uri="{BB962C8B-B14F-4D97-AF65-F5344CB8AC3E}">
        <p14:creationId xmlns:p14="http://schemas.microsoft.com/office/powerpoint/2010/main" val="2008886511"/>
      </p:ext>
    </p:extLst>
  </p:cSld>
  <p:clrMapOvr>
    <a:masterClrMapping/>
  </p:clrMapOvr>
  <p:transition spd="slow">
    <p:push dir="u"/>
  </p:transition>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AB252E9-CBC1-4FD7-A7ED-093868BAB089}"/>
              </a:ext>
            </a:extLst>
          </p:cNvPr>
          <p:cNvSpPr>
            <a:spLocks noGrp="1"/>
          </p:cNvSpPr>
          <p:nvPr>
            <p:ph type="body" sz="quarter" idx="10"/>
          </p:nvPr>
        </p:nvSpPr>
        <p:spPr>
          <a:xfrm>
            <a:off x="579308" y="397648"/>
            <a:ext cx="5709479" cy="985103"/>
          </a:xfrm>
        </p:spPr>
        <p:txBody>
          <a:bodyPr vert="horz" wrap="square" lIns="93248" tIns="46624" rIns="93248" bIns="46624" rtlCol="0" anchor="b">
            <a:normAutofit fontScale="92500" lnSpcReduction="10000"/>
          </a:bodyPr>
          <a:lstStyle/>
          <a:p>
            <a:r>
              <a:rPr lang="en-US" sz="3264" b="1"/>
              <a:t>Establish and empower a Center of Excellence</a:t>
            </a:r>
          </a:p>
        </p:txBody>
      </p:sp>
      <p:sp>
        <p:nvSpPr>
          <p:cNvPr id="4" name="Content Placeholder 3">
            <a:extLst>
              <a:ext uri="{FF2B5EF4-FFF2-40B4-BE49-F238E27FC236}">
                <a16:creationId xmlns:a16="http://schemas.microsoft.com/office/drawing/2014/main" id="{DDE9D1E7-A9F5-4925-9238-9011BEAC2019}"/>
              </a:ext>
            </a:extLst>
          </p:cNvPr>
          <p:cNvSpPr>
            <a:spLocks noGrp="1"/>
          </p:cNvSpPr>
          <p:nvPr>
            <p:ph sz="half" idx="4294967295"/>
          </p:nvPr>
        </p:nvSpPr>
        <p:spPr>
          <a:xfrm>
            <a:off x="668277" y="1543843"/>
            <a:ext cx="5435600" cy="2460625"/>
          </a:xfrm>
        </p:spPr>
        <p:txBody>
          <a:bodyPr/>
          <a:lstStyle/>
          <a:p>
            <a:r>
              <a:rPr lang="en-US"/>
              <a:t>Key business and IT stakeholders</a:t>
            </a:r>
          </a:p>
          <a:p>
            <a:r>
              <a:rPr lang="en-US"/>
              <a:t>System and process owners</a:t>
            </a:r>
          </a:p>
          <a:p>
            <a:r>
              <a:rPr lang="en-US"/>
              <a:t>Decision-makers</a:t>
            </a:r>
          </a:p>
          <a:p>
            <a:r>
              <a:rPr lang="en-US"/>
              <a:t>People with budgets</a:t>
            </a:r>
          </a:p>
        </p:txBody>
      </p:sp>
      <p:sp>
        <p:nvSpPr>
          <p:cNvPr id="5" name="Text Placeholder 4">
            <a:extLst>
              <a:ext uri="{FF2B5EF4-FFF2-40B4-BE49-F238E27FC236}">
                <a16:creationId xmlns:a16="http://schemas.microsoft.com/office/drawing/2014/main" id="{D386B4C1-81D8-4B84-9C0C-E214950DDBEF}"/>
              </a:ext>
            </a:extLst>
          </p:cNvPr>
          <p:cNvSpPr>
            <a:spLocks noGrp="1"/>
          </p:cNvSpPr>
          <p:nvPr>
            <p:ph type="body" sz="quarter" idx="4294967295"/>
          </p:nvPr>
        </p:nvSpPr>
        <p:spPr>
          <a:xfrm>
            <a:off x="6288787" y="397648"/>
            <a:ext cx="5434012" cy="839788"/>
          </a:xfrm>
        </p:spPr>
        <p:txBody>
          <a:bodyPr>
            <a:normAutofit fontScale="92500" lnSpcReduction="10000"/>
          </a:bodyPr>
          <a:lstStyle/>
          <a:p>
            <a:pPr marL="0" indent="0">
              <a:buNone/>
            </a:pPr>
            <a:r>
              <a:rPr lang="en-US" sz="3264" b="1"/>
              <a:t>Recognize and nurture a Community of Practice</a:t>
            </a:r>
          </a:p>
        </p:txBody>
      </p:sp>
      <p:sp>
        <p:nvSpPr>
          <p:cNvPr id="6" name="Content Placeholder 5">
            <a:extLst>
              <a:ext uri="{FF2B5EF4-FFF2-40B4-BE49-F238E27FC236}">
                <a16:creationId xmlns:a16="http://schemas.microsoft.com/office/drawing/2014/main" id="{59E7FD07-9CD9-4207-AAF4-C757640D58B9}"/>
              </a:ext>
            </a:extLst>
          </p:cNvPr>
          <p:cNvSpPr>
            <a:spLocks noGrp="1"/>
          </p:cNvSpPr>
          <p:nvPr>
            <p:ph sz="quarter" idx="4294967295"/>
          </p:nvPr>
        </p:nvSpPr>
        <p:spPr>
          <a:xfrm>
            <a:off x="6354107" y="1543843"/>
            <a:ext cx="5434012" cy="2020888"/>
          </a:xfrm>
        </p:spPr>
        <p:txBody>
          <a:bodyPr/>
          <a:lstStyle/>
          <a:p>
            <a:r>
              <a:rPr lang="en-US"/>
              <a:t>People with problems</a:t>
            </a:r>
          </a:p>
          <a:p>
            <a:r>
              <a:rPr lang="en-US"/>
              <a:t>People with solutions</a:t>
            </a:r>
          </a:p>
          <a:p>
            <a:r>
              <a:rPr lang="en-US"/>
              <a:t>Champions</a:t>
            </a:r>
          </a:p>
          <a:p>
            <a:r>
              <a:rPr lang="en-US"/>
              <a:t>Moderators and stewards</a:t>
            </a:r>
          </a:p>
        </p:txBody>
      </p:sp>
      <p:pic>
        <p:nvPicPr>
          <p:cNvPr id="7" name="Content Placeholder 4" descr="A picture containing building&#10;&#10;Description automatically generated">
            <a:extLst>
              <a:ext uri="{FF2B5EF4-FFF2-40B4-BE49-F238E27FC236}">
                <a16:creationId xmlns:a16="http://schemas.microsoft.com/office/drawing/2014/main" id="{FCD99E71-B9EF-49C6-8028-6060B55ED7A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94333" y="4263324"/>
            <a:ext cx="5434404" cy="2421535"/>
          </a:xfrm>
          <a:prstGeom prst="rect">
            <a:avLst/>
          </a:prstGeom>
        </p:spPr>
      </p:pic>
      <p:pic>
        <p:nvPicPr>
          <p:cNvPr id="9" name="Picture 8" descr="A group of people sitting at a table&#10;&#10;Description automatically generated">
            <a:extLst>
              <a:ext uri="{FF2B5EF4-FFF2-40B4-BE49-F238E27FC236}">
                <a16:creationId xmlns:a16="http://schemas.microsoft.com/office/drawing/2014/main" id="{5A2E553B-C1E5-439F-BB48-8715EEE068FE}"/>
              </a:ext>
            </a:extLst>
          </p:cNvPr>
          <p:cNvPicPr>
            <a:picLocks noChangeAspect="1"/>
          </p:cNvPicPr>
          <p:nvPr/>
        </p:nvPicPr>
        <p:blipFill rotWithShape="1">
          <a:blip r:embed="rId3">
            <a:extLst>
              <a:ext uri="{28A0092B-C50C-407E-A947-70E740481C1C}">
                <a14:useLocalDpi xmlns:a14="http://schemas.microsoft.com/office/drawing/2010/main" val="0"/>
              </a:ext>
            </a:extLst>
          </a:blip>
          <a:srcRect t="17825" b="15653"/>
          <a:stretch/>
        </p:blipFill>
        <p:spPr>
          <a:xfrm>
            <a:off x="655920" y="4263324"/>
            <a:ext cx="5460314" cy="2421535"/>
          </a:xfrm>
          <a:prstGeom prst="rect">
            <a:avLst/>
          </a:prstGeom>
        </p:spPr>
      </p:pic>
    </p:spTree>
    <p:extLst>
      <p:ext uri="{BB962C8B-B14F-4D97-AF65-F5344CB8AC3E}">
        <p14:creationId xmlns:p14="http://schemas.microsoft.com/office/powerpoint/2010/main" val="618699518"/>
      </p:ext>
    </p:extLst>
  </p:cSld>
  <p:clrMapOvr>
    <a:masterClrMapping/>
  </p:clrMapOvr>
  <p:transition spd="slow">
    <p:push dir="u"/>
  </p:transition>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AB252E9-CBC1-4FD7-A7ED-093868BAB089}"/>
              </a:ext>
            </a:extLst>
          </p:cNvPr>
          <p:cNvSpPr>
            <a:spLocks noGrp="1"/>
          </p:cNvSpPr>
          <p:nvPr>
            <p:ph type="body" sz="quarter" idx="10"/>
          </p:nvPr>
        </p:nvSpPr>
        <p:spPr>
          <a:xfrm>
            <a:off x="617449" y="431102"/>
            <a:ext cx="5434012" cy="439465"/>
          </a:xfrm>
        </p:spPr>
        <p:txBody>
          <a:bodyPr vert="horz" wrap="square" lIns="93248" tIns="46624" rIns="93248" bIns="46624" rtlCol="0" anchor="b">
            <a:normAutofit fontScale="85000" lnSpcReduction="20000"/>
          </a:bodyPr>
          <a:lstStyle/>
          <a:p>
            <a:r>
              <a:rPr lang="en-US" sz="3264" b="1"/>
              <a:t>Your community needs a home</a:t>
            </a:r>
          </a:p>
        </p:txBody>
      </p:sp>
      <p:sp>
        <p:nvSpPr>
          <p:cNvPr id="4" name="Content Placeholder 3">
            <a:extLst>
              <a:ext uri="{FF2B5EF4-FFF2-40B4-BE49-F238E27FC236}">
                <a16:creationId xmlns:a16="http://schemas.microsoft.com/office/drawing/2014/main" id="{DDE9D1E7-A9F5-4925-9238-9011BEAC2019}"/>
              </a:ext>
            </a:extLst>
          </p:cNvPr>
          <p:cNvSpPr>
            <a:spLocks noGrp="1"/>
          </p:cNvSpPr>
          <p:nvPr>
            <p:ph sz="half" idx="4294967295"/>
          </p:nvPr>
        </p:nvSpPr>
        <p:spPr>
          <a:xfrm>
            <a:off x="681828" y="1395484"/>
            <a:ext cx="5435600" cy="1573213"/>
          </a:xfrm>
        </p:spPr>
        <p:txBody>
          <a:bodyPr>
            <a:normAutofit fontScale="92500" lnSpcReduction="20000"/>
          </a:bodyPr>
          <a:lstStyle/>
          <a:p>
            <a:r>
              <a:rPr lang="en-US"/>
              <a:t>Build portal</a:t>
            </a:r>
          </a:p>
          <a:p>
            <a:r>
              <a:rPr lang="en-US"/>
              <a:t>Consolidate resources in portal</a:t>
            </a:r>
          </a:p>
          <a:p>
            <a:r>
              <a:rPr lang="en-US"/>
              <a:t>Direct traffic to portal</a:t>
            </a:r>
          </a:p>
          <a:p>
            <a:r>
              <a:rPr lang="en-US"/>
              <a:t>Repeat</a:t>
            </a:r>
          </a:p>
        </p:txBody>
      </p:sp>
      <p:sp>
        <p:nvSpPr>
          <p:cNvPr id="5" name="Text Placeholder 4">
            <a:extLst>
              <a:ext uri="{FF2B5EF4-FFF2-40B4-BE49-F238E27FC236}">
                <a16:creationId xmlns:a16="http://schemas.microsoft.com/office/drawing/2014/main" id="{D386B4C1-81D8-4B84-9C0C-E214950DDBEF}"/>
              </a:ext>
            </a:extLst>
          </p:cNvPr>
          <p:cNvSpPr>
            <a:spLocks noGrp="1"/>
          </p:cNvSpPr>
          <p:nvPr>
            <p:ph type="body" sz="quarter" idx="4294967295"/>
          </p:nvPr>
        </p:nvSpPr>
        <p:spPr>
          <a:xfrm>
            <a:off x="7002463" y="431102"/>
            <a:ext cx="5434012" cy="839788"/>
          </a:xfrm>
        </p:spPr>
        <p:txBody>
          <a:bodyPr>
            <a:normAutofit fontScale="92500" lnSpcReduction="10000"/>
          </a:bodyPr>
          <a:lstStyle/>
          <a:p>
            <a:pPr marL="0" indent="0">
              <a:buNone/>
            </a:pPr>
            <a:r>
              <a:rPr lang="en-US" sz="3264" b="1"/>
              <a:t>Your community members need motivation</a:t>
            </a:r>
          </a:p>
        </p:txBody>
      </p:sp>
      <p:sp>
        <p:nvSpPr>
          <p:cNvPr id="6" name="Content Placeholder 5">
            <a:extLst>
              <a:ext uri="{FF2B5EF4-FFF2-40B4-BE49-F238E27FC236}">
                <a16:creationId xmlns:a16="http://schemas.microsoft.com/office/drawing/2014/main" id="{59E7FD07-9CD9-4207-AAF4-C757640D58B9}"/>
              </a:ext>
            </a:extLst>
          </p:cNvPr>
          <p:cNvSpPr>
            <a:spLocks noGrp="1"/>
          </p:cNvSpPr>
          <p:nvPr>
            <p:ph sz="quarter" idx="4294967295"/>
          </p:nvPr>
        </p:nvSpPr>
        <p:spPr>
          <a:xfrm>
            <a:off x="6787632" y="1395484"/>
            <a:ext cx="5434012" cy="1573213"/>
          </a:xfrm>
        </p:spPr>
        <p:txBody>
          <a:bodyPr>
            <a:normAutofit fontScale="92500" lnSpcReduction="20000"/>
          </a:bodyPr>
          <a:lstStyle/>
          <a:p>
            <a:r>
              <a:rPr lang="en-US"/>
              <a:t>Listen and learn</a:t>
            </a:r>
          </a:p>
          <a:p>
            <a:r>
              <a:rPr lang="en-US"/>
              <a:t>Find places for people to help</a:t>
            </a:r>
          </a:p>
          <a:p>
            <a:r>
              <a:rPr lang="en-US"/>
              <a:t>Say thank you, and mean it</a:t>
            </a:r>
          </a:p>
          <a:p>
            <a:r>
              <a:rPr lang="en-US"/>
              <a:t>Repeat</a:t>
            </a:r>
          </a:p>
        </p:txBody>
      </p:sp>
      <p:pic>
        <p:nvPicPr>
          <p:cNvPr id="13" name="Picture 12">
            <a:extLst>
              <a:ext uri="{FF2B5EF4-FFF2-40B4-BE49-F238E27FC236}">
                <a16:creationId xmlns:a16="http://schemas.microsoft.com/office/drawing/2014/main" id="{55BC97CC-283E-44FC-805F-4DA64C5973C7}"/>
              </a:ext>
            </a:extLst>
          </p:cNvPr>
          <p:cNvPicPr>
            <a:picLocks noChangeAspect="1"/>
          </p:cNvPicPr>
          <p:nvPr/>
        </p:nvPicPr>
        <p:blipFill>
          <a:blip r:embed="rId2"/>
          <a:stretch>
            <a:fillRect/>
          </a:stretch>
        </p:blipFill>
        <p:spPr>
          <a:xfrm>
            <a:off x="681828" y="3438366"/>
            <a:ext cx="5315032" cy="2986519"/>
          </a:xfrm>
          <a:prstGeom prst="rect">
            <a:avLst/>
          </a:prstGeom>
        </p:spPr>
      </p:pic>
      <p:pic>
        <p:nvPicPr>
          <p:cNvPr id="15" name="Picture 14">
            <a:extLst>
              <a:ext uri="{FF2B5EF4-FFF2-40B4-BE49-F238E27FC236}">
                <a16:creationId xmlns:a16="http://schemas.microsoft.com/office/drawing/2014/main" id="{D562D4D8-DA57-448D-809C-765FDB4E696F}"/>
              </a:ext>
            </a:extLst>
          </p:cNvPr>
          <p:cNvPicPr>
            <a:picLocks noChangeAspect="1"/>
          </p:cNvPicPr>
          <p:nvPr/>
        </p:nvPicPr>
        <p:blipFill>
          <a:blip r:embed="rId3">
            <a:alphaModFix amt="71000"/>
          </a:blip>
          <a:stretch>
            <a:fillRect/>
          </a:stretch>
        </p:blipFill>
        <p:spPr>
          <a:xfrm>
            <a:off x="6753493" y="3438366"/>
            <a:ext cx="5600798" cy="2986519"/>
          </a:xfrm>
          <a:prstGeom prst="rect">
            <a:avLst/>
          </a:prstGeom>
        </p:spPr>
      </p:pic>
      <p:pic>
        <p:nvPicPr>
          <p:cNvPr id="8" name="Picture 7">
            <a:extLst>
              <a:ext uri="{FF2B5EF4-FFF2-40B4-BE49-F238E27FC236}">
                <a16:creationId xmlns:a16="http://schemas.microsoft.com/office/drawing/2014/main" id="{842DD3F7-A5B9-4048-BD02-841B08991273}"/>
              </a:ext>
            </a:extLst>
          </p:cNvPr>
          <p:cNvPicPr>
            <a:picLocks noChangeAspect="1"/>
          </p:cNvPicPr>
          <p:nvPr/>
        </p:nvPicPr>
        <p:blipFill rotWithShape="1">
          <a:blip r:embed="rId2"/>
          <a:srcRect l="85887" t="12390" b="64190"/>
          <a:stretch/>
        </p:blipFill>
        <p:spPr>
          <a:xfrm>
            <a:off x="3957528" y="2878171"/>
            <a:ext cx="2356235" cy="2197184"/>
          </a:xfrm>
          <a:prstGeom prst="rect">
            <a:avLst/>
          </a:prstGeom>
        </p:spPr>
      </p:pic>
    </p:spTree>
    <p:extLst>
      <p:ext uri="{BB962C8B-B14F-4D97-AF65-F5344CB8AC3E}">
        <p14:creationId xmlns:p14="http://schemas.microsoft.com/office/powerpoint/2010/main" val="2479125209"/>
      </p:ext>
    </p:extLst>
  </p:cSld>
  <p:clrMapOvr>
    <a:masterClrMapping/>
  </p:clrMapOvr>
  <p:transition spd="slow">
    <p:push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1000" fill="hold"/>
                                        <p:tgtEl>
                                          <p:spTgt spid="8"/>
                                        </p:tgtEl>
                                        <p:attrNameLst>
                                          <p:attrName>ppt_w</p:attrName>
                                        </p:attrNameLst>
                                      </p:cBhvr>
                                      <p:tavLst>
                                        <p:tav tm="0">
                                          <p:val>
                                            <p:fltVal val="0"/>
                                          </p:val>
                                        </p:tav>
                                        <p:tav tm="100000">
                                          <p:val>
                                            <p:strVal val="#ppt_w"/>
                                          </p:val>
                                        </p:tav>
                                      </p:tavLst>
                                    </p:anim>
                                    <p:anim calcmode="lin" valueType="num">
                                      <p:cBhvr>
                                        <p:cTn id="8" dur="1000" fill="hold"/>
                                        <p:tgtEl>
                                          <p:spTgt spid="8"/>
                                        </p:tgtEl>
                                        <p:attrNameLst>
                                          <p:attrName>ppt_h</p:attrName>
                                        </p:attrNameLst>
                                      </p:cBhvr>
                                      <p:tavLst>
                                        <p:tav tm="0">
                                          <p:val>
                                            <p:fltVal val="0"/>
                                          </p:val>
                                        </p:tav>
                                        <p:tav tm="100000">
                                          <p:val>
                                            <p:strVal val="#ppt_h"/>
                                          </p:val>
                                        </p:tav>
                                      </p:tavLst>
                                    </p:anim>
                                    <p:anim calcmode="lin" valueType="num">
                                      <p:cBhvr>
                                        <p:cTn id="9" dur="1000" fill="hold"/>
                                        <p:tgtEl>
                                          <p:spTgt spid="8"/>
                                        </p:tgtEl>
                                        <p:attrNameLst>
                                          <p:attrName>style.rotation</p:attrName>
                                        </p:attrNameLst>
                                      </p:cBhvr>
                                      <p:tavLst>
                                        <p:tav tm="0">
                                          <p:val>
                                            <p:fltVal val="90"/>
                                          </p:val>
                                        </p:tav>
                                        <p:tav tm="100000">
                                          <p:val>
                                            <p:fltVal val="0"/>
                                          </p:val>
                                        </p:tav>
                                      </p:tavLst>
                                    </p:anim>
                                    <p:animEffect transition="in" filter="fade">
                                      <p:cBhvr>
                                        <p:cTn id="10"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64F745-ADEA-4CCC-8172-A6A5F90F10B7}"/>
              </a:ext>
            </a:extLst>
          </p:cNvPr>
          <p:cNvSpPr>
            <a:spLocks noGrp="1"/>
          </p:cNvSpPr>
          <p:nvPr>
            <p:ph type="title"/>
          </p:nvPr>
        </p:nvSpPr>
        <p:spPr>
          <a:xfrm>
            <a:off x="600059" y="899359"/>
            <a:ext cx="11239464" cy="4207947"/>
          </a:xfrm>
        </p:spPr>
        <p:txBody>
          <a:bodyPr/>
          <a:lstStyle/>
          <a:p>
            <a:r>
              <a:rPr lang="en-US" sz="4000" i="1"/>
              <a:t>“A complex system that works is invariably found to have evolved from a simple system that works. The inverse proposition also appears to be true: A complex system designed from scratch never works and cannot be made to work.”</a:t>
            </a:r>
            <a:br>
              <a:rPr lang="en-US" sz="4000" i="1"/>
            </a:br>
            <a:br>
              <a:rPr lang="en-US"/>
            </a:br>
            <a:r>
              <a:rPr lang="en-US"/>
              <a:t>-- John Gall</a:t>
            </a:r>
          </a:p>
        </p:txBody>
      </p:sp>
    </p:spTree>
    <p:extLst>
      <p:ext uri="{BB962C8B-B14F-4D97-AF65-F5344CB8AC3E}">
        <p14:creationId xmlns:p14="http://schemas.microsoft.com/office/powerpoint/2010/main" val="1851582088"/>
      </p:ext>
    </p:extLst>
  </p:cSld>
  <p:clrMapOvr>
    <a:masterClrMapping/>
  </p:clrMapOvr>
  <p:transition spd="slow">
    <p:push dir="u"/>
  </p:transition>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2A4976-00B8-4381-ADD3-6EAA745032F6}"/>
              </a:ext>
            </a:extLst>
          </p:cNvPr>
          <p:cNvSpPr>
            <a:spLocks noGrp="1"/>
          </p:cNvSpPr>
          <p:nvPr>
            <p:ph type="title"/>
          </p:nvPr>
        </p:nvSpPr>
        <p:spPr>
          <a:xfrm>
            <a:off x="599982" y="3070256"/>
            <a:ext cx="4603037" cy="565091"/>
          </a:xfrm>
        </p:spPr>
        <p:txBody>
          <a:bodyPr/>
          <a:lstStyle/>
          <a:p>
            <a:r>
              <a:rPr lang="en-US"/>
              <a:t>One more thing…</a:t>
            </a:r>
          </a:p>
        </p:txBody>
      </p:sp>
      <p:pic>
        <p:nvPicPr>
          <p:cNvPr id="5" name="Picture Placeholder 4" descr="A person sitting in a chair&#10;&#10;Description automatically generated with low confidence">
            <a:extLst>
              <a:ext uri="{FF2B5EF4-FFF2-40B4-BE49-F238E27FC236}">
                <a16:creationId xmlns:a16="http://schemas.microsoft.com/office/drawing/2014/main" id="{FA77953A-8A33-4651-87D2-5C889F11A99E}"/>
              </a:ext>
            </a:extLst>
          </p:cNvPr>
          <p:cNvPicPr>
            <a:picLocks noGrp="1" noChangeAspect="1"/>
          </p:cNvPicPr>
          <p:nvPr>
            <p:ph type="pic" sz="quarter" idx="17"/>
          </p:nvPr>
        </p:nvPicPr>
        <p:blipFill rotWithShape="1">
          <a:blip r:embed="rId2"/>
          <a:srcRect t="8553" b="12775"/>
          <a:stretch/>
        </p:blipFill>
        <p:spPr>
          <a:xfrm>
            <a:off x="6586825" y="397223"/>
            <a:ext cx="5249591" cy="6200077"/>
          </a:xfrm>
        </p:spPr>
      </p:pic>
    </p:spTree>
    <p:extLst>
      <p:ext uri="{BB962C8B-B14F-4D97-AF65-F5344CB8AC3E}">
        <p14:creationId xmlns:p14="http://schemas.microsoft.com/office/powerpoint/2010/main" val="227987308"/>
      </p:ext>
    </p:extLst>
  </p:cSld>
  <p:clrMapOvr>
    <a:masterClrMapping/>
  </p:clrMapOvr>
  <p:transition spd="slow">
    <p:push dir="r"/>
  </p:transition>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C9F2E0-5722-446E-9375-066A67116CC9}"/>
              </a:ext>
            </a:extLst>
          </p:cNvPr>
          <p:cNvSpPr>
            <a:spLocks noGrp="1"/>
          </p:cNvSpPr>
          <p:nvPr>
            <p:ph type="title"/>
          </p:nvPr>
        </p:nvSpPr>
        <p:spPr/>
        <p:txBody>
          <a:bodyPr/>
          <a:lstStyle/>
          <a:p>
            <a:r>
              <a:rPr lang="en-US"/>
              <a:t>Related content</a:t>
            </a:r>
          </a:p>
        </p:txBody>
      </p:sp>
      <p:sp>
        <p:nvSpPr>
          <p:cNvPr id="3" name="Content Placeholder 2">
            <a:extLst>
              <a:ext uri="{FF2B5EF4-FFF2-40B4-BE49-F238E27FC236}">
                <a16:creationId xmlns:a16="http://schemas.microsoft.com/office/drawing/2014/main" id="{923BB511-FDDB-4C6F-8004-50ECF714021A}"/>
              </a:ext>
            </a:extLst>
          </p:cNvPr>
          <p:cNvSpPr>
            <a:spLocks noGrp="1"/>
          </p:cNvSpPr>
          <p:nvPr>
            <p:ph type="body" sz="quarter" idx="10"/>
          </p:nvPr>
        </p:nvSpPr>
        <p:spPr>
          <a:xfrm>
            <a:off x="595914" y="1463670"/>
            <a:ext cx="11239463" cy="5160414"/>
          </a:xfrm>
        </p:spPr>
        <p:txBody>
          <a:bodyPr>
            <a:normAutofit/>
          </a:bodyPr>
          <a:lstStyle/>
          <a:p>
            <a:r>
              <a:rPr lang="en-US"/>
              <a:t>Power BI Adoption Roadmap and Implementation Planning Guidance</a:t>
            </a:r>
          </a:p>
          <a:p>
            <a:pPr lvl="1"/>
            <a:r>
              <a:rPr lang="en-US">
                <a:hlinkClick r:id="rId3"/>
              </a:rPr>
              <a:t>https://aka.ms/PowerBIAdpotionRoadmap</a:t>
            </a:r>
            <a:r>
              <a:rPr lang="en-US"/>
              <a:t>  </a:t>
            </a:r>
          </a:p>
          <a:p>
            <a:pPr lvl="1"/>
            <a:r>
              <a:rPr lang="en-US">
                <a:hlinkClick r:id="rId4"/>
              </a:rPr>
              <a:t>https://aka.ms/PowerBIImplementationPlanning</a:t>
            </a:r>
            <a:r>
              <a:rPr lang="en-US"/>
              <a:t> </a:t>
            </a:r>
          </a:p>
          <a:p>
            <a:r>
              <a:rPr lang="en-US"/>
              <a:t>Power BI guidance documentation</a:t>
            </a:r>
          </a:p>
          <a:p>
            <a:pPr lvl="1"/>
            <a:r>
              <a:rPr lang="en-US">
                <a:hlinkClick r:id="rId5"/>
              </a:rPr>
              <a:t>https://docs.microsoft.com/en-us/power-bi/guidance/</a:t>
            </a:r>
            <a:endParaRPr lang="en-US"/>
          </a:p>
          <a:p>
            <a:r>
              <a:rPr lang="en-US"/>
              <a:t>Matthew Roche’s blog and YouTube:</a:t>
            </a:r>
          </a:p>
          <a:p>
            <a:pPr lvl="1"/>
            <a:r>
              <a:rPr lang="en-US">
                <a:hlinkClick r:id="rId6"/>
              </a:rPr>
              <a:t>https://ssbipolar.com/building-a-data-culture/</a:t>
            </a:r>
            <a:r>
              <a:rPr lang="en-US"/>
              <a:t> </a:t>
            </a:r>
          </a:p>
          <a:p>
            <a:pPr lvl="1"/>
            <a:r>
              <a:rPr lang="en-US"/>
              <a:t>☝ 17-video “Building a data culture” YouTube series + much more</a:t>
            </a:r>
          </a:p>
          <a:p>
            <a:r>
              <a:rPr lang="en-US"/>
              <a:t>Power BI customer success stories</a:t>
            </a:r>
          </a:p>
          <a:p>
            <a:pPr lvl="1"/>
            <a:r>
              <a:rPr lang="en-US">
                <a:hlinkClick r:id="rId7"/>
              </a:rPr>
              <a:t>https://customers.microsoft.com/en-us/story/857107-nestle-consumer-goods-azure-power-bi</a:t>
            </a:r>
            <a:r>
              <a:rPr lang="en-US"/>
              <a:t> </a:t>
            </a:r>
          </a:p>
        </p:txBody>
      </p:sp>
    </p:spTree>
    <p:extLst>
      <p:ext uri="{BB962C8B-B14F-4D97-AF65-F5344CB8AC3E}">
        <p14:creationId xmlns:p14="http://schemas.microsoft.com/office/powerpoint/2010/main" val="409482485"/>
      </p:ext>
    </p:extLst>
  </p:cSld>
  <p:clrMapOvr>
    <a:masterClrMapping/>
  </p:clrMapOvr>
  <p:transition spd="slow">
    <p:push dir="u"/>
  </p:transition>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DB4303F-BBDD-465F-A4A3-6CD7145755F4}"/>
              </a:ext>
            </a:extLst>
          </p:cNvPr>
          <p:cNvSpPr>
            <a:spLocks noGrp="1"/>
          </p:cNvSpPr>
          <p:nvPr>
            <p:ph type="title"/>
          </p:nvPr>
        </p:nvSpPr>
        <p:spPr/>
        <p:txBody>
          <a:bodyPr/>
          <a:lstStyle/>
          <a:p>
            <a:r>
              <a:rPr lang="en-US"/>
              <a:t>Power BI Adoption Roadmap</a:t>
            </a:r>
          </a:p>
        </p:txBody>
      </p:sp>
      <p:sp>
        <p:nvSpPr>
          <p:cNvPr id="6" name="Content Placeholder 5">
            <a:extLst>
              <a:ext uri="{FF2B5EF4-FFF2-40B4-BE49-F238E27FC236}">
                <a16:creationId xmlns:a16="http://schemas.microsoft.com/office/drawing/2014/main" id="{82B1D216-1EAA-4CE4-BF7A-9ECEB3486715}"/>
              </a:ext>
            </a:extLst>
          </p:cNvPr>
          <p:cNvSpPr>
            <a:spLocks noGrp="1"/>
          </p:cNvSpPr>
          <p:nvPr>
            <p:ph type="body" sz="quarter" idx="10"/>
          </p:nvPr>
        </p:nvSpPr>
        <p:spPr>
          <a:xfrm>
            <a:off x="595914" y="1463670"/>
            <a:ext cx="11239463" cy="5101935"/>
          </a:xfrm>
        </p:spPr>
        <p:txBody>
          <a:bodyPr>
            <a:normAutofit fontScale="92500" lnSpcReduction="10000"/>
          </a:bodyPr>
          <a:lstStyle/>
          <a:p>
            <a:r>
              <a:rPr lang="en-US"/>
              <a:t>Contents</a:t>
            </a:r>
          </a:p>
          <a:p>
            <a:pPr lvl="1"/>
            <a:r>
              <a:rPr lang="en-US"/>
              <a:t>Data culture</a:t>
            </a:r>
          </a:p>
          <a:p>
            <a:pPr lvl="1"/>
            <a:r>
              <a:rPr lang="en-US"/>
              <a:t>Executive sponsorship</a:t>
            </a:r>
          </a:p>
          <a:p>
            <a:pPr lvl="1"/>
            <a:r>
              <a:rPr lang="en-US"/>
              <a:t>Content ownership</a:t>
            </a:r>
          </a:p>
          <a:p>
            <a:pPr lvl="1"/>
            <a:r>
              <a:rPr lang="en-US"/>
              <a:t>Content delivery scope</a:t>
            </a:r>
          </a:p>
          <a:p>
            <a:pPr lvl="1"/>
            <a:r>
              <a:rPr lang="en-US"/>
              <a:t>Center of excellence</a:t>
            </a:r>
          </a:p>
          <a:p>
            <a:pPr lvl="1"/>
            <a:r>
              <a:rPr lang="en-US"/>
              <a:t>Governance</a:t>
            </a:r>
          </a:p>
          <a:p>
            <a:pPr lvl="1"/>
            <a:r>
              <a:rPr lang="en-US"/>
              <a:t>Mentoring and user enablement</a:t>
            </a:r>
          </a:p>
          <a:p>
            <a:pPr lvl="1"/>
            <a:r>
              <a:rPr lang="en-US"/>
              <a:t>Community of practice</a:t>
            </a:r>
          </a:p>
          <a:p>
            <a:pPr lvl="1"/>
            <a:r>
              <a:rPr lang="en-US"/>
              <a:t>User support</a:t>
            </a:r>
          </a:p>
          <a:p>
            <a:pPr lvl="1"/>
            <a:r>
              <a:rPr lang="en-US"/>
              <a:t>System oversight</a:t>
            </a:r>
          </a:p>
          <a:p>
            <a:r>
              <a:rPr lang="en-US"/>
              <a:t>Consistent guidance</a:t>
            </a:r>
          </a:p>
          <a:p>
            <a:pPr lvl="1"/>
            <a:r>
              <a:rPr lang="en-US"/>
              <a:t>Concepts and context</a:t>
            </a:r>
          </a:p>
          <a:p>
            <a:pPr lvl="1"/>
            <a:r>
              <a:rPr lang="en-US"/>
              <a:t>Considerations and key actions</a:t>
            </a:r>
          </a:p>
          <a:p>
            <a:pPr lvl="1"/>
            <a:r>
              <a:rPr lang="en-US"/>
              <a:t>Maturity levels</a:t>
            </a:r>
          </a:p>
        </p:txBody>
      </p:sp>
      <p:pic>
        <p:nvPicPr>
          <p:cNvPr id="1026" name="Picture 2" descr="Diagram&#10;&#10;Description automatically generated">
            <a:extLst>
              <a:ext uri="{FF2B5EF4-FFF2-40B4-BE49-F238E27FC236}">
                <a16:creationId xmlns:a16="http://schemas.microsoft.com/office/drawing/2014/main" id="{F5D37000-E843-4169-81CF-8B82D6453D5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73412" y="1174626"/>
            <a:ext cx="5353703" cy="5462446"/>
          </a:xfrm>
          <a:prstGeom prst="rect">
            <a:avLst/>
          </a:prstGeom>
          <a:noFill/>
        </p:spPr>
      </p:pic>
    </p:spTree>
    <p:extLst>
      <p:ext uri="{BB962C8B-B14F-4D97-AF65-F5344CB8AC3E}">
        <p14:creationId xmlns:p14="http://schemas.microsoft.com/office/powerpoint/2010/main" val="3162241182"/>
      </p:ext>
    </p:extLst>
  </p:cSld>
  <p:clrMapOvr>
    <a:masterClrMapping/>
  </p:clrMapOvr>
  <p:transition spd="slow">
    <p:push/>
  </p:transition>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Image shows a diagram of enterprise B I, which is organization-wide content distribution at scale. Items in the diagram are described in the table below.">
            <a:extLst>
              <a:ext uri="{FF2B5EF4-FFF2-40B4-BE49-F238E27FC236}">
                <a16:creationId xmlns:a16="http://schemas.microsoft.com/office/drawing/2014/main" id="{2D557BF6-6B94-4ACE-9929-2101E270B8C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04493" y="1841896"/>
            <a:ext cx="5882219" cy="3544143"/>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3DB4303F-BBDD-465F-A4A3-6CD7145755F4}"/>
              </a:ext>
            </a:extLst>
          </p:cNvPr>
          <p:cNvSpPr>
            <a:spLocks noGrp="1"/>
          </p:cNvSpPr>
          <p:nvPr>
            <p:ph type="title"/>
          </p:nvPr>
        </p:nvSpPr>
        <p:spPr/>
        <p:txBody>
          <a:bodyPr/>
          <a:lstStyle/>
          <a:p>
            <a:r>
              <a:rPr lang="en-US"/>
              <a:t>Power BI Implementation Planning</a:t>
            </a:r>
          </a:p>
        </p:txBody>
      </p:sp>
      <p:sp>
        <p:nvSpPr>
          <p:cNvPr id="6" name="Content Placeholder 5">
            <a:extLst>
              <a:ext uri="{FF2B5EF4-FFF2-40B4-BE49-F238E27FC236}">
                <a16:creationId xmlns:a16="http://schemas.microsoft.com/office/drawing/2014/main" id="{82B1D216-1EAA-4CE4-BF7A-9ECEB3486715}"/>
              </a:ext>
            </a:extLst>
          </p:cNvPr>
          <p:cNvSpPr>
            <a:spLocks noGrp="1"/>
          </p:cNvSpPr>
          <p:nvPr>
            <p:ph type="body" sz="quarter" idx="10"/>
          </p:nvPr>
        </p:nvSpPr>
        <p:spPr>
          <a:xfrm>
            <a:off x="595914" y="1463670"/>
            <a:ext cx="11239463" cy="5101935"/>
          </a:xfrm>
        </p:spPr>
        <p:txBody>
          <a:bodyPr>
            <a:normAutofit fontScale="92500" lnSpcReduction="10000"/>
          </a:bodyPr>
          <a:lstStyle/>
          <a:p>
            <a:r>
              <a:rPr lang="en-US"/>
              <a:t>Content collaboration and delivery scenarios</a:t>
            </a:r>
          </a:p>
          <a:p>
            <a:pPr lvl="1"/>
            <a:r>
              <a:rPr lang="en-US"/>
              <a:t>Personal BI</a:t>
            </a:r>
          </a:p>
          <a:p>
            <a:pPr lvl="1"/>
            <a:r>
              <a:rPr lang="en-US"/>
              <a:t>Team BI</a:t>
            </a:r>
          </a:p>
          <a:p>
            <a:pPr lvl="1"/>
            <a:r>
              <a:rPr lang="en-US"/>
              <a:t>Departmental BI</a:t>
            </a:r>
          </a:p>
          <a:p>
            <a:pPr lvl="1"/>
            <a:r>
              <a:rPr lang="en-US"/>
              <a:t>Enterprise BI</a:t>
            </a:r>
          </a:p>
          <a:p>
            <a:r>
              <a:rPr lang="en-US"/>
              <a:t>Self-service BI scenarios</a:t>
            </a:r>
          </a:p>
          <a:p>
            <a:pPr lvl="1"/>
            <a:r>
              <a:rPr lang="en-US"/>
              <a:t>Managed self-service BI</a:t>
            </a:r>
          </a:p>
          <a:p>
            <a:pPr lvl="1"/>
            <a:r>
              <a:rPr lang="en-US"/>
              <a:t>Customizable managed self-service BI</a:t>
            </a:r>
          </a:p>
          <a:p>
            <a:pPr lvl="1"/>
            <a:r>
              <a:rPr lang="en-US"/>
              <a:t>Self-service data preparation</a:t>
            </a:r>
          </a:p>
          <a:p>
            <a:pPr lvl="1"/>
            <a:r>
              <a:rPr lang="en-US"/>
              <a:t>Prototyping and data sharing</a:t>
            </a:r>
          </a:p>
          <a:p>
            <a:pPr marL="0" lvl="1">
              <a:spcBef>
                <a:spcPts val="1248"/>
              </a:spcBef>
              <a:buClr>
                <a:schemeClr val="tx1"/>
              </a:buClr>
            </a:pPr>
            <a:r>
              <a:rPr lang="en-US" sz="2856">
                <a:latin typeface="Segoe UI" panose="020B0502040204020203" pitchFamily="34" charset="0"/>
                <a:cs typeface="Segoe UI" panose="020B0502040204020203" pitchFamily="34" charset="0"/>
              </a:rPr>
              <a:t>Content management and deployment scenarios</a:t>
            </a:r>
          </a:p>
          <a:p>
            <a:pPr lvl="1"/>
            <a:r>
              <a:rPr lang="en-US" sz="2100"/>
              <a:t>Self-service content publishing</a:t>
            </a:r>
          </a:p>
          <a:p>
            <a:pPr marL="0" lvl="1">
              <a:spcBef>
                <a:spcPts val="1248"/>
              </a:spcBef>
              <a:buClr>
                <a:schemeClr val="tx1"/>
              </a:buClr>
            </a:pPr>
            <a:r>
              <a:rPr lang="en-US" sz="2856">
                <a:latin typeface="Segoe UI" panose="020B0502040204020203" pitchFamily="34" charset="0"/>
                <a:cs typeface="Segoe UI" panose="020B0502040204020203" pitchFamily="34" charset="0"/>
              </a:rPr>
              <a:t>Additional scenarios and guidance coming soon!</a:t>
            </a:r>
          </a:p>
          <a:p>
            <a:pPr lvl="1"/>
            <a:endParaRPr lang="en-US"/>
          </a:p>
        </p:txBody>
      </p:sp>
    </p:spTree>
    <p:extLst>
      <p:ext uri="{BB962C8B-B14F-4D97-AF65-F5344CB8AC3E}">
        <p14:creationId xmlns:p14="http://schemas.microsoft.com/office/powerpoint/2010/main" val="4233497821"/>
      </p:ext>
    </p:extLst>
  </p:cSld>
  <p:clrMapOvr>
    <a:masterClrMapping/>
  </p:clrMapOvr>
  <p:transition spd="slow">
    <p:push dir="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662587" y="1820457"/>
            <a:ext cx="11037879" cy="3353610"/>
          </a:xfrm>
        </p:spPr>
        <p:txBody>
          <a:bodyPr/>
          <a:lstStyle/>
          <a:p>
            <a:r>
              <a:rPr lang="en-US" sz="6730">
                <a:latin typeface="Segoe UI Black" panose="020B0A02040204020203" pitchFamily="34" charset="0"/>
                <a:ea typeface="Segoe UI Black" panose="020B0A02040204020203" pitchFamily="34" charset="0"/>
              </a:rPr>
              <a:t>THE DAY AFTER</a:t>
            </a:r>
            <a:br>
              <a:rPr lang="en-US" sz="6730">
                <a:latin typeface="Segoe UI Black" panose="020B0A02040204020203" pitchFamily="34" charset="0"/>
                <a:ea typeface="Segoe UI Black" panose="020B0A02040204020203" pitchFamily="34" charset="0"/>
              </a:rPr>
            </a:br>
            <a:r>
              <a:rPr lang="en-US" sz="6730">
                <a:latin typeface="Segoe UI Black" panose="020B0A02040204020203" pitchFamily="34" charset="0"/>
                <a:ea typeface="Segoe UI Black" panose="020B0A02040204020203" pitchFamily="34" charset="0"/>
              </a:rPr>
              <a:t>*DASHBOARD </a:t>
            </a:r>
            <a:br>
              <a:rPr lang="en-US" sz="6730">
                <a:latin typeface="Segoe UI Black" panose="020B0A02040204020203" pitchFamily="34" charset="0"/>
                <a:ea typeface="Segoe UI Black" panose="020B0A02040204020203" pitchFamily="34" charset="0"/>
              </a:rPr>
            </a:br>
            <a:r>
              <a:rPr lang="en-US" sz="6730">
                <a:latin typeface="Segoe UI Black" panose="020B0A02040204020203" pitchFamily="34" charset="0"/>
                <a:ea typeface="Segoe UI Black" panose="020B0A02040204020203" pitchFamily="34" charset="0"/>
              </a:rPr>
              <a:t>IN A DAY</a:t>
            </a:r>
            <a:br>
              <a:rPr lang="en-US" sz="6730"/>
            </a:br>
            <a:r>
              <a:rPr lang="en-US" sz="1600"/>
              <a:t>* Technically it was a report</a:t>
            </a:r>
            <a:endParaRPr lang="en-US" sz="3264"/>
          </a:p>
        </p:txBody>
      </p:sp>
    </p:spTree>
    <p:extLst>
      <p:ext uri="{BB962C8B-B14F-4D97-AF65-F5344CB8AC3E}">
        <p14:creationId xmlns:p14="http://schemas.microsoft.com/office/powerpoint/2010/main" val="3946906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Structured Values</a:t>
            </a:r>
          </a:p>
        </p:txBody>
      </p:sp>
      <p:graphicFrame>
        <p:nvGraphicFramePr>
          <p:cNvPr id="4" name="Table 3">
            <a:extLst>
              <a:ext uri="{FF2B5EF4-FFF2-40B4-BE49-F238E27FC236}">
                <a16:creationId xmlns:a16="http://schemas.microsoft.com/office/drawing/2014/main" id="{4D79699D-3EFE-46AE-9FD9-6AF6AC8AF368}"/>
              </a:ext>
            </a:extLst>
          </p:cNvPr>
          <p:cNvGraphicFramePr>
            <a:graphicFrameLocks noGrp="1"/>
          </p:cNvGraphicFramePr>
          <p:nvPr>
            <p:extLst>
              <p:ext uri="{D42A27DB-BD31-4B8C-83A1-F6EECF244321}">
                <p14:modId xmlns:p14="http://schemas.microsoft.com/office/powerpoint/2010/main" val="2678883985"/>
              </p:ext>
            </p:extLst>
          </p:nvPr>
        </p:nvGraphicFramePr>
        <p:xfrm>
          <a:off x="855768" y="1545336"/>
          <a:ext cx="10723568" cy="4800783"/>
        </p:xfrm>
        <a:graphic>
          <a:graphicData uri="http://schemas.openxmlformats.org/drawingml/2006/table">
            <a:tbl>
              <a:tblPr/>
              <a:tblGrid>
                <a:gridCol w="5361784">
                  <a:extLst>
                    <a:ext uri="{9D8B030D-6E8A-4147-A177-3AD203B41FA5}">
                      <a16:colId xmlns:a16="http://schemas.microsoft.com/office/drawing/2014/main" val="3367326232"/>
                    </a:ext>
                  </a:extLst>
                </a:gridCol>
                <a:gridCol w="5361784">
                  <a:extLst>
                    <a:ext uri="{9D8B030D-6E8A-4147-A177-3AD203B41FA5}">
                      <a16:colId xmlns:a16="http://schemas.microsoft.com/office/drawing/2014/main" val="2388008421"/>
                    </a:ext>
                  </a:extLst>
                </a:gridCol>
              </a:tblGrid>
              <a:tr h="393900">
                <a:tc>
                  <a:txBody>
                    <a:bodyPr/>
                    <a:lstStyle/>
                    <a:p>
                      <a:pPr algn="l" latinLnBrk="0"/>
                      <a:r>
                        <a:rPr lang="en-US" sz="1500" b="1">
                          <a:solidFill>
                            <a:srgbClr val="000000"/>
                          </a:solidFill>
                          <a:effectLst/>
                          <a:latin typeface="Segoe UI" panose="020B0502040204020203" pitchFamily="34" charset="0"/>
                          <a:cs typeface="Segoe UI" panose="020B0502040204020203" pitchFamily="34" charset="0"/>
                        </a:rPr>
                        <a:t>Typ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latinLnBrk="0"/>
                      <a:r>
                        <a:rPr lang="en-US" sz="1500" b="1">
                          <a:solidFill>
                            <a:srgbClr val="000000"/>
                          </a:solidFill>
                          <a:effectLst/>
                          <a:latin typeface="Segoe UI" panose="020B0502040204020203" pitchFamily="34" charset="0"/>
                          <a:cs typeface="Segoe UI" panose="020B0502040204020203" pitchFamily="34" charset="0"/>
                        </a:rPr>
                        <a:t>Exampl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04467080"/>
                  </a:ext>
                </a:extLst>
              </a:tr>
              <a:tr h="1308183">
                <a:tc>
                  <a:txBody>
                    <a:bodyPr/>
                    <a:lstStyle/>
                    <a:p>
                      <a:pPr latinLnBrk="0"/>
                      <a:r>
                        <a:rPr lang="en-US" sz="1500">
                          <a:effectLst/>
                          <a:latin typeface="Segoe UI" panose="020B0502040204020203" pitchFamily="34" charset="0"/>
                          <a:cs typeface="Segoe UI" panose="020B0502040204020203" pitchFamily="34" charset="0"/>
                        </a:rPr>
                        <a:t>list</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a:t>
                      </a:r>
                    </a:p>
                    <a:p>
                      <a:pPr latinLnBrk="0"/>
                      <a:r>
                        <a:rPr lang="en-US" sz="1500">
                          <a:effectLst/>
                          <a:latin typeface="Segoe UI" panose="020B0502040204020203" pitchFamily="34" charset="0"/>
                          <a:cs typeface="Segoe UI" panose="020B0502040204020203" pitchFamily="34" charset="0"/>
                        </a:rPr>
                        <a:t>    “foo”,</a:t>
                      </a:r>
                    </a:p>
                    <a:p>
                      <a:pPr latinLnBrk="0"/>
                      <a:r>
                        <a:rPr lang="en-US" sz="1500">
                          <a:effectLst/>
                          <a:latin typeface="Segoe UI" panose="020B0502040204020203" pitchFamily="34" charset="0"/>
                          <a:cs typeface="Segoe UI" panose="020B0502040204020203" pitchFamily="34" charset="0"/>
                        </a:rPr>
                        <a:t>    “bar”,</a:t>
                      </a:r>
                    </a:p>
                    <a:p>
                      <a:pPr latinLnBrk="0"/>
                      <a:r>
                        <a:rPr lang="en-US" sz="1500">
                          <a:effectLst/>
                          <a:latin typeface="Segoe UI" panose="020B0502040204020203" pitchFamily="34" charset="0"/>
                          <a:cs typeface="Segoe UI" panose="020B0502040204020203" pitchFamily="34" charset="0"/>
                        </a:rPr>
                        <a:t>    10</a:t>
                      </a:r>
                    </a:p>
                    <a:p>
                      <a:pPr latinLnBrk="0"/>
                      <a:r>
                        <a:rPr lang="en-US" sz="1500">
                          <a:effectLst/>
                          <a:latin typeface="Segoe UI" panose="020B0502040204020203" pitchFamily="34" charset="0"/>
                          <a:cs typeface="Segoe UI" panose="020B0502040204020203" pitchFamily="34" charset="0"/>
                        </a:rPr>
                        <a:t>}</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99638832"/>
                  </a:ext>
                </a:extLst>
              </a:tr>
              <a:tr h="1332999">
                <a:tc>
                  <a:txBody>
                    <a:bodyPr/>
                    <a:lstStyle/>
                    <a:p>
                      <a:pPr latinLnBrk="0"/>
                      <a:r>
                        <a:rPr lang="en-US" sz="1500">
                          <a:effectLst/>
                          <a:latin typeface="Segoe UI" panose="020B0502040204020203" pitchFamily="34" charset="0"/>
                          <a:cs typeface="Segoe UI" panose="020B0502040204020203" pitchFamily="34" charset="0"/>
                        </a:rPr>
                        <a:t>record</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a:t>
                      </a:r>
                    </a:p>
                    <a:p>
                      <a:pPr latinLnBrk="0"/>
                      <a:r>
                        <a:rPr lang="en-US" sz="1500">
                          <a:effectLst/>
                          <a:latin typeface="Segoe UI" panose="020B0502040204020203" pitchFamily="34" charset="0"/>
                          <a:cs typeface="Segoe UI" panose="020B0502040204020203" pitchFamily="34" charset="0"/>
                        </a:rPr>
                        <a:t>    a = 10, </a:t>
                      </a:r>
                    </a:p>
                    <a:p>
                      <a:pPr latinLnBrk="0"/>
                      <a:r>
                        <a:rPr lang="en-US" sz="1500">
                          <a:effectLst/>
                          <a:latin typeface="Segoe UI" panose="020B0502040204020203" pitchFamily="34" charset="0"/>
                          <a:cs typeface="Segoe UI" panose="020B0502040204020203" pitchFamily="34" charset="0"/>
                        </a:rPr>
                        <a:t>    b = 20</a:t>
                      </a:r>
                    </a:p>
                    <a:p>
                      <a:pPr latinLnBrk="0"/>
                      <a:r>
                        <a:rPr lang="en-US" sz="1500">
                          <a:effectLst/>
                          <a:latin typeface="Segoe UI" panose="020B0502040204020203" pitchFamily="34" charset="0"/>
                          <a:cs typeface="Segoe UI" panose="020B0502040204020203" pitchFamily="34" charset="0"/>
                        </a:rPr>
                        <a:t>]</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78529909"/>
                  </a:ext>
                </a:extLst>
              </a:tr>
              <a:tr h="1765325">
                <a:tc>
                  <a:txBody>
                    <a:bodyPr/>
                    <a:lstStyle/>
                    <a:p>
                      <a:pPr latinLnBrk="0"/>
                      <a:r>
                        <a:rPr lang="en-US" sz="1500">
                          <a:effectLst/>
                          <a:latin typeface="Segoe UI" panose="020B0502040204020203" pitchFamily="34" charset="0"/>
                          <a:cs typeface="Segoe UI" panose="020B0502040204020203" pitchFamily="34" charset="0"/>
                        </a:rPr>
                        <a:t>tabl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table(</a:t>
                      </a:r>
                    </a:p>
                    <a:p>
                      <a:pPr latinLnBrk="0"/>
                      <a:r>
                        <a:rPr lang="en-US" sz="1500">
                          <a:effectLst/>
                          <a:latin typeface="Segoe UI" panose="020B0502040204020203" pitchFamily="34" charset="0"/>
                          <a:cs typeface="Segoe UI" panose="020B0502040204020203" pitchFamily="34" charset="0"/>
                        </a:rPr>
                        <a:t>    {“Animal”},</a:t>
                      </a:r>
                    </a:p>
                    <a:p>
                      <a:pPr latinLnBrk="0"/>
                      <a:r>
                        <a:rPr lang="en-US" sz="1500">
                          <a:effectLst/>
                          <a:latin typeface="Segoe UI" panose="020B0502040204020203" pitchFamily="34" charset="0"/>
                          <a:cs typeface="Segoe UI" panose="020B0502040204020203" pitchFamily="34" charset="0"/>
                        </a:rPr>
                        <a:t>    {</a:t>
                      </a:r>
                    </a:p>
                    <a:p>
                      <a:pPr latinLnBrk="0"/>
                      <a:r>
                        <a:rPr lang="en-US" sz="1500">
                          <a:effectLst/>
                          <a:latin typeface="Segoe UI" panose="020B0502040204020203" pitchFamily="34" charset="0"/>
                          <a:cs typeface="Segoe UI" panose="020B0502040204020203" pitchFamily="34" charset="0"/>
                        </a:rPr>
                        <a:t>        {“Cat”},</a:t>
                      </a:r>
                    </a:p>
                    <a:p>
                      <a:pPr latinLnBrk="0"/>
                      <a:r>
                        <a:rPr lang="en-US" sz="1500">
                          <a:effectLst/>
                          <a:latin typeface="Segoe UI" panose="020B0502040204020203" pitchFamily="34" charset="0"/>
                          <a:cs typeface="Segoe UI" panose="020B0502040204020203" pitchFamily="34" charset="0"/>
                        </a:rPr>
                        <a:t>        {“Dog”}</a:t>
                      </a:r>
                    </a:p>
                    <a:p>
                      <a:pPr latinLnBrk="0"/>
                      <a:r>
                        <a:rPr lang="en-US" sz="1500">
                          <a:effectLst/>
                          <a:latin typeface="Segoe UI" panose="020B0502040204020203" pitchFamily="34" charset="0"/>
                          <a:cs typeface="Segoe UI" panose="020B0502040204020203" pitchFamily="34" charset="0"/>
                        </a:rPr>
                        <a:t>    }</a:t>
                      </a:r>
                    </a:p>
                    <a:p>
                      <a:pPr latinLnBrk="0"/>
                      <a:r>
                        <a:rPr lang="en-US" sz="1500">
                          <a:effectLst/>
                          <a:latin typeface="Segoe UI" panose="020B0502040204020203" pitchFamily="34" charset="0"/>
                          <a:cs typeface="Segoe UI" panose="020B0502040204020203" pitchFamily="34" charset="0"/>
                        </a:rPr>
                        <a:t>)</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63427327"/>
                  </a:ext>
                </a:extLst>
              </a:tr>
            </a:tbl>
          </a:graphicData>
        </a:graphic>
      </p:graphicFrame>
    </p:spTree>
    <p:extLst>
      <p:ext uri="{BB962C8B-B14F-4D97-AF65-F5344CB8AC3E}">
        <p14:creationId xmlns:p14="http://schemas.microsoft.com/office/powerpoint/2010/main" val="20008853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Char"/>
      </p:transition>
    </mc:Choice>
    <mc:Fallback xmlns="">
      <p:transition spd="slow">
        <p:fade/>
      </p:transition>
    </mc:Fallback>
  </mc:AlternateContent>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040612-8A00-41C5-A21D-942AF2E5E273}"/>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1B93E3DE-ED08-4045-9A33-BECE96AA925D}"/>
              </a:ext>
            </a:extLst>
          </p:cNvPr>
          <p:cNvSpPr>
            <a:spLocks noGrp="1"/>
          </p:cNvSpPr>
          <p:nvPr>
            <p:ph idx="1"/>
          </p:nvPr>
        </p:nvSpPr>
        <p:spPr>
          <a:xfrm>
            <a:off x="595915" y="1464080"/>
            <a:ext cx="11239464" cy="439479"/>
          </a:xfrm>
        </p:spPr>
        <p:txBody>
          <a:bodyPr/>
          <a:lstStyle/>
          <a:p>
            <a:endParaRPr lang="en-US"/>
          </a:p>
        </p:txBody>
      </p:sp>
      <p:pic>
        <p:nvPicPr>
          <p:cNvPr id="6" name="Picture 5">
            <a:extLst>
              <a:ext uri="{FF2B5EF4-FFF2-40B4-BE49-F238E27FC236}">
                <a16:creationId xmlns:a16="http://schemas.microsoft.com/office/drawing/2014/main" id="{00772C2D-0CB5-439F-AB3E-CCEC970BB23E}"/>
              </a:ext>
            </a:extLst>
          </p:cNvPr>
          <p:cNvPicPr>
            <a:picLocks noChangeAspect="1"/>
          </p:cNvPicPr>
          <p:nvPr/>
        </p:nvPicPr>
        <p:blipFill>
          <a:blip r:embed="rId3"/>
          <a:stretch>
            <a:fillRect/>
          </a:stretch>
        </p:blipFill>
        <p:spPr>
          <a:xfrm>
            <a:off x="0" y="365473"/>
            <a:ext cx="12436475" cy="6263579"/>
          </a:xfrm>
          <a:prstGeom prst="rect">
            <a:avLst/>
          </a:prstGeom>
        </p:spPr>
      </p:pic>
    </p:spTree>
    <p:extLst>
      <p:ext uri="{BB962C8B-B14F-4D97-AF65-F5344CB8AC3E}">
        <p14:creationId xmlns:p14="http://schemas.microsoft.com/office/powerpoint/2010/main" val="3933805859"/>
      </p:ext>
    </p:extLst>
  </p:cSld>
  <p:clrMapOvr>
    <a:masterClrMapping/>
  </p:clrMapOvr>
  <p:transition spd="slow">
    <p:push dir="d"/>
  </p:transition>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4631BD2-F4F1-498B-9943-5965BFCED19A}"/>
              </a:ext>
            </a:extLst>
          </p:cNvPr>
          <p:cNvSpPr>
            <a:spLocks noGrp="1"/>
          </p:cNvSpPr>
          <p:nvPr>
            <p:ph type="title"/>
          </p:nvPr>
        </p:nvSpPr>
        <p:spPr>
          <a:xfrm>
            <a:off x="598505" y="2758598"/>
            <a:ext cx="11239464" cy="1477328"/>
          </a:xfrm>
        </p:spPr>
        <p:txBody>
          <a:bodyPr/>
          <a:lstStyle/>
          <a:p>
            <a:r>
              <a:rPr lang="en-US" sz="9599"/>
              <a:t>Thank you!</a:t>
            </a:r>
          </a:p>
        </p:txBody>
      </p:sp>
    </p:spTree>
    <p:extLst>
      <p:ext uri="{BB962C8B-B14F-4D97-AF65-F5344CB8AC3E}">
        <p14:creationId xmlns:p14="http://schemas.microsoft.com/office/powerpoint/2010/main" val="404217166"/>
      </p:ext>
    </p:extLst>
  </p:cSld>
  <p:clrMapOvr>
    <a:masterClrMapping/>
  </p:clrMapOvr>
  <p:transition spd="slow">
    <p:push dir="u"/>
  </p:transition>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C9680416-BAFE-4FE1-BF5D-C232A14828F1}"/>
              </a:ext>
            </a:extLst>
          </p:cNvPr>
          <p:cNvPicPr>
            <a:picLocks noChangeAspect="1" noChangeArrowheads="1"/>
          </p:cNvPicPr>
          <p:nvPr/>
        </p:nvPicPr>
        <p:blipFill>
          <a:blip r:link="rId2">
            <a:extLst>
              <a:ext uri="{28A0092B-C50C-407E-A947-70E740481C1C}">
                <a14:useLocalDpi xmlns:a14="http://schemas.microsoft.com/office/drawing/2010/main" val="0"/>
              </a:ext>
            </a:extLst>
          </a:blip>
          <a:srcRect/>
          <a:stretch>
            <a:fillRect/>
          </a:stretch>
        </p:blipFill>
        <p:spPr bwMode="auto">
          <a:xfrm>
            <a:off x="5109320" y="907361"/>
            <a:ext cx="5994104" cy="5994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a:extLst>
              <a:ext uri="{FF2B5EF4-FFF2-40B4-BE49-F238E27FC236}">
                <a16:creationId xmlns:a16="http://schemas.microsoft.com/office/drawing/2014/main" id="{C3A7FE74-291B-4388-A9D2-771FE7B19150}"/>
              </a:ext>
            </a:extLst>
          </p:cNvPr>
          <p:cNvSpPr>
            <a:spLocks noGrp="1"/>
          </p:cNvSpPr>
          <p:nvPr>
            <p:ph type="title"/>
          </p:nvPr>
        </p:nvSpPr>
        <p:spPr/>
        <p:txBody>
          <a:bodyPr/>
          <a:lstStyle/>
          <a:p>
            <a:r>
              <a:rPr lang="en-US"/>
              <a:t>Session Feedback</a:t>
            </a:r>
          </a:p>
        </p:txBody>
      </p:sp>
      <p:sp>
        <p:nvSpPr>
          <p:cNvPr id="3" name="Text Placeholder 2">
            <a:extLst>
              <a:ext uri="{FF2B5EF4-FFF2-40B4-BE49-F238E27FC236}">
                <a16:creationId xmlns:a16="http://schemas.microsoft.com/office/drawing/2014/main" id="{9D854643-ED6F-4E9F-967A-60A9CF0FE063}"/>
              </a:ext>
            </a:extLst>
          </p:cNvPr>
          <p:cNvSpPr>
            <a:spLocks noGrp="1"/>
          </p:cNvSpPr>
          <p:nvPr>
            <p:ph type="body" sz="quarter" idx="10"/>
          </p:nvPr>
        </p:nvSpPr>
        <p:spPr>
          <a:xfrm>
            <a:off x="595838" y="1463671"/>
            <a:ext cx="5051335" cy="4131387"/>
          </a:xfrm>
        </p:spPr>
        <p:txBody>
          <a:bodyPr/>
          <a:lstStyle/>
          <a:p>
            <a:r>
              <a:rPr lang="en-US"/>
              <a:t>Please let us know how we do! </a:t>
            </a:r>
          </a:p>
          <a:p>
            <a:endParaRPr lang="en-US"/>
          </a:p>
          <a:p>
            <a:r>
              <a:rPr lang="en-US"/>
              <a:t>Complete a post-session survey to share your feedback. </a:t>
            </a:r>
            <a:r>
              <a:rPr lang="en-US">
                <a:solidFill>
                  <a:srgbClr val="00B050"/>
                </a:solidFill>
              </a:rPr>
              <a:t>SQLBits will </a:t>
            </a:r>
            <a:r>
              <a:rPr lang="en-US" b="1">
                <a:solidFill>
                  <a:srgbClr val="00B050"/>
                </a:solidFill>
              </a:rPr>
              <a:t>plant a tree </a:t>
            </a:r>
            <a:r>
              <a:rPr lang="en-US">
                <a:solidFill>
                  <a:srgbClr val="00B050"/>
                </a:solidFill>
              </a:rPr>
              <a:t>for every 10 surveys received.</a:t>
            </a:r>
          </a:p>
          <a:p>
            <a:endParaRPr lang="en-US"/>
          </a:p>
          <a:p>
            <a:r>
              <a:rPr lang="en-US"/>
              <a:t>https://sqlb.it/?7152</a:t>
            </a:r>
          </a:p>
        </p:txBody>
      </p:sp>
    </p:spTree>
    <p:extLst>
      <p:ext uri="{BB962C8B-B14F-4D97-AF65-F5344CB8AC3E}">
        <p14:creationId xmlns:p14="http://schemas.microsoft.com/office/powerpoint/2010/main" val="1616470210"/>
      </p:ext>
    </p:extLst>
  </p:cSld>
  <p:clrMapOvr>
    <a:masterClrMapping/>
  </p:clrMapOvr>
  <p:transition>
    <p:fade/>
  </p:transition>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79679796-962E-4DA5-9C87-F74B5370F0F7}"/>
              </a:ext>
            </a:extLst>
          </p:cNvPr>
          <p:cNvSpPr/>
          <p:nvPr/>
        </p:nvSpPr>
        <p:spPr>
          <a:xfrm>
            <a:off x="4112" y="3702661"/>
            <a:ext cx="12431481" cy="523372"/>
          </a:xfrm>
          <a:prstGeom prst="rect">
            <a:avLst/>
          </a:prstGeom>
          <a:solidFill>
            <a:srgbClr val="F2F2F2"/>
          </a:solidFill>
          <a:ln w="12700" cap="flat" cmpd="sng" algn="ctr">
            <a:noFill/>
            <a:prstDash val="solid"/>
            <a:miter lim="800000"/>
          </a:ln>
          <a:effectLst/>
        </p:spPr>
        <p:txBody>
          <a:bodyPr rtlCol="0" anchor="ctr"/>
          <a:lstStyle/>
          <a:p>
            <a:pPr algn="ctr" defTabSz="635780">
              <a:defRPr/>
            </a:pPr>
            <a:endParaRPr lang="en-IN" sz="1251" kern="0">
              <a:solidFill>
                <a:prstClr val="white"/>
              </a:solidFill>
              <a:latin typeface="Calibri" panose="020F0502020204030204"/>
              <a:cs typeface="Segoe UI Semibold"/>
            </a:endParaRPr>
          </a:p>
        </p:txBody>
      </p:sp>
      <p:sp>
        <p:nvSpPr>
          <p:cNvPr id="24" name="Rectangle 23">
            <a:extLst>
              <a:ext uri="{FF2B5EF4-FFF2-40B4-BE49-F238E27FC236}">
                <a16:creationId xmlns:a16="http://schemas.microsoft.com/office/drawing/2014/main" id="{8A52C8CB-7582-4BD6-AABE-1C709F8A31FF}"/>
              </a:ext>
            </a:extLst>
          </p:cNvPr>
          <p:cNvSpPr/>
          <p:nvPr/>
        </p:nvSpPr>
        <p:spPr>
          <a:xfrm>
            <a:off x="-2868" y="3686347"/>
            <a:ext cx="12431178" cy="89052"/>
          </a:xfrm>
          <a:prstGeom prst="rect">
            <a:avLst/>
          </a:prstGeom>
          <a:solidFill>
            <a:srgbClr val="243A5E"/>
          </a:solidFill>
          <a:ln w="12700" cap="flat" cmpd="sng" algn="ctr">
            <a:noFill/>
            <a:prstDash val="solid"/>
            <a:miter lim="800000"/>
          </a:ln>
          <a:effectLst/>
        </p:spPr>
        <p:txBody>
          <a:bodyPr rot="0" spcFirstLastPara="0" vertOverflow="overflow" horzOverflow="overflow" vert="horz" wrap="square" lIns="63578" tIns="31790" rIns="63578" bIns="31790" numCol="1" spcCol="0" rtlCol="0" fromWordArt="0" anchor="ctr" anchorCtr="0" forceAA="0" compatLnSpc="1">
            <a:prstTxWarp prst="textNoShape">
              <a:avLst/>
            </a:prstTxWarp>
            <a:noAutofit/>
          </a:bodyPr>
          <a:lstStyle/>
          <a:p>
            <a:pPr algn="ctr" defTabSz="635780">
              <a:defRPr/>
            </a:pPr>
            <a:endParaRPr lang="en-US" sz="1251" kern="0">
              <a:solidFill>
                <a:prstClr val="white"/>
              </a:solidFill>
              <a:latin typeface="Calibri" panose="020F0502020204030204"/>
              <a:cs typeface="Segoe UI Semibold"/>
            </a:endParaRPr>
          </a:p>
        </p:txBody>
      </p:sp>
      <p:grpSp>
        <p:nvGrpSpPr>
          <p:cNvPr id="2" name="Group 1">
            <a:extLst>
              <a:ext uri="{FF2B5EF4-FFF2-40B4-BE49-F238E27FC236}">
                <a16:creationId xmlns:a16="http://schemas.microsoft.com/office/drawing/2014/main" id="{FF7BF60B-8AA4-4A62-8A9C-7F57C569380C}"/>
              </a:ext>
            </a:extLst>
          </p:cNvPr>
          <p:cNvGrpSpPr/>
          <p:nvPr/>
        </p:nvGrpSpPr>
        <p:grpSpPr>
          <a:xfrm>
            <a:off x="288840" y="4903895"/>
            <a:ext cx="11863790" cy="1090193"/>
            <a:chOff x="237499" y="7908448"/>
            <a:chExt cx="6918044" cy="548640"/>
          </a:xfrm>
        </p:grpSpPr>
        <p:sp>
          <p:nvSpPr>
            <p:cNvPr id="3" name="Oval 2">
              <a:extLst>
                <a:ext uri="{FF2B5EF4-FFF2-40B4-BE49-F238E27FC236}">
                  <a16:creationId xmlns:a16="http://schemas.microsoft.com/office/drawing/2014/main" id="{C76838FD-2087-47F4-9140-187930CDC04D}"/>
                </a:ext>
              </a:extLst>
            </p:cNvPr>
            <p:cNvSpPr/>
            <p:nvPr/>
          </p:nvSpPr>
          <p:spPr>
            <a:xfrm>
              <a:off x="6509670" y="7908448"/>
              <a:ext cx="645873" cy="548640"/>
            </a:xfrm>
            <a:prstGeom prst="ellipse">
              <a:avLst/>
            </a:prstGeom>
            <a:solidFill>
              <a:srgbClr val="E7E6E6"/>
            </a:solidFill>
            <a:ln w="12700" cap="flat" cmpd="sng" algn="ctr">
              <a:noFill/>
              <a:prstDash val="solid"/>
              <a:miter lim="800000"/>
            </a:ln>
            <a:effectLst/>
          </p:spPr>
          <p:txBody>
            <a:bodyPr rot="0" spcFirstLastPara="0" vertOverflow="overflow" horzOverflow="overflow" vert="horz" wrap="square" lIns="63578" tIns="31790" rIns="63578" bIns="31790" numCol="1" spcCol="0" rtlCol="0" fromWordArt="0" anchor="ctr" anchorCtr="0" forceAA="0" compatLnSpc="1">
              <a:prstTxWarp prst="textNoShape">
                <a:avLst/>
              </a:prstTxWarp>
              <a:noAutofit/>
            </a:bodyPr>
            <a:lstStyle/>
            <a:p>
              <a:pPr algn="ctr" defTabSz="635780">
                <a:defRPr/>
              </a:pPr>
              <a:endParaRPr lang="en-US" sz="1251" kern="0">
                <a:solidFill>
                  <a:prstClr val="white"/>
                </a:solidFill>
                <a:latin typeface="Calibri" panose="020F0502020204030204"/>
                <a:cs typeface="Segoe UI Semibold"/>
              </a:endParaRPr>
            </a:p>
          </p:txBody>
        </p:sp>
        <p:sp>
          <p:nvSpPr>
            <p:cNvPr id="4" name="Freeform: Shape 3">
              <a:extLst>
                <a:ext uri="{FF2B5EF4-FFF2-40B4-BE49-F238E27FC236}">
                  <a16:creationId xmlns:a16="http://schemas.microsoft.com/office/drawing/2014/main" id="{10BF560A-E435-4D4B-981D-9DAFBCDBE7EA}"/>
                </a:ext>
              </a:extLst>
            </p:cNvPr>
            <p:cNvSpPr/>
            <p:nvPr/>
          </p:nvSpPr>
          <p:spPr>
            <a:xfrm>
              <a:off x="237499" y="7908448"/>
              <a:ext cx="6570856" cy="548640"/>
            </a:xfrm>
            <a:custGeom>
              <a:avLst/>
              <a:gdLst>
                <a:gd name="connsiteX0" fmla="*/ 0 w 6570856"/>
                <a:gd name="connsiteY0" fmla="*/ 0 h 548640"/>
                <a:gd name="connsiteX1" fmla="*/ 6570856 w 6570856"/>
                <a:gd name="connsiteY1" fmla="*/ 0 h 548640"/>
                <a:gd name="connsiteX2" fmla="*/ 6570856 w 6570856"/>
                <a:gd name="connsiteY2" fmla="*/ 548640 h 548640"/>
                <a:gd name="connsiteX3" fmla="*/ 541107 w 6570856"/>
                <a:gd name="connsiteY3" fmla="*/ 548640 h 548640"/>
                <a:gd name="connsiteX4" fmla="*/ 0 w 6570856"/>
                <a:gd name="connsiteY4" fmla="*/ 0 h 548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0856" h="548640">
                  <a:moveTo>
                    <a:pt x="0" y="0"/>
                  </a:moveTo>
                  <a:lnTo>
                    <a:pt x="6570856" y="0"/>
                  </a:lnTo>
                  <a:lnTo>
                    <a:pt x="6570856" y="548640"/>
                  </a:lnTo>
                  <a:lnTo>
                    <a:pt x="541107" y="548640"/>
                  </a:lnTo>
                  <a:lnTo>
                    <a:pt x="0" y="0"/>
                  </a:lnTo>
                  <a:close/>
                </a:path>
              </a:pathLst>
            </a:custGeom>
            <a:solidFill>
              <a:srgbClr val="E7E6E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algn="ctr" defTabSz="573969" hangingPunct="0"/>
              <a:endParaRPr lang="en-US" sz="2225">
                <a:solidFill>
                  <a:srgbClr val="FFFFFF"/>
                </a:solidFill>
                <a:latin typeface="Helvetica Neue Medium"/>
                <a:ea typeface="Helvetica Neue Medium"/>
                <a:cs typeface="Helvetica Neue Medium"/>
                <a:sym typeface="Helvetica Neue Medium"/>
              </a:endParaRPr>
            </a:p>
          </p:txBody>
        </p:sp>
      </p:grpSp>
      <p:sp>
        <p:nvSpPr>
          <p:cNvPr id="5" name="Rectangle 4">
            <a:extLst>
              <a:ext uri="{FF2B5EF4-FFF2-40B4-BE49-F238E27FC236}">
                <a16:creationId xmlns:a16="http://schemas.microsoft.com/office/drawing/2014/main" id="{BB6338A7-9286-4545-A0D0-F7F1A0E8ADDF}"/>
              </a:ext>
            </a:extLst>
          </p:cNvPr>
          <p:cNvSpPr/>
          <p:nvPr/>
        </p:nvSpPr>
        <p:spPr>
          <a:xfrm>
            <a:off x="249624" y="3837173"/>
            <a:ext cx="3815195" cy="290492"/>
          </a:xfrm>
          <a:prstGeom prst="rect">
            <a:avLst/>
          </a:prstGeom>
          <a:noFill/>
          <a:ln w="12700" cap="flat" cmpd="sng" algn="ctr">
            <a:noFill/>
            <a:prstDash val="solid"/>
            <a:miter lim="800000"/>
          </a:ln>
          <a:effectLst/>
        </p:spPr>
        <p:txBody>
          <a:bodyPr wrap="square" lIns="0" rIns="0" rtlCol="0" anchor="t">
            <a:spAutoFit/>
          </a:bodyPr>
          <a:lstStyle/>
          <a:p>
            <a:pPr algn="ctr" defTabSz="635780">
              <a:defRPr/>
            </a:pPr>
            <a:r>
              <a:rPr lang="en-US" sz="1251" kern="0">
                <a:solidFill>
                  <a:prstClr val="black"/>
                </a:solidFill>
                <a:latin typeface="Segoe UI Semibold"/>
                <a:cs typeface="Segoe UI Semibold"/>
              </a:rPr>
              <a:t>Advance your career in cloud data engineering</a:t>
            </a:r>
          </a:p>
        </p:txBody>
      </p:sp>
      <p:sp>
        <p:nvSpPr>
          <p:cNvPr id="6" name="Rectangle 5">
            <a:extLst>
              <a:ext uri="{FF2B5EF4-FFF2-40B4-BE49-F238E27FC236}">
                <a16:creationId xmlns:a16="http://schemas.microsoft.com/office/drawing/2014/main" id="{E7E5F0FF-FD7C-4036-8DE3-4CFBDE906F46}"/>
              </a:ext>
            </a:extLst>
          </p:cNvPr>
          <p:cNvSpPr/>
          <p:nvPr/>
        </p:nvSpPr>
        <p:spPr>
          <a:xfrm>
            <a:off x="4246419" y="3837173"/>
            <a:ext cx="3815195" cy="290492"/>
          </a:xfrm>
          <a:prstGeom prst="rect">
            <a:avLst/>
          </a:prstGeom>
          <a:noFill/>
          <a:ln w="12700" cap="flat" cmpd="sng" algn="ctr">
            <a:noFill/>
            <a:prstDash val="solid"/>
            <a:miter lim="800000"/>
          </a:ln>
          <a:effectLst/>
        </p:spPr>
        <p:txBody>
          <a:bodyPr wrap="square" lIns="0" rIns="0" rtlCol="0" anchor="t">
            <a:spAutoFit/>
          </a:bodyPr>
          <a:lstStyle/>
          <a:p>
            <a:pPr algn="ctr" defTabSz="635780">
              <a:defRPr/>
            </a:pPr>
            <a:r>
              <a:rPr lang="en-US" sz="1251" kern="0">
                <a:solidFill>
                  <a:prstClr val="black"/>
                </a:solidFill>
                <a:latin typeface="Segoe UI Semibold"/>
                <a:cs typeface="Segoe UI Semibold"/>
              </a:rPr>
              <a:t>Build in-demand skills</a:t>
            </a:r>
          </a:p>
        </p:txBody>
      </p:sp>
      <p:sp>
        <p:nvSpPr>
          <p:cNvPr id="7" name="Freeform: Shape 6">
            <a:extLst>
              <a:ext uri="{FF2B5EF4-FFF2-40B4-BE49-F238E27FC236}">
                <a16:creationId xmlns:a16="http://schemas.microsoft.com/office/drawing/2014/main" id="{42354B4A-EEC1-4721-99FC-ADE14DD87DBB}"/>
              </a:ext>
            </a:extLst>
          </p:cNvPr>
          <p:cNvSpPr>
            <a:spLocks noChangeAspect="1"/>
          </p:cNvSpPr>
          <p:nvPr/>
        </p:nvSpPr>
        <p:spPr>
          <a:xfrm rot="348610" flipV="1">
            <a:off x="1822940" y="3689542"/>
            <a:ext cx="84819" cy="82662"/>
          </a:xfrm>
          <a:custGeom>
            <a:avLst/>
            <a:gdLst>
              <a:gd name="connsiteX0" fmla="*/ 74486 w 74485"/>
              <a:gd name="connsiteY0" fmla="*/ 37243 h 74485"/>
              <a:gd name="connsiteX1" fmla="*/ 37243 w 74485"/>
              <a:gd name="connsiteY1" fmla="*/ 74486 h 74485"/>
              <a:gd name="connsiteX2" fmla="*/ 0 w 74485"/>
              <a:gd name="connsiteY2" fmla="*/ 37243 h 74485"/>
              <a:gd name="connsiteX3" fmla="*/ 37243 w 74485"/>
              <a:gd name="connsiteY3" fmla="*/ 0 h 74485"/>
              <a:gd name="connsiteX4" fmla="*/ 74486 w 74485"/>
              <a:gd name="connsiteY4" fmla="*/ 37243 h 74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485" h="74485">
                <a:moveTo>
                  <a:pt x="74486" y="37243"/>
                </a:moveTo>
                <a:cubicBezTo>
                  <a:pt x="74486" y="57811"/>
                  <a:pt x="57811" y="74486"/>
                  <a:pt x="37243" y="74486"/>
                </a:cubicBezTo>
                <a:cubicBezTo>
                  <a:pt x="16674" y="74486"/>
                  <a:pt x="0" y="57811"/>
                  <a:pt x="0" y="37243"/>
                </a:cubicBezTo>
                <a:cubicBezTo>
                  <a:pt x="0" y="16674"/>
                  <a:pt x="16674" y="0"/>
                  <a:pt x="37243" y="0"/>
                </a:cubicBezTo>
                <a:cubicBezTo>
                  <a:pt x="57811" y="0"/>
                  <a:pt x="74486" y="16674"/>
                  <a:pt x="74486" y="37243"/>
                </a:cubicBezTo>
                <a:close/>
              </a:path>
            </a:pathLst>
          </a:custGeom>
          <a:solidFill>
            <a:srgbClr val="28C2D1"/>
          </a:solidFill>
          <a:ln w="744" cap="flat">
            <a:noFill/>
            <a:prstDash val="solid"/>
            <a:miter/>
          </a:ln>
        </p:spPr>
        <p:txBody>
          <a:bodyPr rtlCol="0" anchor="ctr"/>
          <a:lstStyle/>
          <a:p>
            <a:pPr defTabSz="635780"/>
            <a:endParaRPr lang="en-IN" sz="1251">
              <a:solidFill>
                <a:prstClr val="black"/>
              </a:solidFill>
              <a:latin typeface="Calibri" panose="020F0502020204030204"/>
              <a:cs typeface="Segoe UI Semibold"/>
            </a:endParaRPr>
          </a:p>
        </p:txBody>
      </p:sp>
      <p:sp>
        <p:nvSpPr>
          <p:cNvPr id="8" name="Freeform: Shape 7">
            <a:extLst>
              <a:ext uri="{FF2B5EF4-FFF2-40B4-BE49-F238E27FC236}">
                <a16:creationId xmlns:a16="http://schemas.microsoft.com/office/drawing/2014/main" id="{B1BBE4ED-54F7-4AFE-AEB4-C1BF62C6A01A}"/>
              </a:ext>
            </a:extLst>
          </p:cNvPr>
          <p:cNvSpPr>
            <a:spLocks noChangeAspect="1"/>
          </p:cNvSpPr>
          <p:nvPr/>
        </p:nvSpPr>
        <p:spPr>
          <a:xfrm rot="348610" flipV="1">
            <a:off x="6111607" y="3689542"/>
            <a:ext cx="84819" cy="82662"/>
          </a:xfrm>
          <a:custGeom>
            <a:avLst/>
            <a:gdLst>
              <a:gd name="connsiteX0" fmla="*/ 74486 w 74485"/>
              <a:gd name="connsiteY0" fmla="*/ 37243 h 74485"/>
              <a:gd name="connsiteX1" fmla="*/ 37243 w 74485"/>
              <a:gd name="connsiteY1" fmla="*/ 74486 h 74485"/>
              <a:gd name="connsiteX2" fmla="*/ 0 w 74485"/>
              <a:gd name="connsiteY2" fmla="*/ 37243 h 74485"/>
              <a:gd name="connsiteX3" fmla="*/ 37243 w 74485"/>
              <a:gd name="connsiteY3" fmla="*/ 0 h 74485"/>
              <a:gd name="connsiteX4" fmla="*/ 74486 w 74485"/>
              <a:gd name="connsiteY4" fmla="*/ 37243 h 74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485" h="74485">
                <a:moveTo>
                  <a:pt x="74486" y="37243"/>
                </a:moveTo>
                <a:cubicBezTo>
                  <a:pt x="74486" y="57811"/>
                  <a:pt x="57811" y="74486"/>
                  <a:pt x="37243" y="74486"/>
                </a:cubicBezTo>
                <a:cubicBezTo>
                  <a:pt x="16674" y="74486"/>
                  <a:pt x="0" y="57811"/>
                  <a:pt x="0" y="37243"/>
                </a:cubicBezTo>
                <a:cubicBezTo>
                  <a:pt x="0" y="16674"/>
                  <a:pt x="16674" y="0"/>
                  <a:pt x="37243" y="0"/>
                </a:cubicBezTo>
                <a:cubicBezTo>
                  <a:pt x="57811" y="0"/>
                  <a:pt x="74486" y="16674"/>
                  <a:pt x="74486" y="37243"/>
                </a:cubicBezTo>
                <a:close/>
              </a:path>
            </a:pathLst>
          </a:custGeom>
          <a:solidFill>
            <a:srgbClr val="28C2D1"/>
          </a:solidFill>
          <a:ln w="744" cap="flat">
            <a:noFill/>
            <a:prstDash val="solid"/>
            <a:miter/>
          </a:ln>
        </p:spPr>
        <p:txBody>
          <a:bodyPr rtlCol="0" anchor="ctr"/>
          <a:lstStyle/>
          <a:p>
            <a:pPr defTabSz="635780"/>
            <a:endParaRPr lang="en-IN" sz="1251">
              <a:solidFill>
                <a:prstClr val="black"/>
              </a:solidFill>
              <a:latin typeface="Calibri" panose="020F0502020204030204"/>
              <a:cs typeface="Segoe UI Semibold"/>
            </a:endParaRPr>
          </a:p>
        </p:txBody>
      </p:sp>
      <p:sp>
        <p:nvSpPr>
          <p:cNvPr id="9" name="Rectangle 8">
            <a:extLst>
              <a:ext uri="{FF2B5EF4-FFF2-40B4-BE49-F238E27FC236}">
                <a16:creationId xmlns:a16="http://schemas.microsoft.com/office/drawing/2014/main" id="{5D090EEC-E88D-44C7-B7AE-4DB4E4904998}"/>
              </a:ext>
            </a:extLst>
          </p:cNvPr>
          <p:cNvSpPr/>
          <p:nvPr/>
        </p:nvSpPr>
        <p:spPr>
          <a:xfrm>
            <a:off x="8243213" y="3837173"/>
            <a:ext cx="3815195" cy="290492"/>
          </a:xfrm>
          <a:prstGeom prst="rect">
            <a:avLst/>
          </a:prstGeom>
          <a:noFill/>
          <a:ln w="12700" cap="flat" cmpd="sng" algn="ctr">
            <a:noFill/>
            <a:prstDash val="solid"/>
            <a:miter lim="800000"/>
          </a:ln>
          <a:effectLst/>
        </p:spPr>
        <p:txBody>
          <a:bodyPr lIns="0" rIns="0" rtlCol="0" anchor="t">
            <a:spAutoFit/>
          </a:bodyPr>
          <a:lstStyle/>
          <a:p>
            <a:pPr algn="ctr" defTabSz="635780">
              <a:defRPr/>
            </a:pPr>
            <a:r>
              <a:rPr lang="en-US" sz="1251" kern="0">
                <a:solidFill>
                  <a:prstClr val="black"/>
                </a:solidFill>
                <a:latin typeface="Segoe UI Semibold"/>
                <a:cs typeface="Segoe UI Semibold"/>
              </a:rPr>
              <a:t>Increase your productivity and efficiency </a:t>
            </a:r>
          </a:p>
        </p:txBody>
      </p:sp>
      <p:sp>
        <p:nvSpPr>
          <p:cNvPr id="10" name="Rectangle 9">
            <a:extLst>
              <a:ext uri="{FF2B5EF4-FFF2-40B4-BE49-F238E27FC236}">
                <a16:creationId xmlns:a16="http://schemas.microsoft.com/office/drawing/2014/main" id="{C5F7BA94-42D3-41A1-B5E1-6ABF20322FF2}"/>
              </a:ext>
            </a:extLst>
          </p:cNvPr>
          <p:cNvSpPr/>
          <p:nvPr/>
        </p:nvSpPr>
        <p:spPr>
          <a:xfrm>
            <a:off x="687944" y="5151033"/>
            <a:ext cx="11269829" cy="542399"/>
          </a:xfrm>
          <a:prstGeom prst="rect">
            <a:avLst/>
          </a:prstGeom>
        </p:spPr>
        <p:txBody>
          <a:bodyPr wrap="square" lIns="93248" tIns="46624" rIns="93248" bIns="46624" anchor="t">
            <a:spAutoFit/>
          </a:bodyPr>
          <a:lstStyle/>
          <a:p>
            <a:pPr marL="160598" defTabSz="635780">
              <a:defRPr/>
            </a:pPr>
            <a:r>
              <a:rPr lang="en-US" sz="2856" kern="0">
                <a:solidFill>
                  <a:prstClr val="black"/>
                </a:solidFill>
                <a:latin typeface="Segoe UI Semibold"/>
                <a:cs typeface="Segoe UI Semibold"/>
              </a:rPr>
              <a:t>Get started at </a:t>
            </a:r>
            <a:r>
              <a:rPr lang="en-US" sz="2856" b="1" kern="0">
                <a:solidFill>
                  <a:srgbClr val="0078D4"/>
                </a:solidFill>
                <a:latin typeface="Segoe UI Semibold"/>
                <a:cs typeface="Segoe UI Semibold"/>
                <a:hlinkClick r:id="rId3"/>
              </a:rPr>
              <a:t>aka.ms/azuresqlfundamentals</a:t>
            </a:r>
            <a:endParaRPr lang="en-US" sz="2856" b="1" kern="0">
              <a:solidFill>
                <a:srgbClr val="0078D4"/>
              </a:solidFill>
              <a:latin typeface="Segoe UI Semibold"/>
              <a:cs typeface="Segoe UI Semibold"/>
            </a:endParaRPr>
          </a:p>
        </p:txBody>
      </p:sp>
      <p:sp>
        <p:nvSpPr>
          <p:cNvPr id="11" name="Freeform: Shape 10">
            <a:extLst>
              <a:ext uri="{FF2B5EF4-FFF2-40B4-BE49-F238E27FC236}">
                <a16:creationId xmlns:a16="http://schemas.microsoft.com/office/drawing/2014/main" id="{2B4E4E92-CB5D-4CB5-B48E-8B754C394308}"/>
              </a:ext>
            </a:extLst>
          </p:cNvPr>
          <p:cNvSpPr>
            <a:spLocks noChangeAspect="1"/>
          </p:cNvSpPr>
          <p:nvPr/>
        </p:nvSpPr>
        <p:spPr>
          <a:xfrm rot="348610" flipV="1">
            <a:off x="10108401" y="3689542"/>
            <a:ext cx="84819" cy="82662"/>
          </a:xfrm>
          <a:custGeom>
            <a:avLst/>
            <a:gdLst>
              <a:gd name="connsiteX0" fmla="*/ 74486 w 74485"/>
              <a:gd name="connsiteY0" fmla="*/ 37243 h 74485"/>
              <a:gd name="connsiteX1" fmla="*/ 37243 w 74485"/>
              <a:gd name="connsiteY1" fmla="*/ 74486 h 74485"/>
              <a:gd name="connsiteX2" fmla="*/ 0 w 74485"/>
              <a:gd name="connsiteY2" fmla="*/ 37243 h 74485"/>
              <a:gd name="connsiteX3" fmla="*/ 37243 w 74485"/>
              <a:gd name="connsiteY3" fmla="*/ 0 h 74485"/>
              <a:gd name="connsiteX4" fmla="*/ 74486 w 74485"/>
              <a:gd name="connsiteY4" fmla="*/ 37243 h 74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485" h="74485">
                <a:moveTo>
                  <a:pt x="74486" y="37243"/>
                </a:moveTo>
                <a:cubicBezTo>
                  <a:pt x="74486" y="57811"/>
                  <a:pt x="57811" y="74486"/>
                  <a:pt x="37243" y="74486"/>
                </a:cubicBezTo>
                <a:cubicBezTo>
                  <a:pt x="16674" y="74486"/>
                  <a:pt x="0" y="57811"/>
                  <a:pt x="0" y="37243"/>
                </a:cubicBezTo>
                <a:cubicBezTo>
                  <a:pt x="0" y="16674"/>
                  <a:pt x="16674" y="0"/>
                  <a:pt x="37243" y="0"/>
                </a:cubicBezTo>
                <a:cubicBezTo>
                  <a:pt x="57811" y="0"/>
                  <a:pt x="74486" y="16674"/>
                  <a:pt x="74486" y="37243"/>
                </a:cubicBezTo>
                <a:close/>
              </a:path>
            </a:pathLst>
          </a:custGeom>
          <a:solidFill>
            <a:srgbClr val="28C2D1"/>
          </a:solidFill>
          <a:ln w="744" cap="flat">
            <a:noFill/>
            <a:prstDash val="solid"/>
            <a:miter/>
          </a:ln>
        </p:spPr>
        <p:txBody>
          <a:bodyPr rtlCol="0" anchor="ctr"/>
          <a:lstStyle/>
          <a:p>
            <a:pPr defTabSz="635780"/>
            <a:endParaRPr lang="en-IN" sz="1251">
              <a:solidFill>
                <a:prstClr val="black"/>
              </a:solidFill>
              <a:latin typeface="Calibri" panose="020F0502020204030204"/>
              <a:cs typeface="Segoe UI Semibold"/>
            </a:endParaRPr>
          </a:p>
        </p:txBody>
      </p:sp>
      <p:pic>
        <p:nvPicPr>
          <p:cNvPr id="12" name="logo 1.png" descr="logo 1.png">
            <a:extLst>
              <a:ext uri="{FF2B5EF4-FFF2-40B4-BE49-F238E27FC236}">
                <a16:creationId xmlns:a16="http://schemas.microsoft.com/office/drawing/2014/main" id="{7067B944-EDE9-4E5B-AFC3-4E69B583AE10}"/>
              </a:ext>
            </a:extLst>
          </p:cNvPr>
          <p:cNvPicPr>
            <a:picLocks noChangeAspect="1"/>
          </p:cNvPicPr>
          <p:nvPr/>
        </p:nvPicPr>
        <p:blipFill>
          <a:blip r:embed="rId4"/>
          <a:stretch>
            <a:fillRect/>
          </a:stretch>
        </p:blipFill>
        <p:spPr>
          <a:xfrm>
            <a:off x="564483" y="339127"/>
            <a:ext cx="1556745" cy="331896"/>
          </a:xfrm>
          <a:prstGeom prst="rect">
            <a:avLst/>
          </a:prstGeom>
          <a:ln w="12700">
            <a:miter lim="400000"/>
          </a:ln>
        </p:spPr>
      </p:pic>
      <p:sp>
        <p:nvSpPr>
          <p:cNvPr id="13" name="TextBox 12">
            <a:extLst>
              <a:ext uri="{FF2B5EF4-FFF2-40B4-BE49-F238E27FC236}">
                <a16:creationId xmlns:a16="http://schemas.microsoft.com/office/drawing/2014/main" id="{B684FEC6-AC15-451A-BB90-8090E986C6A2}"/>
              </a:ext>
            </a:extLst>
          </p:cNvPr>
          <p:cNvSpPr txBox="1"/>
          <p:nvPr/>
        </p:nvSpPr>
        <p:spPr>
          <a:xfrm>
            <a:off x="529034" y="788565"/>
            <a:ext cx="11775261" cy="742513"/>
          </a:xfrm>
          <a:prstGeom prst="rect">
            <a:avLst/>
          </a:prstGeom>
          <a:noFill/>
        </p:spPr>
        <p:txBody>
          <a:bodyPr wrap="square" lIns="0" tIns="46624" rIns="0" bIns="46624" anchor="t">
            <a:spAutoFit/>
          </a:bodyPr>
          <a:lstStyle/>
          <a:p>
            <a:pPr defTabSz="635780">
              <a:defRPr/>
            </a:pPr>
            <a:r>
              <a:rPr lang="en-US" sz="4131" kern="0">
                <a:solidFill>
                  <a:prstClr val="black"/>
                </a:solidFill>
                <a:latin typeface="Segoe UI Semibold"/>
                <a:cs typeface="Segoe UI Semibold"/>
              </a:rPr>
              <a:t>Continue your SQL journey on Microsoft Learn </a:t>
            </a:r>
          </a:p>
        </p:txBody>
      </p:sp>
      <p:sp>
        <p:nvSpPr>
          <p:cNvPr id="14" name="Rectangle 13">
            <a:extLst>
              <a:ext uri="{FF2B5EF4-FFF2-40B4-BE49-F238E27FC236}">
                <a16:creationId xmlns:a16="http://schemas.microsoft.com/office/drawing/2014/main" id="{F5E6FC16-FF83-49D8-8C89-F88BABB337CD}"/>
              </a:ext>
            </a:extLst>
          </p:cNvPr>
          <p:cNvSpPr/>
          <p:nvPr/>
        </p:nvSpPr>
        <p:spPr>
          <a:xfrm>
            <a:off x="2421" y="2219097"/>
            <a:ext cx="12425889" cy="1232281"/>
          </a:xfrm>
          <a:prstGeom prst="rect">
            <a:avLst/>
          </a:prstGeom>
          <a:solidFill>
            <a:srgbClr val="F2F2F2"/>
          </a:solidFill>
          <a:ln w="12700" cap="flat" cmpd="sng" algn="ctr">
            <a:noFill/>
            <a:prstDash val="solid"/>
            <a:miter lim="800000"/>
          </a:ln>
          <a:effectLst/>
        </p:spPr>
        <p:txBody>
          <a:bodyPr rtlCol="0" anchor="ctr"/>
          <a:lstStyle/>
          <a:p>
            <a:pPr algn="ctr" defTabSz="635780">
              <a:defRPr/>
            </a:pPr>
            <a:endParaRPr lang="en-IN" sz="1251" kern="0">
              <a:solidFill>
                <a:prstClr val="white"/>
              </a:solidFill>
              <a:latin typeface="Segoe UI"/>
              <a:cs typeface="Segoe UI Semibold"/>
            </a:endParaRPr>
          </a:p>
        </p:txBody>
      </p:sp>
      <p:sp>
        <p:nvSpPr>
          <p:cNvPr id="15" name="Rectangle 14">
            <a:extLst>
              <a:ext uri="{FF2B5EF4-FFF2-40B4-BE49-F238E27FC236}">
                <a16:creationId xmlns:a16="http://schemas.microsoft.com/office/drawing/2014/main" id="{8A946D75-80D2-4A0F-9637-FC6144A5F87F}"/>
              </a:ext>
            </a:extLst>
          </p:cNvPr>
          <p:cNvSpPr/>
          <p:nvPr/>
        </p:nvSpPr>
        <p:spPr>
          <a:xfrm>
            <a:off x="529035" y="2301618"/>
            <a:ext cx="6016725" cy="1067241"/>
          </a:xfrm>
          <a:prstGeom prst="rect">
            <a:avLst/>
          </a:prstGeom>
          <a:noFill/>
          <a:ln w="12700" cap="flat" cmpd="sng" algn="ctr">
            <a:noFill/>
            <a:prstDash val="solid"/>
            <a:miter lim="800000"/>
          </a:ln>
          <a:effectLst/>
        </p:spPr>
        <p:txBody>
          <a:bodyPr lIns="0" rIns="0" rtlCol="0" anchor="ctr"/>
          <a:lstStyle/>
          <a:p>
            <a:pPr defTabSz="635780">
              <a:spcAft>
                <a:spcPts val="278"/>
              </a:spcAft>
              <a:defRPr/>
            </a:pPr>
            <a:r>
              <a:rPr lang="en-US" sz="1632" kern="0">
                <a:solidFill>
                  <a:srgbClr val="2F2F2F"/>
                </a:solidFill>
                <a:latin typeface="Segoe UI"/>
                <a:cs typeface="Segoe UI Semibold"/>
              </a:rPr>
              <a:t>Sharpen the technical skills you need to advance your career with free courses and designated learning paths.</a:t>
            </a:r>
          </a:p>
        </p:txBody>
      </p:sp>
      <p:sp>
        <p:nvSpPr>
          <p:cNvPr id="16" name="Rectangle 15">
            <a:extLst>
              <a:ext uri="{FF2B5EF4-FFF2-40B4-BE49-F238E27FC236}">
                <a16:creationId xmlns:a16="http://schemas.microsoft.com/office/drawing/2014/main" id="{0FCE4254-44BA-4C95-BB7C-BDB953BED6D2}"/>
              </a:ext>
            </a:extLst>
          </p:cNvPr>
          <p:cNvSpPr/>
          <p:nvPr/>
        </p:nvSpPr>
        <p:spPr>
          <a:xfrm>
            <a:off x="7077071" y="2142267"/>
            <a:ext cx="4959754" cy="1359136"/>
          </a:xfrm>
          <a:prstGeom prst="rect">
            <a:avLst/>
          </a:prstGeom>
          <a:solidFill>
            <a:sysClr val="window" lastClr="FFFFFF"/>
          </a:solidFill>
          <a:ln w="12700" cap="flat" cmpd="sng" algn="ctr">
            <a:solidFill>
              <a:srgbClr val="E7E6E6"/>
            </a:solidFill>
            <a:prstDash val="solid"/>
            <a:miter lim="800000"/>
          </a:ln>
          <a:effectLst/>
        </p:spPr>
        <p:txBody>
          <a:bodyPr rtlCol="0" anchor="ctr"/>
          <a:lstStyle/>
          <a:p>
            <a:pPr algn="ctr" defTabSz="635780">
              <a:defRPr/>
            </a:pPr>
            <a:endParaRPr lang="en-US" sz="1251" kern="0">
              <a:solidFill>
                <a:prstClr val="white"/>
              </a:solidFill>
              <a:latin typeface="Segoe UI"/>
              <a:cs typeface="Segoe UI Semibold"/>
            </a:endParaRPr>
          </a:p>
        </p:txBody>
      </p:sp>
      <p:grpSp>
        <p:nvGrpSpPr>
          <p:cNvPr id="17" name="Group 16">
            <a:extLst>
              <a:ext uri="{FF2B5EF4-FFF2-40B4-BE49-F238E27FC236}">
                <a16:creationId xmlns:a16="http://schemas.microsoft.com/office/drawing/2014/main" id="{02CB2D14-9600-46E4-A2E3-96676F2D458B}"/>
              </a:ext>
            </a:extLst>
          </p:cNvPr>
          <p:cNvGrpSpPr/>
          <p:nvPr/>
        </p:nvGrpSpPr>
        <p:grpSpPr>
          <a:xfrm>
            <a:off x="7380050" y="2382185"/>
            <a:ext cx="4377533" cy="870056"/>
            <a:chOff x="4197703" y="2103048"/>
            <a:chExt cx="3468152" cy="1251335"/>
          </a:xfrm>
        </p:grpSpPr>
        <p:grpSp>
          <p:nvGrpSpPr>
            <p:cNvPr id="18" name="Group 17">
              <a:extLst>
                <a:ext uri="{FF2B5EF4-FFF2-40B4-BE49-F238E27FC236}">
                  <a16:creationId xmlns:a16="http://schemas.microsoft.com/office/drawing/2014/main" id="{FB5835DE-C2FD-4C51-A97F-6BBA8C3BED7B}"/>
                </a:ext>
              </a:extLst>
            </p:cNvPr>
            <p:cNvGrpSpPr/>
            <p:nvPr/>
          </p:nvGrpSpPr>
          <p:grpSpPr>
            <a:xfrm>
              <a:off x="4197704" y="2103048"/>
              <a:ext cx="3334180" cy="690652"/>
              <a:chOff x="4019585" y="2103048"/>
              <a:chExt cx="3334180" cy="690652"/>
            </a:xfrm>
          </p:grpSpPr>
          <p:sp>
            <p:nvSpPr>
              <p:cNvPr id="20" name="Rectangle 19">
                <a:extLst>
                  <a:ext uri="{FF2B5EF4-FFF2-40B4-BE49-F238E27FC236}">
                    <a16:creationId xmlns:a16="http://schemas.microsoft.com/office/drawing/2014/main" id="{C9C21662-D043-4F89-8DDC-9711EBF94603}"/>
                  </a:ext>
                </a:extLst>
              </p:cNvPr>
              <p:cNvSpPr/>
              <p:nvPr/>
            </p:nvSpPr>
            <p:spPr>
              <a:xfrm>
                <a:off x="4657754" y="2327933"/>
                <a:ext cx="2696011" cy="416999"/>
              </a:xfrm>
              <a:prstGeom prst="rect">
                <a:avLst/>
              </a:prstGeom>
              <a:noFill/>
              <a:ln w="12700" cap="flat" cmpd="sng" algn="ctr">
                <a:noFill/>
                <a:prstDash val="solid"/>
                <a:miter lim="800000"/>
              </a:ln>
              <a:effectLst/>
            </p:spPr>
            <p:txBody>
              <a:bodyPr wrap="square" lIns="0" tIns="0" rIns="0" bIns="0" rtlCol="0" anchor="b">
                <a:noAutofit/>
              </a:bodyPr>
              <a:lstStyle/>
              <a:p>
                <a:pPr defTabSz="635780">
                  <a:defRPr/>
                </a:pPr>
                <a:r>
                  <a:rPr lang="en-US" sz="1391" b="1" kern="0">
                    <a:solidFill>
                      <a:srgbClr val="3B2E59"/>
                    </a:solidFill>
                    <a:latin typeface="Segoe UI"/>
                    <a:cs typeface="Segoe UI Semibold"/>
                  </a:rPr>
                  <a:t>career opportunities improvement</a:t>
                </a:r>
              </a:p>
            </p:txBody>
          </p:sp>
          <p:sp>
            <p:nvSpPr>
              <p:cNvPr id="21" name="Rectangle 20">
                <a:extLst>
                  <a:ext uri="{FF2B5EF4-FFF2-40B4-BE49-F238E27FC236}">
                    <a16:creationId xmlns:a16="http://schemas.microsoft.com/office/drawing/2014/main" id="{CC04FD65-D283-4150-8900-3AB713B269EA}"/>
                  </a:ext>
                </a:extLst>
              </p:cNvPr>
              <p:cNvSpPr/>
              <p:nvPr/>
            </p:nvSpPr>
            <p:spPr>
              <a:xfrm>
                <a:off x="4019585" y="2103048"/>
                <a:ext cx="705838" cy="690652"/>
              </a:xfrm>
              <a:prstGeom prst="rect">
                <a:avLst/>
              </a:prstGeom>
            </p:spPr>
            <p:txBody>
              <a:bodyPr wrap="none" lIns="0" tIns="0" rIns="0" bIns="0" anchor="b">
                <a:spAutoFit/>
              </a:bodyPr>
              <a:lstStyle/>
              <a:p>
                <a:pPr defTabSz="635780">
                  <a:defRPr/>
                </a:pPr>
                <a:r>
                  <a:rPr lang="en-US" sz="3060" kern="0">
                    <a:solidFill>
                      <a:srgbClr val="3B2E59"/>
                    </a:solidFill>
                    <a:latin typeface="Segoe UI Semibold"/>
                    <a:cs typeface="Segoe UI Semibold"/>
                  </a:rPr>
                  <a:t>58% </a:t>
                </a:r>
              </a:p>
            </p:txBody>
          </p:sp>
        </p:grpSp>
        <p:sp>
          <p:nvSpPr>
            <p:cNvPr id="19" name="Rectangle 18">
              <a:extLst>
                <a:ext uri="{FF2B5EF4-FFF2-40B4-BE49-F238E27FC236}">
                  <a16:creationId xmlns:a16="http://schemas.microsoft.com/office/drawing/2014/main" id="{14B09881-E89D-4897-B17F-07A2E63F107C}"/>
                </a:ext>
              </a:extLst>
            </p:cNvPr>
            <p:cNvSpPr/>
            <p:nvPr/>
          </p:nvSpPr>
          <p:spPr>
            <a:xfrm>
              <a:off x="4197703" y="2832117"/>
              <a:ext cx="3468152" cy="522266"/>
            </a:xfrm>
            <a:prstGeom prst="rect">
              <a:avLst/>
            </a:prstGeom>
            <a:noFill/>
            <a:ln w="12700" cap="flat" cmpd="sng" algn="ctr">
              <a:noFill/>
              <a:prstDash val="solid"/>
              <a:miter lim="800000"/>
            </a:ln>
            <a:effectLst/>
          </p:spPr>
          <p:txBody>
            <a:bodyPr wrap="square" lIns="0" tIns="0" rIns="0" bIns="0" rtlCol="0" anchor="t">
              <a:noAutofit/>
            </a:bodyPr>
            <a:lstStyle/>
            <a:p>
              <a:pPr defTabSz="635780">
                <a:defRPr/>
              </a:pPr>
              <a:r>
                <a:rPr lang="en-US" sz="1113" kern="0">
                  <a:solidFill>
                    <a:srgbClr val="2F2F2F"/>
                  </a:solidFill>
                  <a:latin typeface="Segoe UI"/>
                  <a:cs typeface="Segoe UI" panose="020B0502040204020203" pitchFamily="34" charset="0"/>
                </a:rPr>
                <a:t>58% of certified professionals report Azure certifications </a:t>
              </a:r>
              <a:br>
                <a:rPr lang="en-US" sz="1113" kern="0">
                  <a:solidFill>
                    <a:srgbClr val="2F2F2F"/>
                  </a:solidFill>
                  <a:latin typeface="Segoe UI"/>
                  <a:cs typeface="Segoe UI" panose="020B0502040204020203" pitchFamily="34" charset="0"/>
                </a:rPr>
              </a:br>
              <a:r>
                <a:rPr lang="en-US" sz="1113" kern="0">
                  <a:solidFill>
                    <a:srgbClr val="2F2F2F"/>
                  </a:solidFill>
                  <a:latin typeface="Segoe UI"/>
                  <a:cs typeface="Segoe UI" panose="020B0502040204020203" pitchFamily="34" charset="0"/>
                </a:rPr>
                <a:t>have helped them improve their career progression opportunities </a:t>
              </a:r>
              <a:r>
                <a:rPr lang="en-US" sz="1113" kern="0" baseline="30000">
                  <a:solidFill>
                    <a:prstClr val="black"/>
                  </a:solidFill>
                  <a:latin typeface="Segoe UI"/>
                  <a:cs typeface="Segoe UI Semibold"/>
                </a:rPr>
                <a:t>*</a:t>
              </a:r>
            </a:p>
          </p:txBody>
        </p:sp>
      </p:grpSp>
      <p:sp>
        <p:nvSpPr>
          <p:cNvPr id="22" name="TextBox 21">
            <a:extLst>
              <a:ext uri="{FF2B5EF4-FFF2-40B4-BE49-F238E27FC236}">
                <a16:creationId xmlns:a16="http://schemas.microsoft.com/office/drawing/2014/main" id="{1052BBD0-5E09-4068-9D97-A932A493F68C}"/>
              </a:ext>
            </a:extLst>
          </p:cNvPr>
          <p:cNvSpPr txBox="1"/>
          <p:nvPr/>
        </p:nvSpPr>
        <p:spPr>
          <a:xfrm>
            <a:off x="-12554" y="1515264"/>
            <a:ext cx="6485832" cy="445106"/>
          </a:xfrm>
          <a:custGeom>
            <a:avLst/>
            <a:gdLst>
              <a:gd name="connsiteX0" fmla="*/ 0 w 7011422"/>
              <a:gd name="connsiteY0" fmla="*/ 0 h 562630"/>
              <a:gd name="connsiteX1" fmla="*/ 6730107 w 7011422"/>
              <a:gd name="connsiteY1" fmla="*/ 0 h 562630"/>
              <a:gd name="connsiteX2" fmla="*/ 7011422 w 7011422"/>
              <a:gd name="connsiteY2" fmla="*/ 281315 h 562630"/>
              <a:gd name="connsiteX3" fmla="*/ 6730107 w 7011422"/>
              <a:gd name="connsiteY3" fmla="*/ 562630 h 562630"/>
              <a:gd name="connsiteX4" fmla="*/ 0 w 7011422"/>
              <a:gd name="connsiteY4" fmla="*/ 562630 h 5626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11422" h="562630">
                <a:moveTo>
                  <a:pt x="0" y="0"/>
                </a:moveTo>
                <a:lnTo>
                  <a:pt x="6730107" y="0"/>
                </a:lnTo>
                <a:cubicBezTo>
                  <a:pt x="6885473" y="0"/>
                  <a:pt x="7011422" y="125949"/>
                  <a:pt x="7011422" y="281315"/>
                </a:cubicBezTo>
                <a:cubicBezTo>
                  <a:pt x="7011422" y="436681"/>
                  <a:pt x="6885473" y="562630"/>
                  <a:pt x="6730107" y="562630"/>
                </a:cubicBezTo>
                <a:lnTo>
                  <a:pt x="0" y="562630"/>
                </a:lnTo>
                <a:close/>
              </a:path>
            </a:pathLst>
          </a:custGeom>
          <a:solidFill>
            <a:srgbClr val="243A5E"/>
          </a:solidFill>
          <a:ln w="12700" cap="flat">
            <a:noFill/>
            <a:miter lim="400000"/>
          </a:ln>
          <a:effectLst/>
          <a:sp3d/>
        </p:spPr>
        <p:style>
          <a:lnRef idx="0">
            <a:scrgbClr r="0" g="0" b="0"/>
          </a:lnRef>
          <a:fillRef idx="0">
            <a:scrgbClr r="0" g="0" b="0"/>
          </a:fillRef>
          <a:effectRef idx="0">
            <a:scrgbClr r="0" g="0" b="0"/>
          </a:effectRef>
          <a:fontRef idx="none"/>
        </p:style>
        <p:txBody>
          <a:bodyPr wrap="square" lIns="0" tIns="0" rIns="0" anchor="ctr">
            <a:noAutofit/>
          </a:bodyPr>
          <a:lstStyle/>
          <a:p>
            <a:pPr marL="551893" defTabSz="932499">
              <a:defRPr/>
            </a:pPr>
            <a:r>
              <a:rPr lang="en-US" sz="1947">
                <a:solidFill>
                  <a:srgbClr val="FFFFFF"/>
                </a:solidFill>
                <a:latin typeface="Segoe UI Semibold"/>
                <a:cs typeface="Segoe UI Semibold"/>
              </a:rPr>
              <a:t>The next step to expanding your technical skills </a:t>
            </a:r>
            <a:endParaRPr lang="en-US" sz="1947" i="1">
              <a:solidFill>
                <a:srgbClr val="FFFFFF"/>
              </a:solidFill>
              <a:latin typeface="Segoe UI Semibold"/>
              <a:cs typeface="Segoe UI Semibold"/>
            </a:endParaRPr>
          </a:p>
        </p:txBody>
      </p:sp>
      <p:sp>
        <p:nvSpPr>
          <p:cNvPr id="28" name="Rectangle 27">
            <a:extLst>
              <a:ext uri="{FF2B5EF4-FFF2-40B4-BE49-F238E27FC236}">
                <a16:creationId xmlns:a16="http://schemas.microsoft.com/office/drawing/2014/main" id="{7E4F26D2-17B1-4B9D-903D-4B0B2FFCA59C}"/>
              </a:ext>
            </a:extLst>
          </p:cNvPr>
          <p:cNvSpPr/>
          <p:nvPr/>
        </p:nvSpPr>
        <p:spPr>
          <a:xfrm>
            <a:off x="177733" y="6719038"/>
            <a:ext cx="5929907" cy="225095"/>
          </a:xfrm>
          <a:prstGeom prst="rect">
            <a:avLst/>
          </a:prstGeom>
          <a:solidFill>
            <a:sysClr val="window" lastClr="FFFFFF">
              <a:alpha val="50000"/>
            </a:sysClr>
          </a:solidFill>
        </p:spPr>
        <p:txBody>
          <a:bodyPr wrap="square" lIns="0">
            <a:spAutoFit/>
          </a:bodyPr>
          <a:lstStyle/>
          <a:p>
            <a:pPr defTabSz="635780">
              <a:defRPr/>
            </a:pPr>
            <a:r>
              <a:rPr lang="en-US" sz="834" kern="0" baseline="30000">
                <a:solidFill>
                  <a:srgbClr val="2F2F2F"/>
                </a:solidFill>
                <a:latin typeface="Segoe UI" panose="020B0502040204020203" pitchFamily="34" charset="0"/>
                <a:cs typeface="Segoe UI" panose="020B0502040204020203" pitchFamily="34" charset="0"/>
              </a:rPr>
              <a:t>* </a:t>
            </a:r>
            <a:r>
              <a:rPr lang="en-US" sz="834" kern="0">
                <a:solidFill>
                  <a:srgbClr val="2F2F2F"/>
                </a:solidFill>
                <a:latin typeface="Segoe UI" panose="020B0502040204020203" pitchFamily="34" charset="0"/>
                <a:cs typeface="Segoe UI" panose="020B0502040204020203" pitchFamily="34" charset="0"/>
              </a:rPr>
              <a:t>Nigel Frank Microsoft Azure Salary Survey (June 2020) </a:t>
            </a:r>
            <a:r>
              <a:rPr lang="en-US" sz="834" u="sng" kern="0">
                <a:solidFill>
                  <a:srgbClr val="0078D4"/>
                </a:solidFill>
                <a:latin typeface="Segoe UI" panose="020B0502040204020203" pitchFamily="34" charset="0"/>
                <a:cs typeface="Segoe UI" panose="020B0502040204020203" pitchFamily="34" charset="0"/>
                <a:hlinkClick r:id="rId5">
                  <a:extLst>
                    <a:ext uri="{A12FA001-AC4F-418D-AE19-62706E023703}">
                      <ahyp:hlinkClr xmlns:ahyp="http://schemas.microsoft.com/office/drawing/2018/hyperlinkcolor" val="tx"/>
                    </a:ext>
                  </a:extLst>
                </a:hlinkClick>
              </a:rPr>
              <a:t>https://www.nigelfrank.com/microsoft-azure-salary-survey/</a:t>
            </a:r>
            <a:endParaRPr lang="en-US" sz="834" kern="0">
              <a:solidFill>
                <a:srgbClr val="0078D4"/>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16060827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Power Query / M Language</a:t>
            </a:r>
          </a:p>
        </p:txBody>
      </p:sp>
      <p:pic>
        <p:nvPicPr>
          <p:cNvPr id="1026" name="Picture 2" descr="Fuzzy autocomplete">
            <a:extLst>
              <a:ext uri="{FF2B5EF4-FFF2-40B4-BE49-F238E27FC236}">
                <a16:creationId xmlns:a16="http://schemas.microsoft.com/office/drawing/2014/main" id="{C041185C-B6E2-4678-AFDD-405F4E6983F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84409" y="1509682"/>
            <a:ext cx="5876925" cy="4000500"/>
          </a:xfrm>
          <a:prstGeom prst="rect">
            <a:avLst/>
          </a:prstGeom>
          <a:noFill/>
          <a:ln>
            <a:solidFill>
              <a:schemeClr val="tx1">
                <a:lumMod val="50000"/>
                <a:lumOff val="50000"/>
              </a:schemeClr>
            </a:solidFill>
          </a:ln>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F9244601-E1F3-4913-868C-8436066D31A0}"/>
              </a:ext>
            </a:extLst>
          </p:cNvPr>
          <p:cNvSpPr txBox="1"/>
          <p:nvPr/>
        </p:nvSpPr>
        <p:spPr>
          <a:xfrm>
            <a:off x="485030" y="2242268"/>
            <a:ext cx="65" cy="307777"/>
          </a:xfrm>
          <a:prstGeom prst="rect">
            <a:avLst/>
          </a:prstGeom>
          <a:noFill/>
        </p:spPr>
        <p:txBody>
          <a:bodyPr wrap="none" lIns="0" tIns="0" rIns="0" bIns="0" rtlCol="0">
            <a:spAutoFit/>
          </a:bodyPr>
          <a:lstStyle/>
          <a:p>
            <a:pPr algn="l"/>
            <a:endParaRPr lang="en-US" sz="2000" err="1"/>
          </a:p>
        </p:txBody>
      </p:sp>
      <p:pic>
        <p:nvPicPr>
          <p:cNvPr id="1034" name="Picture 10">
            <a:extLst>
              <a:ext uri="{FF2B5EF4-FFF2-40B4-BE49-F238E27FC236}">
                <a16:creationId xmlns:a16="http://schemas.microsoft.com/office/drawing/2014/main" id="{3DD6A6BB-3B31-4753-9047-C50C16918081}"/>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535613" y="1463675"/>
            <a:ext cx="0" cy="0"/>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1">
            <a:extLst>
              <a:ext uri="{FF2B5EF4-FFF2-40B4-BE49-F238E27FC236}">
                <a16:creationId xmlns:a16="http://schemas.microsoft.com/office/drawing/2014/main" id="{D3E18F7E-7545-47C9-8109-F76DB7184635}"/>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535613" y="1463675"/>
            <a:ext cx="0" cy="0"/>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6AAFE69F-FCCF-4A9E-98CE-6B4BA660AC05}"/>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535613" y="1463675"/>
            <a:ext cx="0" cy="0"/>
          </a:xfrm>
          <a:prstGeom prst="rect">
            <a:avLst/>
          </a:prstGeom>
          <a:noFill/>
          <a:extLst>
            <a:ext uri="{909E8E84-426E-40DD-AFC4-6F175D3DCCD1}">
              <a14:hiddenFill xmlns:a14="http://schemas.microsoft.com/office/drawing/2010/main">
                <a:solidFill>
                  <a:srgbClr val="FFFFFF"/>
                </a:solidFill>
              </a14:hiddenFill>
            </a:ext>
          </a:extLst>
        </p:spPr>
      </p:pic>
      <p:pic>
        <p:nvPicPr>
          <p:cNvPr id="1037" name="Picture 13">
            <a:extLst>
              <a:ext uri="{FF2B5EF4-FFF2-40B4-BE49-F238E27FC236}">
                <a16:creationId xmlns:a16="http://schemas.microsoft.com/office/drawing/2014/main" id="{EDE6649B-5AB3-441E-950D-D1D480C35D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535613" y="1463675"/>
            <a:ext cx="0" cy="0"/>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a:extLst>
              <a:ext uri="{FF2B5EF4-FFF2-40B4-BE49-F238E27FC236}">
                <a16:creationId xmlns:a16="http://schemas.microsoft.com/office/drawing/2014/main" id="{79336F45-D096-4278-8632-D005B3692E65}"/>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535613" y="1463675"/>
            <a:ext cx="0" cy="0"/>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04D47247-6A73-4EA2-A90D-AC8A9CED6995}"/>
              </a:ext>
            </a:extLst>
          </p:cNvPr>
          <p:cNvSpPr txBox="1"/>
          <p:nvPr/>
        </p:nvSpPr>
        <p:spPr>
          <a:xfrm>
            <a:off x="485030" y="1509682"/>
            <a:ext cx="5665450" cy="3139321"/>
          </a:xfrm>
          <a:prstGeom prst="rect">
            <a:avLst/>
          </a:prstGeom>
          <a:noFill/>
        </p:spPr>
        <p:txBody>
          <a:bodyPr wrap="square">
            <a:spAutoFit/>
          </a:bodyPr>
          <a:lstStyle/>
          <a:p>
            <a:r>
              <a:rPr lang="en-US" b="1" i="0" dirty="0">
                <a:solidFill>
                  <a:srgbClr val="333333"/>
                </a:solidFill>
                <a:effectLst/>
                <a:latin typeface="Segoe UI" panose="020B0502040204020203" pitchFamily="34" charset="0"/>
              </a:rPr>
              <a:t>Power Query language service for VS Code</a:t>
            </a:r>
            <a:endParaRPr lang="en-US" b="0" i="0" dirty="0">
              <a:solidFill>
                <a:srgbClr val="333333"/>
              </a:solidFill>
              <a:effectLst/>
              <a:latin typeface="Segoe UI" panose="020B0502040204020203" pitchFamily="34" charset="0"/>
            </a:endParaRPr>
          </a:p>
          <a:p>
            <a:pPr algn="l"/>
            <a:r>
              <a:rPr lang="en-US" b="0" i="0" dirty="0">
                <a:solidFill>
                  <a:srgbClr val="333333"/>
                </a:solidFill>
                <a:effectLst/>
                <a:latin typeface="Segoe UI" panose="020B0502040204020203" pitchFamily="34" charset="0"/>
              </a:rPr>
              <a:t>Provides a language service for the </a:t>
            </a:r>
            <a:r>
              <a:rPr lang="en-US" b="0" i="0" u="none" strike="noStrike" dirty="0">
                <a:solidFill>
                  <a:srgbClr val="333333"/>
                </a:solidFill>
                <a:effectLst/>
                <a:latin typeface="Segoe UI" panose="020B0502040204020203" pitchFamily="34" charset="0"/>
                <a:hlinkClick r:id="rId4"/>
              </a:rPr>
              <a:t>Power Query / M formula language</a:t>
            </a:r>
            <a:r>
              <a:rPr lang="en-US" b="0" i="0" dirty="0">
                <a:solidFill>
                  <a:srgbClr val="333333"/>
                </a:solidFill>
                <a:effectLst/>
                <a:latin typeface="Segoe UI" panose="020B0502040204020203" pitchFamily="34" charset="0"/>
              </a:rPr>
              <a:t> with the following capabilities:</a:t>
            </a:r>
          </a:p>
          <a:p>
            <a:pPr algn="l"/>
            <a:endParaRPr lang="en-US" b="1" i="0" dirty="0">
              <a:solidFill>
                <a:srgbClr val="333333"/>
              </a:solidFill>
              <a:effectLst/>
              <a:latin typeface="Segoe UI" panose="020B0502040204020203" pitchFamily="34" charset="0"/>
            </a:endParaRPr>
          </a:p>
          <a:p>
            <a:pPr algn="l"/>
            <a:r>
              <a:rPr lang="en-US" b="1" dirty="0">
                <a:solidFill>
                  <a:srgbClr val="333333"/>
                </a:solidFill>
                <a:latin typeface="Segoe UI" panose="020B0502040204020203" pitchFamily="34" charset="0"/>
              </a:rPr>
              <a:t>Benefits:</a:t>
            </a:r>
            <a:endParaRPr lang="en-US" b="1" i="0" dirty="0">
              <a:solidFill>
                <a:srgbClr val="333333"/>
              </a:solidFill>
              <a:effectLst/>
              <a:latin typeface="Segoe UI" panose="020B0502040204020203" pitchFamily="34" charset="0"/>
            </a:endParaRPr>
          </a:p>
          <a:p>
            <a:pPr marL="285750" indent="-285750" algn="l">
              <a:buFont typeface="Arial" panose="020B0604020202020204" pitchFamily="34" charset="0"/>
              <a:buChar char="•"/>
            </a:pPr>
            <a:r>
              <a:rPr lang="en-US" b="1" i="0" dirty="0">
                <a:solidFill>
                  <a:srgbClr val="333333"/>
                </a:solidFill>
                <a:effectLst/>
                <a:latin typeface="Segoe UI" panose="020B0502040204020203" pitchFamily="34" charset="0"/>
              </a:rPr>
              <a:t>Fuzzy autocomplete</a:t>
            </a:r>
          </a:p>
          <a:p>
            <a:pPr lvl="1"/>
            <a:r>
              <a:rPr lang="en-US" b="0" i="0" dirty="0">
                <a:solidFill>
                  <a:srgbClr val="333333"/>
                </a:solidFill>
                <a:effectLst/>
                <a:latin typeface="Segoe UI" panose="020B0502040204020203" pitchFamily="34" charset="0"/>
              </a:rPr>
              <a:t>Suggests keywords, local variables, and the standard Power Query library.</a:t>
            </a:r>
          </a:p>
          <a:p>
            <a:pPr marL="285750" indent="-285750">
              <a:buFont typeface="Arial" panose="020B0604020202020204" pitchFamily="34" charset="0"/>
              <a:buChar char="•"/>
            </a:pPr>
            <a:r>
              <a:rPr lang="en-US" b="1" dirty="0">
                <a:solidFill>
                  <a:srgbClr val="333333"/>
                </a:solidFill>
                <a:latin typeface="Segoe UI" panose="020B0502040204020203" pitchFamily="34" charset="0"/>
              </a:rPr>
              <a:t>Hover</a:t>
            </a:r>
          </a:p>
          <a:p>
            <a:pPr marL="285750" indent="-285750">
              <a:buFont typeface="Arial" panose="020B0604020202020204" pitchFamily="34" charset="0"/>
              <a:buChar char="•"/>
            </a:pPr>
            <a:r>
              <a:rPr lang="en-US" b="1" dirty="0">
                <a:solidFill>
                  <a:srgbClr val="333333"/>
                </a:solidFill>
                <a:latin typeface="Segoe UI" panose="020B0502040204020203" pitchFamily="34" charset="0"/>
              </a:rPr>
              <a:t>Function hints</a:t>
            </a:r>
          </a:p>
          <a:p>
            <a:pPr marL="285750" indent="-285750">
              <a:buFont typeface="Arial" panose="020B0604020202020204" pitchFamily="34" charset="0"/>
              <a:buChar char="•"/>
            </a:pPr>
            <a:r>
              <a:rPr lang="en-US" b="1" dirty="0">
                <a:solidFill>
                  <a:srgbClr val="333333"/>
                </a:solidFill>
                <a:latin typeface="Segoe UI" panose="020B0502040204020203" pitchFamily="34" charset="0"/>
              </a:rPr>
              <a:t>Code formatting</a:t>
            </a:r>
          </a:p>
        </p:txBody>
      </p:sp>
    </p:spTree>
    <p:extLst>
      <p:ext uri="{BB962C8B-B14F-4D97-AF65-F5344CB8AC3E}">
        <p14:creationId xmlns:p14="http://schemas.microsoft.com/office/powerpoint/2010/main" val="14899474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151017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Query Folding</a:t>
            </a:r>
          </a:p>
        </p:txBody>
      </p:sp>
      <p:sp>
        <p:nvSpPr>
          <p:cNvPr id="6" name="Text Placeholder 2">
            <a:extLst>
              <a:ext uri="{FF2B5EF4-FFF2-40B4-BE49-F238E27FC236}">
                <a16:creationId xmlns:a16="http://schemas.microsoft.com/office/drawing/2014/main" id="{2343DF5C-7325-4B51-B062-365993CDC152}"/>
              </a:ext>
            </a:extLst>
          </p:cNvPr>
          <p:cNvSpPr txBox="1">
            <a:spLocks/>
          </p:cNvSpPr>
          <p:nvPr/>
        </p:nvSpPr>
        <p:spPr>
          <a:xfrm>
            <a:off x="596711" y="1464074"/>
            <a:ext cx="11237870" cy="2162717"/>
          </a:xfrm>
        </p:spPr>
        <p:txBody>
          <a:bodyPr>
            <a:norm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2040">
                <a:solidFill>
                  <a:schemeClr val="tx1">
                    <a:lumMod val="50000"/>
                    <a:lumOff val="50000"/>
                  </a:schemeClr>
                </a:solidFill>
                <a:latin typeface="Segoe UI" panose="020B0502040204020203" pitchFamily="34" charset="0"/>
                <a:cs typeface="Segoe UI" panose="020B0502040204020203" pitchFamily="34" charset="0"/>
              </a:rPr>
              <a:t>One of the most powerful capabilities of Power Query and the M Language is Query Folding (also referred to as query delegation, and predicate push-down). Query Folding allows the Mashup Engine to </a:t>
            </a:r>
            <a:r>
              <a:rPr lang="en-US" sz="1900" b="1">
                <a:gradFill>
                  <a:gsLst>
                    <a:gs pos="2917">
                      <a:srgbClr val="505050"/>
                    </a:gs>
                    <a:gs pos="30000">
                      <a:srgbClr val="505050"/>
                    </a:gs>
                  </a:gsLst>
                  <a:lin ang="5400000" scaled="0"/>
                </a:gradFill>
                <a:latin typeface="Segoe UI"/>
              </a:rPr>
              <a:t>push the transformations expressed in an M (mashup) query to the source, in the source's native query language</a:t>
            </a:r>
            <a:r>
              <a:rPr lang="en-US" sz="2040">
                <a:solidFill>
                  <a:schemeClr val="tx1">
                    <a:lumMod val="50000"/>
                    <a:lumOff val="50000"/>
                  </a:schemeClr>
                </a:solidFill>
                <a:latin typeface="Segoe UI" panose="020B0502040204020203" pitchFamily="34" charset="0"/>
                <a:cs typeface="Segoe UI" panose="020B0502040204020203" pitchFamily="34" charset="0"/>
              </a:rPr>
              <a:t>, resulting in more efficient data processing.</a:t>
            </a:r>
          </a:p>
        </p:txBody>
      </p:sp>
      <p:grpSp>
        <p:nvGrpSpPr>
          <p:cNvPr id="7" name="Group 6">
            <a:extLst>
              <a:ext uri="{FF2B5EF4-FFF2-40B4-BE49-F238E27FC236}">
                <a16:creationId xmlns:a16="http://schemas.microsoft.com/office/drawing/2014/main" id="{9002C267-4DD3-4B8C-9DEE-F745A4EE81CD}"/>
              </a:ext>
            </a:extLst>
          </p:cNvPr>
          <p:cNvGrpSpPr/>
          <p:nvPr/>
        </p:nvGrpSpPr>
        <p:grpSpPr>
          <a:xfrm>
            <a:off x="10790998" y="5730584"/>
            <a:ext cx="1041909" cy="974375"/>
            <a:chOff x="9124950" y="1397319"/>
            <a:chExt cx="1518216" cy="1419809"/>
          </a:xfrm>
        </p:grpSpPr>
        <p:pic>
          <p:nvPicPr>
            <p:cNvPr id="8" name="Picture 7">
              <a:extLst>
                <a:ext uri="{FF2B5EF4-FFF2-40B4-BE49-F238E27FC236}">
                  <a16:creationId xmlns:a16="http://schemas.microsoft.com/office/drawing/2014/main" id="{8B65CE03-EC99-438C-9A79-E112B93889DF}"/>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8917" b="94268" l="10000" r="90000">
                          <a14:foregroundMark x1="12222" y1="16561" x2="12222" y2="16561"/>
                          <a14:foregroundMark x1="60000" y1="10191" x2="60000" y2="10191"/>
                          <a14:foregroundMark x1="43333" y1="34395" x2="43333" y2="34395"/>
                          <a14:foregroundMark x1="68889" y1="35032" x2="68889" y2="35032"/>
                          <a14:foregroundMark x1="88889" y1="39490" x2="88889" y2="39490"/>
                          <a14:foregroundMark x1="88889" y1="55414" x2="88889" y2="55414"/>
                          <a14:foregroundMark x1="88889" y1="70064" x2="88889" y2="70064"/>
                          <a14:foregroundMark x1="88889" y1="85987" x2="88889" y2="85987"/>
                          <a14:foregroundMark x1="67778" y1="92994" x2="67778" y2="92994"/>
                          <a14:foregroundMark x1="43333" y1="94268" x2="43333" y2="94268"/>
                        </a14:backgroundRemoval>
                      </a14:imgEffect>
                    </a14:imgLayer>
                  </a14:imgProps>
                </a:ext>
              </a:extLst>
            </a:blip>
            <a:stretch>
              <a:fillRect/>
            </a:stretch>
          </p:blipFill>
          <p:spPr>
            <a:xfrm>
              <a:off x="10083454" y="1451407"/>
              <a:ext cx="559712" cy="976387"/>
            </a:xfrm>
            <a:prstGeom prst="rect">
              <a:avLst/>
            </a:prstGeom>
          </p:spPr>
        </p:pic>
        <p:pic>
          <p:nvPicPr>
            <p:cNvPr id="9" name="Picture 8" descr="A picture containing sitting, dark, white, sign&#10;&#10;Description automatically generated">
              <a:extLst>
                <a:ext uri="{FF2B5EF4-FFF2-40B4-BE49-F238E27FC236}">
                  <a16:creationId xmlns:a16="http://schemas.microsoft.com/office/drawing/2014/main" id="{334569AA-8B4F-4090-8E54-A9932703F98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24950" y="1397319"/>
              <a:ext cx="1419809" cy="1419809"/>
            </a:xfrm>
            <a:prstGeom prst="rect">
              <a:avLst/>
            </a:prstGeom>
          </p:spPr>
        </p:pic>
      </p:grpSp>
    </p:spTree>
    <p:extLst>
      <p:ext uri="{BB962C8B-B14F-4D97-AF65-F5344CB8AC3E}">
        <p14:creationId xmlns:p14="http://schemas.microsoft.com/office/powerpoint/2010/main" val="4369520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Graphic 14" descr="Database">
            <a:extLst>
              <a:ext uri="{FF2B5EF4-FFF2-40B4-BE49-F238E27FC236}">
                <a16:creationId xmlns:a16="http://schemas.microsoft.com/office/drawing/2014/main" id="{59F081BD-92F4-412B-B83D-EA53550AB90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9496" y="266824"/>
            <a:ext cx="5544952" cy="5544952"/>
          </a:xfrm>
          <a:prstGeom prst="rect">
            <a:avLst/>
          </a:prstGeom>
        </p:spPr>
      </p:pic>
      <p:grpSp>
        <p:nvGrpSpPr>
          <p:cNvPr id="48" name="Group 47">
            <a:extLst>
              <a:ext uri="{FF2B5EF4-FFF2-40B4-BE49-F238E27FC236}">
                <a16:creationId xmlns:a16="http://schemas.microsoft.com/office/drawing/2014/main" id="{34EEF0AD-7075-486C-B662-9640D85E8DE7}"/>
              </a:ext>
            </a:extLst>
          </p:cNvPr>
          <p:cNvGrpSpPr/>
          <p:nvPr/>
        </p:nvGrpSpPr>
        <p:grpSpPr>
          <a:xfrm>
            <a:off x="4493700" y="404278"/>
            <a:ext cx="932484" cy="932484"/>
            <a:chOff x="4405685" y="396000"/>
            <a:chExt cx="914400" cy="914400"/>
          </a:xfrm>
        </p:grpSpPr>
        <p:pic>
          <p:nvPicPr>
            <p:cNvPr id="25" name="Graphic 24" descr="Line arrow: Counter-clockwise curve">
              <a:extLst>
                <a:ext uri="{FF2B5EF4-FFF2-40B4-BE49-F238E27FC236}">
                  <a16:creationId xmlns:a16="http://schemas.microsoft.com/office/drawing/2014/main" id="{4EF1E29D-7D8D-4495-9040-ACE90F22E08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a:off x="4405685" y="396000"/>
              <a:ext cx="914400" cy="914400"/>
            </a:xfrm>
            <a:prstGeom prst="rect">
              <a:avLst/>
            </a:prstGeom>
          </p:spPr>
        </p:pic>
        <p:cxnSp>
          <p:nvCxnSpPr>
            <p:cNvPr id="35" name="Straight Connector 34">
              <a:extLst>
                <a:ext uri="{FF2B5EF4-FFF2-40B4-BE49-F238E27FC236}">
                  <a16:creationId xmlns:a16="http://schemas.microsoft.com/office/drawing/2014/main" id="{1A42248D-D546-40FD-9046-FEC95AE8A58C}"/>
                </a:ext>
              </a:extLst>
            </p:cNvPr>
            <p:cNvCxnSpPr>
              <a:cxnSpLocks/>
            </p:cNvCxnSpPr>
            <p:nvPr/>
          </p:nvCxnSpPr>
          <p:spPr>
            <a:xfrm>
              <a:off x="4625009" y="1300593"/>
              <a:ext cx="475753" cy="0"/>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B3E0C8A5-3B3F-4BB4-B7BA-4D772368AB52}"/>
              </a:ext>
            </a:extLst>
          </p:cNvPr>
          <p:cNvGrpSpPr/>
          <p:nvPr/>
        </p:nvGrpSpPr>
        <p:grpSpPr>
          <a:xfrm>
            <a:off x="9362215" y="1269664"/>
            <a:ext cx="1407400" cy="2720194"/>
            <a:chOff x="9179781" y="1137037"/>
            <a:chExt cx="1380106" cy="2775005"/>
          </a:xfrm>
        </p:grpSpPr>
        <p:cxnSp>
          <p:nvCxnSpPr>
            <p:cNvPr id="20" name="Straight Connector 19">
              <a:extLst>
                <a:ext uri="{FF2B5EF4-FFF2-40B4-BE49-F238E27FC236}">
                  <a16:creationId xmlns:a16="http://schemas.microsoft.com/office/drawing/2014/main" id="{65BEDB62-BB86-4770-9586-C2BAAFDFF0B4}"/>
                </a:ext>
              </a:extLst>
            </p:cNvPr>
            <p:cNvCxnSpPr>
              <a:cxnSpLocks/>
            </p:cNvCxnSpPr>
            <p:nvPr/>
          </p:nvCxnSpPr>
          <p:spPr>
            <a:xfrm flipV="1">
              <a:off x="9179781" y="1137037"/>
              <a:ext cx="0" cy="2775005"/>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580003CA-3E94-4F7E-A202-2621ADACBBEC}"/>
                </a:ext>
              </a:extLst>
            </p:cNvPr>
            <p:cNvSpPr txBox="1"/>
            <p:nvPr/>
          </p:nvSpPr>
          <p:spPr>
            <a:xfrm>
              <a:off x="9255175" y="2201373"/>
              <a:ext cx="1304712" cy="670651"/>
            </a:xfrm>
            <a:prstGeom prst="rect">
              <a:avLst/>
            </a:prstGeom>
            <a:noFill/>
          </p:spPr>
          <p:txBody>
            <a:bodyPr wrap="none" rtlCol="0">
              <a:spAutoFit/>
            </a:bodyPr>
            <a:lstStyle/>
            <a:p>
              <a:pPr defTabSz="932504"/>
              <a:r>
                <a:rPr lang="en-US" sz="1224">
                  <a:solidFill>
                    <a:prstClr val="black"/>
                  </a:solidFill>
                  <a:latin typeface="Segoe UI" panose="020B0502040204020203" pitchFamily="34" charset="0"/>
                  <a:cs typeface="Segoe UI" panose="020B0502040204020203" pitchFamily="34" charset="0"/>
                </a:rPr>
                <a:t>Translated to </a:t>
              </a:r>
            </a:p>
            <a:p>
              <a:pPr defTabSz="932504"/>
              <a:r>
                <a:rPr lang="en-US" sz="1224">
                  <a:solidFill>
                    <a:prstClr val="black"/>
                  </a:solidFill>
                  <a:latin typeface="Segoe UI" panose="020B0502040204020203" pitchFamily="34" charset="0"/>
                  <a:cs typeface="Segoe UI" panose="020B0502040204020203" pitchFamily="34" charset="0"/>
                </a:rPr>
                <a:t>Source’s Native</a:t>
              </a:r>
            </a:p>
            <a:p>
              <a:pPr defTabSz="932504"/>
              <a:r>
                <a:rPr lang="en-US" sz="1224">
                  <a:solidFill>
                    <a:prstClr val="black"/>
                  </a:solidFill>
                  <a:latin typeface="Segoe UI" panose="020B0502040204020203" pitchFamily="34" charset="0"/>
                  <a:cs typeface="Segoe UI" panose="020B0502040204020203" pitchFamily="34" charset="0"/>
                </a:rPr>
                <a:t>Query Language</a:t>
              </a:r>
            </a:p>
          </p:txBody>
        </p:sp>
      </p:grpSp>
      <p:grpSp>
        <p:nvGrpSpPr>
          <p:cNvPr id="50" name="Group 49">
            <a:extLst>
              <a:ext uri="{FF2B5EF4-FFF2-40B4-BE49-F238E27FC236}">
                <a16:creationId xmlns:a16="http://schemas.microsoft.com/office/drawing/2014/main" id="{D4F81343-C5E2-4F27-BD46-DA9C00BEE156}"/>
              </a:ext>
            </a:extLst>
          </p:cNvPr>
          <p:cNvGrpSpPr/>
          <p:nvPr/>
        </p:nvGrpSpPr>
        <p:grpSpPr>
          <a:xfrm>
            <a:off x="5233655" y="951256"/>
            <a:ext cx="4051676" cy="771014"/>
            <a:chOff x="5131289" y="932370"/>
            <a:chExt cx="3973099" cy="756061"/>
          </a:xfrm>
        </p:grpSpPr>
        <p:cxnSp>
          <p:nvCxnSpPr>
            <p:cNvPr id="23" name="Straight Connector 22">
              <a:extLst>
                <a:ext uri="{FF2B5EF4-FFF2-40B4-BE49-F238E27FC236}">
                  <a16:creationId xmlns:a16="http://schemas.microsoft.com/office/drawing/2014/main" id="{9C8C485C-B574-4B17-8D4B-A0D9CCE8617C}"/>
                </a:ext>
              </a:extLst>
            </p:cNvPr>
            <p:cNvCxnSpPr>
              <a:cxnSpLocks/>
            </p:cNvCxnSpPr>
            <p:nvPr/>
          </p:nvCxnSpPr>
          <p:spPr>
            <a:xfrm>
              <a:off x="7656095" y="1255536"/>
              <a:ext cx="1448293" cy="0"/>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43C5CEDD-A0E8-4776-A489-C1AAA77670CF}"/>
                </a:ext>
              </a:extLst>
            </p:cNvPr>
            <p:cNvSpPr/>
            <p:nvPr/>
          </p:nvSpPr>
          <p:spPr>
            <a:xfrm>
              <a:off x="5131289" y="932370"/>
              <a:ext cx="2449405" cy="756061"/>
            </a:xfrm>
            <a:prstGeom prst="rect">
              <a:avLst/>
            </a:prstGeom>
            <a:noFill/>
          </p:spPr>
          <p:style>
            <a:lnRef idx="2">
              <a:schemeClr val="dk1"/>
            </a:lnRef>
            <a:fillRef idx="1">
              <a:schemeClr val="lt1"/>
            </a:fillRef>
            <a:effectRef idx="0">
              <a:schemeClr val="dk1"/>
            </a:effectRef>
            <a:fontRef idx="minor">
              <a:schemeClr val="dk1"/>
            </a:fontRef>
          </p:style>
          <p:txBody>
            <a:bodyPr rtlCol="0" anchor="ctr"/>
            <a:lstStyle/>
            <a:p>
              <a:pPr algn="ctr" defTabSz="932504"/>
              <a:endParaRPr lang="en-US" sz="1836">
                <a:solidFill>
                  <a:prstClr val="black"/>
                </a:solidFill>
                <a:latin typeface="Calibri" panose="020F0502020204030204"/>
              </a:endParaRPr>
            </a:p>
          </p:txBody>
        </p:sp>
        <p:sp>
          <p:nvSpPr>
            <p:cNvPr id="38" name="TextBox 37">
              <a:extLst>
                <a:ext uri="{FF2B5EF4-FFF2-40B4-BE49-F238E27FC236}">
                  <a16:creationId xmlns:a16="http://schemas.microsoft.com/office/drawing/2014/main" id="{5902E744-BD35-472F-9A49-6B3A10955C16}"/>
                </a:ext>
              </a:extLst>
            </p:cNvPr>
            <p:cNvSpPr txBox="1"/>
            <p:nvPr/>
          </p:nvSpPr>
          <p:spPr>
            <a:xfrm>
              <a:off x="5237191" y="977427"/>
              <a:ext cx="2237599" cy="644655"/>
            </a:xfrm>
            <a:prstGeom prst="rect">
              <a:avLst/>
            </a:prstGeom>
            <a:noFill/>
          </p:spPr>
          <p:txBody>
            <a:bodyPr wrap="square" rtlCol="0">
              <a:spAutoFit/>
            </a:bodyPr>
            <a:lstStyle/>
            <a:p>
              <a:pPr defTabSz="932504"/>
              <a:r>
                <a:rPr lang="en-US" sz="1224">
                  <a:solidFill>
                    <a:prstClr val="black"/>
                  </a:solidFill>
                  <a:latin typeface="Calibri" panose="020F0502020204030204"/>
                </a:rPr>
                <a:t>select *</a:t>
              </a:r>
            </a:p>
            <a:p>
              <a:pPr defTabSz="932504"/>
              <a:r>
                <a:rPr lang="en-US" sz="1224">
                  <a:solidFill>
                    <a:prstClr val="black"/>
                  </a:solidFill>
                  <a:latin typeface="Calibri" panose="020F0502020204030204"/>
                </a:rPr>
                <a:t>from [</a:t>
              </a:r>
              <a:r>
                <a:rPr lang="en-US" sz="1224" err="1">
                  <a:solidFill>
                    <a:prstClr val="black"/>
                  </a:solidFill>
                  <a:latin typeface="Calibri" panose="020F0502020204030204"/>
                </a:rPr>
                <a:t>dbo</a:t>
              </a:r>
              <a:r>
                <a:rPr lang="en-US" sz="1224">
                  <a:solidFill>
                    <a:prstClr val="black"/>
                  </a:solidFill>
                  <a:latin typeface="Calibri" panose="020F0502020204030204"/>
                </a:rPr>
                <a:t>].[</a:t>
              </a:r>
              <a:r>
                <a:rPr lang="en-US" sz="1224" err="1">
                  <a:solidFill>
                    <a:prstClr val="black"/>
                  </a:solidFill>
                  <a:latin typeface="Calibri" panose="020F0502020204030204"/>
                </a:rPr>
                <a:t>DimCustomer</a:t>
              </a:r>
              <a:r>
                <a:rPr lang="en-US" sz="1224">
                  <a:solidFill>
                    <a:prstClr val="black"/>
                  </a:solidFill>
                  <a:latin typeface="Calibri" panose="020F0502020204030204"/>
                </a:rPr>
                <a:t>] as [_]</a:t>
              </a:r>
            </a:p>
            <a:p>
              <a:pPr defTabSz="932504"/>
              <a:r>
                <a:rPr lang="en-US" sz="1224">
                  <a:solidFill>
                    <a:prstClr val="black"/>
                  </a:solidFill>
                  <a:latin typeface="Calibri" panose="020F0502020204030204"/>
                </a:rPr>
                <a:t>where [_].[Gender] = 'F'</a:t>
              </a:r>
            </a:p>
          </p:txBody>
        </p:sp>
      </p:grpSp>
      <p:grpSp>
        <p:nvGrpSpPr>
          <p:cNvPr id="44" name="Group 43">
            <a:extLst>
              <a:ext uri="{FF2B5EF4-FFF2-40B4-BE49-F238E27FC236}">
                <a16:creationId xmlns:a16="http://schemas.microsoft.com/office/drawing/2014/main" id="{AE40B32B-FF24-4CCB-8DC5-01917CF55F90}"/>
              </a:ext>
            </a:extLst>
          </p:cNvPr>
          <p:cNvGrpSpPr/>
          <p:nvPr/>
        </p:nvGrpSpPr>
        <p:grpSpPr>
          <a:xfrm>
            <a:off x="4809259" y="3484278"/>
            <a:ext cx="8692764" cy="2240583"/>
            <a:chOff x="4715124" y="3416267"/>
            <a:chExt cx="8524180" cy="2197130"/>
          </a:xfrm>
        </p:grpSpPr>
        <p:cxnSp>
          <p:nvCxnSpPr>
            <p:cNvPr id="17" name="Straight Connector 16">
              <a:extLst>
                <a:ext uri="{FF2B5EF4-FFF2-40B4-BE49-F238E27FC236}">
                  <a16:creationId xmlns:a16="http://schemas.microsoft.com/office/drawing/2014/main" id="{AC5897C2-86E0-43E0-A3EA-CE834C3D8D40}"/>
                </a:ext>
              </a:extLst>
            </p:cNvPr>
            <p:cNvCxnSpPr>
              <a:cxnSpLocks/>
            </p:cNvCxnSpPr>
            <p:nvPr/>
          </p:nvCxnSpPr>
          <p:spPr>
            <a:xfrm>
              <a:off x="4715124" y="4544170"/>
              <a:ext cx="1236497" cy="0"/>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22BB154B-524C-4C12-A562-56E94A30A5A0}"/>
                </a:ext>
              </a:extLst>
            </p:cNvPr>
            <p:cNvSpPr/>
            <p:nvPr/>
          </p:nvSpPr>
          <p:spPr>
            <a:xfrm>
              <a:off x="6011786" y="3995033"/>
              <a:ext cx="5398151" cy="161836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932504"/>
              <a:endParaRPr lang="en-US" sz="1836">
                <a:solidFill>
                  <a:prstClr val="black"/>
                </a:solidFill>
                <a:latin typeface="Calibri" panose="020F0502020204030204"/>
              </a:endParaRPr>
            </a:p>
          </p:txBody>
        </p:sp>
        <p:sp>
          <p:nvSpPr>
            <p:cNvPr id="40" name="TextBox 39">
              <a:extLst>
                <a:ext uri="{FF2B5EF4-FFF2-40B4-BE49-F238E27FC236}">
                  <a16:creationId xmlns:a16="http://schemas.microsoft.com/office/drawing/2014/main" id="{A4565DF8-4627-4875-9880-BF09E6C5E3FD}"/>
                </a:ext>
              </a:extLst>
            </p:cNvPr>
            <p:cNvSpPr txBox="1"/>
            <p:nvPr/>
          </p:nvSpPr>
          <p:spPr>
            <a:xfrm>
              <a:off x="6155464" y="4134924"/>
              <a:ext cx="7083840" cy="1411027"/>
            </a:xfrm>
            <a:prstGeom prst="rect">
              <a:avLst/>
            </a:prstGeom>
            <a:noFill/>
          </p:spPr>
          <p:txBody>
            <a:bodyPr wrap="square" rtlCol="0">
              <a:spAutoFit/>
            </a:bodyPr>
            <a:lstStyle/>
            <a:p>
              <a:pPr defTabSz="932504"/>
              <a:r>
                <a:rPr lang="en-US" sz="1224">
                  <a:solidFill>
                    <a:prstClr val="black"/>
                  </a:solidFill>
                  <a:latin typeface="Calibri" panose="020F0502020204030204"/>
                </a:rPr>
                <a:t>let</a:t>
              </a:r>
            </a:p>
            <a:p>
              <a:pPr defTabSz="932504"/>
              <a:r>
                <a:rPr lang="en-US" sz="1224">
                  <a:solidFill>
                    <a:prstClr val="black"/>
                  </a:solidFill>
                  <a:latin typeface="Calibri" panose="020F0502020204030204"/>
                </a:rPr>
                <a:t>    Source = </a:t>
              </a:r>
              <a:r>
                <a:rPr lang="en-US" sz="1224" err="1">
                  <a:solidFill>
                    <a:prstClr val="black"/>
                  </a:solidFill>
                  <a:latin typeface="Calibri" panose="020F0502020204030204"/>
                </a:rPr>
                <a:t>Sql.Databases</a:t>
              </a:r>
              <a:r>
                <a:rPr lang="en-US" sz="1224">
                  <a:solidFill>
                    <a:prstClr val="black"/>
                  </a:solidFill>
                  <a:latin typeface="Calibri" panose="020F0502020204030204"/>
                </a:rPr>
                <a:t>(""),</a:t>
              </a:r>
            </a:p>
            <a:p>
              <a:pPr defTabSz="932504"/>
              <a:r>
                <a:rPr lang="en-US" sz="1224">
                  <a:solidFill>
                    <a:prstClr val="black"/>
                  </a:solidFill>
                  <a:latin typeface="Calibri" panose="020F0502020204030204"/>
                </a:rPr>
                <a:t>    </a:t>
              </a:r>
              <a:r>
                <a:rPr lang="en-US" sz="1224" err="1">
                  <a:solidFill>
                    <a:prstClr val="black"/>
                  </a:solidFill>
                  <a:latin typeface="Calibri" panose="020F0502020204030204"/>
                </a:rPr>
                <a:t>DatabaseName</a:t>
              </a:r>
              <a:r>
                <a:rPr lang="en-US" sz="1224">
                  <a:solidFill>
                    <a:prstClr val="black"/>
                  </a:solidFill>
                  <a:latin typeface="Calibri" panose="020F0502020204030204"/>
                </a:rPr>
                <a:t> = Source{[Name=""]}[Data],</a:t>
              </a:r>
            </a:p>
            <a:p>
              <a:pPr defTabSz="932504"/>
              <a:r>
                <a:rPr lang="en-US" sz="1224">
                  <a:solidFill>
                    <a:prstClr val="black"/>
                  </a:solidFill>
                  <a:latin typeface="Calibri" panose="020F0502020204030204"/>
                </a:rPr>
                <a:t>    </a:t>
              </a:r>
              <a:r>
                <a:rPr lang="en-US" sz="1224" err="1">
                  <a:solidFill>
                    <a:prstClr val="black"/>
                  </a:solidFill>
                  <a:latin typeface="Calibri" panose="020F0502020204030204"/>
                </a:rPr>
                <a:t>schema_ItemName</a:t>
              </a:r>
              <a:r>
                <a:rPr lang="en-US" sz="1224">
                  <a:solidFill>
                    <a:prstClr val="black"/>
                  </a:solidFill>
                  <a:latin typeface="Calibri" panose="020F0502020204030204"/>
                </a:rPr>
                <a:t> = AdventureWorksDW2017{[Schema="",Item=""]}[Data],</a:t>
              </a:r>
            </a:p>
            <a:p>
              <a:pPr defTabSz="932504"/>
              <a:r>
                <a:rPr lang="en-US" sz="1224">
                  <a:solidFill>
                    <a:prstClr val="black"/>
                  </a:solidFill>
                  <a:latin typeface="Calibri" panose="020F0502020204030204"/>
                </a:rPr>
                <a:t>    #"Filtered Rows" = </a:t>
              </a:r>
              <a:r>
                <a:rPr lang="en-US" sz="1224" err="1">
                  <a:solidFill>
                    <a:prstClr val="black"/>
                  </a:solidFill>
                  <a:latin typeface="Calibri" panose="020F0502020204030204"/>
                </a:rPr>
                <a:t>Table.SelectRows</a:t>
              </a:r>
              <a:r>
                <a:rPr lang="en-US" sz="1224">
                  <a:solidFill>
                    <a:prstClr val="black"/>
                  </a:solidFill>
                  <a:latin typeface="Calibri" panose="020F0502020204030204"/>
                </a:rPr>
                <a:t>(</a:t>
              </a:r>
              <a:r>
                <a:rPr lang="en-US" sz="1224" err="1">
                  <a:solidFill>
                    <a:prstClr val="black"/>
                  </a:solidFill>
                  <a:latin typeface="Calibri" panose="020F0502020204030204"/>
                </a:rPr>
                <a:t>schema_ItemName</a:t>
              </a:r>
              <a:r>
                <a:rPr lang="en-US" sz="1224">
                  <a:solidFill>
                    <a:prstClr val="black"/>
                  </a:solidFill>
                  <a:latin typeface="Calibri" panose="020F0502020204030204"/>
                </a:rPr>
                <a:t>, each ([Gender] = "F"))</a:t>
              </a:r>
            </a:p>
            <a:p>
              <a:pPr defTabSz="932504"/>
              <a:r>
                <a:rPr lang="en-US" sz="1224">
                  <a:solidFill>
                    <a:prstClr val="black"/>
                  </a:solidFill>
                  <a:latin typeface="Calibri" panose="020F0502020204030204"/>
                </a:rPr>
                <a:t>in</a:t>
              </a:r>
            </a:p>
            <a:p>
              <a:pPr defTabSz="932504"/>
              <a:r>
                <a:rPr lang="en-US" sz="1224">
                  <a:solidFill>
                    <a:prstClr val="black"/>
                  </a:solidFill>
                  <a:latin typeface="Calibri" panose="020F0502020204030204"/>
                </a:rPr>
                <a:t>    #"Filtered Rows"</a:t>
              </a:r>
            </a:p>
          </p:txBody>
        </p:sp>
        <p:pic>
          <p:nvPicPr>
            <p:cNvPr id="43" name="Picture 42">
              <a:extLst>
                <a:ext uri="{FF2B5EF4-FFF2-40B4-BE49-F238E27FC236}">
                  <a16:creationId xmlns:a16="http://schemas.microsoft.com/office/drawing/2014/main" id="{E3E24D96-B35D-41CA-A8C5-00410CE04D4F}"/>
                </a:ext>
              </a:extLst>
            </p:cNvPr>
            <p:cNvPicPr>
              <a:picLocks noChangeAspect="1"/>
            </p:cNvPicPr>
            <p:nvPr/>
          </p:nvPicPr>
          <p:blipFill>
            <a:blip r:embed="rId6"/>
            <a:stretch>
              <a:fillRect/>
            </a:stretch>
          </p:blipFill>
          <p:spPr>
            <a:xfrm>
              <a:off x="5969426" y="3416267"/>
              <a:ext cx="5482869" cy="625179"/>
            </a:xfrm>
            <a:prstGeom prst="rect">
              <a:avLst/>
            </a:prstGeom>
            <a:ln>
              <a:solidFill>
                <a:schemeClr val="tx1"/>
              </a:solidFill>
            </a:ln>
          </p:spPr>
        </p:pic>
      </p:grpSp>
      <p:pic>
        <p:nvPicPr>
          <p:cNvPr id="52" name="Picture 51">
            <a:extLst>
              <a:ext uri="{FF2B5EF4-FFF2-40B4-BE49-F238E27FC236}">
                <a16:creationId xmlns:a16="http://schemas.microsoft.com/office/drawing/2014/main" id="{5690358C-237F-486F-8D55-B6ED092D2125}"/>
              </a:ext>
            </a:extLst>
          </p:cNvPr>
          <p:cNvPicPr>
            <a:picLocks noChangeAspect="1"/>
          </p:cNvPicPr>
          <p:nvPr/>
        </p:nvPicPr>
        <p:blipFill rotWithShape="1">
          <a:blip r:embed="rId7"/>
          <a:srcRect r="55765" b="26707"/>
          <a:stretch/>
        </p:blipFill>
        <p:spPr>
          <a:xfrm>
            <a:off x="6136746" y="4142589"/>
            <a:ext cx="5499731" cy="1582270"/>
          </a:xfrm>
          <a:prstGeom prst="rect">
            <a:avLst/>
          </a:prstGeom>
        </p:spPr>
      </p:pic>
    </p:spTree>
    <p:extLst>
      <p:ext uri="{BB962C8B-B14F-4D97-AF65-F5344CB8AC3E}">
        <p14:creationId xmlns:p14="http://schemas.microsoft.com/office/powerpoint/2010/main" val="42233092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wipe(left)">
                                      <p:cBhvr>
                                        <p:cTn id="7" dur="20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52"/>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22" presetClass="entr" presetSubtype="4" fill="hold" nodeType="clickEffect">
                                  <p:stCondLst>
                                    <p:cond delay="0"/>
                                  </p:stCondLst>
                                  <p:childTnLst>
                                    <p:set>
                                      <p:cBhvr>
                                        <p:cTn id="15" dur="1" fill="hold">
                                          <p:stCondLst>
                                            <p:cond delay="0"/>
                                          </p:stCondLst>
                                        </p:cTn>
                                        <p:tgtEl>
                                          <p:spTgt spid="49"/>
                                        </p:tgtEl>
                                        <p:attrNameLst>
                                          <p:attrName>style.visibility</p:attrName>
                                        </p:attrNameLst>
                                      </p:cBhvr>
                                      <p:to>
                                        <p:strVal val="visible"/>
                                      </p:to>
                                    </p:set>
                                    <p:animEffect transition="in" filter="wipe(down)">
                                      <p:cBhvr>
                                        <p:cTn id="16" dur="2000"/>
                                        <p:tgtEl>
                                          <p:spTgt spid="49"/>
                                        </p:tgtEl>
                                      </p:cBhvr>
                                    </p:animEffect>
                                  </p:childTnLst>
                                </p:cTn>
                              </p:par>
                            </p:childTnLst>
                          </p:cTn>
                        </p:par>
                        <p:par>
                          <p:cTn id="17" fill="hold">
                            <p:stCondLst>
                              <p:cond delay="2000"/>
                            </p:stCondLst>
                            <p:childTnLst>
                              <p:par>
                                <p:cTn id="18" presetID="22" presetClass="entr" presetSubtype="2" fill="hold" nodeType="afterEffect">
                                  <p:stCondLst>
                                    <p:cond delay="0"/>
                                  </p:stCondLst>
                                  <p:childTnLst>
                                    <p:set>
                                      <p:cBhvr>
                                        <p:cTn id="19" dur="1" fill="hold">
                                          <p:stCondLst>
                                            <p:cond delay="0"/>
                                          </p:stCondLst>
                                        </p:cTn>
                                        <p:tgtEl>
                                          <p:spTgt spid="50"/>
                                        </p:tgtEl>
                                        <p:attrNameLst>
                                          <p:attrName>style.visibility</p:attrName>
                                        </p:attrNameLst>
                                      </p:cBhvr>
                                      <p:to>
                                        <p:strVal val="visible"/>
                                      </p:to>
                                    </p:set>
                                    <p:animEffect transition="in" filter="wipe(right)">
                                      <p:cBhvr>
                                        <p:cTn id="20" dur="2000"/>
                                        <p:tgtEl>
                                          <p:spTgt spid="50"/>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2" fill="hold" nodeType="click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wipe(right)">
                                      <p:cBhvr>
                                        <p:cTn id="25" dur="20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a:extLst>
              <a:ext uri="{FF2B5EF4-FFF2-40B4-BE49-F238E27FC236}">
                <a16:creationId xmlns:a16="http://schemas.microsoft.com/office/drawing/2014/main" id="{66BEFA0A-6A8E-4B79-BBFB-7C8521E8992F}"/>
              </a:ext>
            </a:extLst>
          </p:cNvPr>
          <p:cNvGraphicFramePr>
            <a:graphicFrameLocks noChangeAspect="1"/>
          </p:cNvGraphicFramePr>
          <p:nvPr>
            <p:extLst>
              <p:ext uri="{D42A27DB-BD31-4B8C-83A1-F6EECF244321}">
                <p14:modId xmlns:p14="http://schemas.microsoft.com/office/powerpoint/2010/main" val="2162077600"/>
              </p:ext>
            </p:extLst>
          </p:nvPr>
        </p:nvGraphicFramePr>
        <p:xfrm>
          <a:off x="0" y="0"/>
          <a:ext cx="12429765" cy="6366162"/>
        </p:xfrm>
        <a:graphic>
          <a:graphicData uri="http://schemas.openxmlformats.org/presentationml/2006/ole">
            <mc:AlternateContent xmlns:mc="http://schemas.openxmlformats.org/markup-compatibility/2006">
              <mc:Choice xmlns:v="urn:schemas-microsoft-com:vml" Requires="v">
                <p:oleObj name="Bitmap Image" r:id="rId2" imgW="21761280" imgH="11150640" progId="Paint.Picture">
                  <p:embed/>
                </p:oleObj>
              </mc:Choice>
              <mc:Fallback>
                <p:oleObj name="Bitmap Image" r:id="rId2" imgW="21761280" imgH="11150640" progId="Paint.Picture">
                  <p:embed/>
                  <p:pic>
                    <p:nvPicPr>
                      <p:cNvPr id="10" name="Object 9">
                        <a:extLst>
                          <a:ext uri="{FF2B5EF4-FFF2-40B4-BE49-F238E27FC236}">
                            <a16:creationId xmlns:a16="http://schemas.microsoft.com/office/drawing/2014/main" id="{66BEFA0A-6A8E-4B79-BBFB-7C8521E8992F}"/>
                          </a:ext>
                        </a:extLst>
                      </p:cNvPr>
                      <p:cNvPicPr/>
                      <p:nvPr/>
                    </p:nvPicPr>
                    <p:blipFill>
                      <a:blip r:embed="rId3"/>
                      <a:stretch>
                        <a:fillRect/>
                      </a:stretch>
                    </p:blipFill>
                    <p:spPr>
                      <a:xfrm>
                        <a:off x="0" y="0"/>
                        <a:ext cx="12429765" cy="6366162"/>
                      </a:xfrm>
                      <a:prstGeom prst="rect">
                        <a:avLst/>
                      </a:prstGeom>
                    </p:spPr>
                  </p:pic>
                </p:oleObj>
              </mc:Fallback>
            </mc:AlternateContent>
          </a:graphicData>
        </a:graphic>
      </p:graphicFrame>
      <p:cxnSp>
        <p:nvCxnSpPr>
          <p:cNvPr id="6" name="Straight Arrow Connector 5">
            <a:extLst>
              <a:ext uri="{FF2B5EF4-FFF2-40B4-BE49-F238E27FC236}">
                <a16:creationId xmlns:a16="http://schemas.microsoft.com/office/drawing/2014/main" id="{E7E35F04-F728-4359-BCDA-ED21DEC772E8}"/>
              </a:ext>
            </a:extLst>
          </p:cNvPr>
          <p:cNvCxnSpPr>
            <a:cxnSpLocks/>
            <a:stCxn id="3" idx="3"/>
          </p:cNvCxnSpPr>
          <p:nvPr/>
        </p:nvCxnSpPr>
        <p:spPr>
          <a:xfrm flipV="1">
            <a:off x="10204449" y="2627234"/>
            <a:ext cx="1890961" cy="467333"/>
          </a:xfrm>
          <a:prstGeom prst="straightConnector1">
            <a:avLst/>
          </a:prstGeom>
          <a:ln w="28575">
            <a:solidFill>
              <a:srgbClr val="FF0000"/>
            </a:solidFill>
            <a:headEnd type="none" w="lg" len="med"/>
            <a:tailEnd type="triangle"/>
          </a:ln>
        </p:spPr>
        <p:style>
          <a:lnRef idx="1">
            <a:schemeClr val="dk1"/>
          </a:lnRef>
          <a:fillRef idx="0">
            <a:schemeClr val="dk1"/>
          </a:fillRef>
          <a:effectRef idx="0">
            <a:schemeClr val="dk1"/>
          </a:effectRef>
          <a:fontRef idx="minor">
            <a:schemeClr val="tx1"/>
          </a:fontRef>
        </p:style>
      </p:cxnSp>
      <p:sp>
        <p:nvSpPr>
          <p:cNvPr id="5" name="TextBox 4">
            <a:extLst>
              <a:ext uri="{FF2B5EF4-FFF2-40B4-BE49-F238E27FC236}">
                <a16:creationId xmlns:a16="http://schemas.microsoft.com/office/drawing/2014/main" id="{FA9C0DDF-B526-42A4-ABB0-3881CAD6FAAE}"/>
              </a:ext>
            </a:extLst>
          </p:cNvPr>
          <p:cNvSpPr txBox="1"/>
          <p:nvPr/>
        </p:nvSpPr>
        <p:spPr>
          <a:xfrm>
            <a:off x="125646" y="6515148"/>
            <a:ext cx="4829977" cy="338554"/>
          </a:xfrm>
          <a:prstGeom prst="rect">
            <a:avLst/>
          </a:prstGeom>
          <a:noFill/>
        </p:spPr>
        <p:txBody>
          <a:bodyPr wrap="none" rtlCol="0">
            <a:spAutoFit/>
          </a:bodyPr>
          <a:lstStyle/>
          <a:p>
            <a:pPr defTabSz="932504"/>
            <a:r>
              <a:rPr lang="en-US" sz="1600" b="1">
                <a:solidFill>
                  <a:schemeClr val="tx1">
                    <a:lumMod val="50000"/>
                    <a:lumOff val="50000"/>
                  </a:schemeClr>
                </a:solidFill>
                <a:latin typeface="+mj-lt"/>
                <a:cs typeface="Segoe UI" panose="020B0502040204020203" pitchFamily="34" charset="0"/>
              </a:rPr>
              <a:t>AKA: </a:t>
            </a:r>
            <a:r>
              <a:rPr lang="en-US" sz="1600">
                <a:solidFill>
                  <a:schemeClr val="tx1">
                    <a:lumMod val="50000"/>
                    <a:lumOff val="50000"/>
                  </a:schemeClr>
                </a:solidFill>
                <a:latin typeface="Segoe UI" panose="020B0502040204020203" pitchFamily="34" charset="0"/>
                <a:cs typeface="Segoe UI" panose="020B0502040204020203" pitchFamily="34" charset="0"/>
              </a:rPr>
              <a:t>“</a:t>
            </a:r>
            <a:r>
              <a:rPr lang="en-US" sz="1600" b="1">
                <a:solidFill>
                  <a:schemeClr val="tx1">
                    <a:lumMod val="50000"/>
                    <a:lumOff val="50000"/>
                  </a:schemeClr>
                </a:solidFill>
                <a:latin typeface="Segoe UI" panose="020B0502040204020203" pitchFamily="34" charset="0"/>
                <a:cs typeface="Segoe UI" panose="020B0502040204020203" pitchFamily="34" charset="0"/>
              </a:rPr>
              <a:t>View Native Query</a:t>
            </a:r>
            <a:r>
              <a:rPr lang="en-US" sz="1600">
                <a:solidFill>
                  <a:schemeClr val="tx1">
                    <a:lumMod val="50000"/>
                    <a:lumOff val="50000"/>
                  </a:schemeClr>
                </a:solidFill>
                <a:latin typeface="Segoe UI" panose="020B0502040204020203" pitchFamily="34" charset="0"/>
                <a:cs typeface="Segoe UI" panose="020B0502040204020203" pitchFamily="34" charset="0"/>
              </a:rPr>
              <a:t>” in desktop applications.</a:t>
            </a:r>
          </a:p>
        </p:txBody>
      </p:sp>
      <p:sp>
        <p:nvSpPr>
          <p:cNvPr id="7" name="Rectangle 6">
            <a:extLst>
              <a:ext uri="{FF2B5EF4-FFF2-40B4-BE49-F238E27FC236}">
                <a16:creationId xmlns:a16="http://schemas.microsoft.com/office/drawing/2014/main" id="{62F8BAA0-D3E4-4D7A-B602-C5FFD25D2AC5}"/>
              </a:ext>
            </a:extLst>
          </p:cNvPr>
          <p:cNvSpPr/>
          <p:nvPr/>
        </p:nvSpPr>
        <p:spPr>
          <a:xfrm>
            <a:off x="12114213" y="2555875"/>
            <a:ext cx="188409" cy="142719"/>
          </a:xfrm>
          <a:prstGeom prst="rect">
            <a:avLst/>
          </a:prstGeom>
          <a:noFill/>
          <a:ln w="28575">
            <a:solidFill>
              <a:srgbClr val="FF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4"/>
            <a:endParaRPr lang="en-US" sz="1836">
              <a:solidFill>
                <a:prstClr val="white"/>
              </a:solidFill>
              <a:latin typeface="Calibri" panose="020F0502020204030204"/>
            </a:endParaRPr>
          </a:p>
        </p:txBody>
      </p:sp>
      <p:pic>
        <p:nvPicPr>
          <p:cNvPr id="9" name="Picture 8">
            <a:extLst>
              <a:ext uri="{FF2B5EF4-FFF2-40B4-BE49-F238E27FC236}">
                <a16:creationId xmlns:a16="http://schemas.microsoft.com/office/drawing/2014/main" id="{613523C2-39E4-4810-B902-78E6423F14C0}"/>
              </a:ext>
            </a:extLst>
          </p:cNvPr>
          <p:cNvPicPr>
            <a:picLocks noChangeAspect="1"/>
          </p:cNvPicPr>
          <p:nvPr/>
        </p:nvPicPr>
        <p:blipFill>
          <a:blip r:embed="rId4"/>
          <a:stretch>
            <a:fillRect/>
          </a:stretch>
        </p:blipFill>
        <p:spPr>
          <a:xfrm>
            <a:off x="10357655" y="3199465"/>
            <a:ext cx="1912771" cy="2807635"/>
          </a:xfrm>
          <a:prstGeom prst="rect">
            <a:avLst/>
          </a:prstGeom>
          <a:ln>
            <a:solidFill>
              <a:schemeClr val="bg1">
                <a:lumMod val="85000"/>
              </a:schemeClr>
            </a:solidFill>
          </a:ln>
        </p:spPr>
      </p:pic>
      <p:sp>
        <p:nvSpPr>
          <p:cNvPr id="3" name="Rectangle 2">
            <a:extLst>
              <a:ext uri="{FF2B5EF4-FFF2-40B4-BE49-F238E27FC236}">
                <a16:creationId xmlns:a16="http://schemas.microsoft.com/office/drawing/2014/main" id="{B8805CDE-18B1-4AD2-8A61-899B536EA248}"/>
              </a:ext>
            </a:extLst>
          </p:cNvPr>
          <p:cNvSpPr/>
          <p:nvPr/>
        </p:nvSpPr>
        <p:spPr bwMode="auto">
          <a:xfrm>
            <a:off x="8301566" y="2923117"/>
            <a:ext cx="1902883" cy="342900"/>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8" name="Rectangle 7">
            <a:extLst>
              <a:ext uri="{FF2B5EF4-FFF2-40B4-BE49-F238E27FC236}">
                <a16:creationId xmlns:a16="http://schemas.microsoft.com/office/drawing/2014/main" id="{72CF8AC8-14E5-4AD4-B7CE-F2E1100FE8A9}"/>
              </a:ext>
            </a:extLst>
          </p:cNvPr>
          <p:cNvSpPr/>
          <p:nvPr/>
        </p:nvSpPr>
        <p:spPr bwMode="auto">
          <a:xfrm>
            <a:off x="10357655" y="5304211"/>
            <a:ext cx="1912771" cy="271089"/>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719146251"/>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Partial Query Folding</a:t>
            </a:r>
          </a:p>
        </p:txBody>
      </p:sp>
      <p:sp>
        <p:nvSpPr>
          <p:cNvPr id="6" name="Text Placeholder 2">
            <a:extLst>
              <a:ext uri="{FF2B5EF4-FFF2-40B4-BE49-F238E27FC236}">
                <a16:creationId xmlns:a16="http://schemas.microsoft.com/office/drawing/2014/main" id="{2343DF5C-7325-4B51-B062-365993CDC152}"/>
              </a:ext>
            </a:extLst>
          </p:cNvPr>
          <p:cNvSpPr txBox="1">
            <a:spLocks/>
          </p:cNvSpPr>
          <p:nvPr/>
        </p:nvSpPr>
        <p:spPr>
          <a:xfrm>
            <a:off x="596711" y="1464074"/>
            <a:ext cx="11237870" cy="2162717"/>
          </a:xfrm>
        </p:spPr>
        <p:txBody>
          <a:bodyPr>
            <a:norm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2040">
                <a:solidFill>
                  <a:schemeClr val="tx1">
                    <a:lumMod val="50000"/>
                    <a:lumOff val="50000"/>
                  </a:schemeClr>
                </a:solidFill>
                <a:latin typeface="Segoe UI" panose="020B0502040204020203" pitchFamily="34" charset="0"/>
              </a:rPr>
              <a:t>Data sources will support different levels of query capabilities. To provide a consistent data transformation experience, </a:t>
            </a:r>
            <a:r>
              <a:rPr lang="en-US" sz="2100" b="1">
                <a:gradFill>
                  <a:gsLst>
                    <a:gs pos="2917">
                      <a:srgbClr val="505050"/>
                    </a:gs>
                    <a:gs pos="30000">
                      <a:srgbClr val="505050"/>
                    </a:gs>
                  </a:gsLst>
                  <a:lin ang="5400000" scaled="0"/>
                </a:gradFill>
                <a:latin typeface="Segoe UI"/>
              </a:rPr>
              <a:t>the Mashup Engine compensates </a:t>
            </a:r>
            <a:r>
              <a:rPr lang="en-US" sz="2100">
                <a:solidFill>
                  <a:schemeClr val="tx1">
                    <a:lumMod val="50000"/>
                    <a:lumOff val="50000"/>
                  </a:schemeClr>
                </a:solidFill>
                <a:latin typeface="Segoe UI" panose="020B0502040204020203" pitchFamily="34" charset="0"/>
              </a:rPr>
              <a:t>(i.e. does the processing locally) </a:t>
            </a:r>
            <a:r>
              <a:rPr lang="en-US" sz="2100" b="1">
                <a:gradFill>
                  <a:gsLst>
                    <a:gs pos="2917">
                      <a:srgbClr val="505050"/>
                    </a:gs>
                    <a:gs pos="30000">
                      <a:srgbClr val="505050"/>
                    </a:gs>
                  </a:gsLst>
                  <a:lin ang="5400000" scaled="0"/>
                </a:gradFill>
                <a:latin typeface="Segoe UI"/>
              </a:rPr>
              <a:t>for transformations that cannot be sent to the source</a:t>
            </a:r>
            <a:r>
              <a:rPr lang="en-US" sz="2040">
                <a:solidFill>
                  <a:schemeClr val="tx1">
                    <a:lumMod val="50000"/>
                    <a:lumOff val="50000"/>
                  </a:schemeClr>
                </a:solidFill>
                <a:latin typeface="Segoe UI" panose="020B0502040204020203" pitchFamily="34" charset="0"/>
              </a:rPr>
              <a:t>. It is the Data Connector's responsibility to report its capabilities to the engine, carving off the transformations it can handle, generating the appropriate query syntax, and letting the Mashup Engine handle the remaining work.</a:t>
            </a:r>
          </a:p>
        </p:txBody>
      </p:sp>
      <p:grpSp>
        <p:nvGrpSpPr>
          <p:cNvPr id="7" name="Group 6">
            <a:extLst>
              <a:ext uri="{FF2B5EF4-FFF2-40B4-BE49-F238E27FC236}">
                <a16:creationId xmlns:a16="http://schemas.microsoft.com/office/drawing/2014/main" id="{9002C267-4DD3-4B8C-9DEE-F745A4EE81CD}"/>
              </a:ext>
            </a:extLst>
          </p:cNvPr>
          <p:cNvGrpSpPr/>
          <p:nvPr/>
        </p:nvGrpSpPr>
        <p:grpSpPr>
          <a:xfrm>
            <a:off x="10790998" y="5730584"/>
            <a:ext cx="1041909" cy="974375"/>
            <a:chOff x="9124950" y="1397319"/>
            <a:chExt cx="1518216" cy="1419809"/>
          </a:xfrm>
        </p:grpSpPr>
        <p:pic>
          <p:nvPicPr>
            <p:cNvPr id="8" name="Picture 7">
              <a:extLst>
                <a:ext uri="{FF2B5EF4-FFF2-40B4-BE49-F238E27FC236}">
                  <a16:creationId xmlns:a16="http://schemas.microsoft.com/office/drawing/2014/main" id="{8B65CE03-EC99-438C-9A79-E112B93889DF}"/>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8917" b="94268" l="10000" r="90000">
                          <a14:foregroundMark x1="12222" y1="16561" x2="12222" y2="16561"/>
                          <a14:foregroundMark x1="60000" y1="10191" x2="60000" y2="10191"/>
                          <a14:foregroundMark x1="43333" y1="34395" x2="43333" y2="34395"/>
                          <a14:foregroundMark x1="68889" y1="35032" x2="68889" y2="35032"/>
                          <a14:foregroundMark x1="88889" y1="39490" x2="88889" y2="39490"/>
                          <a14:foregroundMark x1="88889" y1="55414" x2="88889" y2="55414"/>
                          <a14:foregroundMark x1="88889" y1="70064" x2="88889" y2="70064"/>
                          <a14:foregroundMark x1="88889" y1="85987" x2="88889" y2="85987"/>
                          <a14:foregroundMark x1="67778" y1="92994" x2="67778" y2="92994"/>
                          <a14:foregroundMark x1="43333" y1="94268" x2="43333" y2="94268"/>
                        </a14:backgroundRemoval>
                      </a14:imgEffect>
                    </a14:imgLayer>
                  </a14:imgProps>
                </a:ext>
              </a:extLst>
            </a:blip>
            <a:stretch>
              <a:fillRect/>
            </a:stretch>
          </p:blipFill>
          <p:spPr>
            <a:xfrm>
              <a:off x="10083454" y="1451407"/>
              <a:ext cx="559712" cy="976387"/>
            </a:xfrm>
            <a:prstGeom prst="rect">
              <a:avLst/>
            </a:prstGeom>
          </p:spPr>
        </p:pic>
        <p:pic>
          <p:nvPicPr>
            <p:cNvPr id="9" name="Picture 8" descr="A picture containing sitting, dark, white, sign&#10;&#10;Description automatically generated">
              <a:extLst>
                <a:ext uri="{FF2B5EF4-FFF2-40B4-BE49-F238E27FC236}">
                  <a16:creationId xmlns:a16="http://schemas.microsoft.com/office/drawing/2014/main" id="{334569AA-8B4F-4090-8E54-A9932703F98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24950" y="1397319"/>
              <a:ext cx="1419809" cy="1419809"/>
            </a:xfrm>
            <a:prstGeom prst="rect">
              <a:avLst/>
            </a:prstGeom>
          </p:spPr>
        </p:pic>
      </p:grpSp>
    </p:spTree>
    <p:extLst>
      <p:ext uri="{BB962C8B-B14F-4D97-AF65-F5344CB8AC3E}">
        <p14:creationId xmlns:p14="http://schemas.microsoft.com/office/powerpoint/2010/main" val="353226412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Graphic 14" descr="Database">
            <a:extLst>
              <a:ext uri="{FF2B5EF4-FFF2-40B4-BE49-F238E27FC236}">
                <a16:creationId xmlns:a16="http://schemas.microsoft.com/office/drawing/2014/main" id="{59F081BD-92F4-412B-B83D-EA53550AB90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9496" y="266824"/>
            <a:ext cx="5544952" cy="5544952"/>
          </a:xfrm>
          <a:prstGeom prst="rect">
            <a:avLst/>
          </a:prstGeom>
        </p:spPr>
      </p:pic>
      <p:grpSp>
        <p:nvGrpSpPr>
          <p:cNvPr id="6" name="Group 5">
            <a:extLst>
              <a:ext uri="{FF2B5EF4-FFF2-40B4-BE49-F238E27FC236}">
                <a16:creationId xmlns:a16="http://schemas.microsoft.com/office/drawing/2014/main" id="{C7E71DC5-7E2F-4700-A81C-6C689B01532D}"/>
              </a:ext>
            </a:extLst>
          </p:cNvPr>
          <p:cNvGrpSpPr/>
          <p:nvPr/>
        </p:nvGrpSpPr>
        <p:grpSpPr>
          <a:xfrm>
            <a:off x="9362215" y="1530555"/>
            <a:ext cx="2126031" cy="2459305"/>
            <a:chOff x="9179781" y="1549400"/>
            <a:chExt cx="2084799" cy="2362644"/>
          </a:xfrm>
        </p:grpSpPr>
        <p:grpSp>
          <p:nvGrpSpPr>
            <p:cNvPr id="26" name="Group 25">
              <a:extLst>
                <a:ext uri="{FF2B5EF4-FFF2-40B4-BE49-F238E27FC236}">
                  <a16:creationId xmlns:a16="http://schemas.microsoft.com/office/drawing/2014/main" id="{AB440101-6F6A-4544-85F3-8424073105AB}"/>
                </a:ext>
              </a:extLst>
            </p:cNvPr>
            <p:cNvGrpSpPr/>
            <p:nvPr/>
          </p:nvGrpSpPr>
          <p:grpSpPr>
            <a:xfrm>
              <a:off x="9179781" y="1549400"/>
              <a:ext cx="2084799" cy="2362644"/>
              <a:chOff x="9179781" y="1549400"/>
              <a:chExt cx="2084799" cy="2362644"/>
            </a:xfrm>
          </p:grpSpPr>
          <p:cxnSp>
            <p:nvCxnSpPr>
              <p:cNvPr id="27" name="Straight Connector 26">
                <a:extLst>
                  <a:ext uri="{FF2B5EF4-FFF2-40B4-BE49-F238E27FC236}">
                    <a16:creationId xmlns:a16="http://schemas.microsoft.com/office/drawing/2014/main" id="{57DFF6E4-F9F8-4C4A-A555-1FA790E96C3F}"/>
                  </a:ext>
                </a:extLst>
              </p:cNvPr>
              <p:cNvCxnSpPr>
                <a:cxnSpLocks/>
              </p:cNvCxnSpPr>
              <p:nvPr/>
            </p:nvCxnSpPr>
            <p:spPr>
              <a:xfrm flipV="1">
                <a:off x="9179781" y="1549400"/>
                <a:ext cx="0" cy="2362644"/>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E642D2FA-C915-40B5-9491-A30DE485341C}"/>
                  </a:ext>
                </a:extLst>
              </p:cNvPr>
              <p:cNvSpPr txBox="1"/>
              <p:nvPr/>
            </p:nvSpPr>
            <p:spPr>
              <a:xfrm>
                <a:off x="9255175" y="2201373"/>
                <a:ext cx="2009405" cy="450608"/>
              </a:xfrm>
              <a:prstGeom prst="rect">
                <a:avLst/>
              </a:prstGeom>
              <a:noFill/>
            </p:spPr>
            <p:txBody>
              <a:bodyPr wrap="none" rtlCol="0">
                <a:spAutoFit/>
              </a:bodyPr>
              <a:lstStyle/>
              <a:p>
                <a:pPr defTabSz="932504"/>
                <a:r>
                  <a:rPr lang="en-US" sz="1224">
                    <a:solidFill>
                      <a:prstClr val="black"/>
                    </a:solidFill>
                    <a:latin typeface="Segoe UI" panose="020B0502040204020203" pitchFamily="34" charset="0"/>
                    <a:cs typeface="Segoe UI" panose="020B0502040204020203" pitchFamily="34" charset="0"/>
                  </a:rPr>
                  <a:t>Additional Transformations</a:t>
                </a:r>
              </a:p>
              <a:p>
                <a:pPr defTabSz="932504"/>
                <a:r>
                  <a:rPr lang="en-US" sz="1224">
                    <a:solidFill>
                      <a:prstClr val="black"/>
                    </a:solidFill>
                    <a:latin typeface="Segoe UI" panose="020B0502040204020203" pitchFamily="34" charset="0"/>
                    <a:cs typeface="Segoe UI" panose="020B0502040204020203" pitchFamily="34" charset="0"/>
                  </a:rPr>
                  <a:t>in the Power Query Editor</a:t>
                </a:r>
              </a:p>
            </p:txBody>
          </p:sp>
        </p:grpSp>
        <p:cxnSp>
          <p:nvCxnSpPr>
            <p:cNvPr id="20" name="Straight Connector 19">
              <a:extLst>
                <a:ext uri="{FF2B5EF4-FFF2-40B4-BE49-F238E27FC236}">
                  <a16:creationId xmlns:a16="http://schemas.microsoft.com/office/drawing/2014/main" id="{65BEDB62-BB86-4770-9586-C2BAAFDFF0B4}"/>
                </a:ext>
              </a:extLst>
            </p:cNvPr>
            <p:cNvCxnSpPr>
              <a:cxnSpLocks/>
            </p:cNvCxnSpPr>
            <p:nvPr/>
          </p:nvCxnSpPr>
          <p:spPr>
            <a:xfrm flipV="1">
              <a:off x="9179781" y="1915160"/>
              <a:ext cx="0" cy="1996883"/>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D4E950FB-116C-46D4-9D1D-036760BDD779}"/>
              </a:ext>
            </a:extLst>
          </p:cNvPr>
          <p:cNvGrpSpPr/>
          <p:nvPr/>
        </p:nvGrpSpPr>
        <p:grpSpPr>
          <a:xfrm>
            <a:off x="4710449" y="3484278"/>
            <a:ext cx="8791575" cy="2240583"/>
            <a:chOff x="4618230" y="3416267"/>
            <a:chExt cx="8621074" cy="2197130"/>
          </a:xfrm>
        </p:grpSpPr>
        <p:sp>
          <p:nvSpPr>
            <p:cNvPr id="37" name="TextBox 36">
              <a:extLst>
                <a:ext uri="{FF2B5EF4-FFF2-40B4-BE49-F238E27FC236}">
                  <a16:creationId xmlns:a16="http://schemas.microsoft.com/office/drawing/2014/main" id="{580003CA-3E94-4F7E-A202-2621ADACBBEC}"/>
                </a:ext>
              </a:extLst>
            </p:cNvPr>
            <p:cNvSpPr txBox="1"/>
            <p:nvPr/>
          </p:nvSpPr>
          <p:spPr>
            <a:xfrm>
              <a:off x="4618230" y="4662173"/>
              <a:ext cx="1330685" cy="657488"/>
            </a:xfrm>
            <a:prstGeom prst="rect">
              <a:avLst/>
            </a:prstGeom>
            <a:noFill/>
          </p:spPr>
          <p:txBody>
            <a:bodyPr wrap="none" rtlCol="0">
              <a:spAutoFit/>
            </a:bodyPr>
            <a:lstStyle/>
            <a:p>
              <a:pPr defTabSz="932504"/>
              <a:r>
                <a:rPr lang="en-US" sz="1224">
                  <a:solidFill>
                    <a:prstClr val="black"/>
                  </a:solidFill>
                  <a:latin typeface="Segoe UI" panose="020B0502040204020203" pitchFamily="34" charset="0"/>
                  <a:cs typeface="Segoe UI" panose="020B0502040204020203" pitchFamily="34" charset="0"/>
                </a:rPr>
                <a:t>Written in</a:t>
              </a:r>
            </a:p>
            <a:p>
              <a:pPr defTabSz="932504"/>
              <a:r>
                <a:rPr lang="en-US" sz="1224">
                  <a:solidFill>
                    <a:prstClr val="black"/>
                  </a:solidFill>
                  <a:latin typeface="Segoe UI" panose="020B0502040204020203" pitchFamily="34" charset="0"/>
                  <a:cs typeface="Segoe UI" panose="020B0502040204020203" pitchFamily="34" charset="0"/>
                </a:rPr>
                <a:t>Source’s Native</a:t>
              </a:r>
            </a:p>
            <a:p>
              <a:pPr defTabSz="932504"/>
              <a:r>
                <a:rPr lang="en-US" sz="1224">
                  <a:solidFill>
                    <a:prstClr val="black"/>
                  </a:solidFill>
                  <a:latin typeface="Segoe UI" panose="020B0502040204020203" pitchFamily="34" charset="0"/>
                  <a:cs typeface="Segoe UI" panose="020B0502040204020203" pitchFamily="34" charset="0"/>
                </a:rPr>
                <a:t>Query Language</a:t>
              </a:r>
            </a:p>
          </p:txBody>
        </p:sp>
        <p:grpSp>
          <p:nvGrpSpPr>
            <p:cNvPr id="44" name="Group 43">
              <a:extLst>
                <a:ext uri="{FF2B5EF4-FFF2-40B4-BE49-F238E27FC236}">
                  <a16:creationId xmlns:a16="http://schemas.microsoft.com/office/drawing/2014/main" id="{AE40B32B-FF24-4CCB-8DC5-01917CF55F90}"/>
                </a:ext>
              </a:extLst>
            </p:cNvPr>
            <p:cNvGrpSpPr/>
            <p:nvPr/>
          </p:nvGrpSpPr>
          <p:grpSpPr>
            <a:xfrm>
              <a:off x="4715124" y="3416267"/>
              <a:ext cx="8524180" cy="2197130"/>
              <a:chOff x="4715124" y="3416267"/>
              <a:chExt cx="8524180" cy="2197130"/>
            </a:xfrm>
          </p:grpSpPr>
          <p:cxnSp>
            <p:nvCxnSpPr>
              <p:cNvPr id="17" name="Straight Connector 16">
                <a:extLst>
                  <a:ext uri="{FF2B5EF4-FFF2-40B4-BE49-F238E27FC236}">
                    <a16:creationId xmlns:a16="http://schemas.microsoft.com/office/drawing/2014/main" id="{AC5897C2-86E0-43E0-A3EA-CE834C3D8D40}"/>
                  </a:ext>
                </a:extLst>
              </p:cNvPr>
              <p:cNvCxnSpPr>
                <a:cxnSpLocks/>
              </p:cNvCxnSpPr>
              <p:nvPr/>
            </p:nvCxnSpPr>
            <p:spPr>
              <a:xfrm>
                <a:off x="4715124" y="4544170"/>
                <a:ext cx="1236497" cy="0"/>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22BB154B-524C-4C12-A562-56E94A30A5A0}"/>
                  </a:ext>
                </a:extLst>
              </p:cNvPr>
              <p:cNvSpPr/>
              <p:nvPr/>
            </p:nvSpPr>
            <p:spPr>
              <a:xfrm>
                <a:off x="6011786" y="3995033"/>
                <a:ext cx="5398151" cy="161836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932504"/>
                <a:endParaRPr lang="en-US" sz="1836">
                  <a:solidFill>
                    <a:prstClr val="black"/>
                  </a:solidFill>
                  <a:latin typeface="Calibri" panose="020F0502020204030204"/>
                </a:endParaRPr>
              </a:p>
            </p:txBody>
          </p:sp>
          <p:sp>
            <p:nvSpPr>
              <p:cNvPr id="40" name="TextBox 39">
                <a:extLst>
                  <a:ext uri="{FF2B5EF4-FFF2-40B4-BE49-F238E27FC236}">
                    <a16:creationId xmlns:a16="http://schemas.microsoft.com/office/drawing/2014/main" id="{A4565DF8-4627-4875-9880-BF09E6C5E3FD}"/>
                  </a:ext>
                </a:extLst>
              </p:cNvPr>
              <p:cNvSpPr txBox="1"/>
              <p:nvPr/>
            </p:nvSpPr>
            <p:spPr>
              <a:xfrm>
                <a:off x="6155464" y="4134924"/>
                <a:ext cx="7083840" cy="1222642"/>
              </a:xfrm>
              <a:prstGeom prst="rect">
                <a:avLst/>
              </a:prstGeom>
              <a:noFill/>
            </p:spPr>
            <p:txBody>
              <a:bodyPr wrap="square" rtlCol="0">
                <a:spAutoFit/>
              </a:bodyPr>
              <a:lstStyle/>
              <a:p>
                <a:pPr defTabSz="932504"/>
                <a:r>
                  <a:rPr lang="en-US" sz="1224">
                    <a:solidFill>
                      <a:prstClr val="black"/>
                    </a:solidFill>
                    <a:latin typeface="Calibri" panose="020F0502020204030204"/>
                  </a:rPr>
                  <a:t>let</a:t>
                </a:r>
              </a:p>
              <a:p>
                <a:pPr defTabSz="932504"/>
                <a:r>
                  <a:rPr lang="en-US" sz="1224">
                    <a:solidFill>
                      <a:prstClr val="black"/>
                    </a:solidFill>
                    <a:latin typeface="Calibri" panose="020F0502020204030204"/>
                  </a:rPr>
                  <a:t>    Source = </a:t>
                </a:r>
                <a:r>
                  <a:rPr lang="en-US" sz="1224" err="1">
                    <a:solidFill>
                      <a:prstClr val="black"/>
                    </a:solidFill>
                    <a:latin typeface="Calibri" panose="020F0502020204030204"/>
                  </a:rPr>
                  <a:t>Sql.Database</a:t>
                </a:r>
                <a:r>
                  <a:rPr lang="en-US" sz="1224">
                    <a:solidFill>
                      <a:prstClr val="black"/>
                    </a:solidFill>
                    <a:latin typeface="Calibri" panose="020F0502020204030204"/>
                  </a:rPr>
                  <a:t>( "localhost", "AdventureWorksDW2017",</a:t>
                </a:r>
              </a:p>
              <a:p>
                <a:pPr defTabSz="932504"/>
                <a:r>
                  <a:rPr lang="en-US" sz="1224">
                    <a:solidFill>
                      <a:prstClr val="black"/>
                    </a:solidFill>
                    <a:latin typeface="Calibri" panose="020F0502020204030204"/>
                  </a:rPr>
                  <a:t>            [Query = "</a:t>
                </a:r>
                <a:r>
                  <a:rPr lang="en-US" sz="1224" u="sng">
                    <a:solidFill>
                      <a:prstClr val="black"/>
                    </a:solidFill>
                    <a:latin typeface="Calibri" panose="020F0502020204030204"/>
                  </a:rPr>
                  <a:t>select * from [</a:t>
                </a:r>
                <a:r>
                  <a:rPr lang="en-US" sz="1224" u="sng" err="1">
                    <a:solidFill>
                      <a:prstClr val="black"/>
                    </a:solidFill>
                    <a:latin typeface="Calibri" panose="020F0502020204030204"/>
                  </a:rPr>
                  <a:t>dbo</a:t>
                </a:r>
                <a:r>
                  <a:rPr lang="en-US" sz="1224" u="sng">
                    <a:solidFill>
                      <a:prstClr val="black"/>
                    </a:solidFill>
                    <a:latin typeface="Calibri" panose="020F0502020204030204"/>
                  </a:rPr>
                  <a:t>].[</a:t>
                </a:r>
                <a:r>
                  <a:rPr lang="en-US" sz="1224" u="sng" err="1">
                    <a:solidFill>
                      <a:prstClr val="black"/>
                    </a:solidFill>
                    <a:latin typeface="Calibri" panose="020F0502020204030204"/>
                  </a:rPr>
                  <a:t>DimCustomer</a:t>
                </a:r>
                <a:r>
                  <a:rPr lang="en-US" sz="1224" u="sng">
                    <a:solidFill>
                      <a:prstClr val="black"/>
                    </a:solidFill>
                    <a:latin typeface="Calibri" panose="020F0502020204030204"/>
                  </a:rPr>
                  <a:t>] where [Gender] = 'F'</a:t>
                </a:r>
                <a:r>
                  <a:rPr lang="en-US" sz="1224">
                    <a:solidFill>
                      <a:prstClr val="black"/>
                    </a:solidFill>
                    <a:latin typeface="Calibri" panose="020F0502020204030204"/>
                  </a:rPr>
                  <a:t>"]</a:t>
                </a:r>
              </a:p>
              <a:p>
                <a:pPr defTabSz="932504"/>
                <a:r>
                  <a:rPr lang="en-US" sz="1224">
                    <a:solidFill>
                      <a:prstClr val="black"/>
                    </a:solidFill>
                    <a:latin typeface="Calibri" panose="020F0502020204030204"/>
                  </a:rPr>
                  <a:t>        )</a:t>
                </a:r>
              </a:p>
              <a:p>
                <a:pPr defTabSz="932504"/>
                <a:r>
                  <a:rPr lang="en-US" sz="1224">
                    <a:solidFill>
                      <a:prstClr val="black"/>
                    </a:solidFill>
                    <a:latin typeface="Calibri" panose="020F0502020204030204"/>
                  </a:rPr>
                  <a:t>in</a:t>
                </a:r>
              </a:p>
              <a:p>
                <a:pPr defTabSz="932504"/>
                <a:r>
                  <a:rPr lang="en-US" sz="1224">
                    <a:solidFill>
                      <a:prstClr val="black"/>
                    </a:solidFill>
                    <a:latin typeface="Calibri" panose="020F0502020204030204"/>
                  </a:rPr>
                  <a:t>    Source</a:t>
                </a:r>
              </a:p>
            </p:txBody>
          </p:sp>
          <p:pic>
            <p:nvPicPr>
              <p:cNvPr id="43" name="Picture 42">
                <a:extLst>
                  <a:ext uri="{FF2B5EF4-FFF2-40B4-BE49-F238E27FC236}">
                    <a16:creationId xmlns:a16="http://schemas.microsoft.com/office/drawing/2014/main" id="{E3E24D96-B35D-41CA-A8C5-00410CE04D4F}"/>
                  </a:ext>
                </a:extLst>
              </p:cNvPr>
              <p:cNvPicPr>
                <a:picLocks noChangeAspect="1"/>
              </p:cNvPicPr>
              <p:nvPr/>
            </p:nvPicPr>
            <p:blipFill>
              <a:blip r:embed="rId4"/>
              <a:stretch>
                <a:fillRect/>
              </a:stretch>
            </p:blipFill>
            <p:spPr>
              <a:xfrm>
                <a:off x="5969426" y="3416267"/>
                <a:ext cx="5482869" cy="625179"/>
              </a:xfrm>
              <a:prstGeom prst="rect">
                <a:avLst/>
              </a:prstGeom>
              <a:ln>
                <a:solidFill>
                  <a:schemeClr val="tx1"/>
                </a:solidFill>
              </a:ln>
            </p:spPr>
          </p:pic>
        </p:grpSp>
      </p:grpSp>
      <p:pic>
        <p:nvPicPr>
          <p:cNvPr id="3" name="Picture 2">
            <a:extLst>
              <a:ext uri="{FF2B5EF4-FFF2-40B4-BE49-F238E27FC236}">
                <a16:creationId xmlns:a16="http://schemas.microsoft.com/office/drawing/2014/main" id="{BE1C4B3C-E6B3-45E0-B096-9BD5CD240CE4}"/>
              </a:ext>
            </a:extLst>
          </p:cNvPr>
          <p:cNvPicPr>
            <a:picLocks noChangeAspect="1"/>
          </p:cNvPicPr>
          <p:nvPr/>
        </p:nvPicPr>
        <p:blipFill>
          <a:blip r:embed="rId5"/>
          <a:stretch>
            <a:fillRect/>
          </a:stretch>
        </p:blipFill>
        <p:spPr>
          <a:xfrm>
            <a:off x="6131565" y="4133419"/>
            <a:ext cx="5504911" cy="1591891"/>
          </a:xfrm>
          <a:prstGeom prst="rect">
            <a:avLst/>
          </a:prstGeom>
        </p:spPr>
      </p:pic>
      <p:grpSp>
        <p:nvGrpSpPr>
          <p:cNvPr id="59" name="Group 58">
            <a:extLst>
              <a:ext uri="{FF2B5EF4-FFF2-40B4-BE49-F238E27FC236}">
                <a16:creationId xmlns:a16="http://schemas.microsoft.com/office/drawing/2014/main" id="{3CCD3E85-9A98-4558-809E-F763B7D16C01}"/>
              </a:ext>
            </a:extLst>
          </p:cNvPr>
          <p:cNvGrpSpPr/>
          <p:nvPr/>
        </p:nvGrpSpPr>
        <p:grpSpPr>
          <a:xfrm>
            <a:off x="5474122" y="128218"/>
            <a:ext cx="3917978" cy="2689496"/>
            <a:chOff x="5367094" y="125294"/>
            <a:chExt cx="3841994" cy="2637336"/>
          </a:xfrm>
        </p:grpSpPr>
        <p:grpSp>
          <p:nvGrpSpPr>
            <p:cNvPr id="56" name="Group 55">
              <a:extLst>
                <a:ext uri="{FF2B5EF4-FFF2-40B4-BE49-F238E27FC236}">
                  <a16:creationId xmlns:a16="http://schemas.microsoft.com/office/drawing/2014/main" id="{5FDB986D-B144-404D-AD44-FD1EE83C8F4A}"/>
                </a:ext>
              </a:extLst>
            </p:cNvPr>
            <p:cNvGrpSpPr/>
            <p:nvPr/>
          </p:nvGrpSpPr>
          <p:grpSpPr>
            <a:xfrm>
              <a:off x="5624500" y="125294"/>
              <a:ext cx="3584588" cy="2637336"/>
              <a:chOff x="5624500" y="125294"/>
              <a:chExt cx="3584588" cy="2637336"/>
            </a:xfrm>
          </p:grpSpPr>
          <p:grpSp>
            <p:nvGrpSpPr>
              <p:cNvPr id="42" name="Group 41">
                <a:extLst>
                  <a:ext uri="{FF2B5EF4-FFF2-40B4-BE49-F238E27FC236}">
                    <a16:creationId xmlns:a16="http://schemas.microsoft.com/office/drawing/2014/main" id="{A25AC311-51F7-4EF4-B158-12E78E638A56}"/>
                  </a:ext>
                </a:extLst>
              </p:cNvPr>
              <p:cNvGrpSpPr/>
              <p:nvPr/>
            </p:nvGrpSpPr>
            <p:grpSpPr>
              <a:xfrm>
                <a:off x="5811152" y="125294"/>
                <a:ext cx="3397936" cy="2637336"/>
                <a:chOff x="5811152" y="125294"/>
                <a:chExt cx="3397936" cy="2637336"/>
              </a:xfrm>
            </p:grpSpPr>
            <p:cxnSp>
              <p:nvCxnSpPr>
                <p:cNvPr id="34" name="Straight Connector 33">
                  <a:extLst>
                    <a:ext uri="{FF2B5EF4-FFF2-40B4-BE49-F238E27FC236}">
                      <a16:creationId xmlns:a16="http://schemas.microsoft.com/office/drawing/2014/main" id="{B9A66F5A-12C5-4452-A378-5D85054766D3}"/>
                    </a:ext>
                  </a:extLst>
                </p:cNvPr>
                <p:cNvCxnSpPr>
                  <a:cxnSpLocks/>
                </p:cNvCxnSpPr>
                <p:nvPr/>
              </p:nvCxnSpPr>
              <p:spPr>
                <a:xfrm>
                  <a:off x="8229600" y="1490271"/>
                  <a:ext cx="979488" cy="0"/>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9" name="Graphic 18" descr="Left Brain outline">
                  <a:extLst>
                    <a:ext uri="{FF2B5EF4-FFF2-40B4-BE49-F238E27FC236}">
                      <a16:creationId xmlns:a16="http://schemas.microsoft.com/office/drawing/2014/main" id="{9C3C0306-0EDD-4EC5-8886-E28E2CC5D71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811152" y="1848230"/>
                  <a:ext cx="914400" cy="914400"/>
                </a:xfrm>
                <a:prstGeom prst="rect">
                  <a:avLst/>
                </a:prstGeom>
              </p:spPr>
            </p:pic>
            <p:grpSp>
              <p:nvGrpSpPr>
                <p:cNvPr id="29" name="Group 28">
                  <a:extLst>
                    <a:ext uri="{FF2B5EF4-FFF2-40B4-BE49-F238E27FC236}">
                      <a16:creationId xmlns:a16="http://schemas.microsoft.com/office/drawing/2014/main" id="{26483A26-2A0F-444A-AA2A-F969445D39C4}"/>
                    </a:ext>
                  </a:extLst>
                </p:cNvPr>
                <p:cNvGrpSpPr/>
                <p:nvPr/>
              </p:nvGrpSpPr>
              <p:grpSpPr>
                <a:xfrm>
                  <a:off x="6303634" y="421994"/>
                  <a:ext cx="1472338" cy="1493166"/>
                  <a:chOff x="6694664" y="829871"/>
                  <a:chExt cx="1472338" cy="1493166"/>
                </a:xfrm>
              </p:grpSpPr>
              <p:pic>
                <p:nvPicPr>
                  <p:cNvPr id="11" name="Graphic 10" descr="Packing Box Open outline">
                    <a:extLst>
                      <a:ext uri="{FF2B5EF4-FFF2-40B4-BE49-F238E27FC236}">
                        <a16:creationId xmlns:a16="http://schemas.microsoft.com/office/drawing/2014/main" id="{3EFD6262-8DEB-4A25-91C9-FC3890FBEF4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694664" y="829871"/>
                    <a:ext cx="914400" cy="914400"/>
                  </a:xfrm>
                  <a:prstGeom prst="rect">
                    <a:avLst/>
                  </a:prstGeom>
                </p:spPr>
              </p:pic>
              <p:pic>
                <p:nvPicPr>
                  <p:cNvPr id="22" name="Graphic 21" descr="Table outline">
                    <a:extLst>
                      <a:ext uri="{FF2B5EF4-FFF2-40B4-BE49-F238E27FC236}">
                        <a16:creationId xmlns:a16="http://schemas.microsoft.com/office/drawing/2014/main" id="{E46FB668-5349-45ED-96F4-64FB9B45147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52602" y="1408637"/>
                    <a:ext cx="914400" cy="914400"/>
                  </a:xfrm>
                  <a:prstGeom prst="rect">
                    <a:avLst/>
                  </a:prstGeom>
                </p:spPr>
              </p:pic>
              <p:pic>
                <p:nvPicPr>
                  <p:cNvPr id="46" name="Graphic 45" descr="Line arrow: Counter-clockwise curve">
                    <a:extLst>
                      <a:ext uri="{FF2B5EF4-FFF2-40B4-BE49-F238E27FC236}">
                        <a16:creationId xmlns:a16="http://schemas.microsoft.com/office/drawing/2014/main" id="{C53DE139-66DF-46FC-A110-00C68E1213E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19690130">
                    <a:off x="7046163" y="973723"/>
                    <a:ext cx="768347" cy="768943"/>
                  </a:xfrm>
                  <a:prstGeom prst="rect">
                    <a:avLst/>
                  </a:prstGeom>
                </p:spPr>
              </p:pic>
            </p:grpSp>
            <p:pic>
              <p:nvPicPr>
                <p:cNvPr id="24" name="Graphic 23" descr="Line arrow: Counter-clockwise curve">
                  <a:extLst>
                    <a:ext uri="{FF2B5EF4-FFF2-40B4-BE49-F238E27FC236}">
                      <a16:creationId xmlns:a16="http://schemas.microsoft.com/office/drawing/2014/main" id="{D99FECB6-73AE-4116-94CC-3A5E2DF81A78}"/>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2332697" flipH="1" flipV="1">
                  <a:off x="6072025" y="1040784"/>
                  <a:ext cx="759685" cy="946778"/>
                </a:xfrm>
                <a:prstGeom prst="rect">
                  <a:avLst/>
                </a:prstGeom>
              </p:spPr>
            </p:pic>
            <p:pic>
              <p:nvPicPr>
                <p:cNvPr id="31" name="Graphic 30" descr="Line arrow: Counter-clockwise curve">
                  <a:extLst>
                    <a:ext uri="{FF2B5EF4-FFF2-40B4-BE49-F238E27FC236}">
                      <a16:creationId xmlns:a16="http://schemas.microsoft.com/office/drawing/2014/main" id="{E1F34224-AA6B-4973-8EC2-612E33E11B0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3537459">
                  <a:off x="6546245" y="1483192"/>
                  <a:ext cx="898036" cy="1017848"/>
                </a:xfrm>
                <a:prstGeom prst="rect">
                  <a:avLst/>
                </a:prstGeom>
              </p:spPr>
            </p:pic>
            <p:sp>
              <p:nvSpPr>
                <p:cNvPr id="32" name="TextBox 31">
                  <a:extLst>
                    <a:ext uri="{FF2B5EF4-FFF2-40B4-BE49-F238E27FC236}">
                      <a16:creationId xmlns:a16="http://schemas.microsoft.com/office/drawing/2014/main" id="{9436E12F-CC5E-4E33-A984-B16E4FAD06D4}"/>
                    </a:ext>
                  </a:extLst>
                </p:cNvPr>
                <p:cNvSpPr txBox="1"/>
                <p:nvPr/>
              </p:nvSpPr>
              <p:spPr>
                <a:xfrm>
                  <a:off x="6566730" y="2296995"/>
                  <a:ext cx="1086369" cy="413675"/>
                </a:xfrm>
                <a:prstGeom prst="rect">
                  <a:avLst/>
                </a:prstGeom>
                <a:noFill/>
              </p:spPr>
              <p:txBody>
                <a:bodyPr wrap="none" rtlCol="0">
                  <a:spAutoFit/>
                </a:bodyPr>
                <a:lstStyle/>
                <a:p>
                  <a:pPr defTabSz="932504"/>
                  <a:r>
                    <a:rPr lang="en-US" sz="1071">
                      <a:solidFill>
                        <a:prstClr val="black"/>
                      </a:solidFill>
                      <a:latin typeface="Segoe UI" panose="020B0502040204020203" pitchFamily="34" charset="0"/>
                      <a:cs typeface="Segoe UI" panose="020B0502040204020203" pitchFamily="34" charset="0"/>
                    </a:rPr>
                    <a:t>Transformation</a:t>
                  </a:r>
                </a:p>
                <a:p>
                  <a:pPr defTabSz="932504"/>
                  <a:r>
                    <a:rPr lang="en-US" sz="1071">
                      <a:solidFill>
                        <a:prstClr val="black"/>
                      </a:solidFill>
                      <a:latin typeface="Segoe UI" panose="020B0502040204020203" pitchFamily="34" charset="0"/>
                      <a:cs typeface="Segoe UI" panose="020B0502040204020203" pitchFamily="34" charset="0"/>
                    </a:rPr>
                    <a:t>Logic</a:t>
                  </a:r>
                </a:p>
              </p:txBody>
            </p:sp>
            <p:sp>
              <p:nvSpPr>
                <p:cNvPr id="41" name="TextBox 40">
                  <a:extLst>
                    <a:ext uri="{FF2B5EF4-FFF2-40B4-BE49-F238E27FC236}">
                      <a16:creationId xmlns:a16="http://schemas.microsoft.com/office/drawing/2014/main" id="{118A355D-2C85-4527-90B8-C9FEC1B8F771}"/>
                    </a:ext>
                  </a:extLst>
                </p:cNvPr>
                <p:cNvSpPr txBox="1"/>
                <p:nvPr/>
              </p:nvSpPr>
              <p:spPr>
                <a:xfrm>
                  <a:off x="5960964" y="125294"/>
                  <a:ext cx="1584291" cy="280718"/>
                </a:xfrm>
                <a:prstGeom prst="rect">
                  <a:avLst/>
                </a:prstGeom>
                <a:noFill/>
              </p:spPr>
              <p:txBody>
                <a:bodyPr wrap="square" rtlCol="0">
                  <a:spAutoFit/>
                </a:bodyPr>
                <a:lstStyle/>
                <a:p>
                  <a:pPr algn="ctr" defTabSz="932504"/>
                  <a:r>
                    <a:rPr lang="en-US" sz="1224">
                      <a:solidFill>
                        <a:prstClr val="black"/>
                      </a:solidFill>
                      <a:latin typeface="Segoe UI Semibold" panose="020B0702040204020203" pitchFamily="34" charset="0"/>
                      <a:cs typeface="Segoe UI Semibold" panose="020B0702040204020203" pitchFamily="34" charset="0"/>
                    </a:rPr>
                    <a:t>Mashup Engine</a:t>
                  </a:r>
                </a:p>
              </p:txBody>
            </p:sp>
          </p:grpSp>
          <p:sp>
            <p:nvSpPr>
              <p:cNvPr id="55" name="TextBox 54">
                <a:extLst>
                  <a:ext uri="{FF2B5EF4-FFF2-40B4-BE49-F238E27FC236}">
                    <a16:creationId xmlns:a16="http://schemas.microsoft.com/office/drawing/2014/main" id="{1E66A2F2-5F76-47EE-B555-54FE6D162BF3}"/>
                  </a:ext>
                </a:extLst>
              </p:cNvPr>
              <p:cNvSpPr txBox="1"/>
              <p:nvPr/>
            </p:nvSpPr>
            <p:spPr>
              <a:xfrm>
                <a:off x="5624500" y="628733"/>
                <a:ext cx="774572" cy="563167"/>
              </a:xfrm>
              <a:prstGeom prst="rect">
                <a:avLst/>
              </a:prstGeom>
              <a:noFill/>
            </p:spPr>
            <p:txBody>
              <a:bodyPr wrap="none" rtlCol="0">
                <a:spAutoFit/>
              </a:bodyPr>
              <a:lstStyle/>
              <a:p>
                <a:pPr algn="ctr" defTabSz="932504"/>
                <a:r>
                  <a:rPr lang="en-US" sz="1071">
                    <a:solidFill>
                      <a:prstClr val="black"/>
                    </a:solidFill>
                    <a:latin typeface="Segoe UI" panose="020B0502040204020203" pitchFamily="34" charset="0"/>
                    <a:cs typeface="Segoe UI" panose="020B0502040204020203" pitchFamily="34" charset="0"/>
                  </a:rPr>
                  <a:t>256 Mb</a:t>
                </a:r>
              </a:p>
              <a:p>
                <a:pPr algn="ctr" defTabSz="932504"/>
                <a:r>
                  <a:rPr lang="en-US" sz="1071">
                    <a:solidFill>
                      <a:prstClr val="black"/>
                    </a:solidFill>
                    <a:latin typeface="Segoe UI" panose="020B0502040204020203" pitchFamily="34" charset="0"/>
                    <a:cs typeface="Segoe UI" panose="020B0502040204020203" pitchFamily="34" charset="0"/>
                  </a:rPr>
                  <a:t>Container</a:t>
                </a:r>
              </a:p>
              <a:p>
                <a:pPr algn="ctr" defTabSz="932504"/>
                <a:r>
                  <a:rPr lang="en-US" sz="918">
                    <a:solidFill>
                      <a:prstClr val="black"/>
                    </a:solidFill>
                    <a:latin typeface="Segoe UI" panose="020B0502040204020203" pitchFamily="34" charset="0"/>
                    <a:cs typeface="Segoe UI" panose="020B0502040204020203" pitchFamily="34" charset="0"/>
                  </a:rPr>
                  <a:t>(Storage)</a:t>
                </a:r>
              </a:p>
            </p:txBody>
          </p:sp>
        </p:grpSp>
        <p:sp>
          <p:nvSpPr>
            <p:cNvPr id="57" name="Rectangle 56">
              <a:extLst>
                <a:ext uri="{FF2B5EF4-FFF2-40B4-BE49-F238E27FC236}">
                  <a16:creationId xmlns:a16="http://schemas.microsoft.com/office/drawing/2014/main" id="{2909200C-5949-498F-97CF-064BB70BF26B}"/>
                </a:ext>
              </a:extLst>
            </p:cNvPr>
            <p:cNvSpPr/>
            <p:nvPr/>
          </p:nvSpPr>
          <p:spPr>
            <a:xfrm>
              <a:off x="5367094" y="130879"/>
              <a:ext cx="2772030" cy="260793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4"/>
              <a:endParaRPr lang="en-US" sz="1836">
                <a:solidFill>
                  <a:prstClr val="white"/>
                </a:solidFill>
                <a:latin typeface="Calibri" panose="020F0502020204030204"/>
              </a:endParaRPr>
            </a:p>
          </p:txBody>
        </p:sp>
      </p:grpSp>
    </p:spTree>
    <p:extLst>
      <p:ext uri="{BB962C8B-B14F-4D97-AF65-F5344CB8AC3E}">
        <p14:creationId xmlns:p14="http://schemas.microsoft.com/office/powerpoint/2010/main" val="29823861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20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22" presetClass="entr" presetSubtype="4" fill="hold" nodeType="click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wipe(down)">
                                      <p:cBhvr>
                                        <p:cTn id="16" dur="2000"/>
                                        <p:tgtEl>
                                          <p:spTgt spid="6"/>
                                        </p:tgtEl>
                                      </p:cBhvr>
                                    </p:animEffect>
                                  </p:childTnLst>
                                </p:cTn>
                              </p:par>
                            </p:childTnLst>
                          </p:cTn>
                        </p:par>
                        <p:par>
                          <p:cTn id="17" fill="hold">
                            <p:stCondLst>
                              <p:cond delay="2000"/>
                            </p:stCondLst>
                            <p:childTnLst>
                              <p:par>
                                <p:cTn id="18" presetID="22" presetClass="entr" presetSubtype="2" fill="hold" nodeType="afterEffect">
                                  <p:stCondLst>
                                    <p:cond delay="0"/>
                                  </p:stCondLst>
                                  <p:childTnLst>
                                    <p:set>
                                      <p:cBhvr>
                                        <p:cTn id="19" dur="1" fill="hold">
                                          <p:stCondLst>
                                            <p:cond delay="0"/>
                                          </p:stCondLst>
                                        </p:cTn>
                                        <p:tgtEl>
                                          <p:spTgt spid="59"/>
                                        </p:tgtEl>
                                        <p:attrNameLst>
                                          <p:attrName>style.visibility</p:attrName>
                                        </p:attrNameLst>
                                      </p:cBhvr>
                                      <p:to>
                                        <p:strVal val="visible"/>
                                      </p:to>
                                    </p:set>
                                    <p:animEffect transition="in" filter="wipe(right)">
                                      <p:cBhvr>
                                        <p:cTn id="20" dur="2000"/>
                                        <p:tgtEl>
                                          <p:spTgt spid="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Recommended Practices</a:t>
            </a:r>
          </a:p>
        </p:txBody>
      </p:sp>
      <p:graphicFrame>
        <p:nvGraphicFramePr>
          <p:cNvPr id="10" name="Diagram 9">
            <a:extLst>
              <a:ext uri="{FF2B5EF4-FFF2-40B4-BE49-F238E27FC236}">
                <a16:creationId xmlns:a16="http://schemas.microsoft.com/office/drawing/2014/main" id="{3BAA95FF-C8EC-437C-9FC4-0AA3DA18D6B2}"/>
              </a:ext>
            </a:extLst>
          </p:cNvPr>
          <p:cNvGraphicFramePr/>
          <p:nvPr>
            <p:extLst>
              <p:ext uri="{D42A27DB-BD31-4B8C-83A1-F6EECF244321}">
                <p14:modId xmlns:p14="http://schemas.microsoft.com/office/powerpoint/2010/main" val="1016159132"/>
              </p:ext>
            </p:extLst>
          </p:nvPr>
        </p:nvGraphicFramePr>
        <p:xfrm>
          <a:off x="600856" y="1463668"/>
          <a:ext cx="7105920" cy="47372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 name="TextBox 10">
            <a:extLst>
              <a:ext uri="{FF2B5EF4-FFF2-40B4-BE49-F238E27FC236}">
                <a16:creationId xmlns:a16="http://schemas.microsoft.com/office/drawing/2014/main" id="{47A88098-CE97-4E78-827D-7437F7E189E6}"/>
              </a:ext>
            </a:extLst>
          </p:cNvPr>
          <p:cNvSpPr txBox="1"/>
          <p:nvPr/>
        </p:nvSpPr>
        <p:spPr>
          <a:xfrm>
            <a:off x="7180448" y="2576693"/>
            <a:ext cx="4838832" cy="2134943"/>
          </a:xfrm>
          <a:prstGeom prst="rect">
            <a:avLst/>
          </a:prstGeom>
          <a:noFill/>
        </p:spPr>
        <p:txBody>
          <a:bodyPr wrap="square" lIns="0" tIns="0" rIns="0" bIns="0" rtlCol="0">
            <a:spAutoFit/>
          </a:bodyPr>
          <a:lstStyle/>
          <a:p>
            <a:pPr defTabSz="932504"/>
            <a:r>
              <a:rPr lang="en-US" sz="1428" b="1">
                <a:solidFill>
                  <a:prstClr val="black"/>
                </a:solidFill>
                <a:cs typeface="Leelawadee" panose="020B0502040204020203" pitchFamily="34" charset="-34"/>
              </a:rPr>
              <a:t>Transformations that can achieve query folding:</a:t>
            </a:r>
          </a:p>
          <a:p>
            <a:pPr defTabSz="932504"/>
            <a:r>
              <a:rPr lang="en-US" sz="1224">
                <a:solidFill>
                  <a:prstClr val="black"/>
                </a:solidFill>
                <a:cs typeface="Leelawadee" panose="020B0502040204020203" pitchFamily="34" charset="-34"/>
              </a:rPr>
              <a:t>Relational data source transformations that can be query folded are those that can be written as a single SELECT statement. A </a:t>
            </a:r>
            <a:r>
              <a:rPr lang="en-US" sz="1224" b="1">
                <a:solidFill>
                  <a:prstClr val="black"/>
                </a:solidFill>
                <a:cs typeface="Leelawadee" panose="020B0502040204020203" pitchFamily="34" charset="-34"/>
              </a:rPr>
              <a:t>SELECT</a:t>
            </a:r>
            <a:r>
              <a:rPr lang="en-US" sz="1224">
                <a:solidFill>
                  <a:prstClr val="black"/>
                </a:solidFill>
                <a:cs typeface="Leelawadee" panose="020B0502040204020203" pitchFamily="34" charset="-34"/>
              </a:rPr>
              <a:t> statement can be constructed with appropriate </a:t>
            </a:r>
            <a:r>
              <a:rPr lang="en-US" sz="1224" b="1">
                <a:solidFill>
                  <a:prstClr val="black"/>
                </a:solidFill>
                <a:cs typeface="Leelawadee" panose="020B0502040204020203" pitchFamily="34" charset="-34"/>
              </a:rPr>
              <a:t>WHERE</a:t>
            </a:r>
            <a:r>
              <a:rPr lang="en-US" sz="1224">
                <a:solidFill>
                  <a:prstClr val="black"/>
                </a:solidFill>
                <a:cs typeface="Leelawadee" panose="020B0502040204020203" pitchFamily="34" charset="-34"/>
              </a:rPr>
              <a:t>, </a:t>
            </a:r>
            <a:r>
              <a:rPr lang="en-US" sz="1224" b="1">
                <a:solidFill>
                  <a:prstClr val="black"/>
                </a:solidFill>
                <a:cs typeface="Leelawadee" panose="020B0502040204020203" pitchFamily="34" charset="-34"/>
              </a:rPr>
              <a:t>GROUP BY </a:t>
            </a:r>
            <a:r>
              <a:rPr lang="en-US" sz="1224">
                <a:solidFill>
                  <a:prstClr val="black"/>
                </a:solidFill>
                <a:cs typeface="Leelawadee" panose="020B0502040204020203" pitchFamily="34" charset="-34"/>
              </a:rPr>
              <a:t>and </a:t>
            </a:r>
            <a:r>
              <a:rPr lang="en-US" sz="1224" b="1">
                <a:solidFill>
                  <a:prstClr val="black"/>
                </a:solidFill>
                <a:cs typeface="Leelawadee" panose="020B0502040204020203" pitchFamily="34" charset="-34"/>
              </a:rPr>
              <a:t>JOIN</a:t>
            </a:r>
            <a:r>
              <a:rPr lang="en-US" sz="1224">
                <a:solidFill>
                  <a:prstClr val="black"/>
                </a:solidFill>
                <a:cs typeface="Leelawadee" panose="020B0502040204020203" pitchFamily="34" charset="-34"/>
              </a:rPr>
              <a:t> clauses. It can also contain column expressions (calculations) that use common built-in functions supported by SQL databases.</a:t>
            </a:r>
          </a:p>
          <a:p>
            <a:pPr defTabSz="932504"/>
            <a:endParaRPr lang="en-US" sz="1224">
              <a:solidFill>
                <a:prstClr val="black"/>
              </a:solidFill>
              <a:cs typeface="Leelawadee" panose="020B0502040204020203" pitchFamily="34" charset="-34"/>
            </a:endParaRPr>
          </a:p>
          <a:p>
            <a:pPr defTabSz="932504"/>
            <a:endParaRPr lang="en-US" sz="1224">
              <a:solidFill>
                <a:prstClr val="black"/>
              </a:solidFill>
              <a:cs typeface="Leelawadee" panose="020B0502040204020203" pitchFamily="34" charset="-34"/>
            </a:endParaRPr>
          </a:p>
          <a:p>
            <a:pPr defTabSz="932504"/>
            <a:r>
              <a:rPr lang="en-US" sz="1428" b="1">
                <a:solidFill>
                  <a:prstClr val="black"/>
                </a:solidFill>
                <a:cs typeface="Leelawadee" panose="020B0502040204020203" pitchFamily="34" charset="-34"/>
              </a:rPr>
              <a:t>Transformations that prevent query folding:</a:t>
            </a:r>
          </a:p>
          <a:p>
            <a:pPr defTabSz="932504"/>
            <a:r>
              <a:rPr lang="en-US" sz="1224">
                <a:solidFill>
                  <a:prstClr val="black"/>
                </a:solidFill>
                <a:cs typeface="Leelawadee" panose="020B0502040204020203" pitchFamily="34" charset="-34"/>
              </a:rPr>
              <a:t>Merging or appending queries based on different sources. The use of complex logic that have no equivalent functions in the data source.</a:t>
            </a:r>
          </a:p>
        </p:txBody>
      </p:sp>
      <p:sp>
        <p:nvSpPr>
          <p:cNvPr id="12" name="TextBox 11">
            <a:extLst>
              <a:ext uri="{FF2B5EF4-FFF2-40B4-BE49-F238E27FC236}">
                <a16:creationId xmlns:a16="http://schemas.microsoft.com/office/drawing/2014/main" id="{5AD6F86F-44A9-43D0-B579-CAF1D6C10211}"/>
              </a:ext>
            </a:extLst>
          </p:cNvPr>
          <p:cNvSpPr txBox="1"/>
          <p:nvPr/>
        </p:nvSpPr>
        <p:spPr>
          <a:xfrm>
            <a:off x="10471195" y="6707263"/>
            <a:ext cx="1912511" cy="188385"/>
          </a:xfrm>
          <a:prstGeom prst="rect">
            <a:avLst/>
          </a:prstGeom>
          <a:noFill/>
        </p:spPr>
        <p:txBody>
          <a:bodyPr wrap="none" lIns="0" tIns="0" rIns="0" bIns="0" rtlCol="0">
            <a:spAutoFit/>
          </a:bodyPr>
          <a:lstStyle/>
          <a:p>
            <a:pPr defTabSz="932504"/>
            <a:r>
              <a:rPr lang="en-US" sz="1224">
                <a:gradFill>
                  <a:gsLst>
                    <a:gs pos="2917">
                      <a:prstClr val="black"/>
                    </a:gs>
                    <a:gs pos="30000">
                      <a:prstClr val="black"/>
                    </a:gs>
                  </a:gsLst>
                  <a:lin ang="5400000" scaled="0"/>
                </a:gradFill>
              </a:rPr>
              <a:t>* Every Scenario is Different</a:t>
            </a:r>
          </a:p>
        </p:txBody>
      </p:sp>
    </p:spTree>
    <p:extLst>
      <p:ext uri="{BB962C8B-B14F-4D97-AF65-F5344CB8AC3E}">
        <p14:creationId xmlns:p14="http://schemas.microsoft.com/office/powerpoint/2010/main" val="162463116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Recommended Practices</a:t>
            </a:r>
          </a:p>
        </p:txBody>
      </p:sp>
      <p:grpSp>
        <p:nvGrpSpPr>
          <p:cNvPr id="7" name="Group 6">
            <a:extLst>
              <a:ext uri="{FF2B5EF4-FFF2-40B4-BE49-F238E27FC236}">
                <a16:creationId xmlns:a16="http://schemas.microsoft.com/office/drawing/2014/main" id="{3978680E-9725-4756-9EAA-DE22E173E35E}"/>
              </a:ext>
            </a:extLst>
          </p:cNvPr>
          <p:cNvGrpSpPr/>
          <p:nvPr/>
        </p:nvGrpSpPr>
        <p:grpSpPr>
          <a:xfrm>
            <a:off x="600780" y="1463928"/>
            <a:ext cx="7105013" cy="4736675"/>
            <a:chOff x="600856" y="1463668"/>
            <a:chExt cx="7105920" cy="4737280"/>
          </a:xfrm>
        </p:grpSpPr>
        <p:graphicFrame>
          <p:nvGraphicFramePr>
            <p:cNvPr id="8" name="Diagram 7">
              <a:extLst>
                <a:ext uri="{FF2B5EF4-FFF2-40B4-BE49-F238E27FC236}">
                  <a16:creationId xmlns:a16="http://schemas.microsoft.com/office/drawing/2014/main" id="{59083E48-3B7F-47BA-80D2-0EE4EBA46B9A}"/>
                </a:ext>
              </a:extLst>
            </p:cNvPr>
            <p:cNvGraphicFramePr/>
            <p:nvPr/>
          </p:nvGraphicFramePr>
          <p:xfrm>
            <a:off x="600856" y="1463668"/>
            <a:ext cx="7105920" cy="47372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9" name="Group 8">
              <a:extLst>
                <a:ext uri="{FF2B5EF4-FFF2-40B4-BE49-F238E27FC236}">
                  <a16:creationId xmlns:a16="http://schemas.microsoft.com/office/drawing/2014/main" id="{AEE1FC10-BB62-4343-B924-3C3AA4491417}"/>
                </a:ext>
              </a:extLst>
            </p:cNvPr>
            <p:cNvGrpSpPr/>
            <p:nvPr/>
          </p:nvGrpSpPr>
          <p:grpSpPr>
            <a:xfrm>
              <a:off x="3704103" y="5593228"/>
              <a:ext cx="2005937" cy="594354"/>
              <a:chOff x="1267941" y="5689318"/>
              <a:chExt cx="14765341" cy="4305729"/>
            </a:xfrm>
          </p:grpSpPr>
          <p:sp>
            <p:nvSpPr>
              <p:cNvPr id="11" name="Isosceles Triangle 10">
                <a:extLst>
                  <a:ext uri="{FF2B5EF4-FFF2-40B4-BE49-F238E27FC236}">
                    <a16:creationId xmlns:a16="http://schemas.microsoft.com/office/drawing/2014/main" id="{0074389D-C84A-4A21-AC1B-A1F3D7FA5669}"/>
                  </a:ext>
                </a:extLst>
              </p:cNvPr>
              <p:cNvSpPr/>
              <p:nvPr/>
            </p:nvSpPr>
            <p:spPr bwMode="auto">
              <a:xfrm rot="10800000">
                <a:off x="1267941" y="5689318"/>
                <a:ext cx="6683499" cy="4305729"/>
              </a:xfrm>
              <a:prstGeom prst="triangle">
                <a:avLst/>
              </a:prstGeom>
              <a:solidFill>
                <a:srgbClr val="FFC000">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12" name="TextBox 11">
                <a:extLst>
                  <a:ext uri="{FF2B5EF4-FFF2-40B4-BE49-F238E27FC236}">
                    <a16:creationId xmlns:a16="http://schemas.microsoft.com/office/drawing/2014/main" id="{62567464-1935-4317-9108-D8CBB569C304}"/>
                  </a:ext>
                </a:extLst>
              </p:cNvPr>
              <p:cNvSpPr txBox="1"/>
              <p:nvPr/>
            </p:nvSpPr>
            <p:spPr>
              <a:xfrm>
                <a:off x="7262332" y="7842186"/>
                <a:ext cx="8770950" cy="1391901"/>
              </a:xfrm>
              <a:prstGeom prst="rect">
                <a:avLst/>
              </a:prstGeom>
              <a:noFill/>
            </p:spPr>
            <p:txBody>
              <a:bodyPr wrap="square" lIns="0" tIns="0" rIns="0" bIns="0" rtlCol="0">
                <a:spAutoFit/>
              </a:bodyPr>
              <a:lstStyle/>
              <a:p>
                <a:pPr algn="l"/>
                <a:r>
                  <a:rPr lang="en-US" sz="1224">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Data you need.</a:t>
                </a:r>
              </a:p>
            </p:txBody>
          </p:sp>
        </p:grpSp>
      </p:grpSp>
      <p:sp>
        <p:nvSpPr>
          <p:cNvPr id="2" name="TextBox 1">
            <a:extLst>
              <a:ext uri="{FF2B5EF4-FFF2-40B4-BE49-F238E27FC236}">
                <a16:creationId xmlns:a16="http://schemas.microsoft.com/office/drawing/2014/main" id="{1CC9E136-F54A-411F-9541-61B043DEF41A}"/>
              </a:ext>
            </a:extLst>
          </p:cNvPr>
          <p:cNvSpPr txBox="1"/>
          <p:nvPr/>
        </p:nvSpPr>
        <p:spPr>
          <a:xfrm>
            <a:off x="7180448" y="2576693"/>
            <a:ext cx="4838832" cy="2134943"/>
          </a:xfrm>
          <a:prstGeom prst="rect">
            <a:avLst/>
          </a:prstGeom>
          <a:noFill/>
        </p:spPr>
        <p:txBody>
          <a:bodyPr wrap="square" lIns="0" tIns="0" rIns="0" bIns="0" rtlCol="0">
            <a:spAutoFit/>
          </a:bodyPr>
          <a:lstStyle/>
          <a:p>
            <a:pPr defTabSz="932504"/>
            <a:r>
              <a:rPr lang="en-US" sz="1428" b="1">
                <a:solidFill>
                  <a:prstClr val="black"/>
                </a:solidFill>
                <a:cs typeface="Leelawadee" panose="020B0502040204020203" pitchFamily="34" charset="-34"/>
              </a:rPr>
              <a:t>Transformations that can achieve query folding:</a:t>
            </a:r>
          </a:p>
          <a:p>
            <a:pPr defTabSz="932504"/>
            <a:r>
              <a:rPr lang="en-US" sz="1224">
                <a:solidFill>
                  <a:prstClr val="black"/>
                </a:solidFill>
                <a:cs typeface="Leelawadee" panose="020B0502040204020203" pitchFamily="34" charset="-34"/>
              </a:rPr>
              <a:t>Relational data source transformations that can be query folded are those that can be written as a single SELECT statement. A </a:t>
            </a:r>
            <a:r>
              <a:rPr lang="en-US" sz="1224" b="1">
                <a:solidFill>
                  <a:prstClr val="black"/>
                </a:solidFill>
                <a:cs typeface="Leelawadee" panose="020B0502040204020203" pitchFamily="34" charset="-34"/>
              </a:rPr>
              <a:t>SELECT</a:t>
            </a:r>
            <a:r>
              <a:rPr lang="en-US" sz="1224">
                <a:solidFill>
                  <a:prstClr val="black"/>
                </a:solidFill>
                <a:cs typeface="Leelawadee" panose="020B0502040204020203" pitchFamily="34" charset="-34"/>
              </a:rPr>
              <a:t> statement can be constructed with appropriate </a:t>
            </a:r>
            <a:r>
              <a:rPr lang="en-US" sz="1224" b="1">
                <a:solidFill>
                  <a:prstClr val="black"/>
                </a:solidFill>
                <a:cs typeface="Leelawadee" panose="020B0502040204020203" pitchFamily="34" charset="-34"/>
              </a:rPr>
              <a:t>WHERE</a:t>
            </a:r>
            <a:r>
              <a:rPr lang="en-US" sz="1224">
                <a:solidFill>
                  <a:prstClr val="black"/>
                </a:solidFill>
                <a:cs typeface="Leelawadee" panose="020B0502040204020203" pitchFamily="34" charset="-34"/>
              </a:rPr>
              <a:t>, </a:t>
            </a:r>
            <a:r>
              <a:rPr lang="en-US" sz="1224" b="1">
                <a:solidFill>
                  <a:prstClr val="black"/>
                </a:solidFill>
                <a:cs typeface="Leelawadee" panose="020B0502040204020203" pitchFamily="34" charset="-34"/>
              </a:rPr>
              <a:t>GROUP BY </a:t>
            </a:r>
            <a:r>
              <a:rPr lang="en-US" sz="1224">
                <a:solidFill>
                  <a:prstClr val="black"/>
                </a:solidFill>
                <a:cs typeface="Leelawadee" panose="020B0502040204020203" pitchFamily="34" charset="-34"/>
              </a:rPr>
              <a:t>and </a:t>
            </a:r>
            <a:r>
              <a:rPr lang="en-US" sz="1224" b="1">
                <a:solidFill>
                  <a:prstClr val="black"/>
                </a:solidFill>
                <a:cs typeface="Leelawadee" panose="020B0502040204020203" pitchFamily="34" charset="-34"/>
              </a:rPr>
              <a:t>JOIN</a:t>
            </a:r>
            <a:r>
              <a:rPr lang="en-US" sz="1224">
                <a:solidFill>
                  <a:prstClr val="black"/>
                </a:solidFill>
                <a:cs typeface="Leelawadee" panose="020B0502040204020203" pitchFamily="34" charset="-34"/>
              </a:rPr>
              <a:t> clauses. It can also contain column expressions (calculations) that use common built-in functions supported by SQL databases.</a:t>
            </a:r>
          </a:p>
          <a:p>
            <a:pPr defTabSz="932504"/>
            <a:endParaRPr lang="en-US" sz="1224">
              <a:solidFill>
                <a:prstClr val="black"/>
              </a:solidFill>
              <a:cs typeface="Leelawadee" panose="020B0502040204020203" pitchFamily="34" charset="-34"/>
            </a:endParaRPr>
          </a:p>
          <a:p>
            <a:pPr defTabSz="932504"/>
            <a:endParaRPr lang="en-US" sz="1224">
              <a:solidFill>
                <a:prstClr val="black"/>
              </a:solidFill>
              <a:cs typeface="Leelawadee" panose="020B0502040204020203" pitchFamily="34" charset="-34"/>
            </a:endParaRPr>
          </a:p>
          <a:p>
            <a:pPr defTabSz="932504"/>
            <a:r>
              <a:rPr lang="en-US" sz="1428" b="1">
                <a:solidFill>
                  <a:prstClr val="black"/>
                </a:solidFill>
                <a:cs typeface="Leelawadee" panose="020B0502040204020203" pitchFamily="34" charset="-34"/>
              </a:rPr>
              <a:t>Transformations that prevent query folding:</a:t>
            </a:r>
          </a:p>
          <a:p>
            <a:pPr defTabSz="932504"/>
            <a:r>
              <a:rPr lang="en-US" sz="1224">
                <a:solidFill>
                  <a:prstClr val="black"/>
                </a:solidFill>
                <a:cs typeface="Leelawadee" panose="020B0502040204020203" pitchFamily="34" charset="-34"/>
              </a:rPr>
              <a:t>Merging or appending queries based on different sources. The use of complex logic that have no equivalent functions in the data source.</a:t>
            </a:r>
          </a:p>
        </p:txBody>
      </p:sp>
      <p:sp>
        <p:nvSpPr>
          <p:cNvPr id="3" name="Isosceles Triangle 2">
            <a:extLst>
              <a:ext uri="{FF2B5EF4-FFF2-40B4-BE49-F238E27FC236}">
                <a16:creationId xmlns:a16="http://schemas.microsoft.com/office/drawing/2014/main" id="{FCE6285D-7541-4859-AA62-FA584FAB1695}"/>
              </a:ext>
            </a:extLst>
          </p:cNvPr>
          <p:cNvSpPr/>
          <p:nvPr/>
        </p:nvSpPr>
        <p:spPr bwMode="auto">
          <a:xfrm rot="10800000">
            <a:off x="878653" y="1809491"/>
            <a:ext cx="6563625" cy="4391446"/>
          </a:xfrm>
          <a:prstGeom prst="triangle">
            <a:avLst/>
          </a:prstGeom>
          <a:solidFill>
            <a:srgbClr val="BB6100">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5" name="TextBox 4">
            <a:extLst>
              <a:ext uri="{FF2B5EF4-FFF2-40B4-BE49-F238E27FC236}">
                <a16:creationId xmlns:a16="http://schemas.microsoft.com/office/drawing/2014/main" id="{B2062909-0AFD-477D-A2E8-CBD8284CCA40}"/>
              </a:ext>
            </a:extLst>
          </p:cNvPr>
          <p:cNvSpPr txBox="1"/>
          <p:nvPr/>
        </p:nvSpPr>
        <p:spPr>
          <a:xfrm>
            <a:off x="2728991" y="1431650"/>
            <a:ext cx="2880523" cy="382308"/>
          </a:xfrm>
          <a:prstGeom prst="rect">
            <a:avLst/>
          </a:prstGeom>
          <a:noFill/>
        </p:spPr>
        <p:txBody>
          <a:bodyPr wrap="none" rtlCol="0">
            <a:spAutoFit/>
          </a:bodyPr>
          <a:lstStyle/>
          <a:p>
            <a:pPr defTabSz="932504"/>
            <a:r>
              <a:rPr lang="en-US" sz="1836" b="1">
                <a:solidFill>
                  <a:prstClr val="black"/>
                </a:solidFill>
                <a:latin typeface="Segoe UI" panose="020B0502040204020203" pitchFamily="34" charset="0"/>
                <a:cs typeface="Segoe UI" panose="020B0502040204020203" pitchFamily="34" charset="0"/>
              </a:rPr>
              <a:t>Unsupported Operation</a:t>
            </a:r>
          </a:p>
        </p:txBody>
      </p:sp>
      <p:sp>
        <p:nvSpPr>
          <p:cNvPr id="6" name="TextBox 5">
            <a:extLst>
              <a:ext uri="{FF2B5EF4-FFF2-40B4-BE49-F238E27FC236}">
                <a16:creationId xmlns:a16="http://schemas.microsoft.com/office/drawing/2014/main" id="{B22D67FE-8787-4AA2-B41A-F489775A3742}"/>
              </a:ext>
            </a:extLst>
          </p:cNvPr>
          <p:cNvSpPr txBox="1"/>
          <p:nvPr/>
        </p:nvSpPr>
        <p:spPr>
          <a:xfrm>
            <a:off x="7560848" y="1652538"/>
            <a:ext cx="1829028" cy="313932"/>
          </a:xfrm>
          <a:prstGeom prst="rect">
            <a:avLst/>
          </a:prstGeom>
          <a:noFill/>
        </p:spPr>
        <p:txBody>
          <a:bodyPr wrap="none" lIns="0" tIns="0" rIns="0" bIns="0" rtlCol="0">
            <a:spAutoFit/>
          </a:bodyPr>
          <a:lstStyle/>
          <a:p>
            <a:pPr defTabSz="932504"/>
            <a:r>
              <a:rPr lang="en-US" sz="2040">
                <a:gradFill>
                  <a:gsLst>
                    <a:gs pos="2917">
                      <a:prstClr val="black"/>
                    </a:gs>
                    <a:gs pos="30000">
                      <a:prstClr val="black"/>
                    </a:gs>
                  </a:gsLst>
                  <a:lin ang="5400000" scaled="0"/>
                </a:gradFill>
                <a:latin typeface="+mj-lt"/>
                <a:cs typeface="Leelawadee" panose="020B0502040204020203" pitchFamily="34" charset="-34"/>
              </a:rPr>
              <a:t>Mashup Engine</a:t>
            </a:r>
          </a:p>
        </p:txBody>
      </p:sp>
      <p:sp>
        <p:nvSpPr>
          <p:cNvPr id="21" name="TextBox 20">
            <a:extLst>
              <a:ext uri="{FF2B5EF4-FFF2-40B4-BE49-F238E27FC236}">
                <a16:creationId xmlns:a16="http://schemas.microsoft.com/office/drawing/2014/main" id="{68C0AFA7-9C61-4CC0-B5E4-DA3E4BE94EDA}"/>
              </a:ext>
            </a:extLst>
          </p:cNvPr>
          <p:cNvSpPr txBox="1"/>
          <p:nvPr/>
        </p:nvSpPr>
        <p:spPr>
          <a:xfrm>
            <a:off x="10471195" y="6707263"/>
            <a:ext cx="1912511" cy="188385"/>
          </a:xfrm>
          <a:prstGeom prst="rect">
            <a:avLst/>
          </a:prstGeom>
          <a:noFill/>
        </p:spPr>
        <p:txBody>
          <a:bodyPr wrap="none" lIns="0" tIns="0" rIns="0" bIns="0" rtlCol="0">
            <a:spAutoFit/>
          </a:bodyPr>
          <a:lstStyle/>
          <a:p>
            <a:pPr defTabSz="932504"/>
            <a:r>
              <a:rPr lang="en-US" sz="1224">
                <a:gradFill>
                  <a:gsLst>
                    <a:gs pos="2917">
                      <a:prstClr val="black"/>
                    </a:gs>
                    <a:gs pos="30000">
                      <a:prstClr val="black"/>
                    </a:gs>
                  </a:gsLst>
                  <a:lin ang="5400000" scaled="0"/>
                </a:gradFill>
              </a:rPr>
              <a:t>* Every Scenario is Different</a:t>
            </a:r>
          </a:p>
        </p:txBody>
      </p:sp>
    </p:spTree>
    <p:extLst>
      <p:ext uri="{BB962C8B-B14F-4D97-AF65-F5344CB8AC3E}">
        <p14:creationId xmlns:p14="http://schemas.microsoft.com/office/powerpoint/2010/main" val="20128107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0"/>
                                        <p:tgtEl>
                                          <p:spTgt spid="3"/>
                                        </p:tgtEl>
                                      </p:cBhvr>
                                    </p:animEffect>
                                  </p:childTnLst>
                                </p:cTn>
                              </p:par>
                            </p:childTnLst>
                          </p:cTn>
                        </p:par>
                        <p:par>
                          <p:cTn id="8" fill="hold">
                            <p:stCondLst>
                              <p:cond delay="5000"/>
                            </p:stCondLst>
                            <p:childTnLst>
                              <p:par>
                                <p:cTn id="9" presetID="42"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anim calcmode="lin" valueType="num">
                                      <p:cBhvr>
                                        <p:cTn id="12" dur="1000" fill="hold"/>
                                        <p:tgtEl>
                                          <p:spTgt spid="5"/>
                                        </p:tgtEl>
                                        <p:attrNameLst>
                                          <p:attrName>ppt_x</p:attrName>
                                        </p:attrNameLst>
                                      </p:cBhvr>
                                      <p:tavLst>
                                        <p:tav tm="0">
                                          <p:val>
                                            <p:strVal val="#ppt_x"/>
                                          </p:val>
                                        </p:tav>
                                        <p:tav tm="100000">
                                          <p:val>
                                            <p:strVal val="#ppt_x"/>
                                          </p:val>
                                        </p:tav>
                                      </p:tavLst>
                                    </p:anim>
                                    <p:anim calcmode="lin" valueType="num">
                                      <p:cBhvr>
                                        <p:cTn id="13" dur="1000" fill="hold"/>
                                        <p:tgtEl>
                                          <p:spTgt spid="5"/>
                                        </p:tgtEl>
                                        <p:attrNameLst>
                                          <p:attrName>ppt_y</p:attrName>
                                        </p:attrNameLst>
                                      </p:cBhvr>
                                      <p:tavLst>
                                        <p:tav tm="0">
                                          <p:val>
                                            <p:strVal val="#ppt_y+.1"/>
                                          </p:val>
                                        </p:tav>
                                        <p:tav tm="100000">
                                          <p:val>
                                            <p:strVal val="#ppt_y"/>
                                          </p:val>
                                        </p:tav>
                                      </p:tavLst>
                                    </p:anim>
                                  </p:childTnLst>
                                </p:cTn>
                              </p:par>
                            </p:childTnLst>
                          </p:cTn>
                        </p:par>
                        <p:par>
                          <p:cTn id="14" fill="hold">
                            <p:stCondLst>
                              <p:cond delay="6000"/>
                            </p:stCondLst>
                            <p:childTnLst>
                              <p:par>
                                <p:cTn id="15" presetID="42" presetClass="entr" presetSubtype="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1000"/>
                                        <p:tgtEl>
                                          <p:spTgt spid="6"/>
                                        </p:tgtEl>
                                      </p:cBhvr>
                                    </p:animEffect>
                                    <p:anim calcmode="lin" valueType="num">
                                      <p:cBhvr>
                                        <p:cTn id="18" dur="1000" fill="hold"/>
                                        <p:tgtEl>
                                          <p:spTgt spid="6"/>
                                        </p:tgtEl>
                                        <p:attrNameLst>
                                          <p:attrName>ppt_x</p:attrName>
                                        </p:attrNameLst>
                                      </p:cBhvr>
                                      <p:tavLst>
                                        <p:tav tm="0">
                                          <p:val>
                                            <p:strVal val="#ppt_x"/>
                                          </p:val>
                                        </p:tav>
                                        <p:tav tm="100000">
                                          <p:val>
                                            <p:strVal val="#ppt_x"/>
                                          </p:val>
                                        </p:tav>
                                      </p:tavLst>
                                    </p:anim>
                                    <p:anim calcmode="lin" valueType="num">
                                      <p:cBhvr>
                                        <p:cTn id="1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p:bldP spid="6"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306F28ED-FEDE-4963-BEE6-9C009E3E4D67}"/>
              </a:ext>
            </a:extLst>
          </p:cNvPr>
          <p:cNvGrpSpPr/>
          <p:nvPr/>
        </p:nvGrpSpPr>
        <p:grpSpPr>
          <a:xfrm>
            <a:off x="2174782" y="2055802"/>
            <a:ext cx="1983777" cy="2645801"/>
            <a:chOff x="992752" y="2078104"/>
            <a:chExt cx="1983777" cy="2645801"/>
          </a:xfrm>
        </p:grpSpPr>
        <p:pic>
          <p:nvPicPr>
            <p:cNvPr id="4" name="Picture 3" descr="A person with a beard&#10;&#10;Description automatically generated with low confidence">
              <a:extLst>
                <a:ext uri="{FF2B5EF4-FFF2-40B4-BE49-F238E27FC236}">
                  <a16:creationId xmlns:a16="http://schemas.microsoft.com/office/drawing/2014/main" id="{F8755F4C-D041-41EF-8042-747E523CDAF4}"/>
                </a:ext>
              </a:extLst>
            </p:cNvPr>
            <p:cNvPicPr preferRelativeResize="0">
              <a:picLocks/>
            </p:cNvPicPr>
            <p:nvPr/>
          </p:nvPicPr>
          <p:blipFill rotWithShape="1">
            <a:blip r:embed="rId2"/>
            <a:srcRect t="8151" b="29895"/>
            <a:stretch/>
          </p:blipFill>
          <p:spPr>
            <a:xfrm>
              <a:off x="992752" y="2078104"/>
              <a:ext cx="1983777" cy="1883979"/>
            </a:xfrm>
            <a:prstGeom prst="rect">
              <a:avLst/>
            </a:prstGeom>
          </p:spPr>
        </p:pic>
        <p:sp>
          <p:nvSpPr>
            <p:cNvPr id="7" name="TextBox 6">
              <a:extLst>
                <a:ext uri="{FF2B5EF4-FFF2-40B4-BE49-F238E27FC236}">
                  <a16:creationId xmlns:a16="http://schemas.microsoft.com/office/drawing/2014/main" id="{31270810-ED89-415E-B487-8B7CD44605BC}"/>
                </a:ext>
              </a:extLst>
            </p:cNvPr>
            <p:cNvSpPr txBox="1"/>
            <p:nvPr/>
          </p:nvSpPr>
          <p:spPr>
            <a:xfrm>
              <a:off x="992752" y="4231462"/>
              <a:ext cx="1920240" cy="492443"/>
            </a:xfrm>
            <a:prstGeom prst="rect">
              <a:avLst/>
            </a:prstGeom>
            <a:noFill/>
          </p:spPr>
          <p:txBody>
            <a:bodyPr wrap="square" lIns="0" tIns="0" rIns="0" bIns="0" rtlCol="0">
              <a:spAutoFit/>
            </a:bodyPr>
            <a:lstStyle/>
            <a:p>
              <a:pPr algn="ctr"/>
              <a:r>
                <a:rPr lang="en-US" sz="2000" dirty="0">
                  <a:latin typeface="+mj-lt"/>
                </a:rPr>
                <a:t>Alex Powers</a:t>
              </a:r>
            </a:p>
            <a:p>
              <a:pPr algn="ctr"/>
              <a:r>
                <a:rPr lang="en-US" sz="1200" dirty="0">
                  <a:latin typeface="+mj-lt"/>
                </a:rPr>
                <a:t>Senior Program Manager</a:t>
              </a:r>
            </a:p>
          </p:txBody>
        </p:sp>
      </p:grpSp>
      <p:grpSp>
        <p:nvGrpSpPr>
          <p:cNvPr id="17" name="Group 16">
            <a:extLst>
              <a:ext uri="{FF2B5EF4-FFF2-40B4-BE49-F238E27FC236}">
                <a16:creationId xmlns:a16="http://schemas.microsoft.com/office/drawing/2014/main" id="{4046E838-71DF-4EFA-BE12-033083A30315}"/>
              </a:ext>
            </a:extLst>
          </p:cNvPr>
          <p:cNvGrpSpPr/>
          <p:nvPr/>
        </p:nvGrpSpPr>
        <p:grpSpPr>
          <a:xfrm>
            <a:off x="5155760" y="2055801"/>
            <a:ext cx="1905000" cy="2645798"/>
            <a:chOff x="3819298" y="2078104"/>
            <a:chExt cx="1905000" cy="2645798"/>
          </a:xfrm>
        </p:grpSpPr>
        <p:pic>
          <p:nvPicPr>
            <p:cNvPr id="1030" name="Picture 6">
              <a:extLst>
                <a:ext uri="{FF2B5EF4-FFF2-40B4-BE49-F238E27FC236}">
                  <a16:creationId xmlns:a16="http://schemas.microsoft.com/office/drawing/2014/main" id="{C95D7207-2937-45B3-97A1-B01C11D9BE4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9298" y="2078104"/>
              <a:ext cx="1905000" cy="1905000"/>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0977A2E0-A182-4C11-B815-88B257E1642F}"/>
                </a:ext>
              </a:extLst>
            </p:cNvPr>
            <p:cNvSpPr txBox="1"/>
            <p:nvPr/>
          </p:nvSpPr>
          <p:spPr>
            <a:xfrm>
              <a:off x="3819298" y="4231459"/>
              <a:ext cx="1905000" cy="492443"/>
            </a:xfrm>
            <a:prstGeom prst="rect">
              <a:avLst/>
            </a:prstGeom>
            <a:noFill/>
          </p:spPr>
          <p:txBody>
            <a:bodyPr wrap="square" lIns="0" tIns="0" rIns="0" bIns="0" rtlCol="0">
              <a:spAutoFit/>
            </a:bodyPr>
            <a:lstStyle/>
            <a:p>
              <a:pPr algn="ctr"/>
              <a:r>
                <a:rPr lang="en-US" sz="2000" dirty="0">
                  <a:latin typeface="+mj-lt"/>
                </a:rPr>
                <a:t>Patrick LeBlanc</a:t>
              </a:r>
            </a:p>
            <a:p>
              <a:pPr algn="ctr"/>
              <a:r>
                <a:rPr lang="en-US" sz="1200" dirty="0">
                  <a:latin typeface="+mj-lt"/>
                </a:rPr>
                <a:t>Principal Program Manager</a:t>
              </a:r>
            </a:p>
          </p:txBody>
        </p:sp>
      </p:grpSp>
      <p:grpSp>
        <p:nvGrpSpPr>
          <p:cNvPr id="18" name="Group 17">
            <a:extLst>
              <a:ext uri="{FF2B5EF4-FFF2-40B4-BE49-F238E27FC236}">
                <a16:creationId xmlns:a16="http://schemas.microsoft.com/office/drawing/2014/main" id="{6E940751-367B-49A4-84F9-DBFC74A84358}"/>
              </a:ext>
            </a:extLst>
          </p:cNvPr>
          <p:cNvGrpSpPr/>
          <p:nvPr/>
        </p:nvGrpSpPr>
        <p:grpSpPr>
          <a:xfrm>
            <a:off x="8057961" y="2034781"/>
            <a:ext cx="1905001" cy="2666819"/>
            <a:chOff x="6966826" y="2057083"/>
            <a:chExt cx="1905001" cy="2666819"/>
          </a:xfrm>
        </p:grpSpPr>
        <p:pic>
          <p:nvPicPr>
            <p:cNvPr id="1032" name="Picture 8">
              <a:extLst>
                <a:ext uri="{FF2B5EF4-FFF2-40B4-BE49-F238E27FC236}">
                  <a16:creationId xmlns:a16="http://schemas.microsoft.com/office/drawing/2014/main" id="{B096ECF5-725B-4483-938B-9E2875FD0F79}"/>
                </a:ext>
              </a:extLst>
            </p:cNvPr>
            <p:cNvPicPr>
              <a:picLocks noChangeAspect="1" noChangeArrowheads="1"/>
            </p:cNvPicPr>
            <p:nvPr/>
          </p:nvPicPr>
          <p:blipFill>
            <a:blip r:embed="rId4"/>
            <a:srcRect/>
            <a:stretch/>
          </p:blipFill>
          <p:spPr bwMode="auto">
            <a:xfrm>
              <a:off x="6966827" y="2057083"/>
              <a:ext cx="1905000" cy="190500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B0154E7A-9CEF-42E4-9393-76973B939CB7}"/>
                </a:ext>
              </a:extLst>
            </p:cNvPr>
            <p:cNvSpPr txBox="1"/>
            <p:nvPr/>
          </p:nvSpPr>
          <p:spPr>
            <a:xfrm>
              <a:off x="6966826" y="4231459"/>
              <a:ext cx="1905000" cy="492443"/>
            </a:xfrm>
            <a:prstGeom prst="rect">
              <a:avLst/>
            </a:prstGeom>
            <a:noFill/>
          </p:spPr>
          <p:txBody>
            <a:bodyPr wrap="square" lIns="0" tIns="0" rIns="0" bIns="0" rtlCol="0">
              <a:spAutoFit/>
            </a:bodyPr>
            <a:lstStyle/>
            <a:p>
              <a:pPr algn="ctr"/>
              <a:r>
                <a:rPr lang="en-US" sz="2000" dirty="0">
                  <a:latin typeface="+mj-lt"/>
                </a:rPr>
                <a:t>Adam Saxton</a:t>
              </a:r>
            </a:p>
            <a:p>
              <a:pPr algn="ctr"/>
              <a:r>
                <a:rPr lang="en-US" sz="1200" dirty="0">
                  <a:latin typeface="+mj-lt"/>
                </a:rPr>
                <a:t>Principal Program Manager</a:t>
              </a:r>
            </a:p>
          </p:txBody>
        </p:sp>
      </p:grpSp>
      <p:sp>
        <p:nvSpPr>
          <p:cNvPr id="13" name="TextBox 12">
            <a:extLst>
              <a:ext uri="{FF2B5EF4-FFF2-40B4-BE49-F238E27FC236}">
                <a16:creationId xmlns:a16="http://schemas.microsoft.com/office/drawing/2014/main" id="{DFBAF52F-56DE-4C76-93B5-061E2811C89D}"/>
              </a:ext>
            </a:extLst>
          </p:cNvPr>
          <p:cNvSpPr txBox="1"/>
          <p:nvPr/>
        </p:nvSpPr>
        <p:spPr>
          <a:xfrm>
            <a:off x="1021149" y="754822"/>
            <a:ext cx="10392589" cy="553998"/>
          </a:xfrm>
          <a:prstGeom prst="rect">
            <a:avLst/>
          </a:prstGeom>
          <a:noFill/>
        </p:spPr>
        <p:txBody>
          <a:bodyPr wrap="none" lIns="0" tIns="0" rIns="0" bIns="0" rtlCol="0">
            <a:spAutoFit/>
          </a:bodyPr>
          <a:lstStyle/>
          <a:p>
            <a:pPr algn="l"/>
            <a:r>
              <a:rPr lang="en-US" sz="3600" dirty="0">
                <a:latin typeface="+mj-lt"/>
              </a:rPr>
              <a:t>Power BI Customer Advisory Team (Power BI CAT)</a:t>
            </a:r>
          </a:p>
        </p:txBody>
      </p:sp>
    </p:spTree>
    <p:extLst>
      <p:ext uri="{BB962C8B-B14F-4D97-AF65-F5344CB8AC3E}">
        <p14:creationId xmlns:p14="http://schemas.microsoft.com/office/powerpoint/2010/main" val="601881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3015969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A line chart. The X axis is labeled “Time.” The Y axis is labeled “The percentage of the problems that can be solved.” The percentage of the problems that can be solved increases with the time, with percentages starting from 40%, 60%, 80%, 95%, 99%, and 99.99%. Six speech bubbles represent the maturity stages. The first one at the bottom-left part of the line chart is labeled “UI only.” The second one is labeled “Lightweight editing in the formula bar.” Then comes “M in custom columns.” Next is “Custom functions and the Advanced Editor.” Next is “Advanced iterations (List.Accumulate and List.Generate).” The final bubble is labeled “Free-form coding in the Advanced Editor.”">
            <a:extLst>
              <a:ext uri="{FF2B5EF4-FFF2-40B4-BE49-F238E27FC236}">
                <a16:creationId xmlns:a16="http://schemas.microsoft.com/office/drawing/2014/main" id="{A68E3B8E-0D3D-4FF7-8A08-C6CBE90C4F37}"/>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tretch>
            <a:fillRect/>
          </a:stretch>
        </p:blipFill>
        <p:spPr bwMode="auto">
          <a:xfrm>
            <a:off x="4775975" y="1824409"/>
            <a:ext cx="7243191" cy="334570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 name="Picture 2" descr="See the source image">
            <a:extLst>
              <a:ext uri="{FF2B5EF4-FFF2-40B4-BE49-F238E27FC236}">
                <a16:creationId xmlns:a16="http://schemas.microsoft.com/office/drawing/2014/main" id="{32B11BA0-EB07-470A-AEC3-ACC3E89C62B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39717" y="1487897"/>
            <a:ext cx="3211010" cy="3926285"/>
          </a:xfrm>
          <a:prstGeom prst="rect">
            <a:avLst/>
          </a:prstGeom>
          <a:noFill/>
          <a:extLst>
            <a:ext uri="{909E8E84-426E-40DD-AFC4-6F175D3DCCD1}">
              <a14:hiddenFill xmlns:a14="http://schemas.microsoft.com/office/drawing/2010/main">
                <a:solidFill>
                  <a:srgbClr val="FFFFFF"/>
                </a:solidFill>
              </a14:hiddenFill>
            </a:ext>
          </a:extLst>
        </p:spPr>
      </p:pic>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Power Query Skills</a:t>
            </a:r>
          </a:p>
        </p:txBody>
      </p:sp>
    </p:spTree>
    <p:extLst>
      <p:ext uri="{BB962C8B-B14F-4D97-AF65-F5344CB8AC3E}">
        <p14:creationId xmlns:p14="http://schemas.microsoft.com/office/powerpoint/2010/main" val="143586191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B8369A30-A814-46DD-ABF0-B1D8C1BF2832}"/>
              </a:ext>
            </a:extLst>
          </p:cNvPr>
          <p:cNvSpPr>
            <a:spLocks noGrp="1"/>
          </p:cNvSpPr>
          <p:nvPr>
            <p:ph idx="1"/>
          </p:nvPr>
        </p:nvSpPr>
        <p:spPr>
          <a:xfrm>
            <a:off x="640695" y="1536839"/>
            <a:ext cx="10537287" cy="2245655"/>
          </a:xfrm>
        </p:spPr>
        <p:txBody>
          <a:bodyPr>
            <a:normAutofit/>
          </a:bodyPr>
          <a:lstStyle/>
          <a:p>
            <a:pPr marL="466251" indent="-466251">
              <a:buFont typeface="+mj-lt"/>
              <a:buAutoNum type="arabicPeriod"/>
            </a:pPr>
            <a:r>
              <a:rPr lang="en-US" sz="2448">
                <a:latin typeface="Segoe UI" panose="020B0502040204020203" pitchFamily="34" charset="0"/>
              </a:rPr>
              <a:t>“As far upstream as possible, as far downstream as necessary.”</a:t>
            </a:r>
          </a:p>
          <a:p>
            <a:pPr marL="466251" indent="-466251">
              <a:buFont typeface="+mj-lt"/>
              <a:buAutoNum type="arabicPeriod"/>
            </a:pPr>
            <a:r>
              <a:rPr lang="en-US" sz="2448">
                <a:latin typeface="Segoe UI" panose="020B0502040204020203" pitchFamily="34" charset="0"/>
              </a:rPr>
              <a:t>Spending hours, to save seconds on refresh times is a cost-benefit analysis of your time.</a:t>
            </a:r>
          </a:p>
          <a:p>
            <a:pPr marL="466251" indent="-466251">
              <a:buFont typeface="+mj-lt"/>
              <a:buAutoNum type="arabicPeriod"/>
            </a:pPr>
            <a:r>
              <a:rPr lang="en-US" sz="2448">
                <a:latin typeface="Segoe UI" panose="020B0502040204020203" pitchFamily="34" charset="0"/>
              </a:rPr>
              <a:t>Always default to the GUI first and the code last.</a:t>
            </a:r>
          </a:p>
          <a:p>
            <a:pPr marL="466251" indent="-466251">
              <a:buFont typeface="+mj-lt"/>
              <a:buAutoNum type="arabicPeriod"/>
            </a:pPr>
            <a:r>
              <a:rPr lang="en-US" sz="2448">
                <a:latin typeface="Segoe UI" panose="020B0502040204020203" pitchFamily="34" charset="0"/>
              </a:rPr>
              <a:t>The Power Query formula language is a transferrable skillset.</a:t>
            </a:r>
          </a:p>
        </p:txBody>
      </p:sp>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Closing Thoughts on Data Preparation</a:t>
            </a:r>
          </a:p>
        </p:txBody>
      </p:sp>
    </p:spTree>
    <p:extLst>
      <p:ext uri="{BB962C8B-B14F-4D97-AF65-F5344CB8AC3E}">
        <p14:creationId xmlns:p14="http://schemas.microsoft.com/office/powerpoint/2010/main" val="166110268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9302" y="2852207"/>
            <a:ext cx="11237870" cy="1554015"/>
          </a:xfrm>
        </p:spPr>
        <p:txBody>
          <a:bodyPr/>
          <a:lstStyle/>
          <a:p>
            <a:br>
              <a:rPr lang="en-US" sz="1400">
                <a:latin typeface="Segoe UI Bold" panose="020B0802040204020203" pitchFamily="34" charset="0"/>
                <a:ea typeface="Times New Roman" panose="02020603050405020304" pitchFamily="18" charset="0"/>
                <a:cs typeface="Segoe UI Bold" panose="020B0802040204020203" pitchFamily="34" charset="0"/>
              </a:rPr>
            </a:br>
            <a:r>
              <a:rPr lang="en-US" sz="1400">
                <a:latin typeface="Segoe UI Bold" panose="020B0802040204020203" pitchFamily="34" charset="0"/>
                <a:ea typeface="Times New Roman" panose="02020603050405020304" pitchFamily="18" charset="0"/>
                <a:cs typeface="Segoe UI Bold" panose="020B0802040204020203" pitchFamily="34" charset="0"/>
              </a:rPr>
              <a:t> </a:t>
            </a:r>
            <a:br>
              <a:rPr lang="en-US" sz="3649">
                <a:ea typeface="Times New Roman" panose="02020603050405020304" pitchFamily="18" charset="0"/>
                <a:cs typeface="Segoe UI"/>
              </a:rPr>
            </a:br>
            <a:br>
              <a:rPr lang="en-US" sz="3649">
                <a:ea typeface="Times New Roman" panose="02020603050405020304" pitchFamily="18" charset="0"/>
                <a:cs typeface="Segoe UI"/>
              </a:rPr>
            </a:br>
            <a:endParaRPr lang="en-US" sz="3649">
              <a:cs typeface="Segoe UI"/>
            </a:endParaRPr>
          </a:p>
        </p:txBody>
      </p:sp>
      <p:graphicFrame>
        <p:nvGraphicFramePr>
          <p:cNvPr id="3" name="Table 3">
            <a:extLst>
              <a:ext uri="{FF2B5EF4-FFF2-40B4-BE49-F238E27FC236}">
                <a16:creationId xmlns:a16="http://schemas.microsoft.com/office/drawing/2014/main" id="{81CF9FAA-7165-415E-AB1E-8075FE3ED399}"/>
              </a:ext>
            </a:extLst>
          </p:cNvPr>
          <p:cNvGraphicFramePr>
            <a:graphicFrameLocks noGrp="1"/>
          </p:cNvGraphicFramePr>
          <p:nvPr>
            <p:extLst>
              <p:ext uri="{D42A27DB-BD31-4B8C-83A1-F6EECF244321}">
                <p14:modId xmlns:p14="http://schemas.microsoft.com/office/powerpoint/2010/main" val="441045078"/>
              </p:ext>
            </p:extLst>
          </p:nvPr>
        </p:nvGraphicFramePr>
        <p:xfrm>
          <a:off x="729740" y="1723502"/>
          <a:ext cx="10975593" cy="3256012"/>
        </p:xfrm>
        <a:graphic>
          <a:graphicData uri="http://schemas.openxmlformats.org/drawingml/2006/table">
            <a:tbl>
              <a:tblPr firstRow="1" bandRow="1">
                <a:tableStyleId>{2D5ABB26-0587-4C30-8999-92F81FD0307C}</a:tableStyleId>
              </a:tblPr>
              <a:tblGrid>
                <a:gridCol w="10975593">
                  <a:extLst>
                    <a:ext uri="{9D8B030D-6E8A-4147-A177-3AD203B41FA5}">
                      <a16:colId xmlns:a16="http://schemas.microsoft.com/office/drawing/2014/main" val="159140880"/>
                    </a:ext>
                  </a:extLst>
                </a:gridCol>
              </a:tblGrid>
              <a:tr h="700951">
                <a:tc>
                  <a:txBody>
                    <a:bodyPr/>
                    <a:lstStyle/>
                    <a:p>
                      <a:r>
                        <a:rPr kumimoji="0" lang="en-US" sz="4000" b="0" i="0" u="none" strike="noStrike" kern="1200" cap="none" spc="-51" normalizeH="0" baseline="0" noProof="0">
                          <a:ln w="3175">
                            <a:noFill/>
                          </a:ln>
                          <a:solidFill>
                            <a:srgbClr val="000000"/>
                          </a:solidFill>
                          <a:effectLst/>
                          <a:uLnTx/>
                          <a:uFillTx/>
                          <a:latin typeface="Segoe UI Bold"/>
                          <a:ea typeface="Times New Roman" panose="02020603050405020304" pitchFamily="18" charset="0"/>
                          <a:cs typeface="Segoe UI Bold"/>
                        </a:rPr>
                        <a:t>Data Modeling</a:t>
                      </a:r>
                      <a:endParaRPr lang="en-US" sz="1800">
                        <a:solidFill>
                          <a:srgbClr val="000000"/>
                        </a:solidFill>
                        <a:latin typeface="Segoe UI Bold"/>
                        <a:cs typeface="Segoe UI Bold"/>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17299406"/>
                  </a:ext>
                </a:extLst>
              </a:tr>
              <a:tr h="238552">
                <a:tc>
                  <a:txBody>
                    <a:bodyPr/>
                    <a:lstStyle/>
                    <a:p>
                      <a:endParaRPr lang="en-US" sz="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90607938"/>
                  </a:ext>
                </a:extLst>
              </a:tr>
              <a:tr h="579046">
                <a:tc>
                  <a:txBody>
                    <a:bodyPr/>
                    <a:lstStyle/>
                    <a:p>
                      <a:r>
                        <a:rPr kumimoji="0" lang="en-US" sz="3200" b="0" i="0" u="none" strike="noStrike" kern="1200" cap="none" spc="-51" normalizeH="0" baseline="0" noProof="0">
                          <a:ln w="3175">
                            <a:noFill/>
                          </a:ln>
                          <a:solidFill>
                            <a:srgbClr val="000000"/>
                          </a:solidFill>
                          <a:effectLst/>
                          <a:uLnTx/>
                          <a:uFillTx/>
                          <a:latin typeface="Segoe UI Semibold"/>
                          <a:ea typeface="Times New Roman" panose="02020603050405020304" pitchFamily="18" charset="0"/>
                          <a:cs typeface="Segoe UI"/>
                        </a:rPr>
                        <a:t>Objective:</a:t>
                      </a:r>
                      <a:endParaRPr lang="en-US" sz="1600">
                        <a:solidFill>
                          <a:srgbClr val="000000"/>
                        </a:solidFill>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06375184"/>
                  </a:ext>
                </a:extLst>
              </a:tr>
              <a:tr h="579046">
                <a:tc>
                  <a:txBody>
                    <a:bodyPr/>
                    <a:lstStyle/>
                    <a:p>
                      <a:pPr marL="0" marR="0" lvl="0" indent="0" algn="l" rtl="0">
                        <a:lnSpc>
                          <a:spcPct val="100000"/>
                        </a:lnSpc>
                        <a:spcBef>
                          <a:spcPts val="0"/>
                        </a:spcBef>
                        <a:spcAft>
                          <a:spcPts val="0"/>
                        </a:spcAft>
                        <a:buClrTx/>
                        <a:buSzTx/>
                        <a:buFontTx/>
                        <a:buNone/>
                      </a:pPr>
                      <a:r>
                        <a:rPr lang="en-US" sz="3200" b="0" i="0" u="none" strike="noStrike" kern="1200" cap="none" spc="-51" normalizeH="0" baseline="0" noProof="0">
                          <a:ln w="3175">
                            <a:noFill/>
                          </a:ln>
                          <a:solidFill>
                            <a:srgbClr val="000000"/>
                          </a:solidFill>
                          <a:effectLst/>
                          <a:uLnTx/>
                          <a:uFillTx/>
                          <a:latin typeface="+mn-lt"/>
                          <a:ea typeface="+mn-ea"/>
                          <a:cs typeface="Segoe UI"/>
                        </a:rPr>
                        <a:t>Schema types </a:t>
                      </a:r>
                      <a:r>
                        <a:rPr lang="en-US" sz="3200" b="0" i="0" u="none" strike="noStrike" kern="1200" cap="none" spc="-51" normalizeH="0" baseline="0" noProof="0">
                          <a:ln w="3175">
                            <a:noFill/>
                          </a:ln>
                          <a:effectLst/>
                          <a:uLnTx/>
                          <a:uFillTx/>
                          <a:latin typeface="Segoe UI Semibold"/>
                        </a:rPr>
                        <a:t>(Performance)</a:t>
                      </a:r>
                      <a:endParaRPr kumimoji="0" lang="en-US" sz="3200" b="0" i="0" u="none" strike="noStrike" kern="1200" cap="none" spc="-51" normalizeH="0" baseline="0" noProof="0">
                        <a:ln w="3175">
                          <a:noFill/>
                        </a:ln>
                        <a:solidFill>
                          <a:srgbClr val="000000"/>
                        </a:soli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93632906"/>
                  </a:ext>
                </a:extLst>
              </a:tr>
              <a:tr h="579046">
                <a:tc>
                  <a:txBody>
                    <a:bodyPr/>
                    <a:lstStyle/>
                    <a:p>
                      <a:r>
                        <a:rPr lang="en-US" sz="3200" b="0" i="0" u="none" strike="noStrike" kern="1200" cap="none" spc="-51" normalizeH="0" baseline="0" noProof="0">
                          <a:ln w="3175">
                            <a:noFill/>
                          </a:ln>
                          <a:solidFill>
                            <a:srgbClr val="000000"/>
                          </a:solidFill>
                          <a:effectLst/>
                          <a:uLnTx/>
                          <a:uFillTx/>
                          <a:latin typeface="+mn-lt"/>
                          <a:ea typeface="+mn-ea"/>
                          <a:cs typeface="Segoe UI"/>
                        </a:rPr>
                        <a:t>Design decisions </a:t>
                      </a:r>
                      <a:r>
                        <a:rPr lang="en-US" sz="3200" b="0" i="0" u="none" strike="noStrike" kern="1200" cap="none" spc="-51" normalizeH="0" baseline="0" noProof="0">
                          <a:ln w="3175">
                            <a:noFill/>
                          </a:ln>
                          <a:solidFill>
                            <a:schemeClr val="tx1"/>
                          </a:solidFill>
                          <a:effectLst/>
                          <a:uLnTx/>
                          <a:uFillTx/>
                          <a:latin typeface="Segoe UI Semibold"/>
                          <a:ea typeface="+mn-ea"/>
                          <a:cs typeface="+mn-cs"/>
                        </a:rPr>
                        <a:t>(Usability)</a:t>
                      </a: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59052171"/>
                  </a:ext>
                </a:extLst>
              </a:tr>
              <a:tr h="579046">
                <a:tc>
                  <a:txBody>
                    <a:bodyPr/>
                    <a:lstStyle/>
                    <a:p>
                      <a:pPr lvl="0">
                        <a:buNone/>
                      </a:pPr>
                      <a:r>
                        <a:rPr lang="en-US" sz="3200" b="0" i="0" u="none" strike="noStrike" kern="1200" cap="none" spc="-51" normalizeH="0" baseline="0" noProof="0">
                          <a:ln w="3175">
                            <a:noFill/>
                          </a:ln>
                          <a:solidFill>
                            <a:srgbClr val="000000"/>
                          </a:solidFill>
                          <a:effectLst/>
                          <a:uLnTx/>
                          <a:uFillTx/>
                          <a:latin typeface="Segoe UI"/>
                        </a:rPr>
                        <a:t>Shared datasets </a:t>
                      </a:r>
                      <a:r>
                        <a:rPr lang="en-US" sz="3200" b="0" i="0" u="none" strike="noStrike" kern="1200" cap="none" spc="-51" normalizeH="0" baseline="0" noProof="0">
                          <a:ln w="3175">
                            <a:noFill/>
                          </a:ln>
                          <a:solidFill>
                            <a:schemeClr val="tx1"/>
                          </a:solidFill>
                          <a:effectLst/>
                          <a:uLnTx/>
                          <a:uFillTx/>
                          <a:latin typeface="Segoe UI Semibold"/>
                        </a:rPr>
                        <a:t>(Agility)</a:t>
                      </a:r>
                      <a:endParaRPr lang="en-US" sz="1800"/>
                    </a:p>
                  </a:txBody>
                  <a:tcPr marL="91428" marR="91428" marT="45714" marB="45714">
                    <a:lnL w="0">
                      <a:noFill/>
                    </a:lnL>
                    <a:lnR w="0">
                      <a:noFill/>
                    </a:lnR>
                    <a:lnT w="0">
                      <a:noFill/>
                    </a:lnT>
                    <a:lnB w="0">
                      <a:noFill/>
                    </a:lnB>
                    <a:lnTlToBr w="12700" cmpd="sng">
                      <a:noFill/>
                      <a:prstDash val="solid"/>
                    </a:lnTlToBr>
                    <a:lnBlToTr w="12700" cmpd="sng">
                      <a:noFill/>
                      <a:prstDash val="solid"/>
                    </a:lnBlToTr>
                  </a:tcPr>
                </a:tc>
                <a:extLst>
                  <a:ext uri="{0D108BD9-81ED-4DB2-BD59-A6C34878D82A}">
                    <a16:rowId xmlns:a16="http://schemas.microsoft.com/office/drawing/2014/main" val="3680772042"/>
                  </a:ext>
                </a:extLst>
              </a:tr>
            </a:tbl>
          </a:graphicData>
        </a:graphic>
      </p:graphicFrame>
    </p:spTree>
    <p:extLst>
      <p:ext uri="{BB962C8B-B14F-4D97-AF65-F5344CB8AC3E}">
        <p14:creationId xmlns:p14="http://schemas.microsoft.com/office/powerpoint/2010/main" val="2427251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 name="Table 10">
            <a:extLst>
              <a:ext uri="{FF2B5EF4-FFF2-40B4-BE49-F238E27FC236}">
                <a16:creationId xmlns:a16="http://schemas.microsoft.com/office/drawing/2014/main" id="{10522868-2A6E-47B7-BAF2-549A3431A5C5}"/>
              </a:ext>
            </a:extLst>
          </p:cNvPr>
          <p:cNvGraphicFramePr>
            <a:graphicFrameLocks noGrp="1"/>
          </p:cNvGraphicFramePr>
          <p:nvPr>
            <p:extLst>
              <p:ext uri="{D42A27DB-BD31-4B8C-83A1-F6EECF244321}">
                <p14:modId xmlns:p14="http://schemas.microsoft.com/office/powerpoint/2010/main" val="2356215126"/>
              </p:ext>
            </p:extLst>
          </p:nvPr>
        </p:nvGraphicFramePr>
        <p:xfrm>
          <a:off x="0" y="2575242"/>
          <a:ext cx="12434889" cy="1843805"/>
        </p:xfrm>
        <a:graphic>
          <a:graphicData uri="http://schemas.openxmlformats.org/drawingml/2006/table">
            <a:tbl>
              <a:tblPr bandRow="1">
                <a:tableStyleId>{2D5ABB26-0587-4C30-8999-92F81FD0307C}</a:tableStyleId>
              </a:tblPr>
              <a:tblGrid>
                <a:gridCol w="6537215">
                  <a:extLst>
                    <a:ext uri="{9D8B030D-6E8A-4147-A177-3AD203B41FA5}">
                      <a16:colId xmlns:a16="http://schemas.microsoft.com/office/drawing/2014/main" val="1577158595"/>
                    </a:ext>
                  </a:extLst>
                </a:gridCol>
                <a:gridCol w="1182431">
                  <a:extLst>
                    <a:ext uri="{9D8B030D-6E8A-4147-A177-3AD203B41FA5}">
                      <a16:colId xmlns:a16="http://schemas.microsoft.com/office/drawing/2014/main" val="2696631662"/>
                    </a:ext>
                  </a:extLst>
                </a:gridCol>
                <a:gridCol w="4715243">
                  <a:extLst>
                    <a:ext uri="{9D8B030D-6E8A-4147-A177-3AD203B41FA5}">
                      <a16:colId xmlns:a16="http://schemas.microsoft.com/office/drawing/2014/main" val="3284340505"/>
                    </a:ext>
                  </a:extLst>
                </a:gridCol>
              </a:tblGrid>
              <a:tr h="1843805">
                <a:tc>
                  <a:txBody>
                    <a:bodyPr/>
                    <a:lstStyle/>
                    <a:p>
                      <a:pPr algn="r" defTabSz="932597">
                        <a:defRPr/>
                      </a:pPr>
                      <a:r>
                        <a:rPr lang="en-US" sz="9600" b="1" dirty="0">
                          <a:solidFill>
                            <a:prstClr val="black"/>
                          </a:solidFill>
                          <a:latin typeface="Segoe UI Black" panose="020B0A02040204020203" pitchFamily="34" charset="0"/>
                          <a:ea typeface="Segoe UI Black" panose="020B0A02040204020203" pitchFamily="34" charset="0"/>
                          <a:cs typeface="Segoe UI" panose="020B0502040204020203" pitchFamily="34" charset="0"/>
                        </a:rPr>
                        <a:t>FLATFILE</a:t>
                      </a:r>
                      <a:endParaRPr lang="en-US" sz="8800" dirty="0">
                        <a:solidFill>
                          <a:prstClr val="black"/>
                        </a:solidFill>
                        <a:latin typeface="Segoe UI Black" panose="020B0A02040204020203" pitchFamily="34" charset="0"/>
                        <a:ea typeface="Segoe UI Black" panose="020B0A02040204020203" pitchFamily="34" charset="0"/>
                        <a:cs typeface="Segoe UI" panose="020B0502040204020203" pitchFamily="34" charset="0"/>
                      </a:endParaRPr>
                    </a:p>
                  </a:txBody>
                  <a:tcPr marL="91428" marR="91428" marT="45714" marB="45714" anchor="ctr"/>
                </a:tc>
                <a:tc>
                  <a:txBody>
                    <a:bodyPr/>
                    <a:lstStyle/>
                    <a:p>
                      <a:pPr algn="ctr"/>
                      <a:r>
                        <a:rPr lang="en-US" sz="4400" b="1" dirty="0">
                          <a:solidFill>
                            <a:srgbClr val="F2C811"/>
                          </a:solidFill>
                          <a:latin typeface="Segoe UI" panose="020B0502040204020203" pitchFamily="34" charset="0"/>
                          <a:cs typeface="Segoe UI" panose="020B0502040204020203" pitchFamily="34" charset="0"/>
                        </a:rPr>
                        <a:t>vs.</a:t>
                      </a:r>
                    </a:p>
                  </a:txBody>
                  <a:tcPr marL="91428" marR="91428" marT="45714" marB="45714" anchor="ctr"/>
                </a:tc>
                <a:tc>
                  <a:txBody>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lang="en-US" sz="9600" b="1" kern="1200" dirty="0">
                          <a:solidFill>
                            <a:prstClr val="black"/>
                          </a:solidFill>
                          <a:latin typeface="Segoe UI Black" panose="020B0A02040204020203" pitchFamily="34" charset="0"/>
                          <a:ea typeface="Segoe UI Black" panose="020B0A02040204020203" pitchFamily="34" charset="0"/>
                          <a:cs typeface="Segoe UI" panose="020B0502040204020203" pitchFamily="34" charset="0"/>
                        </a:rPr>
                        <a:t>STAR</a:t>
                      </a:r>
                    </a:p>
                  </a:txBody>
                  <a:tcPr marL="91428" marR="91428" marT="45714" marB="45714" anchor="ctr"/>
                </a:tc>
                <a:extLst>
                  <a:ext uri="{0D108BD9-81ED-4DB2-BD59-A6C34878D82A}">
                    <a16:rowId xmlns:a16="http://schemas.microsoft.com/office/drawing/2014/main" val="1359597373"/>
                  </a:ext>
                </a:extLst>
              </a:tr>
            </a:tbl>
          </a:graphicData>
        </a:graphic>
      </p:graphicFrame>
      <p:sp>
        <p:nvSpPr>
          <p:cNvPr id="24" name="TextBox 23">
            <a:extLst>
              <a:ext uri="{FF2B5EF4-FFF2-40B4-BE49-F238E27FC236}">
                <a16:creationId xmlns:a16="http://schemas.microsoft.com/office/drawing/2014/main" id="{0771EF23-15FC-4401-9994-ADA93A1E01F4}"/>
              </a:ext>
            </a:extLst>
          </p:cNvPr>
          <p:cNvSpPr txBox="1"/>
          <p:nvPr/>
        </p:nvSpPr>
        <p:spPr>
          <a:xfrm>
            <a:off x="697210" y="2830117"/>
            <a:ext cx="462753" cy="307777"/>
          </a:xfrm>
          <a:prstGeom prst="rect">
            <a:avLst/>
          </a:prstGeom>
          <a:solidFill>
            <a:srgbClr val="F2C811"/>
          </a:solidFill>
        </p:spPr>
        <p:txBody>
          <a:bodyPr wrap="square" rtlCol="0">
            <a:spAutoFit/>
          </a:bodyPr>
          <a:lstStyle/>
          <a:p>
            <a:pPr algn="ctr"/>
            <a:r>
              <a:rPr lang="en-US" sz="1400">
                <a:solidFill>
                  <a:schemeClr val="bg1"/>
                </a:solidFill>
              </a:rPr>
              <a:t>the</a:t>
            </a:r>
          </a:p>
        </p:txBody>
      </p:sp>
      <p:sp>
        <p:nvSpPr>
          <p:cNvPr id="13" name="TextBox 12">
            <a:extLst>
              <a:ext uri="{FF2B5EF4-FFF2-40B4-BE49-F238E27FC236}">
                <a16:creationId xmlns:a16="http://schemas.microsoft.com/office/drawing/2014/main" id="{7A964EBC-B01A-4B66-8754-DC2DEB6E040F}"/>
              </a:ext>
            </a:extLst>
          </p:cNvPr>
          <p:cNvSpPr txBox="1"/>
          <p:nvPr/>
        </p:nvSpPr>
        <p:spPr>
          <a:xfrm>
            <a:off x="7415418" y="2780631"/>
            <a:ext cx="462753" cy="307777"/>
          </a:xfrm>
          <a:prstGeom prst="rect">
            <a:avLst/>
          </a:prstGeom>
          <a:solidFill>
            <a:srgbClr val="F2C811"/>
          </a:solidFill>
        </p:spPr>
        <p:txBody>
          <a:bodyPr wrap="square" rtlCol="0">
            <a:spAutoFit/>
          </a:bodyPr>
          <a:lstStyle/>
          <a:p>
            <a:pPr algn="ctr"/>
            <a:r>
              <a:rPr lang="en-US" sz="1400">
                <a:solidFill>
                  <a:schemeClr val="bg1"/>
                </a:solidFill>
              </a:rPr>
              <a:t>the</a:t>
            </a:r>
          </a:p>
        </p:txBody>
      </p:sp>
      <p:sp>
        <p:nvSpPr>
          <p:cNvPr id="9" name="TextBox 8">
            <a:extLst>
              <a:ext uri="{FF2B5EF4-FFF2-40B4-BE49-F238E27FC236}">
                <a16:creationId xmlns:a16="http://schemas.microsoft.com/office/drawing/2014/main" id="{B79D718A-B3E8-478A-8782-2EB5711B6E67}"/>
              </a:ext>
            </a:extLst>
          </p:cNvPr>
          <p:cNvSpPr txBox="1"/>
          <p:nvPr/>
        </p:nvSpPr>
        <p:spPr>
          <a:xfrm>
            <a:off x="594642" y="4491855"/>
            <a:ext cx="11128410" cy="415498"/>
          </a:xfrm>
          <a:prstGeom prst="rect">
            <a:avLst/>
          </a:prstGeom>
          <a:noFill/>
        </p:spPr>
        <p:txBody>
          <a:bodyPr wrap="square" lIns="91428" tIns="45714" rIns="91428" bIns="45714" rtlCol="0" anchor="t">
            <a:spAutoFit/>
          </a:bodyPr>
          <a:lstStyle/>
          <a:p>
            <a:pPr defTabSz="932504">
              <a:defRPr/>
            </a:pPr>
            <a:r>
              <a:rPr lang="en-US" sz="2100" b="1">
                <a:gradFill>
                  <a:gsLst>
                    <a:gs pos="2917">
                      <a:srgbClr val="505050"/>
                    </a:gs>
                    <a:gs pos="30000">
                      <a:srgbClr val="505050"/>
                    </a:gs>
                  </a:gsLst>
                  <a:lin ang="5400000" scaled="0"/>
                </a:gradFill>
                <a:latin typeface="Segoe UI"/>
              </a:rPr>
              <a:t>which is better?...</a:t>
            </a:r>
          </a:p>
        </p:txBody>
      </p:sp>
      <p:graphicFrame>
        <p:nvGraphicFramePr>
          <p:cNvPr id="3" name="Table 3">
            <a:extLst>
              <a:ext uri="{FF2B5EF4-FFF2-40B4-BE49-F238E27FC236}">
                <a16:creationId xmlns:a16="http://schemas.microsoft.com/office/drawing/2014/main" id="{5A331F82-DA95-4882-880B-D526B562459F}"/>
              </a:ext>
            </a:extLst>
          </p:cNvPr>
          <p:cNvGraphicFramePr>
            <a:graphicFrameLocks noGrp="1"/>
          </p:cNvGraphicFramePr>
          <p:nvPr>
            <p:extLst>
              <p:ext uri="{D42A27DB-BD31-4B8C-83A1-F6EECF244321}">
                <p14:modId xmlns:p14="http://schemas.microsoft.com/office/powerpoint/2010/main" val="1934235823"/>
              </p:ext>
            </p:extLst>
          </p:nvPr>
        </p:nvGraphicFramePr>
        <p:xfrm>
          <a:off x="594642" y="4164407"/>
          <a:ext cx="11126990" cy="259068"/>
        </p:xfrm>
        <a:graphic>
          <a:graphicData uri="http://schemas.openxmlformats.org/drawingml/2006/table">
            <a:tbl>
              <a:tblPr bandRow="1">
                <a:tableStyleId>{5C22544A-7EE6-4342-B048-85BDC9FD1C3A}</a:tableStyleId>
              </a:tblPr>
              <a:tblGrid>
                <a:gridCol w="5563495">
                  <a:extLst>
                    <a:ext uri="{9D8B030D-6E8A-4147-A177-3AD203B41FA5}">
                      <a16:colId xmlns:a16="http://schemas.microsoft.com/office/drawing/2014/main" val="3764901635"/>
                    </a:ext>
                  </a:extLst>
                </a:gridCol>
                <a:gridCol w="5563495">
                  <a:extLst>
                    <a:ext uri="{9D8B030D-6E8A-4147-A177-3AD203B41FA5}">
                      <a16:colId xmlns:a16="http://schemas.microsoft.com/office/drawing/2014/main" val="2792298403"/>
                    </a:ext>
                  </a:extLst>
                </a:gridCol>
              </a:tblGrid>
              <a:tr h="259047">
                <a:tc>
                  <a:txBody>
                    <a:bodyPr/>
                    <a:lstStyle/>
                    <a:p>
                      <a:endParaRPr lang="en-US" sz="800"/>
                    </a:p>
                  </a:txBody>
                  <a:tcPr marL="91428" marR="91428" marT="45714" marB="45714">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C811"/>
                    </a:solidFill>
                  </a:tcPr>
                </a:tc>
                <a:tc>
                  <a:txBody>
                    <a:bodyPr/>
                    <a:lstStyle/>
                    <a:p>
                      <a:endParaRPr lang="en-US" sz="1100">
                        <a:solidFill>
                          <a:schemeClr val="bg1"/>
                        </a:solidFill>
                      </a:endParaRPr>
                    </a:p>
                  </a:txBody>
                  <a:tcPr marL="91428" marR="91428" marT="45714" marB="45714">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C811"/>
                    </a:solidFill>
                  </a:tcPr>
                </a:tc>
                <a:extLst>
                  <a:ext uri="{0D108BD9-81ED-4DB2-BD59-A6C34878D82A}">
                    <a16:rowId xmlns:a16="http://schemas.microsoft.com/office/drawing/2014/main" val="972844566"/>
                  </a:ext>
                </a:extLst>
              </a:tr>
            </a:tbl>
          </a:graphicData>
        </a:graphic>
      </p:graphicFrame>
    </p:spTree>
    <p:extLst>
      <p:ext uri="{BB962C8B-B14F-4D97-AF65-F5344CB8AC3E}">
        <p14:creationId xmlns:p14="http://schemas.microsoft.com/office/powerpoint/2010/main" val="294124153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extLst>
              <p:ext uri="{D42A27DB-BD31-4B8C-83A1-F6EECF244321}">
                <p14:modId xmlns:p14="http://schemas.microsoft.com/office/powerpoint/2010/main" val="1932068580"/>
              </p:ext>
            </p:extLst>
          </p:nvPr>
        </p:nvGraphicFramePr>
        <p:xfrm>
          <a:off x="3623059" y="1603546"/>
          <a:ext cx="8451357" cy="4705592"/>
        </p:xfrm>
        <a:graphic>
          <a:graphicData uri="http://schemas.openxmlformats.org/drawingml/2006/table">
            <a:tbl>
              <a:tblPr firstRow="1" bandRow="1">
                <a:tableStyleId>{9D7B26C5-4107-4FEC-AEDC-1716B250A1EF}</a:tableStyleId>
              </a:tblPr>
              <a:tblGrid>
                <a:gridCol w="8451357">
                  <a:extLst>
                    <a:ext uri="{9D8B030D-6E8A-4147-A177-3AD203B41FA5}">
                      <a16:colId xmlns:a16="http://schemas.microsoft.com/office/drawing/2014/main" val="3489525494"/>
                    </a:ext>
                  </a:extLst>
                </a:gridCol>
              </a:tblGrid>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731090695"/>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Normalized (Flat File)</a:t>
            </a:r>
          </a:p>
        </p:txBody>
      </p:sp>
      <p:sp>
        <p:nvSpPr>
          <p:cNvPr id="2" name="Content Placeholder 2">
            <a:extLst>
              <a:ext uri="{FF2B5EF4-FFF2-40B4-BE49-F238E27FC236}">
                <a16:creationId xmlns:a16="http://schemas.microsoft.com/office/drawing/2014/main" id="{2A1FB337-CDF0-458C-864B-CA1289A60A44}"/>
              </a:ext>
            </a:extLst>
          </p:cNvPr>
          <p:cNvSpPr>
            <a:spLocks noGrp="1"/>
          </p:cNvSpPr>
          <p:nvPr>
            <p:ph idx="1"/>
          </p:nvPr>
        </p:nvSpPr>
        <p:spPr>
          <a:xfrm>
            <a:off x="275142" y="1631427"/>
            <a:ext cx="3282846" cy="4678311"/>
          </a:xfrm>
        </p:spPr>
        <p:txBody>
          <a:bodyPr vert="horz" lIns="91428" tIns="45714" rIns="91428" bIns="45714" rtlCol="0" anchor="t">
            <a:normAutofit/>
          </a:bodyPr>
          <a:lstStyle/>
          <a:p>
            <a:pPr marL="466043" indent="-466043">
              <a:buFont typeface="+mj-lt"/>
              <a:buAutoNum type="arabicPeriod"/>
            </a:pPr>
            <a:r>
              <a:rPr lang="en-US" sz="2448" b="1">
                <a:gradFill>
                  <a:gsLst>
                    <a:gs pos="2917">
                      <a:srgbClr val="505050"/>
                    </a:gs>
                    <a:gs pos="30000">
                      <a:srgbClr val="505050"/>
                    </a:gs>
                  </a:gsLst>
                  <a:lin ang="5400000" scaled="0"/>
                </a:gradFill>
                <a:latin typeface="Segoe UI"/>
              </a:rPr>
              <a:t>Advantages</a:t>
            </a:r>
            <a:endParaRPr lang="en-US"/>
          </a:p>
          <a:p>
            <a:pPr marL="699065" lvl="1" indent="-233022"/>
            <a:r>
              <a:rPr lang="en-US" sz="1800">
                <a:gradFill>
                  <a:gsLst>
                    <a:gs pos="2917">
                      <a:srgbClr val="505050"/>
                    </a:gs>
                    <a:gs pos="30000">
                      <a:srgbClr val="505050"/>
                    </a:gs>
                  </a:gsLst>
                  <a:lin ang="5400000" scaled="0"/>
                </a:gradFill>
                <a:latin typeface="Segoe UI"/>
              </a:rPr>
              <a:t>Single table to manage</a:t>
            </a:r>
            <a:endParaRPr lang="en-US" sz="1800">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Limited maintenance</a:t>
            </a:r>
            <a:endParaRPr lang="en-US" sz="1800">
              <a:gradFill>
                <a:gsLst>
                  <a:gs pos="2917">
                    <a:srgbClr val="505050"/>
                  </a:gs>
                  <a:gs pos="30000">
                    <a:srgbClr val="505050"/>
                  </a:gs>
                </a:gsLst>
                <a:lin ang="5400000" scaled="0"/>
              </a:gradFill>
              <a:latin typeface="Segoe UI"/>
              <a:cs typeface="Segoe UI"/>
            </a:endParaRPr>
          </a:p>
          <a:p>
            <a:pPr marL="466043" lvl="2" indent="0">
              <a:buNone/>
            </a:pPr>
            <a:endParaRPr lang="en-US" sz="1800">
              <a:gradFill>
                <a:gsLst>
                  <a:gs pos="2917">
                    <a:srgbClr val="505050"/>
                  </a:gs>
                  <a:gs pos="30000">
                    <a:srgbClr val="505050"/>
                  </a:gs>
                </a:gsLst>
                <a:lin ang="5400000" scaled="0"/>
              </a:gradFill>
              <a:latin typeface="Segoe UI"/>
              <a:cs typeface="Segoe UI"/>
            </a:endParaRPr>
          </a:p>
          <a:p>
            <a:pPr marL="466043" lvl="2" indent="0">
              <a:spcBef>
                <a:spcPts val="509"/>
              </a:spcBef>
              <a:buNone/>
            </a:pPr>
            <a:endParaRPr lang="en-US" sz="1800">
              <a:gradFill>
                <a:gsLst>
                  <a:gs pos="2917">
                    <a:srgbClr val="505050"/>
                  </a:gs>
                  <a:gs pos="30000">
                    <a:srgbClr val="505050"/>
                  </a:gs>
                </a:gsLst>
                <a:lin ang="5400000" scaled="0"/>
              </a:gradFill>
              <a:latin typeface="Segoe UI"/>
            </a:endParaRPr>
          </a:p>
          <a:p>
            <a:pPr marL="466043" indent="-466043">
              <a:buFont typeface="+mj-lt"/>
              <a:buAutoNum type="arabicPeriod"/>
            </a:pPr>
            <a:r>
              <a:rPr lang="en-US" sz="2448" b="1">
                <a:gradFill>
                  <a:gsLst>
                    <a:gs pos="2917">
                      <a:srgbClr val="505050"/>
                    </a:gs>
                    <a:gs pos="30000">
                      <a:srgbClr val="505050"/>
                    </a:gs>
                  </a:gsLst>
                  <a:lin ang="5400000" scaled="0"/>
                </a:gradFill>
                <a:latin typeface="Segoe UI"/>
              </a:rPr>
              <a:t>Disadvantages</a:t>
            </a:r>
            <a:endParaRPr lang="en-US" sz="2448" b="1">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Slow refresh</a:t>
            </a:r>
            <a:endParaRPr lang="en-US" sz="1800">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No organization</a:t>
            </a:r>
            <a:endParaRPr lang="en-US" sz="1800">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Complicated DAX (possibly)</a:t>
            </a:r>
            <a:endParaRPr lang="en-US" sz="1800">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Time Intelligence can be challenging</a:t>
            </a:r>
            <a:endParaRPr lang="en-US" sz="1800">
              <a:gradFill>
                <a:gsLst>
                  <a:gs pos="2917">
                    <a:srgbClr val="505050"/>
                  </a:gs>
                  <a:gs pos="30000">
                    <a:srgbClr val="505050"/>
                  </a:gs>
                </a:gsLst>
                <a:lin ang="5400000" scaled="0"/>
              </a:gradFill>
              <a:latin typeface="Segoe UI"/>
              <a:cs typeface="Segoe UI"/>
            </a:endParaRPr>
          </a:p>
        </p:txBody>
      </p:sp>
    </p:spTree>
    <p:extLst>
      <p:ext uri="{BB962C8B-B14F-4D97-AF65-F5344CB8AC3E}">
        <p14:creationId xmlns:p14="http://schemas.microsoft.com/office/powerpoint/2010/main" val="280929801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extLst>
              <p:ext uri="{D42A27DB-BD31-4B8C-83A1-F6EECF244321}">
                <p14:modId xmlns:p14="http://schemas.microsoft.com/office/powerpoint/2010/main" val="1499234021"/>
              </p:ext>
            </p:extLst>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extLst>
              <p:ext uri="{D42A27DB-BD31-4B8C-83A1-F6EECF244321}">
                <p14:modId xmlns:p14="http://schemas.microsoft.com/office/powerpoint/2010/main" val="2921688926"/>
              </p:ext>
            </p:extLst>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Denormalized (Star Schema)</a:t>
            </a: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extLst>
              <p:ext uri="{D42A27DB-BD31-4B8C-83A1-F6EECF244321}">
                <p14:modId xmlns:p14="http://schemas.microsoft.com/office/powerpoint/2010/main" val="2225372297"/>
              </p:ext>
            </p:extLst>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extLst>
              <p:ext uri="{D42A27DB-BD31-4B8C-83A1-F6EECF244321}">
                <p14:modId xmlns:p14="http://schemas.microsoft.com/office/powerpoint/2010/main" val="2568616696"/>
              </p:ext>
            </p:extLst>
          </p:nvPr>
        </p:nvGraphicFramePr>
        <p:xfrm>
          <a:off x="5507695"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extLst>
              <p:ext uri="{D42A27DB-BD31-4B8C-83A1-F6EECF244321}">
                <p14:modId xmlns:p14="http://schemas.microsoft.com/office/powerpoint/2010/main" val="263738655"/>
              </p:ext>
            </p:extLst>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14" name="Table 13">
            <a:extLst>
              <a:ext uri="{FF2B5EF4-FFF2-40B4-BE49-F238E27FC236}">
                <a16:creationId xmlns:a16="http://schemas.microsoft.com/office/drawing/2014/main" id="{80D24E41-6274-4E10-9874-557FA4AC1449}"/>
              </a:ext>
            </a:extLst>
          </p:cNvPr>
          <p:cNvGraphicFramePr>
            <a:graphicFrameLocks noGrp="1"/>
          </p:cNvGraphicFramePr>
          <p:nvPr>
            <p:extLst>
              <p:ext uri="{D42A27DB-BD31-4B8C-83A1-F6EECF244321}">
                <p14:modId xmlns:p14="http://schemas.microsoft.com/office/powerpoint/2010/main" val="2722129891"/>
              </p:ext>
            </p:extLst>
          </p:nvPr>
        </p:nvGraphicFramePr>
        <p:xfrm>
          <a:off x="8054256" y="1378237"/>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50" name="Straight Arrow Connector 49">
            <a:extLst>
              <a:ext uri="{FF2B5EF4-FFF2-40B4-BE49-F238E27FC236}">
                <a16:creationId xmlns:a16="http://schemas.microsoft.com/office/drawing/2014/main" id="{5CDFAB84-1541-4EE9-BF04-213E61BC4EF7}"/>
              </a:ext>
            </a:extLst>
          </p:cNvPr>
          <p:cNvCxnSpPr>
            <a:endCxn id="5" idx="0"/>
          </p:cNvCxnSpPr>
          <p:nvPr/>
        </p:nvCxnSpPr>
        <p:spPr>
          <a:xfrm flipH="1">
            <a:off x="8829177" y="2673041"/>
            <a:ext cx="180" cy="36135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7"/>
            <a:ext cx="3113218" cy="4678311"/>
          </a:xfrm>
        </p:spPr>
        <p:txBody>
          <a:bodyPr>
            <a:normAutofit/>
          </a:bodyPr>
          <a:lstStyle/>
          <a:p>
            <a:pPr marL="466251" indent="-466251">
              <a:buFont typeface="+mj-lt"/>
              <a:buAutoNum type="arabicPeriod"/>
            </a:pPr>
            <a:r>
              <a:rPr lang="en-US" sz="2448" b="1">
                <a:gradFill>
                  <a:gsLst>
                    <a:gs pos="2917">
                      <a:srgbClr val="505050"/>
                    </a:gs>
                    <a:gs pos="30000">
                      <a:srgbClr val="505050"/>
                    </a:gs>
                  </a:gsLst>
                  <a:lin ang="5400000" scaled="0"/>
                </a:gradFill>
                <a:latin typeface="Segoe UI"/>
              </a:rPr>
              <a:t>Advantages</a:t>
            </a:r>
          </a:p>
          <a:p>
            <a:pPr marL="752002" lvl="2" indent="-285750"/>
            <a:r>
              <a:rPr lang="en-US" sz="1800">
                <a:gradFill>
                  <a:gsLst>
                    <a:gs pos="2917">
                      <a:srgbClr val="505050"/>
                    </a:gs>
                    <a:gs pos="30000">
                      <a:srgbClr val="505050"/>
                    </a:gs>
                  </a:gsLst>
                  <a:lin ang="5400000" scaled="0"/>
                </a:gradFill>
                <a:latin typeface="Segoe UI"/>
              </a:rPr>
              <a:t>Simple DAX (possibly)</a:t>
            </a:r>
          </a:p>
          <a:p>
            <a:pPr marL="752002" lvl="2" indent="-285750"/>
            <a:r>
              <a:rPr lang="en-US" sz="1800">
                <a:gradFill>
                  <a:gsLst>
                    <a:gs pos="2917">
                      <a:srgbClr val="505050"/>
                    </a:gs>
                    <a:gs pos="30000">
                      <a:srgbClr val="505050"/>
                    </a:gs>
                  </a:gsLst>
                  <a:lin ang="5400000" scaled="0"/>
                </a:gradFill>
                <a:latin typeface="Segoe UI"/>
              </a:rPr>
              <a:t>Organized</a:t>
            </a:r>
          </a:p>
          <a:p>
            <a:pPr marL="752002" lvl="2" indent="-285750"/>
            <a:r>
              <a:rPr lang="en-US" sz="1800">
                <a:gradFill>
                  <a:gsLst>
                    <a:gs pos="2917">
                      <a:srgbClr val="505050"/>
                    </a:gs>
                    <a:gs pos="30000">
                      <a:srgbClr val="505050"/>
                    </a:gs>
                  </a:gsLst>
                  <a:lin ang="5400000" scaled="0"/>
                </a:gradFill>
                <a:latin typeface="Segoe UI"/>
              </a:rPr>
              <a:t>Faster Refresh</a:t>
            </a:r>
          </a:p>
          <a:p>
            <a:pPr marL="752002" lvl="2" indent="-285750"/>
            <a:r>
              <a:rPr lang="en-US" sz="1800">
                <a:gradFill>
                  <a:gsLst>
                    <a:gs pos="2917">
                      <a:srgbClr val="505050"/>
                    </a:gs>
                    <a:gs pos="30000">
                      <a:srgbClr val="505050"/>
                    </a:gs>
                  </a:gsLst>
                  <a:lin ang="5400000" scaled="0"/>
                </a:gradFill>
                <a:latin typeface="Segoe UI"/>
              </a:rPr>
              <a:t>Consistency</a:t>
            </a:r>
          </a:p>
          <a:p>
            <a:pPr marL="752002" lvl="2" indent="-285750"/>
            <a:endParaRPr lang="en-US" sz="1800">
              <a:gradFill>
                <a:gsLst>
                  <a:gs pos="2917">
                    <a:srgbClr val="505050"/>
                  </a:gs>
                  <a:gs pos="30000">
                    <a:srgbClr val="505050"/>
                  </a:gs>
                </a:gsLst>
                <a:lin ang="5400000" scaled="0"/>
              </a:gradFill>
              <a:latin typeface="Segoe UI"/>
            </a:endParaRPr>
          </a:p>
          <a:p>
            <a:pPr marL="466251" indent="-466251">
              <a:buFont typeface="+mj-lt"/>
              <a:buAutoNum type="arabicPeriod"/>
            </a:pPr>
            <a:r>
              <a:rPr lang="en-US" sz="2448" b="1">
                <a:gradFill>
                  <a:gsLst>
                    <a:gs pos="2917">
                      <a:srgbClr val="505050"/>
                    </a:gs>
                    <a:gs pos="30000">
                      <a:srgbClr val="505050"/>
                    </a:gs>
                  </a:gsLst>
                  <a:lin ang="5400000" scaled="0"/>
                </a:gradFill>
                <a:latin typeface="Segoe UI"/>
              </a:rPr>
              <a:t>Disadvantages</a:t>
            </a:r>
          </a:p>
          <a:p>
            <a:pPr lvl="1"/>
            <a:r>
              <a:rPr lang="en-US" sz="1800">
                <a:gradFill>
                  <a:gsLst>
                    <a:gs pos="2917">
                      <a:srgbClr val="505050"/>
                    </a:gs>
                    <a:gs pos="30000">
                      <a:srgbClr val="505050"/>
                    </a:gs>
                  </a:gsLst>
                  <a:lin ang="5400000" scaled="0"/>
                </a:gradFill>
                <a:latin typeface="Segoe UI"/>
              </a:rPr>
              <a:t>Subject Matter Expert</a:t>
            </a:r>
          </a:p>
          <a:p>
            <a:pPr lvl="1"/>
            <a:r>
              <a:rPr lang="en-US" sz="1800">
                <a:gradFill>
                  <a:gsLst>
                    <a:gs pos="2917">
                      <a:srgbClr val="505050"/>
                    </a:gs>
                    <a:gs pos="30000">
                      <a:srgbClr val="505050"/>
                    </a:gs>
                  </a:gsLst>
                  <a:lin ang="5400000" scaled="0"/>
                </a:gradFill>
                <a:latin typeface="Segoe UI"/>
              </a:rPr>
              <a:t>Maintenance</a:t>
            </a:r>
          </a:p>
          <a:p>
            <a:pPr lvl="1"/>
            <a:r>
              <a:rPr lang="en-US" sz="1800">
                <a:gradFill>
                  <a:gsLst>
                    <a:gs pos="2917">
                      <a:srgbClr val="505050"/>
                    </a:gs>
                    <a:gs pos="30000">
                      <a:srgbClr val="505050"/>
                    </a:gs>
                  </a:gsLst>
                  <a:lin ang="5400000" scaled="0"/>
                </a:gradFill>
                <a:latin typeface="Segoe UI"/>
              </a:rPr>
              <a:t>Cost</a:t>
            </a:r>
          </a:p>
        </p:txBody>
      </p:sp>
      <p:sp>
        <p:nvSpPr>
          <p:cNvPr id="53" name="Star: 5 Points 52">
            <a:extLst>
              <a:ext uri="{FF2B5EF4-FFF2-40B4-BE49-F238E27FC236}">
                <a16:creationId xmlns:a16="http://schemas.microsoft.com/office/drawing/2014/main" id="{ED40AF88-37EC-45C2-996E-163050E5E480}"/>
              </a:ext>
            </a:extLst>
          </p:cNvPr>
          <p:cNvSpPr/>
          <p:nvPr/>
        </p:nvSpPr>
        <p:spPr>
          <a:xfrm>
            <a:off x="5870257" y="1468120"/>
            <a:ext cx="5918200" cy="4678311"/>
          </a:xfrm>
          <a:prstGeom prst="star5">
            <a:avLst/>
          </a:prstGeom>
          <a:solidFill>
            <a:srgbClr val="F2C811">
              <a:alpha val="74902"/>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378693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2000"/>
                                        <p:tgtEl>
                                          <p:spTgt spid="53"/>
                                        </p:tgtEl>
                                      </p:cBhvr>
                                    </p:animEffect>
                                    <p:anim calcmode="lin" valueType="num">
                                      <p:cBhvr>
                                        <p:cTn id="8" dur="2000" fill="hold"/>
                                        <p:tgtEl>
                                          <p:spTgt spid="53"/>
                                        </p:tgtEl>
                                        <p:attrNameLst>
                                          <p:attrName>ppt_x</p:attrName>
                                        </p:attrNameLst>
                                      </p:cBhvr>
                                      <p:tavLst>
                                        <p:tav tm="0">
                                          <p:val>
                                            <p:strVal val="#ppt_x"/>
                                          </p:val>
                                        </p:tav>
                                        <p:tav tm="100000">
                                          <p:val>
                                            <p:strVal val="#ppt_x"/>
                                          </p:val>
                                        </p:tav>
                                      </p:tavLst>
                                    </p:anim>
                                    <p:anim calcmode="lin" valueType="num">
                                      <p:cBhvr>
                                        <p:cTn id="9" dur="2000" fill="hold"/>
                                        <p:tgtEl>
                                          <p:spTgt spid="5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extLst>
              <p:ext uri="{D42A27DB-BD31-4B8C-83A1-F6EECF244321}">
                <p14:modId xmlns:p14="http://schemas.microsoft.com/office/powerpoint/2010/main" val="3960491385"/>
              </p:ext>
            </p:extLst>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roduct</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err="1"/>
                        <a:t>ProductPK</a:t>
                      </a:r>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r>
                        <a:rPr lang="en-US" sz="1000" err="1"/>
                        <a:t>SubcategoryName</a:t>
                      </a:r>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Snowflake Schema</a:t>
            </a:r>
            <a:endParaRPr lang="en-US" sz="4080" spc="0">
              <a:solidFill>
                <a:srgbClr val="FFC000"/>
              </a:solidFill>
            </a:endParaRP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Du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nvGraphicFramePr>
        <p:xfrm>
          <a:off x="5507695"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urchas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Invoic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graphicFrame>
        <p:nvGraphicFramePr>
          <p:cNvPr id="4" name="Table 3">
            <a:extLst>
              <a:ext uri="{FF2B5EF4-FFF2-40B4-BE49-F238E27FC236}">
                <a16:creationId xmlns:a16="http://schemas.microsoft.com/office/drawing/2014/main" id="{A1BD67C1-A60B-4492-B8E6-D3FA53D4FF1E}"/>
              </a:ext>
            </a:extLst>
          </p:cNvPr>
          <p:cNvGraphicFramePr>
            <a:graphicFrameLocks noGrp="1"/>
          </p:cNvGraphicFramePr>
          <p:nvPr>
            <p:extLst>
              <p:ext uri="{D42A27DB-BD31-4B8C-83A1-F6EECF244321}">
                <p14:modId xmlns:p14="http://schemas.microsoft.com/office/powerpoint/2010/main" val="603541604"/>
              </p:ext>
            </p:extLst>
          </p:nvPr>
        </p:nvGraphicFramePr>
        <p:xfrm>
          <a:off x="3182392" y="3254707"/>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roduct Subcategory</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Subcategory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r>
                        <a:rPr lang="en-US" sz="1000"/>
                        <a:t>SubcategoryNam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7" name="Connector: Elbow 6">
            <a:extLst>
              <a:ext uri="{FF2B5EF4-FFF2-40B4-BE49-F238E27FC236}">
                <a16:creationId xmlns:a16="http://schemas.microsoft.com/office/drawing/2014/main" id="{590E4620-1F31-431C-9E47-9DEB3178A787}"/>
              </a:ext>
            </a:extLst>
          </p:cNvPr>
          <p:cNvCxnSpPr>
            <a:cxnSpLocks/>
          </p:cNvCxnSpPr>
          <p:nvPr/>
        </p:nvCxnSpPr>
        <p:spPr>
          <a:xfrm flipV="1">
            <a:off x="4734979" y="3244243"/>
            <a:ext cx="772716" cy="647402"/>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sp>
        <p:nvSpPr>
          <p:cNvPr id="8" name="TextBox 7">
            <a:extLst>
              <a:ext uri="{FF2B5EF4-FFF2-40B4-BE49-F238E27FC236}">
                <a16:creationId xmlns:a16="http://schemas.microsoft.com/office/drawing/2014/main" id="{FC7D8826-BC51-42E3-8343-12A73A5B3481}"/>
              </a:ext>
            </a:extLst>
          </p:cNvPr>
          <p:cNvSpPr txBox="1"/>
          <p:nvPr/>
        </p:nvSpPr>
        <p:spPr>
          <a:xfrm>
            <a:off x="2168885" y="4947735"/>
            <a:ext cx="45713" cy="369285"/>
          </a:xfrm>
          <a:prstGeom prst="rect">
            <a:avLst/>
          </a:prstGeom>
          <a:noFill/>
        </p:spPr>
        <p:txBody>
          <a:bodyPr wrap="square" rtlCol="0">
            <a:spAutoFit/>
          </a:bodyPr>
          <a:lstStyle/>
          <a:p>
            <a:endParaRPr lang="en-US"/>
          </a:p>
        </p:txBody>
      </p:sp>
      <p:grpSp>
        <p:nvGrpSpPr>
          <p:cNvPr id="11" name="Group 10">
            <a:extLst>
              <a:ext uri="{FF2B5EF4-FFF2-40B4-BE49-F238E27FC236}">
                <a16:creationId xmlns:a16="http://schemas.microsoft.com/office/drawing/2014/main" id="{943EA2DE-D7B7-457A-B975-E6C2B171E66F}"/>
              </a:ext>
            </a:extLst>
          </p:cNvPr>
          <p:cNvGrpSpPr/>
          <p:nvPr/>
        </p:nvGrpSpPr>
        <p:grpSpPr>
          <a:xfrm>
            <a:off x="5469758" y="3228368"/>
            <a:ext cx="1344234" cy="246221"/>
            <a:chOff x="5469758" y="3228368"/>
            <a:chExt cx="1344234" cy="246221"/>
          </a:xfrm>
        </p:grpSpPr>
        <p:sp>
          <p:nvSpPr>
            <p:cNvPr id="10" name="Rectangle 9">
              <a:extLst>
                <a:ext uri="{FF2B5EF4-FFF2-40B4-BE49-F238E27FC236}">
                  <a16:creationId xmlns:a16="http://schemas.microsoft.com/office/drawing/2014/main" id="{048CC5C6-4F3C-476E-9FDF-3B171401BF06}"/>
                </a:ext>
              </a:extLst>
            </p:cNvPr>
            <p:cNvSpPr/>
            <p:nvPr/>
          </p:nvSpPr>
          <p:spPr>
            <a:xfrm>
              <a:off x="5529705" y="3274564"/>
              <a:ext cx="1284287" cy="200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5062AF86-4EB6-4F11-AA6D-CB9672789C45}"/>
                </a:ext>
              </a:extLst>
            </p:cNvPr>
            <p:cNvSpPr txBox="1"/>
            <p:nvPr/>
          </p:nvSpPr>
          <p:spPr>
            <a:xfrm>
              <a:off x="5469758" y="3228368"/>
              <a:ext cx="1034295" cy="246221"/>
            </a:xfrm>
            <a:prstGeom prst="rect">
              <a:avLst/>
            </a:prstGeom>
            <a:noFill/>
          </p:spPr>
          <p:txBody>
            <a:bodyPr wrap="square" rtlCol="0">
              <a:spAutoFit/>
            </a:bodyPr>
            <a:lstStyle/>
            <a:p>
              <a:r>
                <a:rPr lang="en-US" sz="1000" err="1"/>
                <a:t>SubcategoryFK</a:t>
              </a:r>
              <a:endParaRPr lang="en-US" sz="1000"/>
            </a:p>
          </p:txBody>
        </p:sp>
      </p:grpSp>
      <p:sp>
        <p:nvSpPr>
          <p:cNvPr id="12" name="Content Placeholder 2">
            <a:extLst>
              <a:ext uri="{FF2B5EF4-FFF2-40B4-BE49-F238E27FC236}">
                <a16:creationId xmlns:a16="http://schemas.microsoft.com/office/drawing/2014/main" id="{4698AD93-E68F-4119-A311-F946FE6FD5C1}"/>
              </a:ext>
            </a:extLst>
          </p:cNvPr>
          <p:cNvSpPr txBox="1">
            <a:spLocks/>
          </p:cNvSpPr>
          <p:nvPr/>
        </p:nvSpPr>
        <p:spPr>
          <a:xfrm>
            <a:off x="285456" y="1677994"/>
            <a:ext cx="3113218" cy="4678311"/>
          </a:xfrm>
          <a:prstGeom prst="rect">
            <a:avLst/>
          </a:prstGeom>
        </p:spPr>
        <p:txBody>
          <a:bodyPr vert="horz" lIns="91428" tIns="45714" rIns="91428" bIns="45714" rtlCol="0" anchor="t">
            <a:normAutofit/>
          </a:bodyPr>
          <a:lst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0" lvl="1" indent="0">
              <a:buNone/>
            </a:pPr>
            <a:r>
              <a:rPr lang="en-US" sz="2400" b="1">
                <a:gradFill>
                  <a:gsLst>
                    <a:gs pos="2917">
                      <a:srgbClr val="505050"/>
                    </a:gs>
                    <a:gs pos="30000">
                      <a:srgbClr val="505050"/>
                    </a:gs>
                  </a:gsLst>
                  <a:lin ang="5400000" scaled="0"/>
                </a:gradFill>
                <a:latin typeface="Segoe UI"/>
              </a:rPr>
              <a:t>Design decisions</a:t>
            </a:r>
          </a:p>
          <a:p>
            <a:pPr marL="342866" lvl="1" indent="-342866"/>
            <a:r>
              <a:rPr lang="en-US" sz="1800">
                <a:gradFill>
                  <a:gsLst>
                    <a:gs pos="2917">
                      <a:srgbClr val="505050"/>
                    </a:gs>
                    <a:gs pos="30000">
                      <a:srgbClr val="505050"/>
                    </a:gs>
                  </a:gsLst>
                  <a:lin ang="5400000" scaled="0"/>
                </a:gradFill>
                <a:latin typeface="Segoe UI"/>
                <a:cs typeface="Segoe UI"/>
              </a:rPr>
              <a:t>More Tables</a:t>
            </a:r>
          </a:p>
          <a:p>
            <a:pPr marL="342866" lvl="1" indent="-342866">
              <a:spcBef>
                <a:spcPts val="509"/>
              </a:spcBef>
            </a:pPr>
            <a:r>
              <a:rPr lang="en-US" sz="1800">
                <a:gradFill>
                  <a:gsLst>
                    <a:gs pos="2917">
                      <a:srgbClr val="505050"/>
                    </a:gs>
                    <a:gs pos="30000">
                      <a:srgbClr val="505050"/>
                    </a:gs>
                  </a:gsLst>
                  <a:lin ang="5400000" scaled="0"/>
                </a:gradFill>
                <a:latin typeface="Segoe UI"/>
                <a:cs typeface="Segoe UI"/>
              </a:rPr>
              <a:t>Possibly more DAX</a:t>
            </a:r>
          </a:p>
          <a:p>
            <a:pPr marL="342866" lvl="1" indent="-342866">
              <a:spcBef>
                <a:spcPts val="509"/>
              </a:spcBef>
            </a:pPr>
            <a:r>
              <a:rPr lang="en-US" sz="1800">
                <a:gradFill>
                  <a:gsLst>
                    <a:gs pos="2917">
                      <a:srgbClr val="505050"/>
                    </a:gs>
                    <a:gs pos="30000">
                      <a:srgbClr val="505050"/>
                    </a:gs>
                  </a:gsLst>
                  <a:lin ang="5400000" scaled="0"/>
                </a:gradFill>
                <a:latin typeface="Segoe UI"/>
                <a:cs typeface="Segoe UI"/>
              </a:rPr>
              <a:t>Relationship size</a:t>
            </a:r>
          </a:p>
          <a:p>
            <a:pPr marL="342866" lvl="1" indent="-342866">
              <a:spcBef>
                <a:spcPts val="509"/>
              </a:spcBef>
            </a:pPr>
            <a:r>
              <a:rPr lang="en-US" sz="1800">
                <a:gradFill>
                  <a:gsLst>
                    <a:gs pos="2917">
                      <a:srgbClr val="505050"/>
                    </a:gs>
                    <a:gs pos="30000">
                      <a:srgbClr val="505050"/>
                    </a:gs>
                  </a:gsLst>
                  <a:lin ang="5400000" scaled="0"/>
                </a:gradFill>
                <a:latin typeface="Segoe UI"/>
                <a:cs typeface="Segoe UI"/>
              </a:rPr>
              <a:t>Possible query performance</a:t>
            </a:r>
          </a:p>
          <a:p>
            <a:pPr marL="342866" lvl="1" indent="-342866">
              <a:spcBef>
                <a:spcPts val="509"/>
              </a:spcBef>
            </a:pPr>
            <a:endParaRPr lang="en-US" sz="2200">
              <a:gradFill>
                <a:gsLst>
                  <a:gs pos="2917">
                    <a:srgbClr val="505050"/>
                  </a:gs>
                  <a:gs pos="30000">
                    <a:srgbClr val="505050"/>
                  </a:gs>
                </a:gsLst>
                <a:lin ang="5400000" scaled="0"/>
              </a:gradFill>
              <a:latin typeface="Segoe UI"/>
              <a:cs typeface="Segoe UI"/>
            </a:endParaRPr>
          </a:p>
        </p:txBody>
      </p:sp>
    </p:spTree>
    <p:extLst>
      <p:ext uri="{BB962C8B-B14F-4D97-AF65-F5344CB8AC3E}">
        <p14:creationId xmlns:p14="http://schemas.microsoft.com/office/powerpoint/2010/main" val="7129415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1000"/>
                                        <p:tgtEl>
                                          <p:spTgt spid="7"/>
                                        </p:tgtEl>
                                      </p:cBhvr>
                                    </p:animEffect>
                                    <p:anim calcmode="lin" valueType="num">
                                      <p:cBhvr>
                                        <p:cTn id="13" dur="1000" fill="hold"/>
                                        <p:tgtEl>
                                          <p:spTgt spid="7"/>
                                        </p:tgtEl>
                                        <p:attrNameLst>
                                          <p:attrName>ppt_x</p:attrName>
                                        </p:attrNameLst>
                                      </p:cBhvr>
                                      <p:tavLst>
                                        <p:tav tm="0">
                                          <p:val>
                                            <p:strVal val="#ppt_x"/>
                                          </p:val>
                                        </p:tav>
                                        <p:tav tm="100000">
                                          <p:val>
                                            <p:strVal val="#ppt_x"/>
                                          </p:val>
                                        </p:tav>
                                      </p:tavLst>
                                    </p:anim>
                                    <p:anim calcmode="lin" valueType="num">
                                      <p:cBhvr>
                                        <p:cTn id="14" dur="1000" fill="hold"/>
                                        <p:tgtEl>
                                          <p:spTgt spid="7"/>
                                        </p:tgtEl>
                                        <p:attrNameLst>
                                          <p:attrName>ppt_y</p:attrName>
                                        </p:attrNameLst>
                                      </p:cBhvr>
                                      <p:tavLst>
                                        <p:tav tm="0">
                                          <p:val>
                                            <p:strVal val="#ppt_y+.1"/>
                                          </p:val>
                                        </p:tav>
                                        <p:tav tm="100000">
                                          <p:val>
                                            <p:strVal val="#ppt_y"/>
                                          </p:val>
                                        </p:tav>
                                      </p:tavLst>
                                    </p:anim>
                                  </p:childTnLst>
                                </p:cTn>
                              </p:par>
                              <p:par>
                                <p:cTn id="15" presetID="10" presetClass="entr" presetSubtype="0" fill="hold" nodeType="with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extLst>
              <p:ext uri="{D42A27DB-BD31-4B8C-83A1-F6EECF244321}">
                <p14:modId xmlns:p14="http://schemas.microsoft.com/office/powerpoint/2010/main" val="1809716726"/>
              </p:ext>
            </p:extLst>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Ship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Role-Playing Dimensions</a:t>
            </a: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extLst>
              <p:ext uri="{D42A27DB-BD31-4B8C-83A1-F6EECF244321}">
                <p14:modId xmlns:p14="http://schemas.microsoft.com/office/powerpoint/2010/main" val="2747566219"/>
              </p:ext>
            </p:extLst>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Du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extLst>
              <p:ext uri="{D42A27DB-BD31-4B8C-83A1-F6EECF244321}">
                <p14:modId xmlns:p14="http://schemas.microsoft.com/office/powerpoint/2010/main" val="2581133537"/>
              </p:ext>
            </p:extLst>
          </p:nvPr>
        </p:nvGraphicFramePr>
        <p:xfrm>
          <a:off x="5507695"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urchas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extLst>
              <p:ext uri="{D42A27DB-BD31-4B8C-83A1-F6EECF244321}">
                <p14:modId xmlns:p14="http://schemas.microsoft.com/office/powerpoint/2010/main" val="1446611177"/>
              </p:ext>
            </p:extLst>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Invoic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14" name="Table 13">
            <a:extLst>
              <a:ext uri="{FF2B5EF4-FFF2-40B4-BE49-F238E27FC236}">
                <a16:creationId xmlns:a16="http://schemas.microsoft.com/office/drawing/2014/main" id="{80D24E41-6274-4E10-9874-557FA4AC1449}"/>
              </a:ext>
            </a:extLst>
          </p:cNvPr>
          <p:cNvGraphicFramePr>
            <a:graphicFrameLocks noGrp="1"/>
          </p:cNvGraphicFramePr>
          <p:nvPr>
            <p:extLst>
              <p:ext uri="{D42A27DB-BD31-4B8C-83A1-F6EECF244321}">
                <p14:modId xmlns:p14="http://schemas.microsoft.com/office/powerpoint/2010/main" val="2438549675"/>
              </p:ext>
            </p:extLst>
          </p:nvPr>
        </p:nvGraphicFramePr>
        <p:xfrm>
          <a:off x="8054256" y="1378237"/>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Order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50" name="Straight Arrow Connector 49">
            <a:extLst>
              <a:ext uri="{FF2B5EF4-FFF2-40B4-BE49-F238E27FC236}">
                <a16:creationId xmlns:a16="http://schemas.microsoft.com/office/drawing/2014/main" id="{5CDFAB84-1541-4EE9-BF04-213E61BC4EF7}"/>
              </a:ext>
            </a:extLst>
          </p:cNvPr>
          <p:cNvCxnSpPr>
            <a:endCxn id="5" idx="0"/>
          </p:cNvCxnSpPr>
          <p:nvPr/>
        </p:nvCxnSpPr>
        <p:spPr>
          <a:xfrm flipH="1">
            <a:off x="8829177" y="2673041"/>
            <a:ext cx="180" cy="36135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85456" y="1677994"/>
            <a:ext cx="3113218" cy="4678311"/>
          </a:xfrm>
        </p:spPr>
        <p:txBody>
          <a:bodyPr vert="horz" lIns="91428" tIns="45714" rIns="91428" bIns="45714" rtlCol="0" anchor="t">
            <a:normAutofit/>
          </a:bodyPr>
          <a:lstStyle/>
          <a:p>
            <a:pPr marL="0" lvl="1" indent="0">
              <a:buNone/>
            </a:pPr>
            <a:r>
              <a:rPr lang="en-US" sz="2400" b="1">
                <a:gradFill>
                  <a:gsLst>
                    <a:gs pos="2917">
                      <a:srgbClr val="505050"/>
                    </a:gs>
                    <a:gs pos="30000">
                      <a:srgbClr val="505050"/>
                    </a:gs>
                  </a:gsLst>
                  <a:lin ang="5400000" scaled="0"/>
                </a:gradFill>
                <a:latin typeface="Segoe UI"/>
              </a:rPr>
              <a:t>Design decisions</a:t>
            </a:r>
          </a:p>
          <a:p>
            <a:pPr marL="342866" lvl="1" indent="-342866"/>
            <a:r>
              <a:rPr lang="en-US" sz="1800">
                <a:gradFill>
                  <a:gsLst>
                    <a:gs pos="2917">
                      <a:srgbClr val="505050"/>
                    </a:gs>
                    <a:gs pos="30000">
                      <a:srgbClr val="505050"/>
                    </a:gs>
                  </a:gsLst>
                  <a:lin ang="5400000" scaled="0"/>
                </a:gradFill>
                <a:latin typeface="Segoe UI"/>
                <a:cs typeface="Segoe UI"/>
              </a:rPr>
              <a:t>Multiple Tables</a:t>
            </a:r>
          </a:p>
          <a:p>
            <a:pPr marL="342866" lvl="1" indent="-342866"/>
            <a:r>
              <a:rPr lang="en-US" sz="1800">
                <a:gradFill>
                  <a:gsLst>
                    <a:gs pos="2917">
                      <a:srgbClr val="505050"/>
                    </a:gs>
                    <a:gs pos="30000">
                      <a:srgbClr val="505050"/>
                    </a:gs>
                  </a:gsLst>
                  <a:lin ang="5400000" scaled="0"/>
                </a:gradFill>
                <a:latin typeface="Segoe UI"/>
                <a:cs typeface="Segoe UI"/>
              </a:rPr>
              <a:t>Single-Table</a:t>
            </a:r>
          </a:p>
          <a:p>
            <a:pPr marL="342866" lvl="1" indent="-342866"/>
            <a:r>
              <a:rPr lang="en-US" sz="1800" err="1">
                <a:gradFill>
                  <a:gsLst>
                    <a:gs pos="2917">
                      <a:srgbClr val="505050"/>
                    </a:gs>
                    <a:gs pos="30000">
                      <a:srgbClr val="505050"/>
                    </a:gs>
                  </a:gsLst>
                  <a:lin ang="5400000" scaled="0"/>
                </a:gradFill>
                <a:latin typeface="Segoe UI"/>
                <a:cs typeface="Segoe UI"/>
              </a:rPr>
              <a:t>UseRelationship</a:t>
            </a:r>
            <a:r>
              <a:rPr lang="en-US" sz="1800">
                <a:gradFill>
                  <a:gsLst>
                    <a:gs pos="2917">
                      <a:srgbClr val="505050"/>
                    </a:gs>
                    <a:gs pos="30000">
                      <a:srgbClr val="505050"/>
                    </a:gs>
                  </a:gsLst>
                  <a:lin ang="5400000" scaled="0"/>
                </a:gradFill>
                <a:latin typeface="Segoe UI"/>
                <a:cs typeface="Segoe UI"/>
              </a:rPr>
              <a:t>()</a:t>
            </a:r>
          </a:p>
        </p:txBody>
      </p:sp>
    </p:spTree>
    <p:extLst>
      <p:ext uri="{BB962C8B-B14F-4D97-AF65-F5344CB8AC3E}">
        <p14:creationId xmlns:p14="http://schemas.microsoft.com/office/powerpoint/2010/main" val="284152101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C503A381-976D-4E10-8FCC-D124293998D0}"/>
              </a:ext>
            </a:extLst>
          </p:cNvPr>
          <p:cNvSpPr txBox="1">
            <a:spLocks/>
          </p:cNvSpPr>
          <p:nvPr/>
        </p:nvSpPr>
        <p:spPr>
          <a:xfrm>
            <a:off x="275142" y="1631427"/>
            <a:ext cx="3586393" cy="4678311"/>
          </a:xfrm>
          <a:prstGeom prst="rect">
            <a:avLst/>
          </a:prstGeom>
        </p:spPr>
        <p:txBody>
          <a:bodyPr vert="horz" lIns="91428" tIns="45714" rIns="91428" bIns="45714" rtlCol="0" anchor="t">
            <a:normAutofit/>
          </a:bodyPr>
          <a:lst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466043" indent="-466043">
              <a:buFont typeface="+mj-lt"/>
              <a:buAutoNum type="arabicPeriod"/>
            </a:pPr>
            <a:r>
              <a:rPr lang="en-US" sz="2400" b="1">
                <a:gradFill>
                  <a:gsLst>
                    <a:gs pos="2917">
                      <a:srgbClr val="505050"/>
                    </a:gs>
                    <a:gs pos="30000">
                      <a:srgbClr val="505050"/>
                    </a:gs>
                  </a:gsLst>
                  <a:lin ang="5400000" scaled="0"/>
                </a:gradFill>
                <a:latin typeface="Segoe UI"/>
              </a:rPr>
              <a:t>Advantages</a:t>
            </a:r>
            <a:endParaRPr lang="en-US" sz="2400"/>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Endorsement</a:t>
            </a:r>
          </a:p>
          <a:p>
            <a:pPr marL="1165108" lvl="2" indent="0">
              <a:spcBef>
                <a:spcPts val="509"/>
              </a:spcBef>
            </a:pPr>
            <a:r>
              <a:rPr lang="en-US" sz="1400">
                <a:gradFill>
                  <a:gsLst>
                    <a:gs pos="2917">
                      <a:srgbClr val="505050"/>
                    </a:gs>
                    <a:gs pos="30000">
                      <a:srgbClr val="505050"/>
                    </a:gs>
                  </a:gsLst>
                  <a:lin ang="5400000" scaled="0"/>
                </a:gradFill>
                <a:latin typeface="Segoe UI"/>
                <a:cs typeface="Segoe UI"/>
              </a:rPr>
              <a:t> Promotion</a:t>
            </a:r>
          </a:p>
          <a:p>
            <a:pPr marL="1165108" lvl="2" indent="0">
              <a:spcBef>
                <a:spcPts val="509"/>
              </a:spcBef>
            </a:pPr>
            <a:r>
              <a:rPr lang="en-US" sz="1400">
                <a:gradFill>
                  <a:gsLst>
                    <a:gs pos="2917">
                      <a:srgbClr val="505050"/>
                    </a:gs>
                    <a:gs pos="30000">
                      <a:srgbClr val="505050"/>
                    </a:gs>
                  </a:gsLst>
                  <a:lin ang="5400000" scaled="0"/>
                </a:gradFill>
                <a:latin typeface="Segoe UI"/>
                <a:cs typeface="Segoe UI"/>
              </a:rPr>
              <a:t> Certification</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Consistency</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Extensible</a:t>
            </a:r>
          </a:p>
          <a:p>
            <a:pPr marL="699065" lvl="1" indent="-233022"/>
            <a:endParaRPr lang="en-US" sz="1800">
              <a:gradFill>
                <a:gsLst>
                  <a:gs pos="2917">
                    <a:srgbClr val="505050"/>
                  </a:gs>
                  <a:gs pos="30000">
                    <a:srgbClr val="505050"/>
                  </a:gs>
                </a:gsLst>
                <a:lin ang="5400000" scaled="0"/>
              </a:gradFill>
              <a:latin typeface="Segoe UI"/>
              <a:cs typeface="Segoe UI"/>
            </a:endParaRPr>
          </a:p>
          <a:p>
            <a:pPr marL="466043" indent="-466043">
              <a:buFont typeface="+mj-lt"/>
              <a:buAutoNum type="arabicPeriod"/>
            </a:pPr>
            <a:r>
              <a:rPr lang="en-US" sz="2400" b="1">
                <a:gradFill>
                  <a:gsLst>
                    <a:gs pos="2917">
                      <a:srgbClr val="505050"/>
                    </a:gs>
                    <a:gs pos="30000">
                      <a:srgbClr val="505050"/>
                    </a:gs>
                  </a:gsLst>
                  <a:lin ang="5400000" scaled="0"/>
                </a:gradFill>
                <a:latin typeface="Segoe UI"/>
              </a:rPr>
              <a:t>Disadvantages</a:t>
            </a:r>
            <a:endParaRPr lang="en-US" sz="2400" b="1">
              <a:gradFill>
                <a:gsLst>
                  <a:gs pos="2917">
                    <a:srgbClr val="505050"/>
                  </a:gs>
                  <a:gs pos="30000">
                    <a:srgbClr val="505050"/>
                  </a:gs>
                </a:gsLst>
                <a:lin ang="5400000" scaled="0"/>
              </a:gradFill>
              <a:latin typeface="Segoe UI"/>
              <a:cs typeface="Segoe UI"/>
            </a:endParaRP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Maintenanc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Disciplin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Complication</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Scalability</a:t>
            </a:r>
          </a:p>
        </p:txBody>
      </p:sp>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roduct</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err="1"/>
                        <a:t>ProductPK</a:t>
                      </a:r>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r>
                        <a:rPr lang="en-US" sz="1000" err="1"/>
                        <a:t>SubcategoryName</a:t>
                      </a:r>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One Dataset to Rule them ALL</a:t>
            </a: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Du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nvGraphicFramePr>
        <p:xfrm>
          <a:off x="5507695"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urchas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Invoic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4964694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DC46E5D-9B30-2D64-58BE-D8C91B06BAB2}"/>
              </a:ext>
            </a:extLst>
          </p:cNvPr>
          <p:cNvPicPr>
            <a:picLocks noChangeAspect="1"/>
          </p:cNvPicPr>
          <p:nvPr/>
        </p:nvPicPr>
        <p:blipFill rotWithShape="1">
          <a:blip r:embed="rId4"/>
          <a:srcRect l="15447" t="49743" r="11383"/>
          <a:stretch/>
        </p:blipFill>
        <p:spPr>
          <a:xfrm>
            <a:off x="-12731" y="-47772"/>
            <a:ext cx="12519638" cy="7042296"/>
          </a:xfrm>
          <a:prstGeom prst="rect">
            <a:avLst/>
          </a:prstGeom>
        </p:spPr>
      </p:pic>
      <p:sp>
        <p:nvSpPr>
          <p:cNvPr id="2" name="Title 1">
            <a:extLst>
              <a:ext uri="{FF2B5EF4-FFF2-40B4-BE49-F238E27FC236}">
                <a16:creationId xmlns:a16="http://schemas.microsoft.com/office/drawing/2014/main" id="{F5541AC8-D361-78EB-67B1-99455110EF14}"/>
              </a:ext>
            </a:extLst>
          </p:cNvPr>
          <p:cNvSpPr>
            <a:spLocks noGrp="1"/>
          </p:cNvSpPr>
          <p:nvPr>
            <p:ph type="title"/>
          </p:nvPr>
        </p:nvSpPr>
        <p:spPr>
          <a:xfrm>
            <a:off x="725447" y="427444"/>
            <a:ext cx="11191240" cy="585994"/>
          </a:xfrm>
        </p:spPr>
        <p:txBody>
          <a:bodyPr/>
          <a:lstStyle/>
          <a:p>
            <a:r>
              <a:rPr lang="en-US" u="sng">
                <a:solidFill>
                  <a:srgbClr val="882483"/>
                </a:solidFill>
              </a:rPr>
              <a:t>Session Feedback Surveys</a:t>
            </a:r>
            <a:endParaRPr lang="en-US">
              <a:solidFill>
                <a:srgbClr val="882483"/>
              </a:solidFill>
            </a:endParaRPr>
          </a:p>
        </p:txBody>
      </p:sp>
      <p:sp>
        <p:nvSpPr>
          <p:cNvPr id="3" name="Text Placeholder 2">
            <a:extLst>
              <a:ext uri="{FF2B5EF4-FFF2-40B4-BE49-F238E27FC236}">
                <a16:creationId xmlns:a16="http://schemas.microsoft.com/office/drawing/2014/main" id="{46403AEF-0FC4-1DC9-2277-CD8177962343}"/>
              </a:ext>
            </a:extLst>
          </p:cNvPr>
          <p:cNvSpPr>
            <a:spLocks noGrp="1"/>
          </p:cNvSpPr>
          <p:nvPr>
            <p:ph type="body" idx="1"/>
          </p:nvPr>
        </p:nvSpPr>
        <p:spPr>
          <a:xfrm>
            <a:off x="3626879" y="1321188"/>
            <a:ext cx="8393430" cy="5001369"/>
          </a:xfrm>
        </p:spPr>
        <p:txBody>
          <a:bodyPr/>
          <a:lstStyle/>
          <a:p>
            <a:pPr marL="0" indent="0">
              <a:buNone/>
            </a:pPr>
            <a:r>
              <a:rPr lang="en-US" sz="2108" b="0" i="1"/>
              <a:t>In the pursuit of making next year’s Microsoft Power Platform Conference even better, we really want to hear your feedback about this session.</a:t>
            </a:r>
            <a:endParaRPr lang="en-US" sz="2108" b="0"/>
          </a:p>
          <a:p>
            <a:pPr marL="0" indent="0">
              <a:buNone/>
            </a:pPr>
            <a:endParaRPr lang="en-US" sz="2176" b="0"/>
          </a:p>
          <a:p>
            <a:pPr marL="0" indent="0">
              <a:buNone/>
            </a:pPr>
            <a:r>
              <a:rPr lang="en-US" sz="2176" i="1"/>
              <a:t>Here’s How -</a:t>
            </a:r>
            <a:endParaRPr lang="en-US" sz="2176"/>
          </a:p>
          <a:p>
            <a:r>
              <a:rPr lang="en-US" sz="2176" b="0" i="1"/>
              <a:t>Simply go to the Whova App on your smartphone</a:t>
            </a:r>
          </a:p>
          <a:p>
            <a:r>
              <a:rPr lang="en-US" sz="2176" b="0" i="1"/>
              <a:t>Go to the Microsoft Power Platform Conference event</a:t>
            </a:r>
            <a:endParaRPr lang="en-US" sz="2176" b="0"/>
          </a:p>
          <a:p>
            <a:r>
              <a:rPr lang="en-US" sz="2176" b="0" i="1"/>
              <a:t>Scroll down on the homepage to ‘Additional Resources’ and click ‘Surveys’.</a:t>
            </a:r>
            <a:endParaRPr lang="en-US" sz="2176" b="0"/>
          </a:p>
          <a:p>
            <a:r>
              <a:rPr lang="en-US" sz="2176" b="0" i="1"/>
              <a:t>Click ‘Session Feedback’.</a:t>
            </a:r>
            <a:endParaRPr lang="en-US" sz="2176" b="0"/>
          </a:p>
          <a:p>
            <a:r>
              <a:rPr lang="en-US" sz="2176" b="0" i="1"/>
              <a:t>Scroll down to click on this session title.</a:t>
            </a:r>
            <a:endParaRPr lang="en-US" sz="2176" b="0"/>
          </a:p>
          <a:p>
            <a:r>
              <a:rPr lang="en-US" sz="2176" b="0" i="1"/>
              <a:t>Complete the session feedback survey.</a:t>
            </a:r>
            <a:endParaRPr lang="en-US" sz="2176" b="0"/>
          </a:p>
          <a:p>
            <a:r>
              <a:rPr lang="en-US" sz="2176" b="0" i="1"/>
              <a:t>Finally, click ‘Submit’</a:t>
            </a:r>
            <a:endParaRPr lang="en-US" sz="2176" b="0"/>
          </a:p>
          <a:p>
            <a:endParaRPr lang="en-US" sz="2176"/>
          </a:p>
        </p:txBody>
      </p:sp>
      <p:pic>
        <p:nvPicPr>
          <p:cNvPr id="4" name="Final Whova App Screen Capture">
            <a:hlinkClick r:id="" action="ppaction://media"/>
            <a:extLst>
              <a:ext uri="{FF2B5EF4-FFF2-40B4-BE49-F238E27FC236}">
                <a16:creationId xmlns:a16="http://schemas.microsoft.com/office/drawing/2014/main" id="{0F270B6D-EA55-7BAD-D42B-DF459CA1A8CE}"/>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725447" y="558377"/>
            <a:ext cx="2697273" cy="5829995"/>
          </a:xfrm>
          <a:prstGeom prst="rect">
            <a:avLst/>
          </a:prstGeom>
        </p:spPr>
      </p:pic>
    </p:spTree>
    <p:extLst>
      <p:ext uri="{BB962C8B-B14F-4D97-AF65-F5344CB8AC3E}">
        <p14:creationId xmlns:p14="http://schemas.microsoft.com/office/powerpoint/2010/main" val="35868992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4293"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Semantic">
            <a:extLst>
              <a:ext uri="{FF2B5EF4-FFF2-40B4-BE49-F238E27FC236}">
                <a16:creationId xmlns:a16="http://schemas.microsoft.com/office/drawing/2014/main" id="{EB302695-E019-46FD-A94B-B1E37944724D}"/>
              </a:ext>
              <a:ext uri="{C183D7F6-B498-43B3-948B-1728B52AA6E4}">
                <adec:decorative xmlns:adec="http://schemas.microsoft.com/office/drawing/2017/decorative" val="1"/>
              </a:ext>
            </a:extLst>
          </p:cNvPr>
          <p:cNvGrpSpPr/>
          <p:nvPr/>
        </p:nvGrpSpPr>
        <p:grpSpPr>
          <a:xfrm>
            <a:off x="3416323" y="2979591"/>
            <a:ext cx="2340535" cy="2338613"/>
            <a:chOff x="6572327" y="3183010"/>
            <a:chExt cx="2295144" cy="2293259"/>
          </a:xfrm>
        </p:grpSpPr>
        <p:sp>
          <p:nvSpPr>
            <p:cNvPr id="29" name="Oval 28">
              <a:extLst>
                <a:ext uri="{FF2B5EF4-FFF2-40B4-BE49-F238E27FC236}">
                  <a16:creationId xmlns:a16="http://schemas.microsoft.com/office/drawing/2014/main" id="{3C138CE8-E81F-4555-871D-DFECCDCF7278}"/>
                </a:ext>
              </a:extLst>
            </p:cNvPr>
            <p:cNvSpPr/>
            <p:nvPr/>
          </p:nvSpPr>
          <p:spPr bwMode="auto">
            <a:xfrm>
              <a:off x="6572327" y="3183010"/>
              <a:ext cx="2295144" cy="2293259"/>
            </a:xfrm>
            <a:prstGeom prst="ellipse">
              <a:avLst/>
            </a:prstGeom>
            <a:solidFill>
              <a:schemeClr val="bg1">
                <a:lumMod val="85000"/>
                <a:lumOff val="15000"/>
                <a:alpha val="25000"/>
              </a:schemeClr>
            </a:solidFill>
            <a:ln w="25400">
              <a:solidFill>
                <a:srgbClr val="BB6100"/>
              </a:solidFill>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836" kern="0">
                <a:solidFill>
                  <a:srgbClr val="FFC000"/>
                </a:solidFill>
                <a:latin typeface="Segoe UI"/>
                <a:ea typeface="Segoe UI" pitchFamily="34" charset="0"/>
                <a:cs typeface="Segoe UI" pitchFamily="34" charset="0"/>
              </a:endParaRPr>
            </a:p>
          </p:txBody>
        </p:sp>
        <p:sp>
          <p:nvSpPr>
            <p:cNvPr id="30" name="TextBox 29">
              <a:extLst>
                <a:ext uri="{FF2B5EF4-FFF2-40B4-BE49-F238E27FC236}">
                  <a16:creationId xmlns:a16="http://schemas.microsoft.com/office/drawing/2014/main" id="{94559AB9-1955-4BEE-B7A7-DBEC76684186}"/>
                </a:ext>
              </a:extLst>
            </p:cNvPr>
            <p:cNvSpPr txBox="1"/>
            <p:nvPr/>
          </p:nvSpPr>
          <p:spPr>
            <a:xfrm>
              <a:off x="7471170" y="3572885"/>
              <a:ext cx="480816" cy="127151"/>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Security</a:t>
              </a:r>
            </a:p>
          </p:txBody>
        </p:sp>
        <p:sp>
          <p:nvSpPr>
            <p:cNvPr id="31" name="Lock" title="Icon of a padlock">
              <a:extLst>
                <a:ext uri="{FF2B5EF4-FFF2-40B4-BE49-F238E27FC236}">
                  <a16:creationId xmlns:a16="http://schemas.microsoft.com/office/drawing/2014/main" id="{FD2BA6B7-A0A9-41E1-8682-76976A1C37A7}"/>
                </a:ext>
              </a:extLst>
            </p:cNvPr>
            <p:cNvSpPr>
              <a:spLocks noChangeAspect="1" noEditPoints="1"/>
            </p:cNvSpPr>
            <p:nvPr/>
          </p:nvSpPr>
          <p:spPr bwMode="auto">
            <a:xfrm>
              <a:off x="7641228" y="3257715"/>
              <a:ext cx="140699" cy="196648"/>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1224">
                <a:solidFill>
                  <a:srgbClr val="FFC000"/>
                </a:solidFill>
                <a:latin typeface="Segoe UI"/>
              </a:endParaRPr>
            </a:p>
          </p:txBody>
        </p:sp>
        <p:grpSp>
          <p:nvGrpSpPr>
            <p:cNvPr id="32" name="Group 31">
              <a:extLst>
                <a:ext uri="{FF2B5EF4-FFF2-40B4-BE49-F238E27FC236}">
                  <a16:creationId xmlns:a16="http://schemas.microsoft.com/office/drawing/2014/main" id="{F8724F15-73AE-4852-8D68-0F153EE36462}"/>
                </a:ext>
              </a:extLst>
            </p:cNvPr>
            <p:cNvGrpSpPr/>
            <p:nvPr/>
          </p:nvGrpSpPr>
          <p:grpSpPr>
            <a:xfrm>
              <a:off x="6620322" y="4082283"/>
              <a:ext cx="582923" cy="521167"/>
              <a:chOff x="7218611" y="3194265"/>
              <a:chExt cx="815691" cy="729277"/>
            </a:xfrm>
          </p:grpSpPr>
          <p:sp>
            <p:nvSpPr>
              <p:cNvPr id="48" name="TextBox 47">
                <a:extLst>
                  <a:ext uri="{FF2B5EF4-FFF2-40B4-BE49-F238E27FC236}">
                    <a16:creationId xmlns:a16="http://schemas.microsoft.com/office/drawing/2014/main" id="{34A3F998-459E-4E08-B8A0-5802CEBFB96B}"/>
                  </a:ext>
                </a:extLst>
              </p:cNvPr>
              <p:cNvSpPr txBox="1"/>
              <p:nvPr/>
            </p:nvSpPr>
            <p:spPr>
              <a:xfrm>
                <a:off x="7218611" y="3574642"/>
                <a:ext cx="815691" cy="348900"/>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In-memory</a:t>
                </a:r>
                <a:br>
                  <a:rPr lang="en-US" sz="918" kern="0">
                    <a:solidFill>
                      <a:srgbClr val="FFC000"/>
                    </a:solidFill>
                    <a:latin typeface="Segoe UI Semibold"/>
                  </a:rPr>
                </a:br>
                <a:r>
                  <a:rPr lang="en-US" sz="918" kern="0">
                    <a:solidFill>
                      <a:srgbClr val="FFC000"/>
                    </a:solidFill>
                    <a:latin typeface="Segoe UI Semibold"/>
                  </a:rPr>
                  <a:t>cache</a:t>
                </a:r>
              </a:p>
            </p:txBody>
          </p:sp>
          <p:sp>
            <p:nvSpPr>
              <p:cNvPr id="49" name="LightningBolt_E945" title="Icon of a lightning bolt">
                <a:extLst>
                  <a:ext uri="{FF2B5EF4-FFF2-40B4-BE49-F238E27FC236}">
                    <a16:creationId xmlns:a16="http://schemas.microsoft.com/office/drawing/2014/main" id="{3663CD7F-BED1-40FD-8470-7A957A68F9FA}"/>
                  </a:ext>
                </a:extLst>
              </p:cNvPr>
              <p:cNvSpPr>
                <a:spLocks noChangeAspect="1"/>
              </p:cNvSpPr>
              <p:nvPr/>
            </p:nvSpPr>
            <p:spPr bwMode="auto">
              <a:xfrm>
                <a:off x="7532797" y="3194265"/>
                <a:ext cx="187318" cy="261396"/>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nvGrpSpPr>
            <p:cNvPr id="33" name="Group 32">
              <a:extLst>
                <a:ext uri="{FF2B5EF4-FFF2-40B4-BE49-F238E27FC236}">
                  <a16:creationId xmlns:a16="http://schemas.microsoft.com/office/drawing/2014/main" id="{07AD2B04-DBCF-4D5D-9C19-00F1922DCBD8}"/>
                </a:ext>
              </a:extLst>
            </p:cNvPr>
            <p:cNvGrpSpPr/>
            <p:nvPr/>
          </p:nvGrpSpPr>
          <p:grpSpPr>
            <a:xfrm>
              <a:off x="8207656" y="4090714"/>
              <a:ext cx="580744" cy="636419"/>
              <a:chOff x="8816823" y="4278622"/>
              <a:chExt cx="812645" cy="890555"/>
            </a:xfrm>
          </p:grpSpPr>
          <p:sp>
            <p:nvSpPr>
              <p:cNvPr id="40" name="TextBox 39">
                <a:extLst>
                  <a:ext uri="{FF2B5EF4-FFF2-40B4-BE49-F238E27FC236}">
                    <a16:creationId xmlns:a16="http://schemas.microsoft.com/office/drawing/2014/main" id="{C1F7312C-E6F1-433F-9B32-A10D05CAFAD7}"/>
                  </a:ext>
                </a:extLst>
              </p:cNvPr>
              <p:cNvSpPr txBox="1"/>
              <p:nvPr/>
            </p:nvSpPr>
            <p:spPr>
              <a:xfrm>
                <a:off x="8816823" y="4635404"/>
                <a:ext cx="812645" cy="533773"/>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Business logic</a:t>
                </a:r>
                <a:br>
                  <a:rPr lang="en-US" sz="918" kern="0">
                    <a:solidFill>
                      <a:srgbClr val="FFC000"/>
                    </a:solidFill>
                    <a:latin typeface="Segoe UI Semibold"/>
                  </a:rPr>
                </a:br>
                <a:r>
                  <a:rPr lang="en-US" sz="918" kern="0">
                    <a:solidFill>
                      <a:srgbClr val="FFC000"/>
                    </a:solidFill>
                    <a:latin typeface="Segoe UI Semibold"/>
                  </a:rPr>
                  <a:t>&amp; metrics</a:t>
                </a:r>
              </a:p>
            </p:txBody>
          </p:sp>
          <p:grpSp>
            <p:nvGrpSpPr>
              <p:cNvPr id="41" name="Group 40">
                <a:extLst>
                  <a:ext uri="{FF2B5EF4-FFF2-40B4-BE49-F238E27FC236}">
                    <a16:creationId xmlns:a16="http://schemas.microsoft.com/office/drawing/2014/main" id="{186173C5-85BE-484A-B1E8-C1FFA5855A6B}"/>
                  </a:ext>
                </a:extLst>
              </p:cNvPr>
              <p:cNvGrpSpPr/>
              <p:nvPr/>
            </p:nvGrpSpPr>
            <p:grpSpPr>
              <a:xfrm>
                <a:off x="9043250" y="4278622"/>
                <a:ext cx="359775" cy="287564"/>
                <a:chOff x="2533804" y="3717460"/>
                <a:chExt cx="655892" cy="524250"/>
              </a:xfrm>
            </p:grpSpPr>
            <p:grpSp>
              <p:nvGrpSpPr>
                <p:cNvPr id="42" name="Group 41">
                  <a:extLst>
                    <a:ext uri="{FF2B5EF4-FFF2-40B4-BE49-F238E27FC236}">
                      <a16:creationId xmlns:a16="http://schemas.microsoft.com/office/drawing/2014/main" id="{8B734E9A-EC14-4E2B-8F67-28C92E245897}"/>
                    </a:ext>
                  </a:extLst>
                </p:cNvPr>
                <p:cNvGrpSpPr/>
                <p:nvPr/>
              </p:nvGrpSpPr>
              <p:grpSpPr>
                <a:xfrm>
                  <a:off x="2533804" y="3878938"/>
                  <a:ext cx="351435" cy="362772"/>
                  <a:chOff x="6979556" y="4967290"/>
                  <a:chExt cx="295275" cy="304800"/>
                </a:xfrm>
              </p:grpSpPr>
              <p:sp>
                <p:nvSpPr>
                  <p:cNvPr id="46" name="Freeform: Shape 45">
                    <a:extLst>
                      <a:ext uri="{FF2B5EF4-FFF2-40B4-BE49-F238E27FC236}">
                        <a16:creationId xmlns:a16="http://schemas.microsoft.com/office/drawing/2014/main" id="{BCF23C08-8401-4084-A7B6-CBDC529B377D}"/>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sp>
                <p:nvSpPr>
                  <p:cNvPr id="47" name="Freeform: Shape 46">
                    <a:extLst>
                      <a:ext uri="{FF2B5EF4-FFF2-40B4-BE49-F238E27FC236}">
                        <a16:creationId xmlns:a16="http://schemas.microsoft.com/office/drawing/2014/main" id="{4ED93E01-FC0E-4D43-BA99-1FA8266D84C7}"/>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nvGrpSpPr>
                <p:cNvPr id="43" name="Group 42">
                  <a:extLst>
                    <a:ext uri="{FF2B5EF4-FFF2-40B4-BE49-F238E27FC236}">
                      <a16:creationId xmlns:a16="http://schemas.microsoft.com/office/drawing/2014/main" id="{F8A61B59-7561-41DC-B7E4-0744E5812550}"/>
                    </a:ext>
                  </a:extLst>
                </p:cNvPr>
                <p:cNvGrpSpPr/>
                <p:nvPr/>
              </p:nvGrpSpPr>
              <p:grpSpPr>
                <a:xfrm>
                  <a:off x="2900377" y="3717460"/>
                  <a:ext cx="289319" cy="298652"/>
                  <a:chOff x="6979556" y="4967290"/>
                  <a:chExt cx="295275" cy="304800"/>
                </a:xfrm>
              </p:grpSpPr>
              <p:sp>
                <p:nvSpPr>
                  <p:cNvPr id="44" name="Freeform: Shape 43">
                    <a:extLst>
                      <a:ext uri="{FF2B5EF4-FFF2-40B4-BE49-F238E27FC236}">
                        <a16:creationId xmlns:a16="http://schemas.microsoft.com/office/drawing/2014/main" id="{0F69B8F9-23BD-49B0-921D-D5C77BAAE3EB}"/>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sp>
                <p:nvSpPr>
                  <p:cNvPr id="45" name="Freeform: Shape 44">
                    <a:extLst>
                      <a:ext uri="{FF2B5EF4-FFF2-40B4-BE49-F238E27FC236}">
                        <a16:creationId xmlns:a16="http://schemas.microsoft.com/office/drawing/2014/main" id="{00910223-79C2-4817-B3A7-EB18B4B09B43}"/>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grpSp>
        <p:grpSp>
          <p:nvGrpSpPr>
            <p:cNvPr id="34" name="Group 33">
              <a:extLst>
                <a:ext uri="{FF2B5EF4-FFF2-40B4-BE49-F238E27FC236}">
                  <a16:creationId xmlns:a16="http://schemas.microsoft.com/office/drawing/2014/main" id="{FAEA0DA6-F375-4A97-983A-742D5EE5B098}"/>
                </a:ext>
              </a:extLst>
            </p:cNvPr>
            <p:cNvGrpSpPr/>
            <p:nvPr/>
          </p:nvGrpSpPr>
          <p:grpSpPr>
            <a:xfrm>
              <a:off x="7565525" y="4946897"/>
              <a:ext cx="314269" cy="444151"/>
              <a:chOff x="7498789" y="4274821"/>
              <a:chExt cx="439761" cy="621510"/>
            </a:xfrm>
          </p:grpSpPr>
          <p:sp>
            <p:nvSpPr>
              <p:cNvPr id="38" name="TextBox 37">
                <a:extLst>
                  <a:ext uri="{FF2B5EF4-FFF2-40B4-BE49-F238E27FC236}">
                    <a16:creationId xmlns:a16="http://schemas.microsoft.com/office/drawing/2014/main" id="{401AE84F-F5CA-4DFB-84F8-5DAC6324867A}"/>
                  </a:ext>
                </a:extLst>
              </p:cNvPr>
              <p:cNvSpPr txBox="1"/>
              <p:nvPr/>
            </p:nvSpPr>
            <p:spPr>
              <a:xfrm>
                <a:off x="7498789" y="4718406"/>
                <a:ext cx="439761" cy="177925"/>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ALM</a:t>
                </a:r>
              </a:p>
            </p:txBody>
          </p:sp>
          <p:sp>
            <p:nvSpPr>
              <p:cNvPr id="39" name="transform" title="Icon of a circle and a square with two curved lines making a cycle">
                <a:extLst>
                  <a:ext uri="{FF2B5EF4-FFF2-40B4-BE49-F238E27FC236}">
                    <a16:creationId xmlns:a16="http://schemas.microsoft.com/office/drawing/2014/main" id="{1933D7BC-3854-4B2C-B2B8-0D9C28B56ABB}"/>
                  </a:ext>
                </a:extLst>
              </p:cNvPr>
              <p:cNvSpPr>
                <a:spLocks noChangeAspect="1" noEditPoints="1"/>
              </p:cNvSpPr>
              <p:nvPr/>
            </p:nvSpPr>
            <p:spPr bwMode="auto">
              <a:xfrm>
                <a:off x="7610256" y="4274821"/>
                <a:ext cx="216826" cy="271032"/>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12700" cap="flat">
                <a:solidFill>
                  <a:srgbClr val="BB6100"/>
                </a:solidFill>
                <a:prstDash val="solid"/>
                <a:miter lim="800000"/>
                <a:headEnd/>
                <a:tailEnd/>
              </a:ln>
            </p:spPr>
            <p:txBody>
              <a:bodyPr vert="horz" wrap="square" lIns="93248" tIns="46624" rIns="93248" bIns="46624" numCol="1" anchor="t" anchorCtr="0" compatLnSpc="1">
                <a:prstTxWarp prst="textNoShape">
                  <a:avLst/>
                </a:prstTxWarp>
              </a:bodyPr>
              <a:lstStyle/>
              <a:p>
                <a:pPr defTabSz="932504">
                  <a:defRPr/>
                </a:pPr>
                <a:endParaRPr lang="en-US" sz="1224">
                  <a:solidFill>
                    <a:srgbClr val="FFC000"/>
                  </a:solidFill>
                  <a:latin typeface="Segoe UI"/>
                </a:endParaRPr>
              </a:p>
            </p:txBody>
          </p:sp>
        </p:grpSp>
        <p:grpSp>
          <p:nvGrpSpPr>
            <p:cNvPr id="35" name="Group 34">
              <a:extLst>
                <a:ext uri="{FF2B5EF4-FFF2-40B4-BE49-F238E27FC236}">
                  <a16:creationId xmlns:a16="http://schemas.microsoft.com/office/drawing/2014/main" id="{4D3324EC-2E70-4CC7-B398-E8DAE3980619}"/>
                </a:ext>
              </a:extLst>
            </p:cNvPr>
            <p:cNvGrpSpPr/>
            <p:nvPr/>
          </p:nvGrpSpPr>
          <p:grpSpPr>
            <a:xfrm>
              <a:off x="7297800" y="3885578"/>
              <a:ext cx="827554" cy="930333"/>
              <a:chOff x="3769143" y="3856277"/>
              <a:chExt cx="1158008" cy="1301829"/>
            </a:xfrm>
          </p:grpSpPr>
          <p:pic>
            <p:nvPicPr>
              <p:cNvPr id="36" name="Picture 35">
                <a:extLst>
                  <a:ext uri="{FF2B5EF4-FFF2-40B4-BE49-F238E27FC236}">
                    <a16:creationId xmlns:a16="http://schemas.microsoft.com/office/drawing/2014/main" id="{C5DE6742-591F-4128-BB0B-3A271D4EE8B1}"/>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0240" b="10240"/>
              <a:stretch/>
            </p:blipFill>
            <p:spPr>
              <a:xfrm>
                <a:off x="4039565" y="3856277"/>
                <a:ext cx="617165" cy="490768"/>
              </a:xfrm>
              <a:prstGeom prst="rect">
                <a:avLst/>
              </a:prstGeom>
            </p:spPr>
          </p:pic>
          <p:sp>
            <p:nvSpPr>
              <p:cNvPr id="37" name="TextBox 36">
                <a:extLst>
                  <a:ext uri="{FF2B5EF4-FFF2-40B4-BE49-F238E27FC236}">
                    <a16:creationId xmlns:a16="http://schemas.microsoft.com/office/drawing/2014/main" id="{7D8BD3D9-7459-43FA-858B-F1F7F49752FF}"/>
                  </a:ext>
                </a:extLst>
              </p:cNvPr>
              <p:cNvSpPr txBox="1"/>
              <p:nvPr/>
            </p:nvSpPr>
            <p:spPr>
              <a:xfrm>
                <a:off x="3769143" y="4367275"/>
                <a:ext cx="1158008" cy="790831"/>
              </a:xfrm>
              <a:prstGeom prst="rect">
                <a:avLst/>
              </a:prstGeom>
              <a:noFill/>
            </p:spPr>
            <p:txBody>
              <a:bodyPr wrap="square" lIns="0" tIns="0" rIns="0" bIns="0" rtlCol="0">
                <a:spAutoFit/>
              </a:bodyPr>
              <a:lstStyle/>
              <a:p>
                <a:pPr algn="ctr" defTabSz="932504">
                  <a:defRPr/>
                </a:pPr>
                <a:r>
                  <a:rPr lang="en-US" sz="1224" b="1" kern="0">
                    <a:solidFill>
                      <a:srgbClr val="FFC000"/>
                    </a:solidFill>
                    <a:latin typeface="Segoe UI"/>
                  </a:rPr>
                  <a:t>Enterprise</a:t>
                </a:r>
              </a:p>
              <a:p>
                <a:pPr algn="ctr" defTabSz="932504">
                  <a:defRPr/>
                </a:pPr>
                <a:r>
                  <a:rPr lang="en-US" sz="1224" b="1" kern="0">
                    <a:solidFill>
                      <a:srgbClr val="FFC000"/>
                    </a:solidFill>
                    <a:latin typeface="Segoe UI"/>
                  </a:rPr>
                  <a:t>Semantic</a:t>
                </a:r>
              </a:p>
              <a:p>
                <a:pPr algn="ctr" defTabSz="932504">
                  <a:defRPr/>
                </a:pPr>
                <a:r>
                  <a:rPr lang="en-US" sz="1224" b="1" kern="0">
                    <a:solidFill>
                      <a:srgbClr val="FFC000"/>
                    </a:solidFill>
                    <a:latin typeface="Segoe UI"/>
                  </a:rPr>
                  <a:t>Dataset</a:t>
                </a:r>
              </a:p>
            </p:txBody>
          </p:sp>
        </p:grpSp>
      </p:grpSp>
      <p:cxnSp>
        <p:nvCxnSpPr>
          <p:cNvPr id="14" name="Straight Connector 13">
            <a:extLst>
              <a:ext uri="{FF2B5EF4-FFF2-40B4-BE49-F238E27FC236}">
                <a16:creationId xmlns:a16="http://schemas.microsoft.com/office/drawing/2014/main" id="{569CCDB0-0A23-4F64-BE9F-E84E37665B0A}"/>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3D654A0D-FDBC-41CA-B83B-1E7D686DFCF1}"/>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Shared Dataset</a:t>
            </a:r>
          </a:p>
        </p:txBody>
      </p:sp>
      <p:sp>
        <p:nvSpPr>
          <p:cNvPr id="16" name="Text Placeholder 2">
            <a:extLst>
              <a:ext uri="{FF2B5EF4-FFF2-40B4-BE49-F238E27FC236}">
                <a16:creationId xmlns:a16="http://schemas.microsoft.com/office/drawing/2014/main" id="{F5F966D5-521D-4CF7-9DE6-20BB242113F9}"/>
              </a:ext>
            </a:extLst>
          </p:cNvPr>
          <p:cNvSpPr txBox="1">
            <a:spLocks/>
          </p:cNvSpPr>
          <p:nvPr/>
        </p:nvSpPr>
        <p:spPr>
          <a:xfrm>
            <a:off x="266046" y="1484633"/>
            <a:ext cx="11671087" cy="1041930"/>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a:gradFill>
                  <a:gsLst>
                    <a:gs pos="2917">
                      <a:srgbClr val="505050"/>
                    </a:gs>
                    <a:gs pos="30000">
                      <a:srgbClr val="505050"/>
                    </a:gs>
                  </a:gsLst>
                  <a:lin ang="5400000" scaled="0"/>
                </a:gradFill>
                <a:latin typeface="Segoe UI"/>
                <a:cs typeface="+mn-cs"/>
              </a:rPr>
              <a:t>Live Connection: </a:t>
            </a:r>
            <a:r>
              <a:rPr lang="en-US" sz="1600">
                <a:gradFill>
                  <a:gsLst>
                    <a:gs pos="2917">
                      <a:srgbClr val="505050"/>
                    </a:gs>
                    <a:gs pos="30000">
                      <a:srgbClr val="505050"/>
                    </a:gs>
                  </a:gsLst>
                  <a:lin ang="5400000" scaled="0"/>
                </a:gradFill>
                <a:latin typeface="Segoe UI"/>
                <a:cs typeface="+mn-cs"/>
              </a:rPr>
              <a:t>You can establish a connection to a shared dataset in the Power BI service, and create many different reports from the same dataset. Then you and others can create multiple different reports in separate files and save them to different workspaces.</a:t>
            </a:r>
          </a:p>
        </p:txBody>
      </p:sp>
      <p:pic>
        <p:nvPicPr>
          <p:cNvPr id="18" name="Graphic 17" descr="Illustrator outline">
            <a:extLst>
              <a:ext uri="{FF2B5EF4-FFF2-40B4-BE49-F238E27FC236}">
                <a16:creationId xmlns:a16="http://schemas.microsoft.com/office/drawing/2014/main" id="{57F9A892-7F68-4FE7-B8F2-35AA3BF3C92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54490" y="2816705"/>
            <a:ext cx="914400" cy="914400"/>
          </a:xfrm>
          <a:prstGeom prst="rect">
            <a:avLst/>
          </a:prstGeom>
        </p:spPr>
      </p:pic>
      <p:pic>
        <p:nvPicPr>
          <p:cNvPr id="19" name="Graphic 18" descr="Illustrator outline">
            <a:extLst>
              <a:ext uri="{FF2B5EF4-FFF2-40B4-BE49-F238E27FC236}">
                <a16:creationId xmlns:a16="http://schemas.microsoft.com/office/drawing/2014/main" id="{112B18A0-95B9-49AD-B998-0A4FDA77980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54490" y="3730749"/>
            <a:ext cx="914400" cy="914400"/>
          </a:xfrm>
          <a:prstGeom prst="rect">
            <a:avLst/>
          </a:prstGeom>
        </p:spPr>
      </p:pic>
      <p:pic>
        <p:nvPicPr>
          <p:cNvPr id="25" name="Graphic 24" descr="Laptop outline">
            <a:extLst>
              <a:ext uri="{FF2B5EF4-FFF2-40B4-BE49-F238E27FC236}">
                <a16:creationId xmlns:a16="http://schemas.microsoft.com/office/drawing/2014/main" id="{C51440EF-AB79-4515-9B94-D94CAD5D739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554490" y="4532152"/>
            <a:ext cx="914400" cy="914400"/>
          </a:xfrm>
          <a:prstGeom prst="rect">
            <a:avLst/>
          </a:prstGeom>
        </p:spPr>
      </p:pic>
      <p:pic>
        <p:nvPicPr>
          <p:cNvPr id="27" name="Graphic 26" descr="Gauge outline">
            <a:extLst>
              <a:ext uri="{FF2B5EF4-FFF2-40B4-BE49-F238E27FC236}">
                <a16:creationId xmlns:a16="http://schemas.microsoft.com/office/drawing/2014/main" id="{F022F54E-9D79-4994-AFEB-E8C53E1C084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857633" y="4534884"/>
            <a:ext cx="914400" cy="914400"/>
          </a:xfrm>
          <a:prstGeom prst="rect">
            <a:avLst/>
          </a:prstGeom>
        </p:spPr>
      </p:pic>
      <p:cxnSp>
        <p:nvCxnSpPr>
          <p:cNvPr id="91" name="Straight Arrow Connector 90">
            <a:extLst>
              <a:ext uri="{FF2B5EF4-FFF2-40B4-BE49-F238E27FC236}">
                <a16:creationId xmlns:a16="http://schemas.microsoft.com/office/drawing/2014/main" id="{4CE2F668-2A1F-4ECE-B45C-DE7BAD5AB9B6}"/>
              </a:ext>
            </a:extLst>
          </p:cNvPr>
          <p:cNvCxnSpPr>
            <a:cxnSpLocks/>
          </p:cNvCxnSpPr>
          <p:nvPr/>
        </p:nvCxnSpPr>
        <p:spPr>
          <a:xfrm>
            <a:off x="2742353" y="4148981"/>
            <a:ext cx="674405" cy="0"/>
          </a:xfrm>
          <a:prstGeom prst="straightConnector1">
            <a:avLst/>
          </a:prstGeom>
          <a:ln w="19050">
            <a:solidFill>
              <a:schemeClr val="tx1"/>
            </a:solidFill>
            <a:prstDash val="solid"/>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97" name="Straight Arrow Connector 96">
            <a:extLst>
              <a:ext uri="{FF2B5EF4-FFF2-40B4-BE49-F238E27FC236}">
                <a16:creationId xmlns:a16="http://schemas.microsoft.com/office/drawing/2014/main" id="{4CF5C6A1-AD25-402E-8FFF-81457D230E43}"/>
              </a:ext>
            </a:extLst>
          </p:cNvPr>
          <p:cNvCxnSpPr>
            <a:cxnSpLocks/>
            <a:endCxn id="18" idx="1"/>
          </p:cNvCxnSpPr>
          <p:nvPr/>
        </p:nvCxnSpPr>
        <p:spPr>
          <a:xfrm flipV="1">
            <a:off x="8244967" y="3273905"/>
            <a:ext cx="1309523" cy="876025"/>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2088D5A9-7021-4563-9488-7F3213ED4300}"/>
              </a:ext>
            </a:extLst>
          </p:cNvPr>
          <p:cNvCxnSpPr>
            <a:cxnSpLocks/>
            <a:endCxn id="19" idx="1"/>
          </p:cNvCxnSpPr>
          <p:nvPr/>
        </p:nvCxnSpPr>
        <p:spPr>
          <a:xfrm>
            <a:off x="8244967" y="4149930"/>
            <a:ext cx="1309523" cy="3801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1AC84017-C21D-445E-BAFC-1FD91255B390}"/>
              </a:ext>
            </a:extLst>
          </p:cNvPr>
          <p:cNvCxnSpPr>
            <a:cxnSpLocks/>
            <a:endCxn id="25" idx="1"/>
          </p:cNvCxnSpPr>
          <p:nvPr/>
        </p:nvCxnSpPr>
        <p:spPr>
          <a:xfrm>
            <a:off x="8244967" y="4149930"/>
            <a:ext cx="1309523" cy="839422"/>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27E9B15A-428F-4562-AEC0-6FFCA5190AE3}"/>
              </a:ext>
            </a:extLst>
          </p:cNvPr>
          <p:cNvCxnSpPr>
            <a:stCxn id="25" idx="3"/>
            <a:endCxn id="27" idx="1"/>
          </p:cNvCxnSpPr>
          <p:nvPr/>
        </p:nvCxnSpPr>
        <p:spPr>
          <a:xfrm>
            <a:off x="10468890" y="4989352"/>
            <a:ext cx="388743" cy="2732"/>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2055" name="Group 2054">
            <a:extLst>
              <a:ext uri="{FF2B5EF4-FFF2-40B4-BE49-F238E27FC236}">
                <a16:creationId xmlns:a16="http://schemas.microsoft.com/office/drawing/2014/main" id="{7A88D77C-2755-4017-92F3-1C204838E96E}"/>
              </a:ext>
            </a:extLst>
          </p:cNvPr>
          <p:cNvGrpSpPr/>
          <p:nvPr/>
        </p:nvGrpSpPr>
        <p:grpSpPr>
          <a:xfrm>
            <a:off x="6461718" y="3430794"/>
            <a:ext cx="1792822" cy="1431845"/>
            <a:chOff x="5837208" y="5193059"/>
            <a:chExt cx="1793051" cy="1432028"/>
          </a:xfrm>
        </p:grpSpPr>
        <p:grpSp>
          <p:nvGrpSpPr>
            <p:cNvPr id="2054" name="Group 2053">
              <a:extLst>
                <a:ext uri="{FF2B5EF4-FFF2-40B4-BE49-F238E27FC236}">
                  <a16:creationId xmlns:a16="http://schemas.microsoft.com/office/drawing/2014/main" id="{4CC1B709-65AB-435B-B9C9-CBEAE0357711}"/>
                </a:ext>
              </a:extLst>
            </p:cNvPr>
            <p:cNvGrpSpPr/>
            <p:nvPr/>
          </p:nvGrpSpPr>
          <p:grpSpPr>
            <a:xfrm>
              <a:off x="6304372" y="5193059"/>
              <a:ext cx="1325887" cy="1190547"/>
              <a:chOff x="8250419" y="4740577"/>
              <a:chExt cx="1325887" cy="1190547"/>
            </a:xfrm>
          </p:grpSpPr>
          <p:pic>
            <p:nvPicPr>
              <p:cNvPr id="2051" name="Graphic 2050" descr="Office worker female outline">
                <a:extLst>
                  <a:ext uri="{FF2B5EF4-FFF2-40B4-BE49-F238E27FC236}">
                    <a16:creationId xmlns:a16="http://schemas.microsoft.com/office/drawing/2014/main" id="{0F12BD96-8480-40DD-AF95-39CD0BEC1A2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250419" y="4740577"/>
                <a:ext cx="914400" cy="914400"/>
              </a:xfrm>
              <a:prstGeom prst="rect">
                <a:avLst/>
              </a:prstGeom>
            </p:spPr>
          </p:pic>
          <p:pic>
            <p:nvPicPr>
              <p:cNvPr id="2053" name="Graphic 2052" descr="Office worker male outline">
                <a:extLst>
                  <a:ext uri="{FF2B5EF4-FFF2-40B4-BE49-F238E27FC236}">
                    <a16:creationId xmlns:a16="http://schemas.microsoft.com/office/drawing/2014/main" id="{7FFF6ACE-C3F5-4703-96A9-3905920E540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661906" y="5016724"/>
                <a:ext cx="914400" cy="914400"/>
              </a:xfrm>
              <a:prstGeom prst="rect">
                <a:avLst/>
              </a:prstGeom>
            </p:spPr>
          </p:pic>
        </p:grpSp>
        <p:grpSp>
          <p:nvGrpSpPr>
            <p:cNvPr id="134" name="Group 133">
              <a:extLst>
                <a:ext uri="{FF2B5EF4-FFF2-40B4-BE49-F238E27FC236}">
                  <a16:creationId xmlns:a16="http://schemas.microsoft.com/office/drawing/2014/main" id="{34A06BCC-D573-4DB7-A2EA-F5034CDFDD7C}"/>
                </a:ext>
              </a:extLst>
            </p:cNvPr>
            <p:cNvGrpSpPr/>
            <p:nvPr/>
          </p:nvGrpSpPr>
          <p:grpSpPr>
            <a:xfrm>
              <a:off x="5837208" y="5199320"/>
              <a:ext cx="1782425" cy="1425767"/>
              <a:chOff x="3739694" y="3630820"/>
              <a:chExt cx="1758628" cy="1425767"/>
            </a:xfrm>
          </p:grpSpPr>
          <p:sp>
            <p:nvSpPr>
              <p:cNvPr id="139" name="TextBox 138">
                <a:extLst>
                  <a:ext uri="{FF2B5EF4-FFF2-40B4-BE49-F238E27FC236}">
                    <a16:creationId xmlns:a16="http://schemas.microsoft.com/office/drawing/2014/main" id="{5C1E474A-98D4-489D-999B-5668570E5EA3}"/>
                  </a:ext>
                </a:extLst>
              </p:cNvPr>
              <p:cNvSpPr txBox="1"/>
              <p:nvPr/>
            </p:nvSpPr>
            <p:spPr>
              <a:xfrm>
                <a:off x="3884765" y="4450105"/>
                <a:ext cx="766951" cy="492443"/>
              </a:xfrm>
              <a:prstGeom prst="rect">
                <a:avLst/>
              </a:prstGeom>
              <a:noFill/>
            </p:spPr>
            <p:txBody>
              <a:bodyPr wrap="none" lIns="0" tIns="0" rIns="0" bIns="0" rtlCol="0">
                <a:spAutoFit/>
              </a:bodyPr>
              <a:lstStyle/>
              <a:p>
                <a:pPr algn="ctr"/>
                <a:r>
                  <a:rPr lang="en-US" sz="1600">
                    <a:latin typeface="+mj-lt"/>
                  </a:rPr>
                  <a:t>Content</a:t>
                </a:r>
              </a:p>
              <a:p>
                <a:pPr algn="ctr"/>
                <a:r>
                  <a:rPr lang="en-US" sz="1600">
                    <a:latin typeface="+mj-lt"/>
                  </a:rPr>
                  <a:t>Creators</a:t>
                </a:r>
              </a:p>
            </p:txBody>
          </p:sp>
          <p:sp>
            <p:nvSpPr>
              <p:cNvPr id="136" name="Rectangle 135">
                <a:extLst>
                  <a:ext uri="{FF2B5EF4-FFF2-40B4-BE49-F238E27FC236}">
                    <a16:creationId xmlns:a16="http://schemas.microsoft.com/office/drawing/2014/main" id="{5F0F574A-A62D-469B-9F28-885534853D05}"/>
                  </a:ext>
                </a:extLst>
              </p:cNvPr>
              <p:cNvSpPr/>
              <p:nvPr/>
            </p:nvSpPr>
            <p:spPr bwMode="auto">
              <a:xfrm>
                <a:off x="3739694" y="3630820"/>
                <a:ext cx="1758628" cy="1425767"/>
              </a:xfrm>
              <a:prstGeom prst="rect">
                <a:avLst/>
              </a:prstGeom>
              <a:noFill/>
              <a:ln>
                <a:solidFill>
                  <a:schemeClr val="tx1">
                    <a:lumMod val="50000"/>
                    <a:lumOff val="50000"/>
                  </a:schemeClr>
                </a:solidFill>
                <a:headEnd type="none" w="med" len="med"/>
                <a:tailEnd type="none" w="med" len="med"/>
              </a:ln>
              <a:effectLst>
                <a:outerShdw blurRad="50800" dist="38100" dir="13500000" algn="b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cxnSp>
        <p:nvCxnSpPr>
          <p:cNvPr id="2059" name="Straight Arrow Connector 2058">
            <a:extLst>
              <a:ext uri="{FF2B5EF4-FFF2-40B4-BE49-F238E27FC236}">
                <a16:creationId xmlns:a16="http://schemas.microsoft.com/office/drawing/2014/main" id="{39C7241A-4C00-4415-8D10-970BA116FB5B}"/>
              </a:ext>
            </a:extLst>
          </p:cNvPr>
          <p:cNvCxnSpPr>
            <a:cxnSpLocks/>
          </p:cNvCxnSpPr>
          <p:nvPr/>
        </p:nvCxnSpPr>
        <p:spPr>
          <a:xfrm>
            <a:off x="5757592" y="4148981"/>
            <a:ext cx="704950" cy="949"/>
          </a:xfrm>
          <a:prstGeom prst="straightConnector1">
            <a:avLst/>
          </a:prstGeom>
          <a:ln w="19050">
            <a:solidFill>
              <a:schemeClr val="tx1"/>
            </a:solidFill>
            <a:prstDash val="sysDot"/>
            <a:headEnd type="none" w="lg" len="med"/>
            <a:tailEnd type="triangle" w="lg" len="lg"/>
          </a:ln>
        </p:spPr>
        <p:style>
          <a:lnRef idx="1">
            <a:schemeClr val="accent1"/>
          </a:lnRef>
          <a:fillRef idx="0">
            <a:schemeClr val="accent1"/>
          </a:fillRef>
          <a:effectRef idx="0">
            <a:schemeClr val="accent1"/>
          </a:effectRef>
          <a:fontRef idx="minor">
            <a:schemeClr val="tx1"/>
          </a:fontRef>
        </p:style>
      </p:cxnSp>
      <p:grpSp>
        <p:nvGrpSpPr>
          <p:cNvPr id="2075" name="Group 2074">
            <a:extLst>
              <a:ext uri="{FF2B5EF4-FFF2-40B4-BE49-F238E27FC236}">
                <a16:creationId xmlns:a16="http://schemas.microsoft.com/office/drawing/2014/main" id="{F0993911-8CFC-4F1E-A606-3E8093489A28}"/>
              </a:ext>
            </a:extLst>
          </p:cNvPr>
          <p:cNvGrpSpPr/>
          <p:nvPr/>
        </p:nvGrpSpPr>
        <p:grpSpPr>
          <a:xfrm>
            <a:off x="701256" y="3388613"/>
            <a:ext cx="2081045" cy="1520558"/>
            <a:chOff x="713642" y="3705511"/>
            <a:chExt cx="2081310" cy="1520753"/>
          </a:xfrm>
        </p:grpSpPr>
        <p:pic>
          <p:nvPicPr>
            <p:cNvPr id="21" name="Graphic 20" descr="Programmer male outline">
              <a:extLst>
                <a:ext uri="{FF2B5EF4-FFF2-40B4-BE49-F238E27FC236}">
                  <a16:creationId xmlns:a16="http://schemas.microsoft.com/office/drawing/2014/main" id="{95FED6F0-F535-4799-A6C0-B3CC923A6C19}"/>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370510" y="3726563"/>
              <a:ext cx="926773" cy="914400"/>
            </a:xfrm>
            <a:prstGeom prst="rect">
              <a:avLst/>
            </a:prstGeom>
          </p:spPr>
        </p:pic>
        <p:pic>
          <p:nvPicPr>
            <p:cNvPr id="23" name="Graphic 22" descr="Programmer female outline">
              <a:extLst>
                <a:ext uri="{FF2B5EF4-FFF2-40B4-BE49-F238E27FC236}">
                  <a16:creationId xmlns:a16="http://schemas.microsoft.com/office/drawing/2014/main" id="{39EF3049-121B-408B-BF06-E7D1523888D1}"/>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868179" y="4037431"/>
              <a:ext cx="926773" cy="914400"/>
            </a:xfrm>
            <a:prstGeom prst="rect">
              <a:avLst/>
            </a:prstGeom>
          </p:spPr>
        </p:pic>
        <p:sp>
          <p:nvSpPr>
            <p:cNvPr id="88" name="TextBox 87">
              <a:extLst>
                <a:ext uri="{FF2B5EF4-FFF2-40B4-BE49-F238E27FC236}">
                  <a16:creationId xmlns:a16="http://schemas.microsoft.com/office/drawing/2014/main" id="{92E7B61F-1F41-4884-B7D1-434EC78BAB15}"/>
                </a:ext>
              </a:extLst>
            </p:cNvPr>
            <p:cNvSpPr txBox="1"/>
            <p:nvPr/>
          </p:nvSpPr>
          <p:spPr>
            <a:xfrm>
              <a:off x="789357" y="4662199"/>
              <a:ext cx="1380665" cy="492443"/>
            </a:xfrm>
            <a:prstGeom prst="rect">
              <a:avLst/>
            </a:prstGeom>
            <a:noFill/>
          </p:spPr>
          <p:txBody>
            <a:bodyPr wrap="none" lIns="0" tIns="0" rIns="0" bIns="0" rtlCol="0">
              <a:spAutoFit/>
            </a:bodyPr>
            <a:lstStyle/>
            <a:p>
              <a:pPr algn="ctr"/>
              <a:r>
                <a:rPr lang="en-US" sz="1600">
                  <a:latin typeface="+mj-lt"/>
                </a:rPr>
                <a:t>Enterprise </a:t>
              </a:r>
            </a:p>
            <a:p>
              <a:pPr algn="ctr"/>
              <a:r>
                <a:rPr lang="en-US" sz="1600">
                  <a:latin typeface="+mj-lt"/>
                </a:rPr>
                <a:t>Data Modelers</a:t>
              </a:r>
            </a:p>
          </p:txBody>
        </p:sp>
        <p:sp>
          <p:nvSpPr>
            <p:cNvPr id="165" name="Rectangle 164">
              <a:extLst>
                <a:ext uri="{FF2B5EF4-FFF2-40B4-BE49-F238E27FC236}">
                  <a16:creationId xmlns:a16="http://schemas.microsoft.com/office/drawing/2014/main" id="{224F759C-185B-4DE1-A1AB-D434D335887A}"/>
                </a:ext>
              </a:extLst>
            </p:cNvPr>
            <p:cNvSpPr/>
            <p:nvPr/>
          </p:nvSpPr>
          <p:spPr bwMode="auto">
            <a:xfrm>
              <a:off x="713642" y="3705511"/>
              <a:ext cx="2041006" cy="1520753"/>
            </a:xfrm>
            <a:prstGeom prst="rect">
              <a:avLst/>
            </a:prstGeom>
            <a:noFill/>
            <a:ln>
              <a:solidFill>
                <a:schemeClr val="tx1">
                  <a:lumMod val="50000"/>
                  <a:lumOff val="50000"/>
                </a:schemeClr>
              </a:solidFill>
              <a:headEnd type="none" w="med" len="med"/>
              <a:tailEnd type="none" w="med" len="med"/>
            </a:ln>
            <a:effectLst>
              <a:outerShdw blurRad="50800" dist="38100" dir="13500000" algn="b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078" name="TextBox 2077">
            <a:extLst>
              <a:ext uri="{FF2B5EF4-FFF2-40B4-BE49-F238E27FC236}">
                <a16:creationId xmlns:a16="http://schemas.microsoft.com/office/drawing/2014/main" id="{46BAA875-3564-4758-BA46-456A615C5196}"/>
              </a:ext>
            </a:extLst>
          </p:cNvPr>
          <p:cNvSpPr txBox="1"/>
          <p:nvPr/>
        </p:nvSpPr>
        <p:spPr>
          <a:xfrm>
            <a:off x="701347" y="5101838"/>
            <a:ext cx="3098541" cy="861774"/>
          </a:xfrm>
          <a:prstGeom prst="rect">
            <a:avLst/>
          </a:prstGeom>
          <a:noFill/>
        </p:spPr>
        <p:txBody>
          <a:bodyPr wrap="none" lIns="0" tIns="0" rIns="0" bIns="0" rtlCol="0">
            <a:spAutoFit/>
          </a:bodyPr>
          <a:lstStyle/>
          <a:p>
            <a:pPr algn="l"/>
            <a:r>
              <a:rPr lang="en-US" sz="1400">
                <a:latin typeface="Segoe UI" panose="020B0502040204020203" pitchFamily="34" charset="0"/>
                <a:cs typeface="Segoe UI" panose="020B0502040204020203" pitchFamily="34" charset="0"/>
              </a:rPr>
              <a:t>Manages the integrity of the solution</a:t>
            </a:r>
          </a:p>
          <a:p>
            <a:pPr algn="l"/>
            <a:r>
              <a:rPr lang="en-US" sz="1400">
                <a:latin typeface="Segoe UI" panose="020B0502040204020203" pitchFamily="34" charset="0"/>
                <a:cs typeface="Segoe UI" panose="020B0502040204020203" pitchFamily="34" charset="0"/>
              </a:rPr>
              <a:t>Continuous improvement/</a:t>
            </a:r>
          </a:p>
          <a:p>
            <a:pPr lvl="1"/>
            <a:r>
              <a:rPr lang="en-US" sz="1400">
                <a:latin typeface="Segoe UI" panose="020B0502040204020203" pitchFamily="34" charset="0"/>
                <a:cs typeface="Segoe UI" panose="020B0502040204020203" pitchFamily="34" charset="0"/>
              </a:rPr>
              <a:t>Continuous development (CI/CD)</a:t>
            </a:r>
          </a:p>
          <a:p>
            <a:pPr algn="l"/>
            <a:r>
              <a:rPr lang="en-US" sz="1400">
                <a:latin typeface="Segoe UI" panose="020B0502040204020203" pitchFamily="34" charset="0"/>
                <a:cs typeface="Segoe UI" panose="020B0502040204020203" pitchFamily="34" charset="0"/>
              </a:rPr>
              <a:t>Performance optimization</a:t>
            </a:r>
          </a:p>
        </p:txBody>
      </p:sp>
      <p:sp>
        <p:nvSpPr>
          <p:cNvPr id="2079" name="TextBox 2078">
            <a:extLst>
              <a:ext uri="{FF2B5EF4-FFF2-40B4-BE49-F238E27FC236}">
                <a16:creationId xmlns:a16="http://schemas.microsoft.com/office/drawing/2014/main" id="{D05F2167-6D01-4421-9013-9441F8509D6A}"/>
              </a:ext>
            </a:extLst>
          </p:cNvPr>
          <p:cNvSpPr txBox="1"/>
          <p:nvPr/>
        </p:nvSpPr>
        <p:spPr>
          <a:xfrm>
            <a:off x="6431997" y="5101838"/>
            <a:ext cx="2783775" cy="646331"/>
          </a:xfrm>
          <a:prstGeom prst="rect">
            <a:avLst/>
          </a:prstGeom>
          <a:noFill/>
        </p:spPr>
        <p:txBody>
          <a:bodyPr wrap="none" lIns="0" tIns="0" rIns="0" bIns="0" rtlCol="0">
            <a:spAutoFit/>
          </a:bodyPr>
          <a:lstStyle/>
          <a:p>
            <a:pPr algn="l"/>
            <a:r>
              <a:rPr lang="en-US" sz="1400">
                <a:latin typeface="Segoe UI" panose="020B0502040204020203" pitchFamily="34" charset="0"/>
                <a:cs typeface="Segoe UI" panose="020B0502040204020203" pitchFamily="34" charset="0"/>
              </a:rPr>
              <a:t>Manages the story for the business</a:t>
            </a:r>
          </a:p>
          <a:p>
            <a:pPr algn="l"/>
            <a:r>
              <a:rPr lang="en-US" sz="1400">
                <a:latin typeface="Segoe UI" panose="020B0502040204020203" pitchFamily="34" charset="0"/>
                <a:cs typeface="Segoe UI" panose="020B0502040204020203" pitchFamily="34" charset="0"/>
              </a:rPr>
              <a:t>Develops reports/dashboards</a:t>
            </a:r>
          </a:p>
          <a:p>
            <a:pPr algn="l"/>
            <a:r>
              <a:rPr lang="en-US" sz="1400">
                <a:latin typeface="Segoe UI" panose="020B0502040204020203" pitchFamily="34" charset="0"/>
                <a:cs typeface="Segoe UI" panose="020B0502040204020203" pitchFamily="34" charset="0"/>
              </a:rPr>
              <a:t>Feedback for improvements (UAT)</a:t>
            </a:r>
          </a:p>
        </p:txBody>
      </p:sp>
    </p:spTree>
    <p:extLst>
      <p:ext uri="{BB962C8B-B14F-4D97-AF65-F5344CB8AC3E}">
        <p14:creationId xmlns:p14="http://schemas.microsoft.com/office/powerpoint/2010/main" val="2431235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Semantic">
            <a:extLst>
              <a:ext uri="{FF2B5EF4-FFF2-40B4-BE49-F238E27FC236}">
                <a16:creationId xmlns:a16="http://schemas.microsoft.com/office/drawing/2014/main" id="{EB302695-E019-46FD-A94B-B1E37944724D}"/>
              </a:ext>
              <a:ext uri="{C183D7F6-B498-43B3-948B-1728B52AA6E4}">
                <adec:decorative xmlns:adec="http://schemas.microsoft.com/office/drawing/2017/decorative" val="1"/>
              </a:ext>
            </a:extLst>
          </p:cNvPr>
          <p:cNvGrpSpPr/>
          <p:nvPr/>
        </p:nvGrpSpPr>
        <p:grpSpPr>
          <a:xfrm>
            <a:off x="5212147" y="2935215"/>
            <a:ext cx="2340535" cy="2338613"/>
            <a:chOff x="6572327" y="3183010"/>
            <a:chExt cx="2295144" cy="2293259"/>
          </a:xfrm>
        </p:grpSpPr>
        <p:sp>
          <p:nvSpPr>
            <p:cNvPr id="29" name="Oval 28">
              <a:extLst>
                <a:ext uri="{FF2B5EF4-FFF2-40B4-BE49-F238E27FC236}">
                  <a16:creationId xmlns:a16="http://schemas.microsoft.com/office/drawing/2014/main" id="{3C138CE8-E81F-4555-871D-DFECCDCF7278}"/>
                </a:ext>
              </a:extLst>
            </p:cNvPr>
            <p:cNvSpPr/>
            <p:nvPr/>
          </p:nvSpPr>
          <p:spPr bwMode="auto">
            <a:xfrm>
              <a:off x="6572327" y="3183010"/>
              <a:ext cx="2295144" cy="2293259"/>
            </a:xfrm>
            <a:prstGeom prst="ellipse">
              <a:avLst/>
            </a:prstGeom>
            <a:solidFill>
              <a:schemeClr val="bg1">
                <a:lumMod val="85000"/>
                <a:lumOff val="15000"/>
                <a:alpha val="25000"/>
              </a:schemeClr>
            </a:solidFill>
            <a:ln w="25400">
              <a:solidFill>
                <a:srgbClr val="BB6100"/>
              </a:solidFill>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836" kern="0" err="1">
                <a:solidFill>
                  <a:srgbClr val="FFC000"/>
                </a:solidFill>
                <a:latin typeface="Segoe UI"/>
                <a:ea typeface="Segoe UI" pitchFamily="34" charset="0"/>
                <a:cs typeface="Segoe UI" pitchFamily="34" charset="0"/>
              </a:endParaRPr>
            </a:p>
          </p:txBody>
        </p:sp>
        <p:sp>
          <p:nvSpPr>
            <p:cNvPr id="30" name="TextBox 29">
              <a:extLst>
                <a:ext uri="{FF2B5EF4-FFF2-40B4-BE49-F238E27FC236}">
                  <a16:creationId xmlns:a16="http://schemas.microsoft.com/office/drawing/2014/main" id="{94559AB9-1955-4BEE-B7A7-DBEC76684186}"/>
                </a:ext>
              </a:extLst>
            </p:cNvPr>
            <p:cNvSpPr txBox="1"/>
            <p:nvPr/>
          </p:nvSpPr>
          <p:spPr>
            <a:xfrm>
              <a:off x="7471170" y="3572885"/>
              <a:ext cx="480816" cy="127151"/>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Security</a:t>
              </a:r>
            </a:p>
          </p:txBody>
        </p:sp>
        <p:sp>
          <p:nvSpPr>
            <p:cNvPr id="31" name="Lock" title="Icon of a padlock">
              <a:extLst>
                <a:ext uri="{FF2B5EF4-FFF2-40B4-BE49-F238E27FC236}">
                  <a16:creationId xmlns:a16="http://schemas.microsoft.com/office/drawing/2014/main" id="{FD2BA6B7-A0A9-41E1-8682-76976A1C37A7}"/>
                </a:ext>
              </a:extLst>
            </p:cNvPr>
            <p:cNvSpPr>
              <a:spLocks noChangeAspect="1" noEditPoints="1"/>
            </p:cNvSpPr>
            <p:nvPr/>
          </p:nvSpPr>
          <p:spPr bwMode="auto">
            <a:xfrm>
              <a:off x="7641228" y="3257715"/>
              <a:ext cx="140699" cy="196648"/>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1224">
                <a:solidFill>
                  <a:srgbClr val="FFC000"/>
                </a:solidFill>
                <a:latin typeface="Segoe UI"/>
              </a:endParaRPr>
            </a:p>
          </p:txBody>
        </p:sp>
        <p:grpSp>
          <p:nvGrpSpPr>
            <p:cNvPr id="32" name="Group 31">
              <a:extLst>
                <a:ext uri="{FF2B5EF4-FFF2-40B4-BE49-F238E27FC236}">
                  <a16:creationId xmlns:a16="http://schemas.microsoft.com/office/drawing/2014/main" id="{F8724F15-73AE-4852-8D68-0F153EE36462}"/>
                </a:ext>
              </a:extLst>
            </p:cNvPr>
            <p:cNvGrpSpPr/>
            <p:nvPr/>
          </p:nvGrpSpPr>
          <p:grpSpPr>
            <a:xfrm>
              <a:off x="6620322" y="4082283"/>
              <a:ext cx="582923" cy="521167"/>
              <a:chOff x="7218611" y="3194265"/>
              <a:chExt cx="815691" cy="729277"/>
            </a:xfrm>
          </p:grpSpPr>
          <p:sp>
            <p:nvSpPr>
              <p:cNvPr id="48" name="TextBox 47">
                <a:extLst>
                  <a:ext uri="{FF2B5EF4-FFF2-40B4-BE49-F238E27FC236}">
                    <a16:creationId xmlns:a16="http://schemas.microsoft.com/office/drawing/2014/main" id="{34A3F998-459E-4E08-B8A0-5802CEBFB96B}"/>
                  </a:ext>
                </a:extLst>
              </p:cNvPr>
              <p:cNvSpPr txBox="1"/>
              <p:nvPr/>
            </p:nvSpPr>
            <p:spPr>
              <a:xfrm>
                <a:off x="7218611" y="3574642"/>
                <a:ext cx="815691" cy="348900"/>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In-memory</a:t>
                </a:r>
                <a:br>
                  <a:rPr lang="en-US" sz="918" kern="0">
                    <a:solidFill>
                      <a:srgbClr val="FFC000"/>
                    </a:solidFill>
                    <a:latin typeface="Segoe UI Semibold"/>
                  </a:rPr>
                </a:br>
                <a:r>
                  <a:rPr lang="en-US" sz="918" kern="0">
                    <a:solidFill>
                      <a:srgbClr val="FFC000"/>
                    </a:solidFill>
                    <a:latin typeface="Segoe UI Semibold"/>
                  </a:rPr>
                  <a:t>cache</a:t>
                </a:r>
              </a:p>
            </p:txBody>
          </p:sp>
          <p:sp>
            <p:nvSpPr>
              <p:cNvPr id="49" name="LightningBolt_E945" title="Icon of a lightning bolt">
                <a:extLst>
                  <a:ext uri="{FF2B5EF4-FFF2-40B4-BE49-F238E27FC236}">
                    <a16:creationId xmlns:a16="http://schemas.microsoft.com/office/drawing/2014/main" id="{3663CD7F-BED1-40FD-8470-7A957A68F9FA}"/>
                  </a:ext>
                </a:extLst>
              </p:cNvPr>
              <p:cNvSpPr>
                <a:spLocks noChangeAspect="1"/>
              </p:cNvSpPr>
              <p:nvPr/>
            </p:nvSpPr>
            <p:spPr bwMode="auto">
              <a:xfrm>
                <a:off x="7532797" y="3194265"/>
                <a:ext cx="187318" cy="261396"/>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nvGrpSpPr>
            <p:cNvPr id="33" name="Group 32">
              <a:extLst>
                <a:ext uri="{FF2B5EF4-FFF2-40B4-BE49-F238E27FC236}">
                  <a16:creationId xmlns:a16="http://schemas.microsoft.com/office/drawing/2014/main" id="{07AD2B04-DBCF-4D5D-9C19-00F1922DCBD8}"/>
                </a:ext>
              </a:extLst>
            </p:cNvPr>
            <p:cNvGrpSpPr/>
            <p:nvPr/>
          </p:nvGrpSpPr>
          <p:grpSpPr>
            <a:xfrm>
              <a:off x="8207656" y="4090714"/>
              <a:ext cx="580744" cy="636419"/>
              <a:chOff x="8816823" y="4278622"/>
              <a:chExt cx="812645" cy="890555"/>
            </a:xfrm>
          </p:grpSpPr>
          <p:sp>
            <p:nvSpPr>
              <p:cNvPr id="40" name="TextBox 39">
                <a:extLst>
                  <a:ext uri="{FF2B5EF4-FFF2-40B4-BE49-F238E27FC236}">
                    <a16:creationId xmlns:a16="http://schemas.microsoft.com/office/drawing/2014/main" id="{C1F7312C-E6F1-433F-9B32-A10D05CAFAD7}"/>
                  </a:ext>
                </a:extLst>
              </p:cNvPr>
              <p:cNvSpPr txBox="1"/>
              <p:nvPr/>
            </p:nvSpPr>
            <p:spPr>
              <a:xfrm>
                <a:off x="8816823" y="4635404"/>
                <a:ext cx="812645" cy="533773"/>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Business logic</a:t>
                </a:r>
                <a:br>
                  <a:rPr lang="en-US" sz="918" kern="0">
                    <a:solidFill>
                      <a:srgbClr val="FFC000"/>
                    </a:solidFill>
                    <a:latin typeface="Segoe UI Semibold"/>
                  </a:rPr>
                </a:br>
                <a:r>
                  <a:rPr lang="en-US" sz="918" kern="0">
                    <a:solidFill>
                      <a:srgbClr val="FFC000"/>
                    </a:solidFill>
                    <a:latin typeface="Segoe UI Semibold"/>
                  </a:rPr>
                  <a:t>&amp; metrics</a:t>
                </a:r>
              </a:p>
            </p:txBody>
          </p:sp>
          <p:grpSp>
            <p:nvGrpSpPr>
              <p:cNvPr id="41" name="Group 40">
                <a:extLst>
                  <a:ext uri="{FF2B5EF4-FFF2-40B4-BE49-F238E27FC236}">
                    <a16:creationId xmlns:a16="http://schemas.microsoft.com/office/drawing/2014/main" id="{186173C5-85BE-484A-B1E8-C1FFA5855A6B}"/>
                  </a:ext>
                </a:extLst>
              </p:cNvPr>
              <p:cNvGrpSpPr/>
              <p:nvPr/>
            </p:nvGrpSpPr>
            <p:grpSpPr>
              <a:xfrm>
                <a:off x="9043258" y="4278622"/>
                <a:ext cx="359774" cy="287564"/>
                <a:chOff x="2533828" y="3717460"/>
                <a:chExt cx="655893" cy="524250"/>
              </a:xfrm>
            </p:grpSpPr>
            <p:grpSp>
              <p:nvGrpSpPr>
                <p:cNvPr id="42" name="Group 41">
                  <a:extLst>
                    <a:ext uri="{FF2B5EF4-FFF2-40B4-BE49-F238E27FC236}">
                      <a16:creationId xmlns:a16="http://schemas.microsoft.com/office/drawing/2014/main" id="{8B734E9A-EC14-4E2B-8F67-28C92E245897}"/>
                    </a:ext>
                  </a:extLst>
                </p:cNvPr>
                <p:cNvGrpSpPr/>
                <p:nvPr/>
              </p:nvGrpSpPr>
              <p:grpSpPr>
                <a:xfrm>
                  <a:off x="2533828" y="3878938"/>
                  <a:ext cx="351436" cy="362772"/>
                  <a:chOff x="6979556" y="4967290"/>
                  <a:chExt cx="295275" cy="304800"/>
                </a:xfrm>
              </p:grpSpPr>
              <p:sp>
                <p:nvSpPr>
                  <p:cNvPr id="46" name="Freeform: Shape 45">
                    <a:extLst>
                      <a:ext uri="{FF2B5EF4-FFF2-40B4-BE49-F238E27FC236}">
                        <a16:creationId xmlns:a16="http://schemas.microsoft.com/office/drawing/2014/main" id="{BCF23C08-8401-4084-A7B6-CBDC529B377D}"/>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sp>
                <p:nvSpPr>
                  <p:cNvPr id="47" name="Freeform: Shape 46">
                    <a:extLst>
                      <a:ext uri="{FF2B5EF4-FFF2-40B4-BE49-F238E27FC236}">
                        <a16:creationId xmlns:a16="http://schemas.microsoft.com/office/drawing/2014/main" id="{4ED93E01-FC0E-4D43-BA99-1FA8266D84C7}"/>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nvGrpSpPr>
                <p:cNvPr id="43" name="Group 42">
                  <a:extLst>
                    <a:ext uri="{FF2B5EF4-FFF2-40B4-BE49-F238E27FC236}">
                      <a16:creationId xmlns:a16="http://schemas.microsoft.com/office/drawing/2014/main" id="{F8A61B59-7561-41DC-B7E4-0744E5812550}"/>
                    </a:ext>
                  </a:extLst>
                </p:cNvPr>
                <p:cNvGrpSpPr/>
                <p:nvPr/>
              </p:nvGrpSpPr>
              <p:grpSpPr>
                <a:xfrm>
                  <a:off x="2900401" y="3717460"/>
                  <a:ext cx="289320" cy="298652"/>
                  <a:chOff x="6979556" y="4967290"/>
                  <a:chExt cx="295275" cy="304800"/>
                </a:xfrm>
              </p:grpSpPr>
              <p:sp>
                <p:nvSpPr>
                  <p:cNvPr id="44" name="Freeform: Shape 43">
                    <a:extLst>
                      <a:ext uri="{FF2B5EF4-FFF2-40B4-BE49-F238E27FC236}">
                        <a16:creationId xmlns:a16="http://schemas.microsoft.com/office/drawing/2014/main" id="{0F69B8F9-23BD-49B0-921D-D5C77BAAE3EB}"/>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sp>
                <p:nvSpPr>
                  <p:cNvPr id="45" name="Freeform: Shape 44">
                    <a:extLst>
                      <a:ext uri="{FF2B5EF4-FFF2-40B4-BE49-F238E27FC236}">
                        <a16:creationId xmlns:a16="http://schemas.microsoft.com/office/drawing/2014/main" id="{00910223-79C2-4817-B3A7-EB18B4B09B43}"/>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grpSp>
        <p:grpSp>
          <p:nvGrpSpPr>
            <p:cNvPr id="34" name="Group 33">
              <a:extLst>
                <a:ext uri="{FF2B5EF4-FFF2-40B4-BE49-F238E27FC236}">
                  <a16:creationId xmlns:a16="http://schemas.microsoft.com/office/drawing/2014/main" id="{FAEA0DA6-F375-4A97-983A-742D5EE5B098}"/>
                </a:ext>
              </a:extLst>
            </p:cNvPr>
            <p:cNvGrpSpPr/>
            <p:nvPr/>
          </p:nvGrpSpPr>
          <p:grpSpPr>
            <a:xfrm>
              <a:off x="7565525" y="4946897"/>
              <a:ext cx="314269" cy="444151"/>
              <a:chOff x="7498789" y="4274821"/>
              <a:chExt cx="439761" cy="621510"/>
            </a:xfrm>
          </p:grpSpPr>
          <p:sp>
            <p:nvSpPr>
              <p:cNvPr id="38" name="TextBox 37">
                <a:extLst>
                  <a:ext uri="{FF2B5EF4-FFF2-40B4-BE49-F238E27FC236}">
                    <a16:creationId xmlns:a16="http://schemas.microsoft.com/office/drawing/2014/main" id="{401AE84F-F5CA-4DFB-84F8-5DAC6324867A}"/>
                  </a:ext>
                </a:extLst>
              </p:cNvPr>
              <p:cNvSpPr txBox="1"/>
              <p:nvPr/>
            </p:nvSpPr>
            <p:spPr>
              <a:xfrm>
                <a:off x="7498789" y="4718406"/>
                <a:ext cx="439761" cy="177925"/>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ALM</a:t>
                </a:r>
              </a:p>
            </p:txBody>
          </p:sp>
          <p:sp>
            <p:nvSpPr>
              <p:cNvPr id="39" name="transform" title="Icon of a circle and a square with two curved lines making a cycle">
                <a:extLst>
                  <a:ext uri="{FF2B5EF4-FFF2-40B4-BE49-F238E27FC236}">
                    <a16:creationId xmlns:a16="http://schemas.microsoft.com/office/drawing/2014/main" id="{1933D7BC-3854-4B2C-B2B8-0D9C28B56ABB}"/>
                  </a:ext>
                </a:extLst>
              </p:cNvPr>
              <p:cNvSpPr>
                <a:spLocks noChangeAspect="1" noEditPoints="1"/>
              </p:cNvSpPr>
              <p:nvPr/>
            </p:nvSpPr>
            <p:spPr bwMode="auto">
              <a:xfrm>
                <a:off x="7610256" y="4274821"/>
                <a:ext cx="216826" cy="271032"/>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12700" cap="flat">
                <a:solidFill>
                  <a:srgbClr val="BB6100"/>
                </a:solidFill>
                <a:prstDash val="solid"/>
                <a:miter lim="800000"/>
                <a:headEnd/>
                <a:tailEnd/>
              </a:ln>
            </p:spPr>
            <p:txBody>
              <a:bodyPr vert="horz" wrap="square" lIns="93248" tIns="46624" rIns="93248" bIns="46624" numCol="1" anchor="t" anchorCtr="0" compatLnSpc="1">
                <a:prstTxWarp prst="textNoShape">
                  <a:avLst/>
                </a:prstTxWarp>
              </a:bodyPr>
              <a:lstStyle/>
              <a:p>
                <a:pPr defTabSz="932504">
                  <a:defRPr/>
                </a:pPr>
                <a:endParaRPr lang="en-US" sz="1224">
                  <a:solidFill>
                    <a:srgbClr val="FFC000"/>
                  </a:solidFill>
                  <a:latin typeface="Segoe UI"/>
                </a:endParaRPr>
              </a:p>
            </p:txBody>
          </p:sp>
        </p:grpSp>
        <p:grpSp>
          <p:nvGrpSpPr>
            <p:cNvPr id="35" name="Group 34">
              <a:extLst>
                <a:ext uri="{FF2B5EF4-FFF2-40B4-BE49-F238E27FC236}">
                  <a16:creationId xmlns:a16="http://schemas.microsoft.com/office/drawing/2014/main" id="{4D3324EC-2E70-4CC7-B398-E8DAE3980619}"/>
                </a:ext>
              </a:extLst>
            </p:cNvPr>
            <p:cNvGrpSpPr/>
            <p:nvPr/>
          </p:nvGrpSpPr>
          <p:grpSpPr>
            <a:xfrm>
              <a:off x="7297800" y="3885575"/>
              <a:ext cx="827554" cy="930332"/>
              <a:chOff x="3769143" y="3856277"/>
              <a:chExt cx="1158008" cy="1301829"/>
            </a:xfrm>
          </p:grpSpPr>
          <p:pic>
            <p:nvPicPr>
              <p:cNvPr id="36" name="Picture 35">
                <a:extLst>
                  <a:ext uri="{FF2B5EF4-FFF2-40B4-BE49-F238E27FC236}">
                    <a16:creationId xmlns:a16="http://schemas.microsoft.com/office/drawing/2014/main" id="{C5DE6742-591F-4128-BB0B-3A271D4EE8B1}"/>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0240" b="10240"/>
              <a:stretch/>
            </p:blipFill>
            <p:spPr>
              <a:xfrm>
                <a:off x="4039565" y="3856277"/>
                <a:ext cx="617165" cy="490768"/>
              </a:xfrm>
              <a:prstGeom prst="rect">
                <a:avLst/>
              </a:prstGeom>
            </p:spPr>
          </p:pic>
          <p:sp>
            <p:nvSpPr>
              <p:cNvPr id="37" name="TextBox 36">
                <a:extLst>
                  <a:ext uri="{FF2B5EF4-FFF2-40B4-BE49-F238E27FC236}">
                    <a16:creationId xmlns:a16="http://schemas.microsoft.com/office/drawing/2014/main" id="{7D8BD3D9-7459-43FA-858B-F1F7F49752FF}"/>
                  </a:ext>
                </a:extLst>
              </p:cNvPr>
              <p:cNvSpPr txBox="1"/>
              <p:nvPr/>
            </p:nvSpPr>
            <p:spPr>
              <a:xfrm>
                <a:off x="3769143" y="4367275"/>
                <a:ext cx="1158008" cy="790831"/>
              </a:xfrm>
              <a:prstGeom prst="rect">
                <a:avLst/>
              </a:prstGeom>
              <a:noFill/>
            </p:spPr>
            <p:txBody>
              <a:bodyPr wrap="square" lIns="0" tIns="0" rIns="0" bIns="0" rtlCol="0">
                <a:spAutoFit/>
              </a:bodyPr>
              <a:lstStyle/>
              <a:p>
                <a:pPr algn="ctr" defTabSz="932504">
                  <a:defRPr/>
                </a:pPr>
                <a:r>
                  <a:rPr lang="en-US" sz="1224" b="1" kern="0">
                    <a:solidFill>
                      <a:srgbClr val="FFC000"/>
                    </a:solidFill>
                    <a:latin typeface="Segoe UI"/>
                  </a:rPr>
                  <a:t>Enterprise</a:t>
                </a:r>
              </a:p>
              <a:p>
                <a:pPr algn="ctr" defTabSz="932504">
                  <a:defRPr/>
                </a:pPr>
                <a:r>
                  <a:rPr lang="en-US" sz="1224" b="1" kern="0">
                    <a:solidFill>
                      <a:srgbClr val="FFC000"/>
                    </a:solidFill>
                    <a:latin typeface="Segoe UI"/>
                  </a:rPr>
                  <a:t>Semantic</a:t>
                </a:r>
              </a:p>
              <a:p>
                <a:pPr algn="ctr" defTabSz="932504">
                  <a:defRPr/>
                </a:pPr>
                <a:r>
                  <a:rPr lang="en-US" sz="1224" b="1" kern="0">
                    <a:solidFill>
                      <a:srgbClr val="FFC000"/>
                    </a:solidFill>
                    <a:latin typeface="Segoe UI"/>
                  </a:rPr>
                  <a:t>Dataset</a:t>
                </a:r>
              </a:p>
            </p:txBody>
          </p:sp>
        </p:grpSp>
      </p:grpSp>
      <p:grpSp>
        <p:nvGrpSpPr>
          <p:cNvPr id="50" name="Group 49">
            <a:extLst>
              <a:ext uri="{FF2B5EF4-FFF2-40B4-BE49-F238E27FC236}">
                <a16:creationId xmlns:a16="http://schemas.microsoft.com/office/drawing/2014/main" id="{95887442-13AC-4CF9-89FF-CE8909E39C7D}"/>
              </a:ext>
              <a:ext uri="{C183D7F6-B498-43B3-948B-1728B52AA6E4}">
                <adec:decorative xmlns:adec="http://schemas.microsoft.com/office/drawing/2017/decorative" val="1"/>
              </a:ext>
            </a:extLst>
          </p:cNvPr>
          <p:cNvGrpSpPr/>
          <p:nvPr/>
        </p:nvGrpSpPr>
        <p:grpSpPr>
          <a:xfrm>
            <a:off x="3423022" y="2214289"/>
            <a:ext cx="4251710" cy="4251709"/>
            <a:chOff x="4442005" y="1739637"/>
            <a:chExt cx="4169254" cy="4169253"/>
          </a:xfrm>
        </p:grpSpPr>
        <p:grpSp>
          <p:nvGrpSpPr>
            <p:cNvPr id="51" name="!!Datasets">
              <a:extLst>
                <a:ext uri="{FF2B5EF4-FFF2-40B4-BE49-F238E27FC236}">
                  <a16:creationId xmlns:a16="http://schemas.microsoft.com/office/drawing/2014/main" id="{505D0B35-A846-4CA8-BC69-70B42A7B838A}"/>
                </a:ext>
              </a:extLst>
            </p:cNvPr>
            <p:cNvGrpSpPr/>
            <p:nvPr/>
          </p:nvGrpSpPr>
          <p:grpSpPr>
            <a:xfrm>
              <a:off x="4930151" y="4018649"/>
              <a:ext cx="1416215" cy="1394299"/>
              <a:chOff x="5169145" y="4150447"/>
              <a:chExt cx="1584080" cy="1559568"/>
            </a:xfrm>
          </p:grpSpPr>
          <p:sp>
            <p:nvSpPr>
              <p:cNvPr id="55" name="Oval 54">
                <a:extLst>
                  <a:ext uri="{FF2B5EF4-FFF2-40B4-BE49-F238E27FC236}">
                    <a16:creationId xmlns:a16="http://schemas.microsoft.com/office/drawing/2014/main" id="{7FE541A4-E423-4E4C-A2DA-9C652FBAB00F}"/>
                  </a:ext>
                </a:extLst>
              </p:cNvPr>
              <p:cNvSpPr/>
              <p:nvPr/>
            </p:nvSpPr>
            <p:spPr bwMode="auto">
              <a:xfrm>
                <a:off x="5169145" y="4150447"/>
                <a:ext cx="1584080" cy="1559568"/>
              </a:xfrm>
              <a:prstGeom prst="ellipse">
                <a:avLst/>
              </a:prstGeom>
              <a:solidFill>
                <a:schemeClr val="bg1">
                  <a:lumMod val="85000"/>
                  <a:lumOff val="15000"/>
                  <a:alpha val="25000"/>
                </a:schemeClr>
              </a:solidFill>
              <a:ln w="25400">
                <a:solidFill>
                  <a:srgbClr val="BB6100"/>
                </a:solidFill>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632" kern="0" err="1">
                  <a:solidFill>
                    <a:srgbClr val="FFC000"/>
                  </a:solidFill>
                  <a:latin typeface="Segoe UI"/>
                  <a:ea typeface="Segoe UI" pitchFamily="34" charset="0"/>
                  <a:cs typeface="Segoe UI" pitchFamily="34" charset="0"/>
                </a:endParaRPr>
              </a:p>
            </p:txBody>
          </p:sp>
          <p:sp>
            <p:nvSpPr>
              <p:cNvPr id="56" name="TextBox 55">
                <a:extLst>
                  <a:ext uri="{FF2B5EF4-FFF2-40B4-BE49-F238E27FC236}">
                    <a16:creationId xmlns:a16="http://schemas.microsoft.com/office/drawing/2014/main" id="{0F8EFBFA-4C86-415B-9C75-D97939B3BB0B}"/>
                  </a:ext>
                </a:extLst>
              </p:cNvPr>
              <p:cNvSpPr txBox="1"/>
              <p:nvPr/>
            </p:nvSpPr>
            <p:spPr>
              <a:xfrm>
                <a:off x="5797690" y="4452607"/>
                <a:ext cx="326990" cy="79035"/>
              </a:xfrm>
              <a:prstGeom prst="rect">
                <a:avLst/>
              </a:prstGeom>
              <a:noFill/>
            </p:spPr>
            <p:txBody>
              <a:bodyPr wrap="square" lIns="0" tIns="0" rIns="0" bIns="0" rtlCol="0">
                <a:spAutoFit/>
              </a:bodyPr>
              <a:lstStyle/>
              <a:p>
                <a:pPr algn="ctr" defTabSz="932504">
                  <a:lnSpc>
                    <a:spcPct val="90000"/>
                  </a:lnSpc>
                  <a:spcAft>
                    <a:spcPts val="600"/>
                  </a:spcAft>
                  <a:defRPr/>
                </a:pPr>
                <a:r>
                  <a:rPr lang="en-US" sz="510" kern="0">
                    <a:solidFill>
                      <a:srgbClr val="FFC000"/>
                    </a:solidFill>
                    <a:latin typeface="Segoe UI Semibold"/>
                  </a:rPr>
                  <a:t>Security</a:t>
                </a:r>
              </a:p>
            </p:txBody>
          </p:sp>
          <p:sp>
            <p:nvSpPr>
              <p:cNvPr id="57" name="TextBox 56">
                <a:extLst>
                  <a:ext uri="{FF2B5EF4-FFF2-40B4-BE49-F238E27FC236}">
                    <a16:creationId xmlns:a16="http://schemas.microsoft.com/office/drawing/2014/main" id="{40AF8036-29C9-47D4-9D28-519B7F4ABDF7}"/>
                  </a:ext>
                </a:extLst>
              </p:cNvPr>
              <p:cNvSpPr txBox="1"/>
              <p:nvPr/>
            </p:nvSpPr>
            <p:spPr>
              <a:xfrm>
                <a:off x="6257197" y="4859130"/>
                <a:ext cx="413100" cy="189629"/>
              </a:xfrm>
              <a:prstGeom prst="rect">
                <a:avLst/>
              </a:prstGeom>
              <a:noFill/>
            </p:spPr>
            <p:txBody>
              <a:bodyPr wrap="square" lIns="0" tIns="0" rIns="0" bIns="0" rtlCol="0">
                <a:spAutoFit/>
              </a:bodyPr>
              <a:lstStyle/>
              <a:p>
                <a:pPr algn="ctr" defTabSz="932504">
                  <a:lnSpc>
                    <a:spcPct val="90000"/>
                  </a:lnSpc>
                  <a:spcAft>
                    <a:spcPts val="600"/>
                  </a:spcAft>
                  <a:defRPr/>
                </a:pPr>
                <a:r>
                  <a:rPr lang="en-US" sz="612" kern="0">
                    <a:solidFill>
                      <a:srgbClr val="FFC000"/>
                    </a:solidFill>
                    <a:latin typeface="Segoe UI Semibold"/>
                  </a:rPr>
                  <a:t>Data</a:t>
                </a:r>
                <a:br>
                  <a:rPr lang="en-US" sz="612" kern="0">
                    <a:solidFill>
                      <a:srgbClr val="FFC000"/>
                    </a:solidFill>
                    <a:latin typeface="Segoe UI Semibold"/>
                  </a:rPr>
                </a:br>
                <a:r>
                  <a:rPr lang="en-US" sz="612" kern="0">
                    <a:solidFill>
                      <a:srgbClr val="FFC000"/>
                    </a:solidFill>
                    <a:latin typeface="Segoe UI Semibold"/>
                  </a:rPr>
                  <a:t>modeling</a:t>
                </a:r>
              </a:p>
            </p:txBody>
          </p:sp>
          <p:sp>
            <p:nvSpPr>
              <p:cNvPr id="58" name="Lock" title="Icon of a padlock">
                <a:extLst>
                  <a:ext uri="{FF2B5EF4-FFF2-40B4-BE49-F238E27FC236}">
                    <a16:creationId xmlns:a16="http://schemas.microsoft.com/office/drawing/2014/main" id="{5EE34D36-72B0-4E11-BCD9-8B60F87EB664}"/>
                  </a:ext>
                </a:extLst>
              </p:cNvPr>
              <p:cNvSpPr>
                <a:spLocks noChangeAspect="1" noEditPoints="1"/>
              </p:cNvSpPr>
              <p:nvPr/>
            </p:nvSpPr>
            <p:spPr bwMode="auto">
              <a:xfrm>
                <a:off x="5913343" y="4257430"/>
                <a:ext cx="95685" cy="133733"/>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9525"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1122">
                  <a:solidFill>
                    <a:srgbClr val="FFC000"/>
                  </a:solidFill>
                  <a:latin typeface="Segoe UI"/>
                </a:endParaRPr>
              </a:p>
            </p:txBody>
          </p:sp>
          <p:sp>
            <p:nvSpPr>
              <p:cNvPr id="59" name="Graphic 3">
                <a:extLst>
                  <a:ext uri="{FF2B5EF4-FFF2-40B4-BE49-F238E27FC236}">
                    <a16:creationId xmlns:a16="http://schemas.microsoft.com/office/drawing/2014/main" id="{A8AD8C30-98A9-48DA-8E5C-B1CD17CDAC38}"/>
                  </a:ext>
                </a:extLst>
              </p:cNvPr>
              <p:cNvSpPr/>
              <p:nvPr/>
            </p:nvSpPr>
            <p:spPr>
              <a:xfrm>
                <a:off x="6399703" y="4671858"/>
                <a:ext cx="128088" cy="131856"/>
              </a:xfrm>
              <a:custGeom>
                <a:avLst/>
                <a:gdLst>
                  <a:gd name="connsiteX0" fmla="*/ 9207 w 323850"/>
                  <a:gd name="connsiteY0" fmla="*/ 283819 h 333375"/>
                  <a:gd name="connsiteX1" fmla="*/ 9207 w 323850"/>
                  <a:gd name="connsiteY1" fmla="*/ 326872 h 333375"/>
                  <a:gd name="connsiteX2" fmla="*/ 52260 w 323850"/>
                  <a:gd name="connsiteY2" fmla="*/ 326872 h 333375"/>
                  <a:gd name="connsiteX3" fmla="*/ 162750 w 323850"/>
                  <a:gd name="connsiteY3" fmla="*/ 216763 h 333375"/>
                  <a:gd name="connsiteX4" fmla="*/ 120078 w 323850"/>
                  <a:gd name="connsiteY4" fmla="*/ 173139 h 333375"/>
                  <a:gd name="connsiteX5" fmla="*/ 9207 w 323850"/>
                  <a:gd name="connsiteY5" fmla="*/ 283819 h 333375"/>
                  <a:gd name="connsiteX6" fmla="*/ 9207 w 323850"/>
                  <a:gd name="connsiteY6" fmla="*/ 283819 h 333375"/>
                  <a:gd name="connsiteX7" fmla="*/ 9207 w 323850"/>
                  <a:gd name="connsiteY7" fmla="*/ 283819 h 333375"/>
                  <a:gd name="connsiteX8" fmla="*/ 328104 w 323850"/>
                  <a:gd name="connsiteY8" fmla="*/ 51314 h 333375"/>
                  <a:gd name="connsiteX9" fmla="*/ 285051 w 323850"/>
                  <a:gd name="connsiteY9" fmla="*/ 8261 h 333375"/>
                  <a:gd name="connsiteX10" fmla="*/ 251428 w 323850"/>
                  <a:gd name="connsiteY10" fmla="*/ 43218 h 333375"/>
                  <a:gd name="connsiteX11" fmla="*/ 251428 w 323850"/>
                  <a:gd name="connsiteY11" fmla="*/ 86271 h 333375"/>
                  <a:gd name="connsiteX12" fmla="*/ 294481 w 323850"/>
                  <a:gd name="connsiteY12" fmla="*/ 86271 h 333375"/>
                  <a:gd name="connsiteX13" fmla="*/ 328104 w 323850"/>
                  <a:gd name="connsiteY13" fmla="*/ 51314 h 333375"/>
                  <a:gd name="connsiteX14" fmla="*/ 328104 w 323850"/>
                  <a:gd name="connsiteY14" fmla="*/ 51314 h 333375"/>
                  <a:gd name="connsiteX15" fmla="*/ 328104 w 323850"/>
                  <a:gd name="connsiteY15" fmla="*/ 51314 h 333375"/>
                  <a:gd name="connsiteX16" fmla="*/ 328104 w 323850"/>
                  <a:gd name="connsiteY16" fmla="*/ 51314 h 333375"/>
                  <a:gd name="connsiteX17" fmla="*/ 250094 w 323850"/>
                  <a:gd name="connsiteY17" fmla="*/ 86271 h 333375"/>
                  <a:gd name="connsiteX18" fmla="*/ 190849 w 323850"/>
                  <a:gd name="connsiteY18" fmla="*/ 145421 h 333375"/>
                  <a:gd name="connsiteX19" fmla="*/ 122935 w 323850"/>
                  <a:gd name="connsiteY19" fmla="*/ 21310 h 333375"/>
                  <a:gd name="connsiteX20" fmla="*/ 140176 w 323850"/>
                  <a:gd name="connsiteY20" fmla="*/ 93224 h 333375"/>
                  <a:gd name="connsiteX21" fmla="*/ 320484 w 323850"/>
                  <a:gd name="connsiteY21" fmla="*/ 277723 h 333375"/>
                  <a:gd name="connsiteX22" fmla="*/ 320484 w 323850"/>
                  <a:gd name="connsiteY22" fmla="*/ 327920 h 333375"/>
                  <a:gd name="connsiteX23" fmla="*/ 271430 w 323850"/>
                  <a:gd name="connsiteY23" fmla="*/ 327920 h 333375"/>
                  <a:gd name="connsiteX24" fmla="*/ 92360 w 323850"/>
                  <a:gd name="connsiteY24" fmla="*/ 144754 h 333375"/>
                  <a:gd name="connsiteX25" fmla="*/ 20732 w 323850"/>
                  <a:gd name="connsiteY25" fmla="*/ 125800 h 333375"/>
                  <a:gd name="connsiteX26" fmla="*/ 7588 w 323850"/>
                  <a:gd name="connsiteY26" fmla="*/ 40265 h 333375"/>
                  <a:gd name="connsiteX27" fmla="*/ 63309 w 323850"/>
                  <a:gd name="connsiteY27" fmla="*/ 97225 h 333375"/>
                  <a:gd name="connsiteX28" fmla="*/ 95122 w 323850"/>
                  <a:gd name="connsiteY28" fmla="*/ 64649 h 333375"/>
                  <a:gd name="connsiteX29" fmla="*/ 39401 w 323850"/>
                  <a:gd name="connsiteY29" fmla="*/ 7785 h 333375"/>
                  <a:gd name="connsiteX30" fmla="*/ 122935 w 323850"/>
                  <a:gd name="connsiteY30" fmla="*/ 21310 h 333375"/>
                  <a:gd name="connsiteX31" fmla="*/ 122935 w 323850"/>
                  <a:gd name="connsiteY31" fmla="*/ 21310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23850" h="333375">
                    <a:moveTo>
                      <a:pt x="9207" y="283819"/>
                    </a:moveTo>
                    <a:cubicBezTo>
                      <a:pt x="-2890" y="295916"/>
                      <a:pt x="-2890" y="314776"/>
                      <a:pt x="9207" y="326872"/>
                    </a:cubicBezTo>
                    <a:cubicBezTo>
                      <a:pt x="21304" y="338969"/>
                      <a:pt x="41497" y="338969"/>
                      <a:pt x="52260" y="326872"/>
                    </a:cubicBezTo>
                    <a:cubicBezTo>
                      <a:pt x="91312" y="287915"/>
                      <a:pt x="162750" y="216763"/>
                      <a:pt x="162750" y="216763"/>
                    </a:cubicBezTo>
                    <a:lnTo>
                      <a:pt x="120078" y="173139"/>
                    </a:lnTo>
                    <a:lnTo>
                      <a:pt x="9207" y="283819"/>
                    </a:lnTo>
                    <a:lnTo>
                      <a:pt x="9207" y="283819"/>
                    </a:lnTo>
                    <a:lnTo>
                      <a:pt x="9207" y="283819"/>
                    </a:lnTo>
                    <a:close/>
                    <a:moveTo>
                      <a:pt x="328104" y="51314"/>
                    </a:moveTo>
                    <a:cubicBezTo>
                      <a:pt x="285051" y="8261"/>
                      <a:pt x="285051" y="8261"/>
                      <a:pt x="285051" y="8261"/>
                    </a:cubicBezTo>
                    <a:cubicBezTo>
                      <a:pt x="251428" y="43218"/>
                      <a:pt x="251428" y="43218"/>
                      <a:pt x="251428" y="43218"/>
                    </a:cubicBezTo>
                    <a:cubicBezTo>
                      <a:pt x="251428" y="86271"/>
                      <a:pt x="251428" y="86271"/>
                      <a:pt x="251428" y="86271"/>
                    </a:cubicBezTo>
                    <a:cubicBezTo>
                      <a:pt x="294481" y="86271"/>
                      <a:pt x="294481" y="86271"/>
                      <a:pt x="294481" y="86271"/>
                    </a:cubicBezTo>
                    <a:cubicBezTo>
                      <a:pt x="328104" y="51314"/>
                      <a:pt x="328104" y="51314"/>
                      <a:pt x="328104" y="51314"/>
                    </a:cubicBezTo>
                    <a:lnTo>
                      <a:pt x="328104" y="51314"/>
                    </a:lnTo>
                    <a:lnTo>
                      <a:pt x="328104" y="51314"/>
                    </a:lnTo>
                    <a:lnTo>
                      <a:pt x="328104" y="51314"/>
                    </a:lnTo>
                    <a:close/>
                    <a:moveTo>
                      <a:pt x="250094" y="86271"/>
                    </a:moveTo>
                    <a:lnTo>
                      <a:pt x="190849" y="145421"/>
                    </a:lnTo>
                    <a:moveTo>
                      <a:pt x="122935" y="21310"/>
                    </a:moveTo>
                    <a:cubicBezTo>
                      <a:pt x="141509" y="40265"/>
                      <a:pt x="148177" y="68840"/>
                      <a:pt x="140176" y="93224"/>
                    </a:cubicBezTo>
                    <a:lnTo>
                      <a:pt x="320484" y="277723"/>
                    </a:lnTo>
                    <a:cubicBezTo>
                      <a:pt x="333724" y="291249"/>
                      <a:pt x="333724" y="314395"/>
                      <a:pt x="320484" y="327920"/>
                    </a:cubicBezTo>
                    <a:cubicBezTo>
                      <a:pt x="307244" y="341446"/>
                      <a:pt x="284670" y="341446"/>
                      <a:pt x="271430" y="327920"/>
                    </a:cubicBezTo>
                    <a:lnTo>
                      <a:pt x="92360" y="144754"/>
                    </a:lnTo>
                    <a:cubicBezTo>
                      <a:pt x="67119" y="151517"/>
                      <a:pt x="40639" y="146088"/>
                      <a:pt x="20732" y="125800"/>
                    </a:cubicBezTo>
                    <a:cubicBezTo>
                      <a:pt x="-1747" y="102749"/>
                      <a:pt x="-5652" y="67411"/>
                      <a:pt x="7588" y="40265"/>
                    </a:cubicBezTo>
                    <a:lnTo>
                      <a:pt x="63309" y="97225"/>
                    </a:lnTo>
                    <a:lnTo>
                      <a:pt x="95122" y="64649"/>
                    </a:lnTo>
                    <a:lnTo>
                      <a:pt x="39401" y="7785"/>
                    </a:lnTo>
                    <a:cubicBezTo>
                      <a:pt x="67214" y="-5836"/>
                      <a:pt x="100361" y="-1740"/>
                      <a:pt x="122935" y="21310"/>
                    </a:cubicBezTo>
                    <a:lnTo>
                      <a:pt x="122935" y="21310"/>
                    </a:lnTo>
                    <a:close/>
                  </a:path>
                </a:pathLst>
              </a:custGeom>
              <a:noFill/>
              <a:ln w="9525" cap="sq">
                <a:solidFill>
                  <a:srgbClr val="BB6100"/>
                </a:solidFill>
                <a:prstDash val="solid"/>
                <a:miter/>
              </a:ln>
            </p:spPr>
            <p:txBody>
              <a:bodyPr rtlCol="0" anchor="ctr"/>
              <a:lstStyle/>
              <a:p>
                <a:pPr defTabSz="932504">
                  <a:defRPr/>
                </a:pPr>
                <a:endParaRPr lang="en-US" sz="1122">
                  <a:solidFill>
                    <a:srgbClr val="FFC000"/>
                  </a:solidFill>
                  <a:latin typeface="Segoe UI"/>
                </a:endParaRPr>
              </a:p>
            </p:txBody>
          </p:sp>
          <p:grpSp>
            <p:nvGrpSpPr>
              <p:cNvPr id="60" name="Group 59">
                <a:extLst>
                  <a:ext uri="{FF2B5EF4-FFF2-40B4-BE49-F238E27FC236}">
                    <a16:creationId xmlns:a16="http://schemas.microsoft.com/office/drawing/2014/main" id="{3781723E-CB82-4D64-BF1F-FF228EF4B02C}"/>
                  </a:ext>
                </a:extLst>
              </p:cNvPr>
              <p:cNvGrpSpPr/>
              <p:nvPr/>
            </p:nvGrpSpPr>
            <p:grpSpPr>
              <a:xfrm>
                <a:off x="5273912" y="4674266"/>
                <a:ext cx="425689" cy="469305"/>
                <a:chOff x="7188505" y="3194265"/>
                <a:chExt cx="875903" cy="965651"/>
              </a:xfrm>
            </p:grpSpPr>
            <p:sp>
              <p:nvSpPr>
                <p:cNvPr id="76" name="TextBox 75">
                  <a:extLst>
                    <a:ext uri="{FF2B5EF4-FFF2-40B4-BE49-F238E27FC236}">
                      <a16:creationId xmlns:a16="http://schemas.microsoft.com/office/drawing/2014/main" id="{3659D5FE-1EC7-4930-8409-E684CA2E4EC5}"/>
                    </a:ext>
                  </a:extLst>
                </p:cNvPr>
                <p:cNvSpPr txBox="1"/>
                <p:nvPr/>
              </p:nvSpPr>
              <p:spPr>
                <a:xfrm>
                  <a:off x="7188505" y="3574641"/>
                  <a:ext cx="875903" cy="585275"/>
                </a:xfrm>
                <a:prstGeom prst="rect">
                  <a:avLst/>
                </a:prstGeom>
                <a:noFill/>
              </p:spPr>
              <p:txBody>
                <a:bodyPr wrap="square" lIns="0" tIns="0" rIns="0" bIns="0" rtlCol="0">
                  <a:spAutoFit/>
                </a:bodyPr>
                <a:lstStyle/>
                <a:p>
                  <a:pPr algn="ctr" defTabSz="932504">
                    <a:lnSpc>
                      <a:spcPct val="90000"/>
                    </a:lnSpc>
                    <a:spcAft>
                      <a:spcPts val="600"/>
                    </a:spcAft>
                    <a:defRPr/>
                  </a:pPr>
                  <a:r>
                    <a:rPr lang="en-US" sz="612" kern="0">
                      <a:solidFill>
                        <a:srgbClr val="FFC000"/>
                      </a:solidFill>
                      <a:latin typeface="Segoe UI Semibold"/>
                    </a:rPr>
                    <a:t>In-memory</a:t>
                  </a:r>
                  <a:br>
                    <a:rPr lang="en-US" sz="612" kern="0">
                      <a:solidFill>
                        <a:srgbClr val="FFC000"/>
                      </a:solidFill>
                      <a:latin typeface="Segoe UI Semibold"/>
                    </a:rPr>
                  </a:br>
                  <a:r>
                    <a:rPr lang="en-US" sz="612" kern="0">
                      <a:solidFill>
                        <a:srgbClr val="FFC000"/>
                      </a:solidFill>
                      <a:latin typeface="Segoe UI Semibold"/>
                    </a:rPr>
                    <a:t>cache</a:t>
                  </a:r>
                </a:p>
              </p:txBody>
            </p:sp>
            <p:sp>
              <p:nvSpPr>
                <p:cNvPr id="77" name="LightningBolt_E945" title="Icon of a lightning bolt">
                  <a:extLst>
                    <a:ext uri="{FF2B5EF4-FFF2-40B4-BE49-F238E27FC236}">
                      <a16:creationId xmlns:a16="http://schemas.microsoft.com/office/drawing/2014/main" id="{799441F8-4AFA-42A7-83F4-91B7DDDC825C}"/>
                    </a:ext>
                  </a:extLst>
                </p:cNvPr>
                <p:cNvSpPr>
                  <a:spLocks noChangeAspect="1"/>
                </p:cNvSpPr>
                <p:nvPr/>
              </p:nvSpPr>
              <p:spPr bwMode="auto">
                <a:xfrm>
                  <a:off x="7532797" y="3194265"/>
                  <a:ext cx="187318" cy="261396"/>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510">
                    <a:solidFill>
                      <a:srgbClr val="FFC000"/>
                    </a:solidFill>
                    <a:latin typeface="Segoe UI"/>
                  </a:endParaRPr>
                </a:p>
              </p:txBody>
            </p:sp>
          </p:grpSp>
          <p:grpSp>
            <p:nvGrpSpPr>
              <p:cNvPr id="61" name="Group 60">
                <a:extLst>
                  <a:ext uri="{FF2B5EF4-FFF2-40B4-BE49-F238E27FC236}">
                    <a16:creationId xmlns:a16="http://schemas.microsoft.com/office/drawing/2014/main" id="{AA96C057-CFBD-4412-8370-8123550C34AC}"/>
                  </a:ext>
                </a:extLst>
              </p:cNvPr>
              <p:cNvGrpSpPr/>
              <p:nvPr/>
            </p:nvGrpSpPr>
            <p:grpSpPr>
              <a:xfrm>
                <a:off x="5902446" y="5183675"/>
                <a:ext cx="593606" cy="363025"/>
                <a:chOff x="8612440" y="4278622"/>
                <a:chExt cx="1221411" cy="746964"/>
              </a:xfrm>
            </p:grpSpPr>
            <p:sp>
              <p:nvSpPr>
                <p:cNvPr id="68" name="TextBox 67">
                  <a:extLst>
                    <a:ext uri="{FF2B5EF4-FFF2-40B4-BE49-F238E27FC236}">
                      <a16:creationId xmlns:a16="http://schemas.microsoft.com/office/drawing/2014/main" id="{513F3A63-CD30-43E5-9488-1C116551FDBA}"/>
                    </a:ext>
                  </a:extLst>
                </p:cNvPr>
                <p:cNvSpPr txBox="1"/>
                <p:nvPr/>
              </p:nvSpPr>
              <p:spPr>
                <a:xfrm>
                  <a:off x="8612440" y="4635403"/>
                  <a:ext cx="1221411" cy="390183"/>
                </a:xfrm>
                <a:prstGeom prst="rect">
                  <a:avLst/>
                </a:prstGeom>
                <a:noFill/>
              </p:spPr>
              <p:txBody>
                <a:bodyPr wrap="square" lIns="0" tIns="0" rIns="0" bIns="0" rtlCol="0">
                  <a:spAutoFit/>
                </a:bodyPr>
                <a:lstStyle/>
                <a:p>
                  <a:pPr algn="ctr" defTabSz="932504">
                    <a:lnSpc>
                      <a:spcPct val="90000"/>
                    </a:lnSpc>
                    <a:spcAft>
                      <a:spcPts val="600"/>
                    </a:spcAft>
                    <a:defRPr/>
                  </a:pPr>
                  <a:r>
                    <a:rPr lang="en-US" sz="612" kern="0">
                      <a:solidFill>
                        <a:srgbClr val="FFC000"/>
                      </a:solidFill>
                      <a:latin typeface="Segoe UI Semibold"/>
                    </a:rPr>
                    <a:t>Business logic</a:t>
                  </a:r>
                  <a:br>
                    <a:rPr lang="en-US" sz="612" kern="0">
                      <a:solidFill>
                        <a:srgbClr val="FFC000"/>
                      </a:solidFill>
                      <a:latin typeface="Segoe UI Semibold"/>
                    </a:rPr>
                  </a:br>
                  <a:r>
                    <a:rPr lang="en-US" sz="612" kern="0">
                      <a:solidFill>
                        <a:srgbClr val="FFC000"/>
                      </a:solidFill>
                      <a:latin typeface="Segoe UI Semibold"/>
                    </a:rPr>
                    <a:t>&amp; metrics</a:t>
                  </a:r>
                </a:p>
              </p:txBody>
            </p:sp>
            <p:grpSp>
              <p:nvGrpSpPr>
                <p:cNvPr id="69" name="Group 68">
                  <a:extLst>
                    <a:ext uri="{FF2B5EF4-FFF2-40B4-BE49-F238E27FC236}">
                      <a16:creationId xmlns:a16="http://schemas.microsoft.com/office/drawing/2014/main" id="{40345755-25B4-407C-85C3-2A9D8A0A49D8}"/>
                    </a:ext>
                  </a:extLst>
                </p:cNvPr>
                <p:cNvGrpSpPr/>
                <p:nvPr/>
              </p:nvGrpSpPr>
              <p:grpSpPr>
                <a:xfrm>
                  <a:off x="9043258" y="4278622"/>
                  <a:ext cx="359774" cy="287564"/>
                  <a:chOff x="2533828" y="3717460"/>
                  <a:chExt cx="655893" cy="524250"/>
                </a:xfrm>
              </p:grpSpPr>
              <p:grpSp>
                <p:nvGrpSpPr>
                  <p:cNvPr id="70" name="Group 69">
                    <a:extLst>
                      <a:ext uri="{FF2B5EF4-FFF2-40B4-BE49-F238E27FC236}">
                        <a16:creationId xmlns:a16="http://schemas.microsoft.com/office/drawing/2014/main" id="{08F1D689-CFCD-47D7-AD5F-7D9ADD5D1565}"/>
                      </a:ext>
                    </a:extLst>
                  </p:cNvPr>
                  <p:cNvGrpSpPr/>
                  <p:nvPr/>
                </p:nvGrpSpPr>
                <p:grpSpPr>
                  <a:xfrm>
                    <a:off x="2533828" y="3878938"/>
                    <a:ext cx="351436" cy="362772"/>
                    <a:chOff x="6979556" y="4967290"/>
                    <a:chExt cx="295275" cy="304800"/>
                  </a:xfrm>
                </p:grpSpPr>
                <p:sp>
                  <p:nvSpPr>
                    <p:cNvPr id="74" name="Freeform: Shape 73">
                      <a:extLst>
                        <a:ext uri="{FF2B5EF4-FFF2-40B4-BE49-F238E27FC236}">
                          <a16:creationId xmlns:a16="http://schemas.microsoft.com/office/drawing/2014/main" id="{046FF842-012B-4FE1-AAA7-E99188DFACC1}"/>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510">
                        <a:solidFill>
                          <a:srgbClr val="FFC000"/>
                        </a:solidFill>
                        <a:latin typeface="Segoe UI"/>
                      </a:endParaRPr>
                    </a:p>
                  </p:txBody>
                </p:sp>
                <p:sp>
                  <p:nvSpPr>
                    <p:cNvPr id="75" name="Freeform: Shape 74">
                      <a:extLst>
                        <a:ext uri="{FF2B5EF4-FFF2-40B4-BE49-F238E27FC236}">
                          <a16:creationId xmlns:a16="http://schemas.microsoft.com/office/drawing/2014/main" id="{AF162D75-DF0D-45A2-BC88-7642869CEE3F}"/>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9525"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510">
                        <a:solidFill>
                          <a:srgbClr val="FFC000"/>
                        </a:solidFill>
                        <a:latin typeface="Segoe UI"/>
                      </a:endParaRPr>
                    </a:p>
                  </p:txBody>
                </p:sp>
              </p:grpSp>
              <p:grpSp>
                <p:nvGrpSpPr>
                  <p:cNvPr id="71" name="Group 70">
                    <a:extLst>
                      <a:ext uri="{FF2B5EF4-FFF2-40B4-BE49-F238E27FC236}">
                        <a16:creationId xmlns:a16="http://schemas.microsoft.com/office/drawing/2014/main" id="{35DA3CCD-237B-4D79-A554-6FB002B7301B}"/>
                      </a:ext>
                    </a:extLst>
                  </p:cNvPr>
                  <p:cNvGrpSpPr/>
                  <p:nvPr/>
                </p:nvGrpSpPr>
                <p:grpSpPr>
                  <a:xfrm>
                    <a:off x="2900401" y="3717460"/>
                    <a:ext cx="289320" cy="298652"/>
                    <a:chOff x="6979556" y="4967290"/>
                    <a:chExt cx="295275" cy="304800"/>
                  </a:xfrm>
                </p:grpSpPr>
                <p:sp>
                  <p:nvSpPr>
                    <p:cNvPr id="72" name="Freeform: Shape 71">
                      <a:extLst>
                        <a:ext uri="{FF2B5EF4-FFF2-40B4-BE49-F238E27FC236}">
                          <a16:creationId xmlns:a16="http://schemas.microsoft.com/office/drawing/2014/main" id="{5BC8C6F1-E403-4F2D-8B64-0572C2EC970A}"/>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510">
                        <a:solidFill>
                          <a:srgbClr val="FFC000"/>
                        </a:solidFill>
                        <a:latin typeface="Segoe UI"/>
                      </a:endParaRPr>
                    </a:p>
                  </p:txBody>
                </p:sp>
                <p:sp>
                  <p:nvSpPr>
                    <p:cNvPr id="73" name="Freeform: Shape 72">
                      <a:extLst>
                        <a:ext uri="{FF2B5EF4-FFF2-40B4-BE49-F238E27FC236}">
                          <a16:creationId xmlns:a16="http://schemas.microsoft.com/office/drawing/2014/main" id="{0C6B14D8-7B72-417B-877C-20E54C1019CC}"/>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9525"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510">
                        <a:solidFill>
                          <a:srgbClr val="FFC000"/>
                        </a:solidFill>
                        <a:latin typeface="Segoe UI"/>
                      </a:endParaRPr>
                    </a:p>
                  </p:txBody>
                </p:sp>
              </p:grpSp>
            </p:grpSp>
          </p:grpSp>
          <p:grpSp>
            <p:nvGrpSpPr>
              <p:cNvPr id="62" name="Group 61">
                <a:extLst>
                  <a:ext uri="{FF2B5EF4-FFF2-40B4-BE49-F238E27FC236}">
                    <a16:creationId xmlns:a16="http://schemas.microsoft.com/office/drawing/2014/main" id="{DF3D35BC-05A0-4398-AA92-CB5928995BC9}"/>
                  </a:ext>
                </a:extLst>
              </p:cNvPr>
              <p:cNvGrpSpPr/>
              <p:nvPr/>
            </p:nvGrpSpPr>
            <p:grpSpPr>
              <a:xfrm>
                <a:off x="5488210" y="5204131"/>
                <a:ext cx="213724" cy="310397"/>
                <a:chOff x="7498789" y="4274821"/>
                <a:chExt cx="439761" cy="638677"/>
              </a:xfrm>
            </p:grpSpPr>
            <p:sp>
              <p:nvSpPr>
                <p:cNvPr id="66" name="TextBox 65">
                  <a:extLst>
                    <a:ext uri="{FF2B5EF4-FFF2-40B4-BE49-F238E27FC236}">
                      <a16:creationId xmlns:a16="http://schemas.microsoft.com/office/drawing/2014/main" id="{BB36E47B-74F7-4A08-A145-24A7A89B1A26}"/>
                    </a:ext>
                  </a:extLst>
                </p:cNvPr>
                <p:cNvSpPr txBox="1"/>
                <p:nvPr/>
              </p:nvSpPr>
              <p:spPr>
                <a:xfrm>
                  <a:off x="7498789" y="4718406"/>
                  <a:ext cx="439761" cy="195092"/>
                </a:xfrm>
                <a:prstGeom prst="rect">
                  <a:avLst/>
                </a:prstGeom>
                <a:noFill/>
              </p:spPr>
              <p:txBody>
                <a:bodyPr wrap="square" lIns="0" tIns="0" rIns="0" bIns="0" rtlCol="0">
                  <a:spAutoFit/>
                </a:bodyPr>
                <a:lstStyle/>
                <a:p>
                  <a:pPr algn="ctr" defTabSz="932504">
                    <a:lnSpc>
                      <a:spcPct val="90000"/>
                    </a:lnSpc>
                    <a:spcAft>
                      <a:spcPts val="600"/>
                    </a:spcAft>
                    <a:defRPr/>
                  </a:pPr>
                  <a:r>
                    <a:rPr lang="en-US" sz="612" kern="0">
                      <a:solidFill>
                        <a:srgbClr val="FFC000"/>
                      </a:solidFill>
                      <a:latin typeface="Segoe UI Semibold"/>
                    </a:rPr>
                    <a:t>ALM</a:t>
                  </a:r>
                </a:p>
              </p:txBody>
            </p:sp>
            <p:sp>
              <p:nvSpPr>
                <p:cNvPr id="67" name="transform" title="Icon of a circle and a square with two curved lines making a cycle">
                  <a:extLst>
                    <a:ext uri="{FF2B5EF4-FFF2-40B4-BE49-F238E27FC236}">
                      <a16:creationId xmlns:a16="http://schemas.microsoft.com/office/drawing/2014/main" id="{D04C9F6C-ADED-464D-97C3-288D00DA570D}"/>
                    </a:ext>
                  </a:extLst>
                </p:cNvPr>
                <p:cNvSpPr>
                  <a:spLocks noChangeAspect="1" noEditPoints="1"/>
                </p:cNvSpPr>
                <p:nvPr/>
              </p:nvSpPr>
              <p:spPr bwMode="auto">
                <a:xfrm>
                  <a:off x="7610256" y="4274821"/>
                  <a:ext cx="216826" cy="271032"/>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9525" cap="flat">
                  <a:solidFill>
                    <a:srgbClr val="BB6100"/>
                  </a:solidFill>
                  <a:prstDash val="solid"/>
                  <a:miter lim="800000"/>
                  <a:headEnd/>
                  <a:tailEnd/>
                </a:ln>
              </p:spPr>
              <p:txBody>
                <a:bodyPr vert="horz" wrap="square" lIns="93248" tIns="46624" rIns="93248" bIns="46624" numCol="1" anchor="t" anchorCtr="0" compatLnSpc="1">
                  <a:prstTxWarp prst="textNoShape">
                    <a:avLst/>
                  </a:prstTxWarp>
                </a:bodyPr>
                <a:lstStyle/>
                <a:p>
                  <a:pPr defTabSz="932504">
                    <a:defRPr/>
                  </a:pPr>
                  <a:endParaRPr lang="en-US" sz="1122">
                    <a:solidFill>
                      <a:srgbClr val="FFC000"/>
                    </a:solidFill>
                    <a:latin typeface="Segoe UI"/>
                  </a:endParaRPr>
                </a:p>
              </p:txBody>
            </p:sp>
          </p:grpSp>
          <p:grpSp>
            <p:nvGrpSpPr>
              <p:cNvPr id="63" name="Group 62">
                <a:extLst>
                  <a:ext uri="{FF2B5EF4-FFF2-40B4-BE49-F238E27FC236}">
                    <a16:creationId xmlns:a16="http://schemas.microsoft.com/office/drawing/2014/main" id="{D389F9F6-2442-4E9D-864A-2012C3AE0B53}"/>
                  </a:ext>
                </a:extLst>
              </p:cNvPr>
              <p:cNvGrpSpPr/>
              <p:nvPr/>
            </p:nvGrpSpPr>
            <p:grpSpPr>
              <a:xfrm>
                <a:off x="5679789" y="4615466"/>
                <a:ext cx="562792" cy="529034"/>
                <a:chOff x="3769143" y="3856277"/>
                <a:chExt cx="1158008" cy="1088549"/>
              </a:xfrm>
            </p:grpSpPr>
            <p:pic>
              <p:nvPicPr>
                <p:cNvPr id="64" name="Picture 63">
                  <a:extLst>
                    <a:ext uri="{FF2B5EF4-FFF2-40B4-BE49-F238E27FC236}">
                      <a16:creationId xmlns:a16="http://schemas.microsoft.com/office/drawing/2014/main" id="{984CFCF6-4B05-4C30-B72B-6D9FC6EEA3BA}"/>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0240" b="10240"/>
                <a:stretch/>
              </p:blipFill>
              <p:spPr>
                <a:xfrm>
                  <a:off x="4039565" y="3856277"/>
                  <a:ext cx="617164" cy="490769"/>
                </a:xfrm>
                <a:prstGeom prst="rect">
                  <a:avLst/>
                </a:prstGeom>
              </p:spPr>
            </p:pic>
            <p:sp>
              <p:nvSpPr>
                <p:cNvPr id="65" name="TextBox 64">
                  <a:extLst>
                    <a:ext uri="{FF2B5EF4-FFF2-40B4-BE49-F238E27FC236}">
                      <a16:creationId xmlns:a16="http://schemas.microsoft.com/office/drawing/2014/main" id="{10B46B6F-D9BA-4850-8051-64FC22BACE8E}"/>
                    </a:ext>
                  </a:extLst>
                </p:cNvPr>
                <p:cNvSpPr txBox="1"/>
                <p:nvPr/>
              </p:nvSpPr>
              <p:spPr>
                <a:xfrm>
                  <a:off x="3769143" y="4489415"/>
                  <a:ext cx="1158008" cy="455411"/>
                </a:xfrm>
                <a:prstGeom prst="rect">
                  <a:avLst/>
                </a:prstGeom>
                <a:noFill/>
              </p:spPr>
              <p:txBody>
                <a:bodyPr wrap="square" lIns="0" tIns="0" rIns="0" bIns="0" rtlCol="0">
                  <a:spAutoFit/>
                </a:bodyPr>
                <a:lstStyle/>
                <a:p>
                  <a:pPr algn="ctr" defTabSz="932504">
                    <a:lnSpc>
                      <a:spcPct val="90000"/>
                    </a:lnSpc>
                    <a:spcAft>
                      <a:spcPts val="600"/>
                    </a:spcAft>
                    <a:defRPr/>
                  </a:pPr>
                  <a:r>
                    <a:rPr lang="en-US" sz="714" b="1" kern="0">
                      <a:solidFill>
                        <a:srgbClr val="FFC000"/>
                      </a:solidFill>
                      <a:latin typeface="Segoe UI"/>
                    </a:rPr>
                    <a:t>Power BI Datasets</a:t>
                  </a:r>
                </a:p>
              </p:txBody>
            </p:sp>
          </p:grpSp>
        </p:grpSp>
        <p:grpSp>
          <p:nvGrpSpPr>
            <p:cNvPr id="52" name="!!Local">
              <a:extLst>
                <a:ext uri="{FF2B5EF4-FFF2-40B4-BE49-F238E27FC236}">
                  <a16:creationId xmlns:a16="http://schemas.microsoft.com/office/drawing/2014/main" id="{0B3D724B-1F4F-4B53-AAEE-431B9D1C11C3}"/>
                </a:ext>
              </a:extLst>
            </p:cNvPr>
            <p:cNvGrpSpPr/>
            <p:nvPr/>
          </p:nvGrpSpPr>
          <p:grpSpPr>
            <a:xfrm>
              <a:off x="4442005" y="1739637"/>
              <a:ext cx="4169254" cy="4169253"/>
              <a:chOff x="4817899" y="2476066"/>
              <a:chExt cx="4169254" cy="4169253"/>
            </a:xfrm>
          </p:grpSpPr>
          <p:sp>
            <p:nvSpPr>
              <p:cNvPr id="53" name="Oval 52">
                <a:extLst>
                  <a:ext uri="{FF2B5EF4-FFF2-40B4-BE49-F238E27FC236}">
                    <a16:creationId xmlns:a16="http://schemas.microsoft.com/office/drawing/2014/main" id="{66A9BE1B-FA9D-4900-9BCE-125C227E4EA9}"/>
                  </a:ext>
                </a:extLst>
              </p:cNvPr>
              <p:cNvSpPr/>
              <p:nvPr/>
            </p:nvSpPr>
            <p:spPr bwMode="auto">
              <a:xfrm>
                <a:off x="4817899" y="2476066"/>
                <a:ext cx="4169254" cy="4169253"/>
              </a:xfrm>
              <a:prstGeom prst="ellipse">
                <a:avLst/>
              </a:prstGeom>
              <a:noFill/>
              <a:ln w="12700">
                <a:solidFill>
                  <a:srgbClr val="BB6100"/>
                </a:solidFill>
                <a:prstDash val="dash"/>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836" kern="0" err="1">
                  <a:solidFill>
                    <a:srgbClr val="FFC000"/>
                  </a:solidFill>
                  <a:latin typeface="Segoe UI"/>
                  <a:cs typeface="Segoe UI" pitchFamily="34" charset="0"/>
                </a:endParaRPr>
              </a:p>
            </p:txBody>
          </p:sp>
          <p:sp>
            <p:nvSpPr>
              <p:cNvPr id="54" name="TextBox 53">
                <a:extLst>
                  <a:ext uri="{FF2B5EF4-FFF2-40B4-BE49-F238E27FC236}">
                    <a16:creationId xmlns:a16="http://schemas.microsoft.com/office/drawing/2014/main" id="{EAED2349-CE0B-4088-B1D7-AE0331F87316}"/>
                  </a:ext>
                </a:extLst>
              </p:cNvPr>
              <p:cNvSpPr txBox="1"/>
              <p:nvPr/>
            </p:nvSpPr>
            <p:spPr>
              <a:xfrm>
                <a:off x="5284208" y="3850832"/>
                <a:ext cx="622789" cy="463216"/>
              </a:xfrm>
              <a:prstGeom prst="rect">
                <a:avLst/>
              </a:prstGeom>
              <a:noFill/>
            </p:spPr>
            <p:txBody>
              <a:bodyPr wrap="square" lIns="0" tIns="0" rIns="0" bIns="0" rtlCol="0">
                <a:spAutoFit/>
              </a:bodyPr>
              <a:lstStyle/>
              <a:p>
                <a:pPr algn="ctr" defTabSz="932504">
                  <a:lnSpc>
                    <a:spcPct val="90000"/>
                  </a:lnSpc>
                  <a:spcAft>
                    <a:spcPts val="600"/>
                  </a:spcAft>
                  <a:defRPr/>
                </a:pPr>
                <a:r>
                  <a:rPr lang="en-US" sz="1428" b="1" kern="0">
                    <a:solidFill>
                      <a:srgbClr val="FFC000"/>
                    </a:solidFill>
                    <a:latin typeface="Segoe UI Semibold"/>
                  </a:rPr>
                  <a:t>Local</a:t>
                </a:r>
              </a:p>
              <a:p>
                <a:pPr algn="ctr" defTabSz="932504">
                  <a:lnSpc>
                    <a:spcPct val="90000"/>
                  </a:lnSpc>
                  <a:spcAft>
                    <a:spcPts val="600"/>
                  </a:spcAft>
                  <a:defRPr/>
                </a:pPr>
                <a:r>
                  <a:rPr lang="en-US" sz="1428" b="1" kern="0">
                    <a:solidFill>
                      <a:srgbClr val="FFC000"/>
                    </a:solidFill>
                    <a:latin typeface="Segoe UI Semibold"/>
                  </a:rPr>
                  <a:t>Dataset</a:t>
                </a:r>
              </a:p>
            </p:txBody>
          </p:sp>
        </p:grpSp>
      </p:grpSp>
      <p:grpSp>
        <p:nvGrpSpPr>
          <p:cNvPr id="8" name="Group 7">
            <a:extLst>
              <a:ext uri="{FF2B5EF4-FFF2-40B4-BE49-F238E27FC236}">
                <a16:creationId xmlns:a16="http://schemas.microsoft.com/office/drawing/2014/main" id="{4F77F981-A606-4EFD-9F3D-183970EE232F}"/>
              </a:ext>
            </a:extLst>
          </p:cNvPr>
          <p:cNvGrpSpPr/>
          <p:nvPr/>
        </p:nvGrpSpPr>
        <p:grpSpPr>
          <a:xfrm>
            <a:off x="4998836" y="1615083"/>
            <a:ext cx="4252519" cy="4252518"/>
            <a:chOff x="4999473" y="1614842"/>
            <a:chExt cx="4253062" cy="4253061"/>
          </a:xfrm>
        </p:grpSpPr>
        <p:sp>
          <p:nvSpPr>
            <p:cNvPr id="80" name="TextBox 79">
              <a:extLst>
                <a:ext uri="{FF2B5EF4-FFF2-40B4-BE49-F238E27FC236}">
                  <a16:creationId xmlns:a16="http://schemas.microsoft.com/office/drawing/2014/main" id="{8E0627D0-3213-45EA-BD89-4D313072181F}"/>
                </a:ext>
              </a:extLst>
            </p:cNvPr>
            <p:cNvSpPr txBox="1"/>
            <p:nvPr/>
          </p:nvSpPr>
          <p:spPr>
            <a:xfrm>
              <a:off x="8062771" y="4466084"/>
              <a:ext cx="635187" cy="472437"/>
            </a:xfrm>
            <a:prstGeom prst="rect">
              <a:avLst/>
            </a:prstGeom>
            <a:noFill/>
          </p:spPr>
          <p:txBody>
            <a:bodyPr wrap="square" lIns="0" tIns="0" rIns="0" bIns="0" rtlCol="0">
              <a:spAutoFit/>
            </a:bodyPr>
            <a:lstStyle/>
            <a:p>
              <a:pPr algn="ctr" defTabSz="932504">
                <a:lnSpc>
                  <a:spcPct val="90000"/>
                </a:lnSpc>
                <a:spcAft>
                  <a:spcPts val="600"/>
                </a:spcAft>
                <a:defRPr/>
              </a:pPr>
              <a:r>
                <a:rPr lang="en-US" sz="1428" b="1" kern="0">
                  <a:solidFill>
                    <a:srgbClr val="FFC000"/>
                  </a:solidFill>
                  <a:latin typeface="Segoe UI Semibold"/>
                </a:rPr>
                <a:t>Local</a:t>
              </a:r>
            </a:p>
            <a:p>
              <a:pPr algn="ctr" defTabSz="932504">
                <a:lnSpc>
                  <a:spcPct val="90000"/>
                </a:lnSpc>
                <a:spcAft>
                  <a:spcPts val="600"/>
                </a:spcAft>
                <a:defRPr/>
              </a:pPr>
              <a:r>
                <a:rPr lang="en-US" sz="1428" b="1" kern="0">
                  <a:solidFill>
                    <a:srgbClr val="FFC000"/>
                  </a:solidFill>
                  <a:latin typeface="Segoe UI Semibold"/>
                </a:rPr>
                <a:t>Model</a:t>
              </a:r>
            </a:p>
          </p:txBody>
        </p:sp>
        <p:sp>
          <p:nvSpPr>
            <p:cNvPr id="81" name="Oval 80">
              <a:extLst>
                <a:ext uri="{FF2B5EF4-FFF2-40B4-BE49-F238E27FC236}">
                  <a16:creationId xmlns:a16="http://schemas.microsoft.com/office/drawing/2014/main" id="{7ACAE6C1-B2A8-48F0-A7EB-287617F99D07}"/>
                </a:ext>
              </a:extLst>
            </p:cNvPr>
            <p:cNvSpPr/>
            <p:nvPr/>
          </p:nvSpPr>
          <p:spPr bwMode="auto">
            <a:xfrm>
              <a:off x="4999473" y="1614842"/>
              <a:ext cx="4253062" cy="4253061"/>
            </a:xfrm>
            <a:prstGeom prst="ellipse">
              <a:avLst/>
            </a:prstGeom>
            <a:noFill/>
            <a:ln w="12700">
              <a:solidFill>
                <a:srgbClr val="BB61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IN" sz="2040">
                <a:solidFill>
                  <a:srgbClr val="FFC000"/>
                </a:solidFill>
                <a:latin typeface="Segoe UI"/>
                <a:ea typeface="Segoe UI" pitchFamily="34" charset="0"/>
                <a:cs typeface="Segoe UI" pitchFamily="34" charset="0"/>
              </a:endParaRPr>
            </a:p>
          </p:txBody>
        </p:sp>
        <p:grpSp>
          <p:nvGrpSpPr>
            <p:cNvPr id="7" name="Group 6">
              <a:extLst>
                <a:ext uri="{FF2B5EF4-FFF2-40B4-BE49-F238E27FC236}">
                  <a16:creationId xmlns:a16="http://schemas.microsoft.com/office/drawing/2014/main" id="{8B01592C-BADA-4C1C-B4EC-AD6198B71770}"/>
                </a:ext>
              </a:extLst>
            </p:cNvPr>
            <p:cNvGrpSpPr/>
            <p:nvPr/>
          </p:nvGrpSpPr>
          <p:grpSpPr>
            <a:xfrm>
              <a:off x="7383458" y="2083328"/>
              <a:ext cx="1530621" cy="2173382"/>
              <a:chOff x="7383458" y="2083328"/>
              <a:chExt cx="1530621" cy="2173382"/>
            </a:xfrm>
          </p:grpSpPr>
          <p:grpSp>
            <p:nvGrpSpPr>
              <p:cNvPr id="105" name="Group 104" descr="excel">
                <a:extLst>
                  <a:ext uri="{FF2B5EF4-FFF2-40B4-BE49-F238E27FC236}">
                    <a16:creationId xmlns:a16="http://schemas.microsoft.com/office/drawing/2014/main" id="{5C18D409-4F46-4E29-BF4A-56CB3495CF28}"/>
                  </a:ext>
                </a:extLst>
              </p:cNvPr>
              <p:cNvGrpSpPr/>
              <p:nvPr/>
            </p:nvGrpSpPr>
            <p:grpSpPr>
              <a:xfrm>
                <a:off x="7553645" y="2239064"/>
                <a:ext cx="541327" cy="671143"/>
                <a:chOff x="8154094" y="5755612"/>
                <a:chExt cx="902385" cy="1118787"/>
              </a:xfrm>
            </p:grpSpPr>
            <p:pic>
              <p:nvPicPr>
                <p:cNvPr id="106" name="Picture 105" descr="A close up of a sign&#10;&#10;Description automatically generated">
                  <a:extLst>
                    <a:ext uri="{FF2B5EF4-FFF2-40B4-BE49-F238E27FC236}">
                      <a16:creationId xmlns:a16="http://schemas.microsoft.com/office/drawing/2014/main" id="{8F232900-13FA-4B7C-AFA3-DB2F11AC45B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54094" y="5755612"/>
                  <a:ext cx="902385" cy="902382"/>
                </a:xfrm>
                <a:prstGeom prst="rect">
                  <a:avLst/>
                </a:prstGeom>
              </p:spPr>
            </p:pic>
            <p:sp>
              <p:nvSpPr>
                <p:cNvPr id="107" name="TextBox 106">
                  <a:extLst>
                    <a:ext uri="{FF2B5EF4-FFF2-40B4-BE49-F238E27FC236}">
                      <a16:creationId xmlns:a16="http://schemas.microsoft.com/office/drawing/2014/main" id="{1E991FBD-777F-41B5-A7D6-8382973ABF93}"/>
                    </a:ext>
                  </a:extLst>
                </p:cNvPr>
                <p:cNvSpPr txBox="1"/>
                <p:nvPr/>
              </p:nvSpPr>
              <p:spPr>
                <a:xfrm>
                  <a:off x="8459094" y="6631979"/>
                  <a:ext cx="551538" cy="242420"/>
                </a:xfrm>
                <a:prstGeom prst="rect">
                  <a:avLst/>
                </a:prstGeom>
                <a:noFill/>
              </p:spPr>
              <p:txBody>
                <a:bodyPr wrap="square" lIns="0" tIns="0" rIns="0" bIns="0" rtlCol="0">
                  <a:spAutoFit/>
                </a:bodyPr>
                <a:lstStyle/>
                <a:p>
                  <a:pPr defTabSz="932325">
                    <a:lnSpc>
                      <a:spcPct val="90000"/>
                    </a:lnSpc>
                    <a:spcAft>
                      <a:spcPts val="600"/>
                    </a:spcAft>
                    <a:defRPr/>
                  </a:pPr>
                  <a:r>
                    <a:rPr lang="en-US" sz="1050" kern="0">
                      <a:gradFill>
                        <a:gsLst>
                          <a:gs pos="82000">
                            <a:schemeClr val="tx1"/>
                          </a:gs>
                          <a:gs pos="0">
                            <a:schemeClr val="tx1"/>
                          </a:gs>
                        </a:gsLst>
                        <a:lin ang="2700000" scaled="1"/>
                      </a:gradFill>
                      <a:latin typeface="+mj-lt"/>
                    </a:rPr>
                    <a:t>Excel</a:t>
                  </a:r>
                </a:p>
              </p:txBody>
            </p:sp>
          </p:grpSp>
          <p:grpSp>
            <p:nvGrpSpPr>
              <p:cNvPr id="6" name="Group 5">
                <a:extLst>
                  <a:ext uri="{FF2B5EF4-FFF2-40B4-BE49-F238E27FC236}">
                    <a16:creationId xmlns:a16="http://schemas.microsoft.com/office/drawing/2014/main" id="{0643AB83-D9F9-4CDA-9A42-A580BBB72D87}"/>
                  </a:ext>
                </a:extLst>
              </p:cNvPr>
              <p:cNvGrpSpPr/>
              <p:nvPr/>
            </p:nvGrpSpPr>
            <p:grpSpPr>
              <a:xfrm>
                <a:off x="7383458" y="2083328"/>
                <a:ext cx="1530621" cy="2173382"/>
                <a:chOff x="7383458" y="2083328"/>
                <a:chExt cx="1530621" cy="2173382"/>
              </a:xfrm>
            </p:grpSpPr>
            <p:sp>
              <p:nvSpPr>
                <p:cNvPr id="82" name="Oval 81">
                  <a:extLst>
                    <a:ext uri="{FF2B5EF4-FFF2-40B4-BE49-F238E27FC236}">
                      <a16:creationId xmlns:a16="http://schemas.microsoft.com/office/drawing/2014/main" id="{DF7E07FA-00B3-4CCD-8D8A-1F122CEB9DA7}"/>
                    </a:ext>
                  </a:extLst>
                </p:cNvPr>
                <p:cNvSpPr/>
                <p:nvPr/>
              </p:nvSpPr>
              <p:spPr bwMode="auto">
                <a:xfrm>
                  <a:off x="7383458" y="2083328"/>
                  <a:ext cx="996906" cy="981481"/>
                </a:xfrm>
                <a:prstGeom prst="ellipse">
                  <a:avLst/>
                </a:prstGeom>
                <a:solidFill>
                  <a:schemeClr val="bg1">
                    <a:lumMod val="85000"/>
                    <a:lumOff val="15000"/>
                    <a:alpha val="25000"/>
                  </a:schemeClr>
                </a:solidFill>
                <a:ln w="25400">
                  <a:solidFill>
                    <a:srgbClr val="BB6100"/>
                  </a:solidFill>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632" kern="0">
                    <a:solidFill>
                      <a:srgbClr val="FFC000"/>
                    </a:solidFill>
                    <a:latin typeface="Segoe UI"/>
                    <a:ea typeface="Segoe UI" pitchFamily="34" charset="0"/>
                    <a:cs typeface="Segoe UI" pitchFamily="34" charset="0"/>
                  </a:endParaRPr>
                </a:p>
              </p:txBody>
            </p:sp>
            <p:sp>
              <p:nvSpPr>
                <p:cNvPr id="2" name="Oval 1">
                  <a:extLst>
                    <a:ext uri="{FF2B5EF4-FFF2-40B4-BE49-F238E27FC236}">
                      <a16:creationId xmlns:a16="http://schemas.microsoft.com/office/drawing/2014/main" id="{048EA7A7-4344-4F8E-90A9-A3A558D6D308}"/>
                    </a:ext>
                  </a:extLst>
                </p:cNvPr>
                <p:cNvSpPr/>
                <p:nvPr/>
              </p:nvSpPr>
              <p:spPr bwMode="auto">
                <a:xfrm>
                  <a:off x="7917173" y="3275229"/>
                  <a:ext cx="996906" cy="981481"/>
                </a:xfrm>
                <a:prstGeom prst="ellipse">
                  <a:avLst/>
                </a:prstGeom>
                <a:solidFill>
                  <a:schemeClr val="bg1">
                    <a:lumMod val="85000"/>
                    <a:lumOff val="15000"/>
                    <a:alpha val="25000"/>
                  </a:schemeClr>
                </a:solidFill>
                <a:ln w="25400">
                  <a:solidFill>
                    <a:srgbClr val="BB6100"/>
                  </a:solidFill>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632" kern="0" err="1">
                    <a:solidFill>
                      <a:srgbClr val="FFC000"/>
                    </a:solidFill>
                    <a:latin typeface="Segoe UI"/>
                    <a:ea typeface="Segoe UI" pitchFamily="34" charset="0"/>
                    <a:cs typeface="Segoe UI" pitchFamily="34" charset="0"/>
                  </a:endParaRPr>
                </a:p>
              </p:txBody>
            </p:sp>
            <p:grpSp>
              <p:nvGrpSpPr>
                <p:cNvPr id="5" name="Group 4">
                  <a:extLst>
                    <a:ext uri="{FF2B5EF4-FFF2-40B4-BE49-F238E27FC236}">
                      <a16:creationId xmlns:a16="http://schemas.microsoft.com/office/drawing/2014/main" id="{B33A2400-E3C1-4DCC-9572-AC50C980B259}"/>
                    </a:ext>
                  </a:extLst>
                </p:cNvPr>
                <p:cNvGrpSpPr/>
                <p:nvPr/>
              </p:nvGrpSpPr>
              <p:grpSpPr>
                <a:xfrm>
                  <a:off x="8090547" y="3391004"/>
                  <a:ext cx="675805" cy="824564"/>
                  <a:chOff x="8090547" y="3391004"/>
                  <a:chExt cx="675805" cy="824564"/>
                </a:xfrm>
              </p:grpSpPr>
              <p:pic>
                <p:nvPicPr>
                  <p:cNvPr id="2050" name="Picture 2" descr="See the source image">
                    <a:extLst>
                      <a:ext uri="{FF2B5EF4-FFF2-40B4-BE49-F238E27FC236}">
                        <a16:creationId xmlns:a16="http://schemas.microsoft.com/office/drawing/2014/main" id="{12518563-2292-46CC-BF5F-082AF64C26F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175670" y="3391004"/>
                    <a:ext cx="500509" cy="500509"/>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D8B4B622-F5C2-4172-8158-E2C5BA2102B8}"/>
                      </a:ext>
                    </a:extLst>
                  </p:cNvPr>
                  <p:cNvSpPr txBox="1"/>
                  <p:nvPr/>
                </p:nvSpPr>
                <p:spPr>
                  <a:xfrm>
                    <a:off x="8090547" y="3924719"/>
                    <a:ext cx="675805" cy="290849"/>
                  </a:xfrm>
                  <a:prstGeom prst="rect">
                    <a:avLst/>
                  </a:prstGeom>
                  <a:noFill/>
                </p:spPr>
                <p:txBody>
                  <a:bodyPr wrap="square" lIns="0" tIns="0" rIns="0" bIns="0" rtlCol="0">
                    <a:spAutoFit/>
                  </a:bodyPr>
                  <a:lstStyle/>
                  <a:p>
                    <a:pPr algn="ctr" defTabSz="932325">
                      <a:lnSpc>
                        <a:spcPct val="90000"/>
                      </a:lnSpc>
                      <a:spcAft>
                        <a:spcPts val="600"/>
                      </a:spcAft>
                      <a:defRPr/>
                    </a:pPr>
                    <a:r>
                      <a:rPr lang="en-US" sz="1050" kern="0">
                        <a:gradFill>
                          <a:gsLst>
                            <a:gs pos="82000">
                              <a:schemeClr val="tx1"/>
                            </a:gs>
                            <a:gs pos="0">
                              <a:schemeClr val="tx1"/>
                            </a:gs>
                          </a:gsLst>
                          <a:lin ang="2700000" scaled="1"/>
                        </a:gradFill>
                        <a:latin typeface="+mj-lt"/>
                      </a:rPr>
                      <a:t>Relational data</a:t>
                    </a:r>
                  </a:p>
                </p:txBody>
              </p:sp>
            </p:grpSp>
          </p:grpSp>
        </p:grpSp>
      </p:grpSp>
      <p:cxnSp>
        <p:nvCxnSpPr>
          <p:cNvPr id="9" name="Straight Connector 8">
            <a:extLst>
              <a:ext uri="{FF2B5EF4-FFF2-40B4-BE49-F238E27FC236}">
                <a16:creationId xmlns:a16="http://schemas.microsoft.com/office/drawing/2014/main" id="{8E0D638A-FDA8-4ED0-9CAF-F0FA49315FF2}"/>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75F041CA-841D-4A70-AC69-1D2C34F4E2AB}"/>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defTabSz="932291">
              <a:defRPr/>
            </a:pPr>
            <a:r>
              <a:rPr lang="en-US" sz="4000" spc="0" err="1">
                <a:solidFill>
                  <a:srgbClr val="FFC000"/>
                </a:solidFill>
              </a:rPr>
              <a:t>DirectQuery</a:t>
            </a:r>
            <a:r>
              <a:rPr lang="en-US" sz="4000" spc="0">
                <a:solidFill>
                  <a:srgbClr val="FFC000"/>
                </a:solidFill>
              </a:rPr>
              <a:t> for Power BI datasets and Azure Analysis Services</a:t>
            </a:r>
            <a:br>
              <a:rPr lang="en-US" sz="4080" spc="0">
                <a:solidFill>
                  <a:srgbClr val="FFC000"/>
                </a:solidFill>
              </a:rPr>
            </a:br>
            <a:r>
              <a:rPr lang="en-US" sz="1600" spc="0">
                <a:solidFill>
                  <a:schemeClr val="tx1"/>
                </a:solidFill>
              </a:rPr>
              <a:t>(Currently in Public Preview)</a:t>
            </a:r>
            <a:endParaRPr lang="en-US" sz="4080" spc="0">
              <a:solidFill>
                <a:schemeClr val="tx1"/>
              </a:solidFill>
            </a:endParaRPr>
          </a:p>
        </p:txBody>
      </p:sp>
    </p:spTree>
    <p:extLst>
      <p:ext uri="{BB962C8B-B14F-4D97-AF65-F5344CB8AC3E}">
        <p14:creationId xmlns:p14="http://schemas.microsoft.com/office/powerpoint/2010/main" val="2112540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50"/>
                                        </p:tgtEl>
                                        <p:attrNameLst>
                                          <p:attrName>style.visibility</p:attrName>
                                        </p:attrNameLst>
                                      </p:cBhvr>
                                      <p:to>
                                        <p:strVal val="visible"/>
                                      </p:to>
                                    </p:set>
                                  </p:childTnLst>
                                </p:cTn>
                              </p:par>
                              <p:par>
                                <p:cTn id="12" presetID="42" presetClass="path" presetSubtype="0" accel="50000" decel="50000" fill="hold" nodeType="withEffect">
                                  <p:stCondLst>
                                    <p:cond delay="0"/>
                                  </p:stCondLst>
                                  <p:childTnLst>
                                    <p:animMotion origin="layout" path="M 1.07225E-7 2.52383E-6 L -0.19045 -0.00318 " pathEditMode="relative" rAng="0" ptsTypes="AA">
                                      <p:cBhvr>
                                        <p:cTn id="13" dur="2000" spd="-100000" fill="hold"/>
                                        <p:tgtEl>
                                          <p:spTgt spid="50"/>
                                        </p:tgtEl>
                                        <p:attrNameLst>
                                          <p:attrName>ppt_x</p:attrName>
                                          <p:attrName>ppt_y</p:attrName>
                                        </p:attrNameLst>
                                      </p:cBhvr>
                                      <p:rCtr x="-9523" y="-159"/>
                                    </p:animMotion>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8"/>
                                        </p:tgtEl>
                                        <p:attrNameLst>
                                          <p:attrName>style.visibility</p:attrName>
                                        </p:attrNameLst>
                                      </p:cBhvr>
                                      <p:to>
                                        <p:strVal val="visible"/>
                                      </p:to>
                                    </p:set>
                                  </p:childTnLst>
                                </p:cTn>
                              </p:par>
                              <p:par>
                                <p:cTn id="18" presetID="42" presetClass="path" presetSubtype="0" accel="50000" decel="50000" fill="hold" nodeType="withEffect">
                                  <p:stCondLst>
                                    <p:cond delay="0"/>
                                  </p:stCondLst>
                                  <p:childTnLst>
                                    <p:animMotion origin="layout" path="M 2.58616E-6 4.62551E-6 L 0.23334 0.00839 " pathEditMode="relative" rAng="0" ptsTypes="AA">
                                      <p:cBhvr>
                                        <p:cTn id="19" dur="2000" spd="-100000" fill="hold"/>
                                        <p:tgtEl>
                                          <p:spTgt spid="8"/>
                                        </p:tgtEl>
                                        <p:attrNameLst>
                                          <p:attrName>ppt_x</p:attrName>
                                          <p:attrName>ppt_y</p:attrName>
                                        </p:attrNameLst>
                                      </p:cBhvr>
                                      <p:rCtr x="11667" y="40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1020451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6109" y="2404960"/>
            <a:ext cx="11237870" cy="2215991"/>
          </a:xfrm>
        </p:spPr>
        <p:txBody>
          <a:bodyPr/>
          <a:lstStyle/>
          <a:p>
            <a:r>
              <a:rPr lang="en-US" sz="3600">
                <a:ea typeface="Times New Roman" panose="02020603050405020304" pitchFamily="18" charset="0"/>
                <a:cs typeface="Segoe UI"/>
              </a:rPr>
              <a:t>Performance considerations:</a:t>
            </a:r>
            <a:br>
              <a:rPr lang="en-US" sz="3600">
                <a:ea typeface="Times New Roman" panose="02020603050405020304" pitchFamily="18" charset="0"/>
                <a:cs typeface="Segoe UI"/>
              </a:rPr>
            </a:br>
            <a:r>
              <a:rPr lang="en-US" sz="3600">
                <a:latin typeface="Segoe UI"/>
                <a:ea typeface="Times New Roman" panose="02020603050405020304" pitchFamily="18" charset="0"/>
                <a:cs typeface="Segoe UI"/>
              </a:rPr>
              <a:t>Storage modes</a:t>
            </a:r>
            <a:br>
              <a:rPr lang="en-US" sz="3600">
                <a:ea typeface="Times New Roman" panose="02020603050405020304" pitchFamily="18" charset="0"/>
                <a:cs typeface="Segoe UI"/>
              </a:rPr>
            </a:br>
            <a:r>
              <a:rPr lang="en-US" sz="3600">
                <a:latin typeface="+mn-lt"/>
                <a:ea typeface="Times New Roman" panose="02020603050405020304" pitchFamily="18" charset="0"/>
                <a:cs typeface="Segoe UI"/>
              </a:rPr>
              <a:t>In-memory columnar database</a:t>
            </a:r>
            <a:br>
              <a:rPr lang="en-US" sz="3600">
                <a:latin typeface="+mn-lt"/>
                <a:ea typeface="Times New Roman" panose="02020603050405020304" pitchFamily="18" charset="0"/>
                <a:cs typeface="Segoe UI"/>
              </a:rPr>
            </a:br>
            <a:r>
              <a:rPr lang="en-US" sz="3600">
                <a:latin typeface="+mn-lt"/>
                <a:ea typeface="Times New Roman" panose="02020603050405020304" pitchFamily="18" charset="0"/>
                <a:cs typeface="Segoe UI"/>
              </a:rPr>
              <a:t>Efficient resource usage</a:t>
            </a:r>
            <a:endParaRPr lang="en-US" sz="3600">
              <a:cs typeface="Segoe UI"/>
            </a:endParaRPr>
          </a:p>
        </p:txBody>
      </p:sp>
    </p:spTree>
    <p:extLst>
      <p:ext uri="{BB962C8B-B14F-4D97-AF65-F5344CB8AC3E}">
        <p14:creationId xmlns:p14="http://schemas.microsoft.com/office/powerpoint/2010/main" val="3668029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2" name="Straight Connector 61">
            <a:extLst>
              <a:ext uri="{FF2B5EF4-FFF2-40B4-BE49-F238E27FC236}">
                <a16:creationId xmlns:a16="http://schemas.microsoft.com/office/drawing/2014/main" id="{55DE2BC9-2397-4D3A-8567-0C35EAAF04BF}"/>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BE175D10-075E-403D-A4AD-46ADC5E7F3EC}"/>
              </a:ext>
            </a:extLst>
          </p:cNvPr>
          <p:cNvSpPr/>
          <p:nvPr/>
        </p:nvSpPr>
        <p:spPr>
          <a:xfrm>
            <a:off x="411480" y="1645920"/>
            <a:ext cx="4707722" cy="896271"/>
          </a:xfrm>
          <a:prstGeom prst="rect">
            <a:avLst/>
          </a:prstGeom>
        </p:spPr>
        <p:txBody>
          <a:bodyPr wrap="square">
            <a:spAutoFit/>
          </a:bodyPr>
          <a:lstStyle/>
          <a:p>
            <a:pPr defTabSz="932301">
              <a:lnSpc>
                <a:spcPct val="90000"/>
              </a:lnSpc>
              <a:spcAft>
                <a:spcPts val="102"/>
              </a:spcAft>
              <a:defRPr/>
            </a:pPr>
            <a:r>
              <a:rPr lang="en-US" sz="2856" kern="0">
                <a:solidFill>
                  <a:srgbClr val="FFB900"/>
                </a:solidFill>
                <a:latin typeface="Franklin Gothic Medium Cond" panose="020B0606030402020204" pitchFamily="34" charset="0"/>
              </a:rPr>
              <a:t>Most Used, Most Battle-Tested </a:t>
            </a:r>
          </a:p>
          <a:p>
            <a:pPr defTabSz="932301">
              <a:lnSpc>
                <a:spcPct val="90000"/>
              </a:lnSpc>
              <a:spcAft>
                <a:spcPts val="102"/>
              </a:spcAft>
              <a:defRPr/>
            </a:pPr>
            <a:r>
              <a:rPr lang="en-US" sz="2856" kern="0">
                <a:solidFill>
                  <a:srgbClr val="FFB900"/>
                </a:solidFill>
                <a:latin typeface="Franklin Gothic Medium Cond" panose="020B0606030402020204" pitchFamily="34" charset="0"/>
              </a:rPr>
              <a:t>Analytics Engine Technology</a:t>
            </a:r>
          </a:p>
        </p:txBody>
      </p:sp>
      <p:sp>
        <p:nvSpPr>
          <p:cNvPr id="2" name="TextBox 1">
            <a:extLst>
              <a:ext uri="{FF2B5EF4-FFF2-40B4-BE49-F238E27FC236}">
                <a16:creationId xmlns:a16="http://schemas.microsoft.com/office/drawing/2014/main" id="{2D870611-8DCA-4063-9E0C-781C2E176EA3}"/>
              </a:ext>
            </a:extLst>
          </p:cNvPr>
          <p:cNvSpPr txBox="1"/>
          <p:nvPr/>
        </p:nvSpPr>
        <p:spPr>
          <a:xfrm>
            <a:off x="280777" y="2601571"/>
            <a:ext cx="4645691" cy="4146974"/>
          </a:xfrm>
          <a:prstGeom prst="rect">
            <a:avLst/>
          </a:prstGeom>
          <a:noFill/>
        </p:spPr>
        <p:txBody>
          <a:bodyPr wrap="square" lIns="186470" tIns="149177" rIns="186470" bIns="149177" rtlCol="0">
            <a:spAutoFit/>
          </a:bodyPr>
          <a:lstStyle/>
          <a:p>
            <a:pPr marL="349613" indent="-349613" defTabSz="932301">
              <a:lnSpc>
                <a:spcPct val="90000"/>
              </a:lnSpc>
              <a:spcAft>
                <a:spcPts val="612"/>
              </a:spcAft>
              <a:buFont typeface="Arial" panose="020B0604020202020204" pitchFamily="34" charset="0"/>
              <a:buChar char="•"/>
              <a:defRPr/>
            </a:pPr>
            <a:r>
              <a:rPr lang="en-US" sz="2448">
                <a:gradFill>
                  <a:gsLst>
                    <a:gs pos="2917">
                      <a:srgbClr val="505050"/>
                    </a:gs>
                    <a:gs pos="30000">
                      <a:srgbClr val="505050"/>
                    </a:gs>
                  </a:gsLst>
                  <a:lin ang="5400000" scaled="0"/>
                </a:gradFill>
                <a:latin typeface="Segoe UI"/>
              </a:rPr>
              <a:t>Enterprise grade analytics </a:t>
            </a:r>
            <a:r>
              <a:rPr lang="en-US" sz="2448" b="1">
                <a:gradFill>
                  <a:gsLst>
                    <a:gs pos="2917">
                      <a:srgbClr val="505050"/>
                    </a:gs>
                    <a:gs pos="30000">
                      <a:srgbClr val="505050"/>
                    </a:gs>
                  </a:gsLst>
                  <a:lin ang="5400000" scaled="0"/>
                </a:gradFill>
                <a:latin typeface="Segoe UI"/>
              </a:rPr>
              <a:t>engine</a:t>
            </a:r>
            <a:r>
              <a:rPr lang="en-US" sz="2448">
                <a:gradFill>
                  <a:gsLst>
                    <a:gs pos="2917">
                      <a:srgbClr val="505050"/>
                    </a:gs>
                    <a:gs pos="30000">
                      <a:srgbClr val="505050"/>
                    </a:gs>
                  </a:gsLst>
                  <a:lin ang="5400000" scaled="0"/>
                </a:gradFill>
                <a:latin typeface="Segoe UI"/>
              </a:rPr>
              <a:t> as a service</a:t>
            </a:r>
          </a:p>
          <a:p>
            <a:pPr defTabSz="932301">
              <a:lnSpc>
                <a:spcPct val="90000"/>
              </a:lnSpc>
              <a:spcAft>
                <a:spcPts val="612"/>
              </a:spcAft>
              <a:defRPr/>
            </a:pPr>
            <a:endParaRPr lang="en-US" sz="800">
              <a:gradFill>
                <a:gsLst>
                  <a:gs pos="2917">
                    <a:srgbClr val="505050"/>
                  </a:gs>
                  <a:gs pos="30000">
                    <a:srgbClr val="505050"/>
                  </a:gs>
                </a:gsLst>
                <a:lin ang="5400000" scaled="0"/>
              </a:gradFill>
              <a:latin typeface="Segoe UI"/>
            </a:endParaRPr>
          </a:p>
          <a:p>
            <a:pPr marL="349613" indent="-349613" defTabSz="932301">
              <a:lnSpc>
                <a:spcPct val="90000"/>
              </a:lnSpc>
              <a:spcAft>
                <a:spcPts val="612"/>
              </a:spcAft>
              <a:buFont typeface="Arial" panose="020B0604020202020204" pitchFamily="34" charset="0"/>
              <a:buChar char="•"/>
              <a:defRPr/>
            </a:pPr>
            <a:r>
              <a:rPr lang="en-US" sz="2448">
                <a:gradFill>
                  <a:gsLst>
                    <a:gs pos="2917">
                      <a:srgbClr val="505050"/>
                    </a:gs>
                    <a:gs pos="30000">
                      <a:srgbClr val="505050"/>
                    </a:gs>
                  </a:gsLst>
                  <a:lin ang="5400000" scaled="0"/>
                </a:gradFill>
                <a:latin typeface="Segoe UI"/>
              </a:rPr>
              <a:t>Leading query performance over massive data volumes</a:t>
            </a:r>
          </a:p>
          <a:p>
            <a:pPr defTabSz="932301">
              <a:lnSpc>
                <a:spcPct val="90000"/>
              </a:lnSpc>
              <a:spcAft>
                <a:spcPts val="612"/>
              </a:spcAft>
              <a:defRPr/>
            </a:pPr>
            <a:endParaRPr lang="en-US" sz="800">
              <a:gradFill>
                <a:gsLst>
                  <a:gs pos="2917">
                    <a:srgbClr val="505050"/>
                  </a:gs>
                  <a:gs pos="30000">
                    <a:srgbClr val="505050"/>
                  </a:gs>
                </a:gsLst>
                <a:lin ang="5400000" scaled="0"/>
              </a:gradFill>
              <a:latin typeface="Segoe UI"/>
            </a:endParaRPr>
          </a:p>
          <a:p>
            <a:pPr marL="349613" indent="-349613" defTabSz="932301">
              <a:lnSpc>
                <a:spcPct val="90000"/>
              </a:lnSpc>
              <a:spcAft>
                <a:spcPts val="612"/>
              </a:spcAft>
              <a:buFont typeface="Arial" panose="020B0604020202020204" pitchFamily="34" charset="0"/>
              <a:buChar char="•"/>
              <a:defRPr/>
            </a:pPr>
            <a:r>
              <a:rPr lang="en-US" sz="2448">
                <a:gradFill>
                  <a:gsLst>
                    <a:gs pos="2917">
                      <a:srgbClr val="505050"/>
                    </a:gs>
                    <a:gs pos="30000">
                      <a:srgbClr val="505050"/>
                    </a:gs>
                  </a:gsLst>
                  <a:lin ang="5400000" scaled="0"/>
                </a:gradFill>
                <a:latin typeface="Segoe UI"/>
              </a:rPr>
              <a:t>Rich semantic modeling</a:t>
            </a:r>
          </a:p>
          <a:p>
            <a:pPr defTabSz="932301">
              <a:lnSpc>
                <a:spcPct val="90000"/>
              </a:lnSpc>
              <a:spcAft>
                <a:spcPts val="612"/>
              </a:spcAft>
              <a:defRPr/>
            </a:pPr>
            <a:endParaRPr lang="en-US" sz="800">
              <a:gradFill>
                <a:gsLst>
                  <a:gs pos="2917">
                    <a:srgbClr val="505050"/>
                  </a:gs>
                  <a:gs pos="30000">
                    <a:srgbClr val="505050"/>
                  </a:gs>
                </a:gsLst>
                <a:lin ang="5400000" scaled="0"/>
              </a:gradFill>
              <a:latin typeface="Segoe UI"/>
            </a:endParaRPr>
          </a:p>
          <a:p>
            <a:pPr marL="349613" indent="-349613" defTabSz="932301">
              <a:lnSpc>
                <a:spcPct val="90000"/>
              </a:lnSpc>
              <a:spcAft>
                <a:spcPts val="612"/>
              </a:spcAft>
              <a:buFont typeface="Arial" panose="020B0604020202020204" pitchFamily="34" charset="0"/>
              <a:buChar char="•"/>
              <a:defRPr/>
            </a:pPr>
            <a:r>
              <a:rPr lang="en-US" sz="2448">
                <a:gradFill>
                  <a:gsLst>
                    <a:gs pos="2917">
                      <a:srgbClr val="505050"/>
                    </a:gs>
                    <a:gs pos="30000">
                      <a:srgbClr val="505050"/>
                    </a:gs>
                  </a:gsLst>
                  <a:lin ang="5400000" scaled="0"/>
                </a:gradFill>
                <a:latin typeface="Segoe UI"/>
              </a:rPr>
              <a:t>Interactive Exploration over even </a:t>
            </a:r>
            <a:r>
              <a:rPr lang="en-US" sz="2448" b="1">
                <a:gradFill>
                  <a:gsLst>
                    <a:gs pos="2917">
                      <a:srgbClr val="505050"/>
                    </a:gs>
                    <a:gs pos="30000">
                      <a:srgbClr val="505050"/>
                    </a:gs>
                  </a:gsLst>
                  <a:lin ang="5400000" scaled="0"/>
                </a:gradFill>
                <a:latin typeface="Segoe UI"/>
              </a:rPr>
              <a:t>TRILLIONS</a:t>
            </a:r>
            <a:r>
              <a:rPr lang="en-US" sz="2448">
                <a:gradFill>
                  <a:gsLst>
                    <a:gs pos="2917">
                      <a:srgbClr val="505050"/>
                    </a:gs>
                    <a:gs pos="30000">
                      <a:srgbClr val="505050"/>
                    </a:gs>
                  </a:gsLst>
                  <a:lin ang="5400000" scaled="0"/>
                </a:gradFill>
                <a:latin typeface="Segoe UI"/>
              </a:rPr>
              <a:t> of rows of data, by intelligent proactive caching of aggregates</a:t>
            </a:r>
          </a:p>
        </p:txBody>
      </p:sp>
      <p:grpSp>
        <p:nvGrpSpPr>
          <p:cNvPr id="3" name="Group 2">
            <a:extLst>
              <a:ext uri="{FF2B5EF4-FFF2-40B4-BE49-F238E27FC236}">
                <a16:creationId xmlns:a16="http://schemas.microsoft.com/office/drawing/2014/main" id="{838FD1E8-073A-46FD-8FAA-1A8C01F5EB3B}"/>
              </a:ext>
            </a:extLst>
          </p:cNvPr>
          <p:cNvGrpSpPr/>
          <p:nvPr/>
        </p:nvGrpSpPr>
        <p:grpSpPr>
          <a:xfrm>
            <a:off x="5931472" y="1646154"/>
            <a:ext cx="5757595" cy="4677243"/>
            <a:chOff x="6748937" y="2103242"/>
            <a:chExt cx="4836986" cy="3929379"/>
          </a:xfrm>
        </p:grpSpPr>
        <p:grpSp>
          <p:nvGrpSpPr>
            <p:cNvPr id="55" name="Group 54">
              <a:extLst>
                <a:ext uri="{FF2B5EF4-FFF2-40B4-BE49-F238E27FC236}">
                  <a16:creationId xmlns:a16="http://schemas.microsoft.com/office/drawing/2014/main" id="{49C07D6B-777F-46C0-8A93-E5F1541E1BA4}"/>
                </a:ext>
              </a:extLst>
            </p:cNvPr>
            <p:cNvGrpSpPr/>
            <p:nvPr/>
          </p:nvGrpSpPr>
          <p:grpSpPr>
            <a:xfrm>
              <a:off x="6748937" y="3909286"/>
              <a:ext cx="1021873" cy="788090"/>
              <a:chOff x="7335182" y="2754193"/>
              <a:chExt cx="1002069" cy="772816"/>
            </a:xfrm>
          </p:grpSpPr>
          <p:sp>
            <p:nvSpPr>
              <p:cNvPr id="56" name="Rectangle 55">
                <a:extLst>
                  <a:ext uri="{FF2B5EF4-FFF2-40B4-BE49-F238E27FC236}">
                    <a16:creationId xmlns:a16="http://schemas.microsoft.com/office/drawing/2014/main" id="{A86CEA19-06B5-4D34-8DEB-624978E1F5AC}"/>
                  </a:ext>
                </a:extLst>
              </p:cNvPr>
              <p:cNvSpPr/>
              <p:nvPr/>
            </p:nvSpPr>
            <p:spPr bwMode="auto">
              <a:xfrm>
                <a:off x="7335182" y="2754193"/>
                <a:ext cx="1002069" cy="772816"/>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7" name="TextBox 56">
                <a:extLst>
                  <a:ext uri="{FF2B5EF4-FFF2-40B4-BE49-F238E27FC236}">
                    <a16:creationId xmlns:a16="http://schemas.microsoft.com/office/drawing/2014/main" id="{D8AAA5C4-1BF0-49D6-B4F6-30AF13AE896F}"/>
                  </a:ext>
                </a:extLst>
              </p:cNvPr>
              <p:cNvSpPr txBox="1"/>
              <p:nvPr/>
            </p:nvSpPr>
            <p:spPr>
              <a:xfrm>
                <a:off x="7471993" y="3251722"/>
                <a:ext cx="614164" cy="239439"/>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Scale</a:t>
                </a:r>
              </a:p>
            </p:txBody>
          </p:sp>
        </p:grpSp>
        <p:grpSp>
          <p:nvGrpSpPr>
            <p:cNvPr id="34" name="Group 33">
              <a:extLst>
                <a:ext uri="{FF2B5EF4-FFF2-40B4-BE49-F238E27FC236}">
                  <a16:creationId xmlns:a16="http://schemas.microsoft.com/office/drawing/2014/main" id="{6B7A7BB4-EFFE-4A59-9B59-BDCFA405E1CB}"/>
                </a:ext>
              </a:extLst>
            </p:cNvPr>
            <p:cNvGrpSpPr/>
            <p:nvPr/>
          </p:nvGrpSpPr>
          <p:grpSpPr>
            <a:xfrm>
              <a:off x="9792870" y="3565087"/>
              <a:ext cx="1793053" cy="950639"/>
              <a:chOff x="9631588" y="3628499"/>
              <a:chExt cx="1758305" cy="932216"/>
            </a:xfrm>
          </p:grpSpPr>
          <p:sp>
            <p:nvSpPr>
              <p:cNvPr id="12" name="Rectangle 11">
                <a:extLst>
                  <a:ext uri="{FF2B5EF4-FFF2-40B4-BE49-F238E27FC236}">
                    <a16:creationId xmlns:a16="http://schemas.microsoft.com/office/drawing/2014/main" id="{07E101E0-85E2-42ED-A057-E28222421EC5}"/>
                  </a:ext>
                </a:extLst>
              </p:cNvPr>
              <p:cNvSpPr/>
              <p:nvPr/>
            </p:nvSpPr>
            <p:spPr bwMode="auto">
              <a:xfrm>
                <a:off x="9631588" y="3628499"/>
                <a:ext cx="1628620" cy="932216"/>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 name="TextBox 16">
                <a:extLst>
                  <a:ext uri="{FF2B5EF4-FFF2-40B4-BE49-F238E27FC236}">
                    <a16:creationId xmlns:a16="http://schemas.microsoft.com/office/drawing/2014/main" id="{9A9EC05E-1130-431C-9F4D-96DECFDD0FEB}"/>
                  </a:ext>
                </a:extLst>
              </p:cNvPr>
              <p:cNvSpPr txBox="1"/>
              <p:nvPr/>
            </p:nvSpPr>
            <p:spPr>
              <a:xfrm>
                <a:off x="10029825" y="4257147"/>
                <a:ext cx="1360068" cy="239439"/>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Monitoring</a:t>
                </a:r>
              </a:p>
            </p:txBody>
          </p:sp>
          <p:sp>
            <p:nvSpPr>
              <p:cNvPr id="53" name="Freeform 302">
                <a:extLst>
                  <a:ext uri="{FF2B5EF4-FFF2-40B4-BE49-F238E27FC236}">
                    <a16:creationId xmlns:a16="http://schemas.microsoft.com/office/drawing/2014/main" id="{88BFC4D9-5D72-424E-A7A6-84FAC7D525EE}"/>
                  </a:ext>
                </a:extLst>
              </p:cNvPr>
              <p:cNvSpPr/>
              <p:nvPr/>
            </p:nvSpPr>
            <p:spPr bwMode="auto">
              <a:xfrm>
                <a:off x="10488309" y="3793451"/>
                <a:ext cx="438380" cy="434318"/>
              </a:xfrm>
              <a:custGeom>
                <a:avLst/>
                <a:gdLst>
                  <a:gd name="connsiteX0" fmla="*/ 996965 w 6303772"/>
                  <a:gd name="connsiteY0" fmla="*/ 3294143 h 6303773"/>
                  <a:gd name="connsiteX1" fmla="*/ 1960544 w 6303772"/>
                  <a:gd name="connsiteY1" fmla="*/ 3294143 h 6303773"/>
                  <a:gd name="connsiteX2" fmla="*/ 1976018 w 6303772"/>
                  <a:gd name="connsiteY2" fmla="*/ 3395532 h 6303773"/>
                  <a:gd name="connsiteX3" fmla="*/ 2157926 w 6303772"/>
                  <a:gd name="connsiteY3" fmla="*/ 3827823 h 6303773"/>
                  <a:gd name="connsiteX4" fmla="*/ 2214651 w 6303772"/>
                  <a:gd name="connsiteY4" fmla="*/ 3903679 h 6303773"/>
                  <a:gd name="connsiteX5" fmla="*/ 1533192 w 6303772"/>
                  <a:gd name="connsiteY5" fmla="*/ 4585139 h 6303773"/>
                  <a:gd name="connsiteX6" fmla="*/ 1485447 w 6303772"/>
                  <a:gd name="connsiteY6" fmla="*/ 4532607 h 6303773"/>
                  <a:gd name="connsiteX7" fmla="*/ 1000988 w 6303772"/>
                  <a:gd name="connsiteY7" fmla="*/ 3373819 h 6303773"/>
                  <a:gd name="connsiteX8" fmla="*/ 3151886 w 6303772"/>
                  <a:gd name="connsiteY8" fmla="*/ 2778399 h 6303773"/>
                  <a:gd name="connsiteX9" fmla="*/ 3360706 w 6303772"/>
                  <a:gd name="connsiteY9" fmla="*/ 2842184 h 6303773"/>
                  <a:gd name="connsiteX10" fmla="*/ 3414121 w 6303772"/>
                  <a:gd name="connsiteY10" fmla="*/ 2886256 h 6303773"/>
                  <a:gd name="connsiteX11" fmla="*/ 5303721 w 6303772"/>
                  <a:gd name="connsiteY11" fmla="*/ 2886256 h 6303773"/>
                  <a:gd name="connsiteX12" fmla="*/ 5569350 w 6303772"/>
                  <a:gd name="connsiteY12" fmla="*/ 3151885 h 6303773"/>
                  <a:gd name="connsiteX13" fmla="*/ 5303721 w 6303772"/>
                  <a:gd name="connsiteY13" fmla="*/ 3417514 h 6303773"/>
                  <a:gd name="connsiteX14" fmla="*/ 3414121 w 6303772"/>
                  <a:gd name="connsiteY14" fmla="*/ 3417514 h 6303773"/>
                  <a:gd name="connsiteX15" fmla="*/ 3360706 w 6303772"/>
                  <a:gd name="connsiteY15" fmla="*/ 3461586 h 6303773"/>
                  <a:gd name="connsiteX16" fmla="*/ 3151886 w 6303772"/>
                  <a:gd name="connsiteY16" fmla="*/ 3525371 h 6303773"/>
                  <a:gd name="connsiteX17" fmla="*/ 2778400 w 6303772"/>
                  <a:gd name="connsiteY17" fmla="*/ 3151885 h 6303773"/>
                  <a:gd name="connsiteX18" fmla="*/ 3151886 w 6303772"/>
                  <a:gd name="connsiteY18" fmla="*/ 2778399 h 6303773"/>
                  <a:gd name="connsiteX19" fmla="*/ 4790800 w 6303772"/>
                  <a:gd name="connsiteY19" fmla="*/ 1722120 h 6303773"/>
                  <a:gd name="connsiteX20" fmla="*/ 4835374 w 6303772"/>
                  <a:gd name="connsiteY20" fmla="*/ 1771164 h 6303773"/>
                  <a:gd name="connsiteX21" fmla="*/ 5286941 w 6303772"/>
                  <a:gd name="connsiteY21" fmla="*/ 2714428 h 6303773"/>
                  <a:gd name="connsiteX22" fmla="*/ 5296704 w 6303772"/>
                  <a:gd name="connsiteY22" fmla="*/ 2778399 h 6303773"/>
                  <a:gd name="connsiteX23" fmla="*/ 4309896 w 6303772"/>
                  <a:gd name="connsiteY23" fmla="*/ 2778399 h 6303773"/>
                  <a:gd name="connsiteX24" fmla="*/ 4274360 w 6303772"/>
                  <a:gd name="connsiteY24" fmla="*/ 2681306 h 6303773"/>
                  <a:gd name="connsiteX25" fmla="*/ 4162895 w 6303772"/>
                  <a:gd name="connsiteY25" fmla="*/ 2475947 h 6303773"/>
                  <a:gd name="connsiteX26" fmla="*/ 4109019 w 6303772"/>
                  <a:gd name="connsiteY26" fmla="*/ 2403900 h 6303773"/>
                  <a:gd name="connsiteX27" fmla="*/ 1537875 w 6303772"/>
                  <a:gd name="connsiteY27" fmla="*/ 1713480 h 6303773"/>
                  <a:gd name="connsiteX28" fmla="*/ 2218859 w 6303772"/>
                  <a:gd name="connsiteY28" fmla="*/ 2394464 h 6303773"/>
                  <a:gd name="connsiteX29" fmla="*/ 2157927 w 6303772"/>
                  <a:gd name="connsiteY29" fmla="*/ 2475947 h 6303773"/>
                  <a:gd name="connsiteX30" fmla="*/ 1976019 w 6303772"/>
                  <a:gd name="connsiteY30" fmla="*/ 2908239 h 6303773"/>
                  <a:gd name="connsiteX31" fmla="*/ 1959706 w 6303772"/>
                  <a:gd name="connsiteY31" fmla="*/ 3015127 h 6303773"/>
                  <a:gd name="connsiteX32" fmla="*/ 996688 w 6303772"/>
                  <a:gd name="connsiteY32" fmla="*/ 3015127 h 6303773"/>
                  <a:gd name="connsiteX33" fmla="*/ 1000989 w 6303772"/>
                  <a:gd name="connsiteY33" fmla="*/ 2929951 h 6303773"/>
                  <a:gd name="connsiteX34" fmla="*/ 1485448 w 6303772"/>
                  <a:gd name="connsiteY34" fmla="*/ 1771164 h 6303773"/>
                  <a:gd name="connsiteX35" fmla="*/ 3012381 w 6303772"/>
                  <a:gd name="connsiteY35" fmla="*/ 988731 h 6303773"/>
                  <a:gd name="connsiteX36" fmla="*/ 3012381 w 6303772"/>
                  <a:gd name="connsiteY36" fmla="*/ 1952900 h 6303773"/>
                  <a:gd name="connsiteX37" fmla="*/ 2916765 w 6303772"/>
                  <a:gd name="connsiteY37" fmla="*/ 1967494 h 6303773"/>
                  <a:gd name="connsiteX38" fmla="*/ 2484473 w 6303772"/>
                  <a:gd name="connsiteY38" fmla="*/ 2149402 h 6303773"/>
                  <a:gd name="connsiteX39" fmla="*/ 2418053 w 6303772"/>
                  <a:gd name="connsiteY39" fmla="*/ 2199071 h 6303773"/>
                  <a:gd name="connsiteX40" fmla="*/ 1735798 w 6303772"/>
                  <a:gd name="connsiteY40" fmla="*/ 1516814 h 6303773"/>
                  <a:gd name="connsiteX41" fmla="*/ 1779690 w 6303772"/>
                  <a:gd name="connsiteY41" fmla="*/ 1476922 h 6303773"/>
                  <a:gd name="connsiteX42" fmla="*/ 2938477 w 6303772"/>
                  <a:gd name="connsiteY42" fmla="*/ 992463 h 6303773"/>
                  <a:gd name="connsiteX43" fmla="*/ 3291396 w 6303772"/>
                  <a:gd name="connsiteY43" fmla="*/ 987870 h 6303773"/>
                  <a:gd name="connsiteX44" fmla="*/ 3382344 w 6303772"/>
                  <a:gd name="connsiteY44" fmla="*/ 992463 h 6303773"/>
                  <a:gd name="connsiteX45" fmla="*/ 4541132 w 6303772"/>
                  <a:gd name="connsiteY45" fmla="*/ 1476922 h 6303773"/>
                  <a:gd name="connsiteX46" fmla="*/ 4593664 w 6303772"/>
                  <a:gd name="connsiteY46" fmla="*/ 1524667 h 6303773"/>
                  <a:gd name="connsiteX47" fmla="*/ 3912204 w 6303772"/>
                  <a:gd name="connsiteY47" fmla="*/ 2206126 h 6303773"/>
                  <a:gd name="connsiteX48" fmla="*/ 3836348 w 6303772"/>
                  <a:gd name="connsiteY48" fmla="*/ 2149402 h 6303773"/>
                  <a:gd name="connsiteX49" fmla="*/ 3404057 w 6303772"/>
                  <a:gd name="connsiteY49" fmla="*/ 1967494 h 6303773"/>
                  <a:gd name="connsiteX50" fmla="*/ 3291396 w 6303772"/>
                  <a:gd name="connsiteY50" fmla="*/ 1950299 h 6303773"/>
                  <a:gd name="connsiteX51" fmla="*/ 3151886 w 6303772"/>
                  <a:gd name="connsiteY51" fmla="*/ 467929 h 6303773"/>
                  <a:gd name="connsiteX52" fmla="*/ 467929 w 6303772"/>
                  <a:gd name="connsiteY52" fmla="*/ 3151886 h 6303773"/>
                  <a:gd name="connsiteX53" fmla="*/ 3151886 w 6303772"/>
                  <a:gd name="connsiteY53" fmla="*/ 5835844 h 6303773"/>
                  <a:gd name="connsiteX54" fmla="*/ 5835843 w 6303772"/>
                  <a:gd name="connsiteY54" fmla="*/ 3151886 h 6303773"/>
                  <a:gd name="connsiteX55" fmla="*/ 3151886 w 6303772"/>
                  <a:gd name="connsiteY55" fmla="*/ 467929 h 6303773"/>
                  <a:gd name="connsiteX56" fmla="*/ 3151886 w 6303772"/>
                  <a:gd name="connsiteY56" fmla="*/ 0 h 6303773"/>
                  <a:gd name="connsiteX57" fmla="*/ 6303772 w 6303772"/>
                  <a:gd name="connsiteY57" fmla="*/ 3151886 h 6303773"/>
                  <a:gd name="connsiteX58" fmla="*/ 3151886 w 6303772"/>
                  <a:gd name="connsiteY58" fmla="*/ 6303773 h 6303773"/>
                  <a:gd name="connsiteX59" fmla="*/ 0 w 6303772"/>
                  <a:gd name="connsiteY59" fmla="*/ 3151886 h 6303773"/>
                  <a:gd name="connsiteX60" fmla="*/ 3151886 w 6303772"/>
                  <a:gd name="connsiteY60" fmla="*/ 0 h 6303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303772" h="6303773">
                    <a:moveTo>
                      <a:pt x="996965" y="3294143"/>
                    </a:moveTo>
                    <a:lnTo>
                      <a:pt x="1960544" y="3294143"/>
                    </a:lnTo>
                    <a:lnTo>
                      <a:pt x="1976018" y="3395532"/>
                    </a:lnTo>
                    <a:cubicBezTo>
                      <a:pt x="2008227" y="3552932"/>
                      <a:pt x="2071023" y="3699189"/>
                      <a:pt x="2157926" y="3827823"/>
                    </a:cubicBezTo>
                    <a:lnTo>
                      <a:pt x="2214651" y="3903679"/>
                    </a:lnTo>
                    <a:lnTo>
                      <a:pt x="1533192" y="4585139"/>
                    </a:lnTo>
                    <a:lnTo>
                      <a:pt x="1485447" y="4532607"/>
                    </a:lnTo>
                    <a:cubicBezTo>
                      <a:pt x="1220031" y="4210996"/>
                      <a:pt x="1045451" y="3811640"/>
                      <a:pt x="1000988" y="3373819"/>
                    </a:cubicBezTo>
                    <a:close/>
                    <a:moveTo>
                      <a:pt x="3151886" y="2778399"/>
                    </a:moveTo>
                    <a:cubicBezTo>
                      <a:pt x="3229237" y="2778399"/>
                      <a:pt x="3301097" y="2801913"/>
                      <a:pt x="3360706" y="2842184"/>
                    </a:cubicBezTo>
                    <a:lnTo>
                      <a:pt x="3414121" y="2886256"/>
                    </a:lnTo>
                    <a:lnTo>
                      <a:pt x="5303721" y="2886256"/>
                    </a:lnTo>
                    <a:cubicBezTo>
                      <a:pt x="5450424" y="2886256"/>
                      <a:pt x="5569350" y="3005182"/>
                      <a:pt x="5569350" y="3151885"/>
                    </a:cubicBezTo>
                    <a:cubicBezTo>
                      <a:pt x="5569350" y="3298588"/>
                      <a:pt x="5450424" y="3417514"/>
                      <a:pt x="5303721" y="3417514"/>
                    </a:cubicBezTo>
                    <a:lnTo>
                      <a:pt x="3414121" y="3417514"/>
                    </a:lnTo>
                    <a:lnTo>
                      <a:pt x="3360706" y="3461586"/>
                    </a:lnTo>
                    <a:cubicBezTo>
                      <a:pt x="3301097" y="3501857"/>
                      <a:pt x="3229237" y="3525371"/>
                      <a:pt x="3151886" y="3525371"/>
                    </a:cubicBezTo>
                    <a:cubicBezTo>
                      <a:pt x="2945615" y="3525371"/>
                      <a:pt x="2778400" y="3358156"/>
                      <a:pt x="2778400" y="3151885"/>
                    </a:cubicBezTo>
                    <a:cubicBezTo>
                      <a:pt x="2778400" y="2945614"/>
                      <a:pt x="2945615" y="2778399"/>
                      <a:pt x="3151886" y="2778399"/>
                    </a:cubicBezTo>
                    <a:close/>
                    <a:moveTo>
                      <a:pt x="4790800" y="1722120"/>
                    </a:moveTo>
                    <a:lnTo>
                      <a:pt x="4835374" y="1771164"/>
                    </a:lnTo>
                    <a:cubicBezTo>
                      <a:pt x="5056555" y="2039173"/>
                      <a:pt x="5214654" y="2361171"/>
                      <a:pt x="5286941" y="2714428"/>
                    </a:cubicBezTo>
                    <a:lnTo>
                      <a:pt x="5296704" y="2778399"/>
                    </a:lnTo>
                    <a:lnTo>
                      <a:pt x="4309896" y="2778399"/>
                    </a:lnTo>
                    <a:lnTo>
                      <a:pt x="4274360" y="2681306"/>
                    </a:lnTo>
                    <a:cubicBezTo>
                      <a:pt x="4243771" y="2608987"/>
                      <a:pt x="4206346" y="2540264"/>
                      <a:pt x="4162895" y="2475947"/>
                    </a:cubicBezTo>
                    <a:lnTo>
                      <a:pt x="4109019" y="2403900"/>
                    </a:lnTo>
                    <a:close/>
                    <a:moveTo>
                      <a:pt x="1537875" y="1713480"/>
                    </a:moveTo>
                    <a:lnTo>
                      <a:pt x="2218859" y="2394464"/>
                    </a:lnTo>
                    <a:lnTo>
                      <a:pt x="2157927" y="2475947"/>
                    </a:lnTo>
                    <a:cubicBezTo>
                      <a:pt x="2071024" y="2604581"/>
                      <a:pt x="2008228" y="2750839"/>
                      <a:pt x="1976019" y="2908239"/>
                    </a:cubicBezTo>
                    <a:lnTo>
                      <a:pt x="1959706" y="3015127"/>
                    </a:lnTo>
                    <a:lnTo>
                      <a:pt x="996688" y="3015127"/>
                    </a:lnTo>
                    <a:lnTo>
                      <a:pt x="1000989" y="2929951"/>
                    </a:lnTo>
                    <a:cubicBezTo>
                      <a:pt x="1045452" y="2492130"/>
                      <a:pt x="1220032" y="2092775"/>
                      <a:pt x="1485448" y="1771164"/>
                    </a:cubicBezTo>
                    <a:close/>
                    <a:moveTo>
                      <a:pt x="3012381" y="988731"/>
                    </a:moveTo>
                    <a:lnTo>
                      <a:pt x="3012381" y="1952900"/>
                    </a:lnTo>
                    <a:lnTo>
                      <a:pt x="2916765" y="1967494"/>
                    </a:lnTo>
                    <a:cubicBezTo>
                      <a:pt x="2759365" y="1999702"/>
                      <a:pt x="2613107" y="2062498"/>
                      <a:pt x="2484473" y="2149402"/>
                    </a:cubicBezTo>
                    <a:lnTo>
                      <a:pt x="2418053" y="2199071"/>
                    </a:lnTo>
                    <a:lnTo>
                      <a:pt x="1735798" y="1516814"/>
                    </a:lnTo>
                    <a:lnTo>
                      <a:pt x="1779690" y="1476922"/>
                    </a:lnTo>
                    <a:cubicBezTo>
                      <a:pt x="2101301" y="1211505"/>
                      <a:pt x="2500656" y="1036926"/>
                      <a:pt x="2938477" y="992463"/>
                    </a:cubicBezTo>
                    <a:close/>
                    <a:moveTo>
                      <a:pt x="3291396" y="987870"/>
                    </a:moveTo>
                    <a:lnTo>
                      <a:pt x="3382344" y="992463"/>
                    </a:lnTo>
                    <a:cubicBezTo>
                      <a:pt x="3820165" y="1036926"/>
                      <a:pt x="4219521" y="1211505"/>
                      <a:pt x="4541132" y="1476922"/>
                    </a:cubicBezTo>
                    <a:lnTo>
                      <a:pt x="4593664" y="1524667"/>
                    </a:lnTo>
                    <a:lnTo>
                      <a:pt x="3912204" y="2206126"/>
                    </a:lnTo>
                    <a:lnTo>
                      <a:pt x="3836348" y="2149402"/>
                    </a:lnTo>
                    <a:cubicBezTo>
                      <a:pt x="3707714" y="2062498"/>
                      <a:pt x="3561457" y="1999703"/>
                      <a:pt x="3404057" y="1967494"/>
                    </a:cubicBezTo>
                    <a:lnTo>
                      <a:pt x="3291396" y="1950299"/>
                    </a:lnTo>
                    <a:close/>
                    <a:moveTo>
                      <a:pt x="3151886" y="467929"/>
                    </a:moveTo>
                    <a:cubicBezTo>
                      <a:pt x="1669577" y="467929"/>
                      <a:pt x="467929" y="1669578"/>
                      <a:pt x="467929" y="3151886"/>
                    </a:cubicBezTo>
                    <a:cubicBezTo>
                      <a:pt x="467929" y="4634195"/>
                      <a:pt x="1669577" y="5835844"/>
                      <a:pt x="3151886" y="5835844"/>
                    </a:cubicBezTo>
                    <a:cubicBezTo>
                      <a:pt x="4634195" y="5835844"/>
                      <a:pt x="5835843" y="4634195"/>
                      <a:pt x="5835843" y="3151886"/>
                    </a:cubicBezTo>
                    <a:cubicBezTo>
                      <a:pt x="5835843" y="1669578"/>
                      <a:pt x="4634195" y="467929"/>
                      <a:pt x="3151886" y="467929"/>
                    </a:cubicBezTo>
                    <a:close/>
                    <a:moveTo>
                      <a:pt x="3151886" y="0"/>
                    </a:moveTo>
                    <a:cubicBezTo>
                      <a:pt x="4892625" y="0"/>
                      <a:pt x="6303772" y="1411147"/>
                      <a:pt x="6303772" y="3151886"/>
                    </a:cubicBezTo>
                    <a:cubicBezTo>
                      <a:pt x="6303772" y="4892625"/>
                      <a:pt x="4892625" y="6303773"/>
                      <a:pt x="3151886" y="6303773"/>
                    </a:cubicBezTo>
                    <a:cubicBezTo>
                      <a:pt x="1411147" y="6303773"/>
                      <a:pt x="0" y="4892625"/>
                      <a:pt x="0" y="3151886"/>
                    </a:cubicBezTo>
                    <a:cubicBezTo>
                      <a:pt x="0" y="1411147"/>
                      <a:pt x="1411147" y="0"/>
                      <a:pt x="315188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5" tIns="149156" rIns="186445" bIns="149156" numCol="1" spcCol="0" rtlCol="0" fromWordArt="0" anchor="t" anchorCtr="0" forceAA="0" compatLnSpc="1">
                <a:prstTxWarp prst="textNoShape">
                  <a:avLst/>
                </a:prstTxWarp>
                <a:noAutofit/>
              </a:bodyPr>
              <a:lstStyle/>
              <a:p>
                <a:pPr algn="ctr" defTabSz="950545"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3" name="Group 32">
              <a:extLst>
                <a:ext uri="{FF2B5EF4-FFF2-40B4-BE49-F238E27FC236}">
                  <a16:creationId xmlns:a16="http://schemas.microsoft.com/office/drawing/2014/main" id="{85F29880-C91E-4B9C-95D4-98BAC5BB5A31}"/>
                </a:ext>
              </a:extLst>
            </p:cNvPr>
            <p:cNvGrpSpPr/>
            <p:nvPr/>
          </p:nvGrpSpPr>
          <p:grpSpPr>
            <a:xfrm>
              <a:off x="9856493" y="4623907"/>
              <a:ext cx="1021873" cy="977469"/>
              <a:chOff x="8851277" y="4706240"/>
              <a:chExt cx="1002069" cy="958525"/>
            </a:xfrm>
          </p:grpSpPr>
          <p:grpSp>
            <p:nvGrpSpPr>
              <p:cNvPr id="46" name="Group 45">
                <a:extLst>
                  <a:ext uri="{FF2B5EF4-FFF2-40B4-BE49-F238E27FC236}">
                    <a16:creationId xmlns:a16="http://schemas.microsoft.com/office/drawing/2014/main" id="{95506EB5-F2AE-4178-8E2F-08AEDF2B01EA}"/>
                  </a:ext>
                </a:extLst>
              </p:cNvPr>
              <p:cNvGrpSpPr/>
              <p:nvPr/>
            </p:nvGrpSpPr>
            <p:grpSpPr>
              <a:xfrm>
                <a:off x="8851277" y="4706240"/>
                <a:ext cx="1002069" cy="958525"/>
                <a:chOff x="7310655" y="4056710"/>
                <a:chExt cx="1002069" cy="958525"/>
              </a:xfrm>
            </p:grpSpPr>
            <p:sp>
              <p:nvSpPr>
                <p:cNvPr id="48" name="Rectangle 47">
                  <a:extLst>
                    <a:ext uri="{FF2B5EF4-FFF2-40B4-BE49-F238E27FC236}">
                      <a16:creationId xmlns:a16="http://schemas.microsoft.com/office/drawing/2014/main" id="{3BBCC616-9B92-4CBB-AC98-E588D0200A3E}"/>
                    </a:ext>
                  </a:extLst>
                </p:cNvPr>
                <p:cNvSpPr/>
                <p:nvPr/>
              </p:nvSpPr>
              <p:spPr bwMode="auto">
                <a:xfrm>
                  <a:off x="7310655" y="4056710"/>
                  <a:ext cx="1002069" cy="958525"/>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9" name="TextBox 48">
                  <a:extLst>
                    <a:ext uri="{FF2B5EF4-FFF2-40B4-BE49-F238E27FC236}">
                      <a16:creationId xmlns:a16="http://schemas.microsoft.com/office/drawing/2014/main" id="{D61EC8B2-02EA-4D96-BBFC-4653DAA71B75}"/>
                    </a:ext>
                  </a:extLst>
                </p:cNvPr>
                <p:cNvSpPr txBox="1"/>
                <p:nvPr/>
              </p:nvSpPr>
              <p:spPr>
                <a:xfrm>
                  <a:off x="7320704" y="4692997"/>
                  <a:ext cx="992020" cy="239439"/>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Automation</a:t>
                  </a:r>
                </a:p>
              </p:txBody>
            </p:sp>
          </p:grpSp>
          <p:sp>
            <p:nvSpPr>
              <p:cNvPr id="50" name="Freeform 9">
                <a:extLst>
                  <a:ext uri="{FF2B5EF4-FFF2-40B4-BE49-F238E27FC236}">
                    <a16:creationId xmlns:a16="http://schemas.microsoft.com/office/drawing/2014/main" id="{69B20F63-D6FA-48C3-95C1-D38D38433840}"/>
                  </a:ext>
                </a:extLst>
              </p:cNvPr>
              <p:cNvSpPr>
                <a:spLocks noChangeAspect="1" noEditPoints="1"/>
              </p:cNvSpPr>
              <p:nvPr/>
            </p:nvSpPr>
            <p:spPr bwMode="black">
              <a:xfrm>
                <a:off x="9041661" y="4889459"/>
                <a:ext cx="579514" cy="469888"/>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noFill/>
              <a:ln>
                <a:solidFill>
                  <a:schemeClr val="tx1"/>
                </a:solidFill>
              </a:ln>
            </p:spPr>
            <p:txBody>
              <a:bodyPr vert="horz" wrap="square" lIns="89605" tIns="44803" rIns="89605" bIns="44803" numCol="1" anchor="t" anchorCtr="0" compatLnSpc="1">
                <a:prstTxWarp prst="textNoShape">
                  <a:avLst/>
                </a:prstTxWarp>
              </a:bodyPr>
              <a:lstStyle/>
              <a:p>
                <a:pPr defTabSz="913935">
                  <a:defRPr/>
                </a:pPr>
                <a:endParaRPr lang="en-US" sz="1764" kern="0">
                  <a:solidFill>
                    <a:srgbClr val="2C2C2C"/>
                  </a:solidFill>
                  <a:latin typeface="Segoe UI"/>
                </a:endParaRPr>
              </a:p>
            </p:txBody>
          </p:sp>
        </p:grpSp>
        <p:grpSp>
          <p:nvGrpSpPr>
            <p:cNvPr id="10" name="Group 9">
              <a:extLst>
                <a:ext uri="{FF2B5EF4-FFF2-40B4-BE49-F238E27FC236}">
                  <a16:creationId xmlns:a16="http://schemas.microsoft.com/office/drawing/2014/main" id="{B3D14A97-B56B-4A02-B6E9-06D860B1FDF1}"/>
                </a:ext>
              </a:extLst>
            </p:cNvPr>
            <p:cNvGrpSpPr/>
            <p:nvPr/>
          </p:nvGrpSpPr>
          <p:grpSpPr>
            <a:xfrm>
              <a:off x="8680010" y="4861020"/>
              <a:ext cx="1060110" cy="1171601"/>
              <a:chOff x="8147678" y="4623056"/>
              <a:chExt cx="1039565" cy="1148896"/>
            </a:xfrm>
          </p:grpSpPr>
          <p:grpSp>
            <p:nvGrpSpPr>
              <p:cNvPr id="39" name="Group 38">
                <a:extLst>
                  <a:ext uri="{FF2B5EF4-FFF2-40B4-BE49-F238E27FC236}">
                    <a16:creationId xmlns:a16="http://schemas.microsoft.com/office/drawing/2014/main" id="{9637A655-C5F4-4470-9960-92B9437E9986}"/>
                  </a:ext>
                </a:extLst>
              </p:cNvPr>
              <p:cNvGrpSpPr/>
              <p:nvPr/>
            </p:nvGrpSpPr>
            <p:grpSpPr>
              <a:xfrm>
                <a:off x="8147678" y="4623056"/>
                <a:ext cx="1039565" cy="1148896"/>
                <a:chOff x="7273159" y="4056710"/>
                <a:chExt cx="1039565" cy="1148896"/>
              </a:xfrm>
            </p:grpSpPr>
            <p:sp>
              <p:nvSpPr>
                <p:cNvPr id="40" name="Rectangle 39">
                  <a:extLst>
                    <a:ext uri="{FF2B5EF4-FFF2-40B4-BE49-F238E27FC236}">
                      <a16:creationId xmlns:a16="http://schemas.microsoft.com/office/drawing/2014/main" id="{A682DFAA-03F6-4130-BC6E-0A32BDAFF272}"/>
                    </a:ext>
                  </a:extLst>
                </p:cNvPr>
                <p:cNvSpPr/>
                <p:nvPr/>
              </p:nvSpPr>
              <p:spPr bwMode="auto">
                <a:xfrm>
                  <a:off x="7310655" y="4056710"/>
                  <a:ext cx="1002069" cy="1148896"/>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2" name="TextBox 41">
                  <a:extLst>
                    <a:ext uri="{FF2B5EF4-FFF2-40B4-BE49-F238E27FC236}">
                      <a16:creationId xmlns:a16="http://schemas.microsoft.com/office/drawing/2014/main" id="{691611D8-0AC6-4C4E-B858-CB346BBAF1D3}"/>
                    </a:ext>
                  </a:extLst>
                </p:cNvPr>
                <p:cNvSpPr txBox="1"/>
                <p:nvPr/>
              </p:nvSpPr>
              <p:spPr>
                <a:xfrm>
                  <a:off x="7273159" y="4731396"/>
                  <a:ext cx="1039565" cy="364827"/>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Familiar Developer Tools</a:t>
                  </a:r>
                </a:p>
              </p:txBody>
            </p:sp>
          </p:grpSp>
          <p:sp>
            <p:nvSpPr>
              <p:cNvPr id="43" name="Freeform 13">
                <a:extLst>
                  <a:ext uri="{FF2B5EF4-FFF2-40B4-BE49-F238E27FC236}">
                    <a16:creationId xmlns:a16="http://schemas.microsoft.com/office/drawing/2014/main" id="{20323865-C557-467F-B6D2-56EE6096AFC8}"/>
                  </a:ext>
                </a:extLst>
              </p:cNvPr>
              <p:cNvSpPr>
                <a:spLocks noChangeAspect="1" noEditPoints="1"/>
              </p:cNvSpPr>
              <p:nvPr/>
            </p:nvSpPr>
            <p:spPr bwMode="black">
              <a:xfrm>
                <a:off x="8513644" y="4825749"/>
                <a:ext cx="307631" cy="308016"/>
              </a:xfrm>
              <a:custGeom>
                <a:avLst/>
                <a:gdLst>
                  <a:gd name="T0" fmla="*/ 600 w 800"/>
                  <a:gd name="T1" fmla="*/ 0 h 801"/>
                  <a:gd name="T2" fmla="*/ 283 w 800"/>
                  <a:gd name="T3" fmla="*/ 317 h 801"/>
                  <a:gd name="T4" fmla="*/ 81 w 800"/>
                  <a:gd name="T5" fmla="*/ 159 h 801"/>
                  <a:gd name="T6" fmla="*/ 0 w 800"/>
                  <a:gd name="T7" fmla="*/ 200 h 801"/>
                  <a:gd name="T8" fmla="*/ 0 w 800"/>
                  <a:gd name="T9" fmla="*/ 600 h 801"/>
                  <a:gd name="T10" fmla="*/ 81 w 800"/>
                  <a:gd name="T11" fmla="*/ 641 h 801"/>
                  <a:gd name="T12" fmla="*/ 283 w 800"/>
                  <a:gd name="T13" fmla="*/ 484 h 801"/>
                  <a:gd name="T14" fmla="*/ 600 w 800"/>
                  <a:gd name="T15" fmla="*/ 801 h 801"/>
                  <a:gd name="T16" fmla="*/ 800 w 800"/>
                  <a:gd name="T17" fmla="*/ 722 h 801"/>
                  <a:gd name="T18" fmla="*/ 800 w 800"/>
                  <a:gd name="T19" fmla="*/ 78 h 801"/>
                  <a:gd name="T20" fmla="*/ 600 w 800"/>
                  <a:gd name="T21" fmla="*/ 0 h 801"/>
                  <a:gd name="T22" fmla="*/ 81 w 800"/>
                  <a:gd name="T23" fmla="*/ 519 h 801"/>
                  <a:gd name="T24" fmla="*/ 81 w 800"/>
                  <a:gd name="T25" fmla="*/ 281 h 801"/>
                  <a:gd name="T26" fmla="*/ 200 w 800"/>
                  <a:gd name="T27" fmla="*/ 400 h 801"/>
                  <a:gd name="T28" fmla="*/ 81 w 800"/>
                  <a:gd name="T29" fmla="*/ 519 h 801"/>
                  <a:gd name="T30" fmla="*/ 388 w 800"/>
                  <a:gd name="T31" fmla="*/ 400 h 801"/>
                  <a:gd name="T32" fmla="*/ 600 w 800"/>
                  <a:gd name="T33" fmla="*/ 236 h 801"/>
                  <a:gd name="T34" fmla="*/ 600 w 800"/>
                  <a:gd name="T35" fmla="*/ 565 h 801"/>
                  <a:gd name="T36" fmla="*/ 388 w 800"/>
                  <a:gd name="T37" fmla="*/ 40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0" h="801">
                    <a:moveTo>
                      <a:pt x="600" y="0"/>
                    </a:moveTo>
                    <a:lnTo>
                      <a:pt x="283" y="317"/>
                    </a:lnTo>
                    <a:lnTo>
                      <a:pt x="81" y="159"/>
                    </a:lnTo>
                    <a:lnTo>
                      <a:pt x="0" y="200"/>
                    </a:lnTo>
                    <a:lnTo>
                      <a:pt x="0" y="600"/>
                    </a:lnTo>
                    <a:lnTo>
                      <a:pt x="81" y="641"/>
                    </a:lnTo>
                    <a:lnTo>
                      <a:pt x="283" y="484"/>
                    </a:lnTo>
                    <a:lnTo>
                      <a:pt x="600" y="801"/>
                    </a:lnTo>
                    <a:lnTo>
                      <a:pt x="800" y="722"/>
                    </a:lnTo>
                    <a:lnTo>
                      <a:pt x="800" y="78"/>
                    </a:lnTo>
                    <a:lnTo>
                      <a:pt x="600" y="0"/>
                    </a:lnTo>
                    <a:close/>
                    <a:moveTo>
                      <a:pt x="81" y="519"/>
                    </a:moveTo>
                    <a:lnTo>
                      <a:pt x="81" y="281"/>
                    </a:lnTo>
                    <a:lnTo>
                      <a:pt x="200" y="400"/>
                    </a:lnTo>
                    <a:lnTo>
                      <a:pt x="81" y="519"/>
                    </a:lnTo>
                    <a:close/>
                    <a:moveTo>
                      <a:pt x="388" y="400"/>
                    </a:moveTo>
                    <a:lnTo>
                      <a:pt x="600" y="236"/>
                    </a:lnTo>
                    <a:lnTo>
                      <a:pt x="600" y="565"/>
                    </a:lnTo>
                    <a:lnTo>
                      <a:pt x="388" y="400"/>
                    </a:lnTo>
                    <a:close/>
                  </a:path>
                </a:pathLst>
              </a:custGeom>
              <a:solidFill>
                <a:schemeClr val="tx1"/>
              </a:solidFill>
              <a:ln>
                <a:solidFill>
                  <a:schemeClr val="tx1"/>
                </a:solidFill>
              </a:ln>
            </p:spPr>
            <p:txBody>
              <a:bodyPr vert="horz" wrap="square" lIns="91403" tIns="45700" rIns="91403" bIns="45700" numCol="1" anchor="t" anchorCtr="0" compatLnSpc="1">
                <a:prstTxWarp prst="textNoShape">
                  <a:avLst/>
                </a:prstTxWarp>
              </a:bodyPr>
              <a:lstStyle/>
              <a:p>
                <a:pPr defTabSz="932267">
                  <a:defRPr/>
                </a:pPr>
                <a:endParaRPr lang="en-US" kern="0">
                  <a:solidFill>
                    <a:srgbClr val="FFFFFF"/>
                  </a:solidFill>
                  <a:latin typeface="Segoe UI"/>
                </a:endParaRPr>
              </a:p>
            </p:txBody>
          </p:sp>
        </p:grpSp>
        <p:grpSp>
          <p:nvGrpSpPr>
            <p:cNvPr id="9" name="Group 8">
              <a:extLst>
                <a:ext uri="{FF2B5EF4-FFF2-40B4-BE49-F238E27FC236}">
                  <a16:creationId xmlns:a16="http://schemas.microsoft.com/office/drawing/2014/main" id="{8848A67E-0279-48F2-ABA7-FFF081366C5D}"/>
                </a:ext>
              </a:extLst>
            </p:cNvPr>
            <p:cNvGrpSpPr/>
            <p:nvPr/>
          </p:nvGrpSpPr>
          <p:grpSpPr>
            <a:xfrm>
              <a:off x="9563844" y="2353982"/>
              <a:ext cx="1443323" cy="1114411"/>
              <a:chOff x="10135554" y="2158781"/>
              <a:chExt cx="1415352" cy="1092814"/>
            </a:xfrm>
          </p:grpSpPr>
          <p:sp>
            <p:nvSpPr>
              <p:cNvPr id="13" name="Rectangle 12">
                <a:extLst>
                  <a:ext uri="{FF2B5EF4-FFF2-40B4-BE49-F238E27FC236}">
                    <a16:creationId xmlns:a16="http://schemas.microsoft.com/office/drawing/2014/main" id="{5DB6E6BD-DA2A-4D1D-AAF5-3005034E7A39}"/>
                  </a:ext>
                </a:extLst>
              </p:cNvPr>
              <p:cNvSpPr/>
              <p:nvPr/>
            </p:nvSpPr>
            <p:spPr bwMode="auto">
              <a:xfrm>
                <a:off x="10135554" y="2158781"/>
                <a:ext cx="1405421" cy="1092814"/>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 name="TextBox 18">
                <a:extLst>
                  <a:ext uri="{FF2B5EF4-FFF2-40B4-BE49-F238E27FC236}">
                    <a16:creationId xmlns:a16="http://schemas.microsoft.com/office/drawing/2014/main" id="{0C749DFA-FD10-46F8-BEED-F4429B584B4E}"/>
                  </a:ext>
                </a:extLst>
              </p:cNvPr>
              <p:cNvSpPr txBox="1"/>
              <p:nvPr/>
            </p:nvSpPr>
            <p:spPr>
              <a:xfrm>
                <a:off x="10145485" y="2831815"/>
                <a:ext cx="1405421" cy="364827"/>
              </a:xfrm>
              <a:prstGeom prst="rect">
                <a:avLst/>
              </a:prstGeom>
              <a:noFill/>
              <a:ln>
                <a:noFill/>
              </a:ln>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Rich Semantic Modeling</a:t>
                </a:r>
              </a:p>
            </p:txBody>
          </p:sp>
          <p:sp>
            <p:nvSpPr>
              <p:cNvPr id="20" name="Freeform 21">
                <a:extLst>
                  <a:ext uri="{FF2B5EF4-FFF2-40B4-BE49-F238E27FC236}">
                    <a16:creationId xmlns:a16="http://schemas.microsoft.com/office/drawing/2014/main" id="{41F7B92B-8486-4486-8CE0-EC433FAC0917}"/>
                  </a:ext>
                </a:extLst>
              </p:cNvPr>
              <p:cNvSpPr>
                <a:spLocks noChangeAspect="1" noEditPoints="1"/>
              </p:cNvSpPr>
              <p:nvPr/>
            </p:nvSpPr>
            <p:spPr bwMode="black">
              <a:xfrm>
                <a:off x="10508522" y="2321733"/>
                <a:ext cx="527282" cy="459570"/>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rgbClr val="FFFFFF"/>
              </a:solid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93007" tIns="74407" rIns="93007" bIns="74407" numCol="1" spcCol="0" rtlCol="0" fromWordArt="0" anchor="t" anchorCtr="0" forceAA="0" compatLnSpc="1">
                <a:prstTxWarp prst="textNoShape">
                  <a:avLst/>
                </a:prstTxWarp>
                <a:noAutofit/>
              </a:bodyPr>
              <a:lstStyle/>
              <a:p>
                <a:pPr algn="ctr" defTabSz="474150" fontAlgn="base">
                  <a:lnSpc>
                    <a:spcPct val="90000"/>
                  </a:lnSpc>
                  <a:spcBef>
                    <a:spcPct val="0"/>
                  </a:spcBef>
                  <a:spcAft>
                    <a:spcPct val="0"/>
                  </a:spcAft>
                  <a:defRPr/>
                </a:pPr>
                <a:endParaRPr lang="en-US" sz="1221"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8" name="Group 7">
              <a:extLst>
                <a:ext uri="{FF2B5EF4-FFF2-40B4-BE49-F238E27FC236}">
                  <a16:creationId xmlns:a16="http://schemas.microsoft.com/office/drawing/2014/main" id="{A0AAE348-7DAC-4BDC-8C70-EEA3A9176E13}"/>
                </a:ext>
              </a:extLst>
            </p:cNvPr>
            <p:cNvGrpSpPr/>
            <p:nvPr/>
          </p:nvGrpSpPr>
          <p:grpSpPr>
            <a:xfrm>
              <a:off x="8339358" y="2103242"/>
              <a:ext cx="1084667" cy="1270946"/>
              <a:chOff x="8531428" y="1852879"/>
              <a:chExt cx="1063647" cy="1246316"/>
            </a:xfrm>
          </p:grpSpPr>
          <p:sp>
            <p:nvSpPr>
              <p:cNvPr id="14" name="Rectangle 13">
                <a:extLst>
                  <a:ext uri="{FF2B5EF4-FFF2-40B4-BE49-F238E27FC236}">
                    <a16:creationId xmlns:a16="http://schemas.microsoft.com/office/drawing/2014/main" id="{F3A203C5-C2CC-4EF7-BC3E-A7ECF7A899C4}"/>
                  </a:ext>
                </a:extLst>
              </p:cNvPr>
              <p:cNvSpPr/>
              <p:nvPr/>
            </p:nvSpPr>
            <p:spPr bwMode="auto">
              <a:xfrm>
                <a:off x="8531428" y="1852879"/>
                <a:ext cx="1063647" cy="1246316"/>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 name="TextBox 20">
                <a:extLst>
                  <a:ext uri="{FF2B5EF4-FFF2-40B4-BE49-F238E27FC236}">
                    <a16:creationId xmlns:a16="http://schemas.microsoft.com/office/drawing/2014/main" id="{FC5E89E7-5637-4FE8-A6AB-C13BF7576E31}"/>
                  </a:ext>
                </a:extLst>
              </p:cNvPr>
              <p:cNvSpPr txBox="1"/>
              <p:nvPr/>
            </p:nvSpPr>
            <p:spPr>
              <a:xfrm>
                <a:off x="8563549" y="2436051"/>
                <a:ext cx="929690" cy="239440"/>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Security</a:t>
                </a:r>
              </a:p>
            </p:txBody>
          </p:sp>
          <p:sp>
            <p:nvSpPr>
              <p:cNvPr id="22" name="Freeform 99">
                <a:extLst>
                  <a:ext uri="{FF2B5EF4-FFF2-40B4-BE49-F238E27FC236}">
                    <a16:creationId xmlns:a16="http://schemas.microsoft.com/office/drawing/2014/main" id="{72641601-3B8C-495D-A377-B3496B6FEBDC}"/>
                  </a:ext>
                </a:extLst>
              </p:cNvPr>
              <p:cNvSpPr>
                <a:spLocks noChangeAspect="1"/>
              </p:cNvSpPr>
              <p:nvPr/>
            </p:nvSpPr>
            <p:spPr bwMode="auto">
              <a:xfrm>
                <a:off x="8852440" y="2002724"/>
                <a:ext cx="299199" cy="336810"/>
              </a:xfrm>
              <a:custGeom>
                <a:avLst/>
                <a:gdLst/>
                <a:ahLst/>
                <a:cxnLst/>
                <a:rect l="l" t="t" r="r" b="b"/>
                <a:pathLst>
                  <a:path w="1407693" h="1585061">
                    <a:moveTo>
                      <a:pt x="983922" y="368134"/>
                    </a:moveTo>
                    <a:cubicBezTo>
                      <a:pt x="975073" y="368134"/>
                      <a:pt x="959144" y="369906"/>
                      <a:pt x="935252" y="373450"/>
                    </a:cubicBezTo>
                    <a:cubicBezTo>
                      <a:pt x="911359" y="376107"/>
                      <a:pt x="896315" y="379651"/>
                      <a:pt x="889236" y="382309"/>
                    </a:cubicBezTo>
                    <a:cubicBezTo>
                      <a:pt x="882157" y="385853"/>
                      <a:pt x="869768" y="396484"/>
                      <a:pt x="852069" y="414203"/>
                    </a:cubicBezTo>
                    <a:cubicBezTo>
                      <a:pt x="833486" y="432807"/>
                      <a:pt x="806939" y="465587"/>
                      <a:pt x="772427" y="514313"/>
                    </a:cubicBezTo>
                    <a:cubicBezTo>
                      <a:pt x="737915" y="563040"/>
                      <a:pt x="706058" y="614424"/>
                      <a:pt x="675971" y="668466"/>
                    </a:cubicBezTo>
                    <a:cubicBezTo>
                      <a:pt x="646769" y="722508"/>
                      <a:pt x="618452" y="779208"/>
                      <a:pt x="592789" y="836794"/>
                    </a:cubicBezTo>
                    <a:cubicBezTo>
                      <a:pt x="568896" y="796041"/>
                      <a:pt x="546773" y="767691"/>
                      <a:pt x="527305" y="753516"/>
                    </a:cubicBezTo>
                    <a:cubicBezTo>
                      <a:pt x="507837" y="738455"/>
                      <a:pt x="491024" y="731367"/>
                      <a:pt x="477750" y="731367"/>
                    </a:cubicBezTo>
                    <a:cubicBezTo>
                      <a:pt x="467131" y="731367"/>
                      <a:pt x="454742" y="736683"/>
                      <a:pt x="438814" y="748200"/>
                    </a:cubicBezTo>
                    <a:cubicBezTo>
                      <a:pt x="422885" y="758831"/>
                      <a:pt x="414921" y="770349"/>
                      <a:pt x="414921" y="780980"/>
                    </a:cubicBezTo>
                    <a:cubicBezTo>
                      <a:pt x="414921" y="788067"/>
                      <a:pt x="422000" y="799584"/>
                      <a:pt x="437044" y="815531"/>
                    </a:cubicBezTo>
                    <a:cubicBezTo>
                      <a:pt x="465361" y="845653"/>
                      <a:pt x="490139" y="877547"/>
                      <a:pt x="512262" y="911212"/>
                    </a:cubicBezTo>
                    <a:cubicBezTo>
                      <a:pt x="525536" y="931589"/>
                      <a:pt x="534385" y="943992"/>
                      <a:pt x="538809" y="948422"/>
                    </a:cubicBezTo>
                    <a:cubicBezTo>
                      <a:pt x="543234" y="952851"/>
                      <a:pt x="556508" y="955509"/>
                      <a:pt x="579515" y="955509"/>
                    </a:cubicBezTo>
                    <a:cubicBezTo>
                      <a:pt x="610487" y="955509"/>
                      <a:pt x="629071" y="951079"/>
                      <a:pt x="635265" y="943106"/>
                    </a:cubicBezTo>
                    <a:cubicBezTo>
                      <a:pt x="640575" y="936018"/>
                      <a:pt x="651194" y="912984"/>
                      <a:pt x="667122" y="874003"/>
                    </a:cubicBezTo>
                    <a:cubicBezTo>
                      <a:pt x="706058" y="777436"/>
                      <a:pt x="754729" y="685299"/>
                      <a:pt x="813133" y="597591"/>
                    </a:cubicBezTo>
                    <a:cubicBezTo>
                      <a:pt x="870653" y="509884"/>
                      <a:pt x="923748" y="443439"/>
                      <a:pt x="972418" y="399142"/>
                    </a:cubicBezTo>
                    <a:cubicBezTo>
                      <a:pt x="982152" y="390282"/>
                      <a:pt x="987462" y="384967"/>
                      <a:pt x="989231" y="382309"/>
                    </a:cubicBezTo>
                    <a:cubicBezTo>
                      <a:pt x="991886" y="379651"/>
                      <a:pt x="992771" y="376993"/>
                      <a:pt x="992771" y="374336"/>
                    </a:cubicBezTo>
                    <a:cubicBezTo>
                      <a:pt x="992771" y="369906"/>
                      <a:pt x="990116" y="368134"/>
                      <a:pt x="983922" y="368134"/>
                    </a:cubicBezTo>
                    <a:close/>
                    <a:moveTo>
                      <a:pt x="695394" y="0"/>
                    </a:moveTo>
                    <a:cubicBezTo>
                      <a:pt x="895720" y="148883"/>
                      <a:pt x="1163791" y="186000"/>
                      <a:pt x="1407693" y="200525"/>
                    </a:cubicBezTo>
                    <a:cubicBezTo>
                      <a:pt x="1390747" y="285860"/>
                      <a:pt x="1461517" y="1376262"/>
                      <a:pt x="694708" y="1585061"/>
                    </a:cubicBezTo>
                    <a:cubicBezTo>
                      <a:pt x="23523" y="1327239"/>
                      <a:pt x="4842" y="669974"/>
                      <a:pt x="0" y="196090"/>
                    </a:cubicBezTo>
                    <a:cubicBezTo>
                      <a:pt x="235429" y="194275"/>
                      <a:pt x="456333" y="161593"/>
                      <a:pt x="695394" y="0"/>
                    </a:cubicBezTo>
                    <a:close/>
                  </a:path>
                </a:pathLst>
              </a:custGeom>
              <a:solidFill>
                <a:srgbClr val="FFFFFF"/>
              </a:solid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91403" tIns="45700" rIns="45700" bIns="91403" numCol="1" spcCol="0" rtlCol="0" fromWordArt="0" anchor="b" anchorCtr="0" forceAA="0" compatLnSpc="1">
                <a:prstTxWarp prst="textNoShape">
                  <a:avLst/>
                </a:prstTxWarp>
                <a:noAutofit/>
              </a:bodyPr>
              <a:lstStyle/>
              <a:p>
                <a:pPr algn="ctr" defTabSz="913633" fontAlgn="base">
                  <a:spcBef>
                    <a:spcPct val="0"/>
                  </a:spcBef>
                  <a:spcAft>
                    <a:spcPct val="0"/>
                  </a:spcAft>
                  <a:defRPr/>
                </a:pPr>
                <a:endParaRPr lang="en-US" kern="0" spc="-50">
                  <a:solidFill>
                    <a:srgbClr val="0078D7"/>
                  </a:solidFill>
                  <a:latin typeface="Segoe UI Semilight"/>
                  <a:ea typeface="Segoe UI" pitchFamily="34" charset="0"/>
                  <a:cs typeface="Segoe UI" pitchFamily="34" charset="0"/>
                </a:endParaRPr>
              </a:p>
            </p:txBody>
          </p:sp>
        </p:grpSp>
        <p:grpSp>
          <p:nvGrpSpPr>
            <p:cNvPr id="7" name="Group 6">
              <a:extLst>
                <a:ext uri="{FF2B5EF4-FFF2-40B4-BE49-F238E27FC236}">
                  <a16:creationId xmlns:a16="http://schemas.microsoft.com/office/drawing/2014/main" id="{5D2F58EB-7FEE-4B54-8886-6DB5AF4068BD}"/>
                </a:ext>
              </a:extLst>
            </p:cNvPr>
            <p:cNvGrpSpPr/>
            <p:nvPr/>
          </p:nvGrpSpPr>
          <p:grpSpPr>
            <a:xfrm>
              <a:off x="7394873" y="4748857"/>
              <a:ext cx="1115542" cy="1121502"/>
              <a:chOff x="7310655" y="4056710"/>
              <a:chExt cx="1093922" cy="1099768"/>
            </a:xfrm>
          </p:grpSpPr>
          <p:sp>
            <p:nvSpPr>
              <p:cNvPr id="11" name="Rectangle 10">
                <a:extLst>
                  <a:ext uri="{FF2B5EF4-FFF2-40B4-BE49-F238E27FC236}">
                    <a16:creationId xmlns:a16="http://schemas.microsoft.com/office/drawing/2014/main" id="{F815763A-2AA0-4E40-9124-7695CA699934}"/>
                  </a:ext>
                </a:extLst>
              </p:cNvPr>
              <p:cNvSpPr/>
              <p:nvPr/>
            </p:nvSpPr>
            <p:spPr bwMode="auto">
              <a:xfrm>
                <a:off x="7310655" y="4056710"/>
                <a:ext cx="1093922" cy="1099768"/>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5" name="Freeform 214">
                <a:extLst>
                  <a:ext uri="{FF2B5EF4-FFF2-40B4-BE49-F238E27FC236}">
                    <a16:creationId xmlns:a16="http://schemas.microsoft.com/office/drawing/2014/main" id="{4C6B7437-D815-4C6F-9BAE-20BE8E34F310}"/>
                  </a:ext>
                </a:extLst>
              </p:cNvPr>
              <p:cNvSpPr/>
              <p:nvPr/>
            </p:nvSpPr>
            <p:spPr bwMode="auto">
              <a:xfrm flipH="1" flipV="1">
                <a:off x="7634776" y="4286796"/>
                <a:ext cx="403391" cy="403391"/>
              </a:xfrm>
              <a:custGeom>
                <a:avLst/>
                <a:gdLst/>
                <a:ahLst/>
                <a:cxnLst/>
                <a:rect l="l" t="t" r="r" b="b"/>
                <a:pathLst>
                  <a:path w="4301747" h="4270663">
                    <a:moveTo>
                      <a:pt x="639250" y="2400189"/>
                    </a:moveTo>
                    <a:lnTo>
                      <a:pt x="3920" y="2311124"/>
                    </a:lnTo>
                    <a:cubicBezTo>
                      <a:pt x="-106916" y="318049"/>
                      <a:pt x="2157312" y="-748752"/>
                      <a:pt x="3661520" y="607015"/>
                    </a:cubicBezTo>
                    <a:lnTo>
                      <a:pt x="4094970" y="179504"/>
                    </a:lnTo>
                    <a:lnTo>
                      <a:pt x="4296850" y="1675795"/>
                    </a:lnTo>
                    <a:lnTo>
                      <a:pt x="2830248" y="1456101"/>
                    </a:lnTo>
                    <a:lnTo>
                      <a:pt x="3234009" y="1064215"/>
                    </a:lnTo>
                    <a:cubicBezTo>
                      <a:pt x="2826289" y="517951"/>
                      <a:pt x="631335" y="120127"/>
                      <a:pt x="639250" y="2400189"/>
                    </a:cubicBezTo>
                    <a:close/>
                    <a:moveTo>
                      <a:pt x="2177409" y="4270606"/>
                    </a:moveTo>
                    <a:cubicBezTo>
                      <a:pt x="1654578" y="4274424"/>
                      <a:pt x="1110292" y="4087325"/>
                      <a:pt x="640227" y="3663648"/>
                    </a:cubicBezTo>
                    <a:lnTo>
                      <a:pt x="206777" y="4091159"/>
                    </a:lnTo>
                    <a:lnTo>
                      <a:pt x="4897" y="2594868"/>
                    </a:lnTo>
                    <a:lnTo>
                      <a:pt x="1471499" y="2814562"/>
                    </a:lnTo>
                    <a:lnTo>
                      <a:pt x="1067738" y="3206448"/>
                    </a:lnTo>
                    <a:cubicBezTo>
                      <a:pt x="1475458" y="3752712"/>
                      <a:pt x="3670412" y="4150536"/>
                      <a:pt x="3662497" y="1870474"/>
                    </a:cubicBezTo>
                    <a:lnTo>
                      <a:pt x="4297827" y="1959539"/>
                    </a:lnTo>
                    <a:cubicBezTo>
                      <a:pt x="4374027" y="3329778"/>
                      <a:pt x="3327638" y="4262208"/>
                      <a:pt x="2177409" y="4270606"/>
                    </a:cubicBezTo>
                    <a:close/>
                  </a:path>
                </a:pathLst>
              </a:custGeom>
              <a:no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91403" tIns="45700" rIns="45700" bIns="91403" numCol="1" spcCol="0" rtlCol="0" fromWordArt="0" anchor="b" anchorCtr="0" forceAA="0" compatLnSpc="1">
                <a:prstTxWarp prst="textNoShape">
                  <a:avLst/>
                </a:prstTxWarp>
                <a:noAutofit/>
              </a:bodyPr>
              <a:lstStyle/>
              <a:p>
                <a:pPr algn="ctr" defTabSz="913633" fontAlgn="base">
                  <a:spcBef>
                    <a:spcPct val="0"/>
                  </a:spcBef>
                  <a:spcAft>
                    <a:spcPct val="0"/>
                  </a:spcAft>
                  <a:defRPr/>
                </a:pPr>
                <a:endParaRPr lang="en-US" kern="0" spc="-5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 name="TextBox 25">
                <a:extLst>
                  <a:ext uri="{FF2B5EF4-FFF2-40B4-BE49-F238E27FC236}">
                    <a16:creationId xmlns:a16="http://schemas.microsoft.com/office/drawing/2014/main" id="{6EED6A32-3000-4676-89AE-A58F43BA49EF}"/>
                  </a:ext>
                </a:extLst>
              </p:cNvPr>
              <p:cNvSpPr txBox="1"/>
              <p:nvPr/>
            </p:nvSpPr>
            <p:spPr>
              <a:xfrm>
                <a:off x="7316835" y="4693377"/>
                <a:ext cx="1087742" cy="364827"/>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Lifecycle Management</a:t>
                </a:r>
              </a:p>
            </p:txBody>
          </p:sp>
        </p:grpSp>
        <p:grpSp>
          <p:nvGrpSpPr>
            <p:cNvPr id="6" name="Group 5">
              <a:extLst>
                <a:ext uri="{FF2B5EF4-FFF2-40B4-BE49-F238E27FC236}">
                  <a16:creationId xmlns:a16="http://schemas.microsoft.com/office/drawing/2014/main" id="{A3533D80-6FA4-4AB7-B03E-838B6B8263D2}"/>
                </a:ext>
              </a:extLst>
            </p:cNvPr>
            <p:cNvGrpSpPr/>
            <p:nvPr/>
          </p:nvGrpSpPr>
          <p:grpSpPr>
            <a:xfrm>
              <a:off x="7066686" y="2644429"/>
              <a:ext cx="1092860" cy="1149151"/>
              <a:chOff x="6962373" y="2500514"/>
              <a:chExt cx="1071681" cy="1126881"/>
            </a:xfrm>
          </p:grpSpPr>
          <p:sp>
            <p:nvSpPr>
              <p:cNvPr id="15" name="Rectangle 14">
                <a:extLst>
                  <a:ext uri="{FF2B5EF4-FFF2-40B4-BE49-F238E27FC236}">
                    <a16:creationId xmlns:a16="http://schemas.microsoft.com/office/drawing/2014/main" id="{BD69C2E0-28F6-42D8-88A6-44BCB0E89268}"/>
                  </a:ext>
                </a:extLst>
              </p:cNvPr>
              <p:cNvSpPr/>
              <p:nvPr/>
            </p:nvSpPr>
            <p:spPr bwMode="auto">
              <a:xfrm>
                <a:off x="6963530" y="2500514"/>
                <a:ext cx="1070524" cy="1126881"/>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TextBox 26">
                <a:extLst>
                  <a:ext uri="{FF2B5EF4-FFF2-40B4-BE49-F238E27FC236}">
                    <a16:creationId xmlns:a16="http://schemas.microsoft.com/office/drawing/2014/main" id="{AB033791-6DD8-459E-9D9F-BF24277EBDED}"/>
                  </a:ext>
                </a:extLst>
              </p:cNvPr>
              <p:cNvSpPr txBox="1"/>
              <p:nvPr/>
            </p:nvSpPr>
            <p:spPr>
              <a:xfrm>
                <a:off x="6962373" y="3119615"/>
                <a:ext cx="1070524" cy="364827"/>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Leading In-Memory Cache</a:t>
                </a:r>
              </a:p>
            </p:txBody>
          </p:sp>
          <p:sp>
            <p:nvSpPr>
              <p:cNvPr id="28" name="Freeform 70">
                <a:extLst>
                  <a:ext uri="{FF2B5EF4-FFF2-40B4-BE49-F238E27FC236}">
                    <a16:creationId xmlns:a16="http://schemas.microsoft.com/office/drawing/2014/main" id="{A0785C48-93EE-432B-BA28-0578EDD6735A}"/>
                  </a:ext>
                </a:extLst>
              </p:cNvPr>
              <p:cNvSpPr>
                <a:spLocks noChangeAspect="1"/>
              </p:cNvSpPr>
              <p:nvPr/>
            </p:nvSpPr>
            <p:spPr bwMode="black">
              <a:xfrm>
                <a:off x="7384448" y="2601457"/>
                <a:ext cx="297969" cy="429985"/>
              </a:xfrm>
              <a:custGeom>
                <a:avLst/>
                <a:gdLst>
                  <a:gd name="T0" fmla="*/ 73 w 110"/>
                  <a:gd name="T1" fmla="*/ 6 h 144"/>
                  <a:gd name="T2" fmla="*/ 70 w 110"/>
                  <a:gd name="T3" fmla="*/ 0 h 144"/>
                  <a:gd name="T4" fmla="*/ 12 w 110"/>
                  <a:gd name="T5" fmla="*/ 0 h 144"/>
                  <a:gd name="T6" fmla="*/ 6 w 110"/>
                  <a:gd name="T7" fmla="*/ 6 h 144"/>
                  <a:gd name="T8" fmla="*/ 0 w 110"/>
                  <a:gd name="T9" fmla="*/ 69 h 144"/>
                  <a:gd name="T10" fmla="*/ 5 w 110"/>
                  <a:gd name="T11" fmla="*/ 75 h 144"/>
                  <a:gd name="T12" fmla="*/ 40 w 110"/>
                  <a:gd name="T13" fmla="*/ 75 h 144"/>
                  <a:gd name="T14" fmla="*/ 16 w 110"/>
                  <a:gd name="T15" fmla="*/ 136 h 144"/>
                  <a:gd name="T16" fmla="*/ 21 w 110"/>
                  <a:gd name="T17" fmla="*/ 140 h 144"/>
                  <a:gd name="T18" fmla="*/ 108 w 110"/>
                  <a:gd name="T19" fmla="*/ 57 h 144"/>
                  <a:gd name="T20" fmla="*/ 107 w 110"/>
                  <a:gd name="T21" fmla="*/ 53 h 144"/>
                  <a:gd name="T22" fmla="*/ 54 w 110"/>
                  <a:gd name="T23" fmla="*/ 53 h 144"/>
                  <a:gd name="T24" fmla="*/ 73 w 110"/>
                  <a:gd name="T25" fmla="*/ 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44">
                    <a:moveTo>
                      <a:pt x="73" y="6"/>
                    </a:moveTo>
                    <a:cubicBezTo>
                      <a:pt x="75" y="2"/>
                      <a:pt x="73" y="0"/>
                      <a:pt x="70" y="0"/>
                    </a:cubicBezTo>
                    <a:cubicBezTo>
                      <a:pt x="12" y="0"/>
                      <a:pt x="12" y="0"/>
                      <a:pt x="12" y="0"/>
                    </a:cubicBezTo>
                    <a:cubicBezTo>
                      <a:pt x="9" y="0"/>
                      <a:pt x="6" y="3"/>
                      <a:pt x="6" y="6"/>
                    </a:cubicBezTo>
                    <a:cubicBezTo>
                      <a:pt x="0" y="69"/>
                      <a:pt x="0" y="69"/>
                      <a:pt x="0" y="69"/>
                    </a:cubicBezTo>
                    <a:cubicBezTo>
                      <a:pt x="0" y="73"/>
                      <a:pt x="2" y="75"/>
                      <a:pt x="5" y="75"/>
                    </a:cubicBezTo>
                    <a:cubicBezTo>
                      <a:pt x="40" y="75"/>
                      <a:pt x="40" y="75"/>
                      <a:pt x="40" y="75"/>
                    </a:cubicBezTo>
                    <a:cubicBezTo>
                      <a:pt x="16" y="136"/>
                      <a:pt x="16" y="136"/>
                      <a:pt x="16" y="136"/>
                    </a:cubicBezTo>
                    <a:cubicBezTo>
                      <a:pt x="14" y="143"/>
                      <a:pt x="16" y="144"/>
                      <a:pt x="21" y="140"/>
                    </a:cubicBezTo>
                    <a:cubicBezTo>
                      <a:pt x="108" y="57"/>
                      <a:pt x="108" y="57"/>
                      <a:pt x="108" y="57"/>
                    </a:cubicBezTo>
                    <a:cubicBezTo>
                      <a:pt x="110" y="54"/>
                      <a:pt x="110" y="53"/>
                      <a:pt x="107" y="53"/>
                    </a:cubicBezTo>
                    <a:cubicBezTo>
                      <a:pt x="54" y="53"/>
                      <a:pt x="54" y="53"/>
                      <a:pt x="54" y="53"/>
                    </a:cubicBezTo>
                    <a:lnTo>
                      <a:pt x="73" y="6"/>
                    </a:lnTo>
                    <a:close/>
                  </a:path>
                </a:pathLst>
              </a:custGeom>
              <a:solidFill>
                <a:srgbClr val="FFFFFF"/>
              </a:solid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94872" tIns="75898" rIns="94872" bIns="75898" numCol="1" spcCol="0" rtlCol="0" fromWordArt="0" anchor="t" anchorCtr="0" forceAA="0" compatLnSpc="1">
                <a:prstTxWarp prst="textNoShape">
                  <a:avLst/>
                </a:prstTxWarp>
                <a:noAutofit/>
              </a:bodyPr>
              <a:lstStyle/>
              <a:p>
                <a:pPr algn="ctr" defTabSz="483678" fontAlgn="base">
                  <a:lnSpc>
                    <a:spcPct val="90000"/>
                  </a:lnSpc>
                  <a:spcBef>
                    <a:spcPct val="0"/>
                  </a:spcBef>
                  <a:spcAft>
                    <a:spcPct val="0"/>
                  </a:spcAft>
                  <a:defRPr/>
                </a:pPr>
                <a:endParaRPr lang="en-US" sz="1244"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4" name="Group 3">
              <a:extLst>
                <a:ext uri="{FF2B5EF4-FFF2-40B4-BE49-F238E27FC236}">
                  <a16:creationId xmlns:a16="http://schemas.microsoft.com/office/drawing/2014/main" id="{53321C7F-46F9-4E71-B38D-10B39F889B49}"/>
                </a:ext>
              </a:extLst>
            </p:cNvPr>
            <p:cNvGrpSpPr/>
            <p:nvPr/>
          </p:nvGrpSpPr>
          <p:grpSpPr>
            <a:xfrm>
              <a:off x="7613344" y="2999966"/>
              <a:ext cx="2809793" cy="1948179"/>
              <a:chOff x="3866216" y="1715806"/>
              <a:chExt cx="4401484" cy="2800203"/>
            </a:xfrm>
          </p:grpSpPr>
          <p:sp>
            <p:nvSpPr>
              <p:cNvPr id="29" name="Freeform: Shape 28">
                <a:extLst>
                  <a:ext uri="{FF2B5EF4-FFF2-40B4-BE49-F238E27FC236}">
                    <a16:creationId xmlns:a16="http://schemas.microsoft.com/office/drawing/2014/main" id="{5C7C43B4-052A-4AC5-9B20-74E3716D8A6C}"/>
                  </a:ext>
                </a:extLst>
              </p:cNvPr>
              <p:cNvSpPr/>
              <p:nvPr/>
            </p:nvSpPr>
            <p:spPr bwMode="auto">
              <a:xfrm>
                <a:off x="3866216" y="1715806"/>
                <a:ext cx="4401484" cy="2800203"/>
              </a:xfrm>
              <a:custGeom>
                <a:avLst/>
                <a:gdLst>
                  <a:gd name="connsiteX0" fmla="*/ 3554184 w 7110373"/>
                  <a:gd name="connsiteY0" fmla="*/ 0 h 4967012"/>
                  <a:gd name="connsiteX1" fmla="*/ 5388931 w 7110373"/>
                  <a:gd name="connsiteY1" fmla="*/ 1091995 h 4967012"/>
                  <a:gd name="connsiteX2" fmla="*/ 5410832 w 7110373"/>
                  <a:gd name="connsiteY2" fmla="*/ 1137459 h 4967012"/>
                  <a:gd name="connsiteX3" fmla="*/ 5579544 w 7110373"/>
                  <a:gd name="connsiteY3" fmla="*/ 1163207 h 4967012"/>
                  <a:gd name="connsiteX4" fmla="*/ 7110373 w 7110373"/>
                  <a:gd name="connsiteY4" fmla="*/ 3041470 h 4967012"/>
                  <a:gd name="connsiteX5" fmla="*/ 5193158 w 7110373"/>
                  <a:gd name="connsiteY5" fmla="*/ 4958684 h 4967012"/>
                  <a:gd name="connsiteX6" fmla="*/ 5160895 w 7110373"/>
                  <a:gd name="connsiteY6" fmla="*/ 4956852 h 4967012"/>
                  <a:gd name="connsiteX7" fmla="*/ 5160895 w 7110373"/>
                  <a:gd name="connsiteY7" fmla="*/ 4967012 h 4967012"/>
                  <a:gd name="connsiteX8" fmla="*/ 1687215 w 7110373"/>
                  <a:gd name="connsiteY8" fmla="*/ 4967012 h 4967012"/>
                  <a:gd name="connsiteX9" fmla="*/ 1687215 w 7110373"/>
                  <a:gd name="connsiteY9" fmla="*/ 4956011 h 4967012"/>
                  <a:gd name="connsiteX10" fmla="*/ 1610252 w 7110373"/>
                  <a:gd name="connsiteY10" fmla="*/ 4958685 h 4967012"/>
                  <a:gd name="connsiteX11" fmla="*/ 0 w 7110373"/>
                  <a:gd name="connsiteY11" fmla="*/ 3348433 h 4967012"/>
                  <a:gd name="connsiteX12" fmla="*/ 1445613 w 7110373"/>
                  <a:gd name="connsiteY12" fmla="*/ 1746495 h 4967012"/>
                  <a:gd name="connsiteX13" fmla="*/ 1498120 w 7110373"/>
                  <a:gd name="connsiteY13" fmla="*/ 1743843 h 4967012"/>
                  <a:gd name="connsiteX14" fmla="*/ 1509990 w 7110373"/>
                  <a:gd name="connsiteY14" fmla="*/ 1666066 h 4967012"/>
                  <a:gd name="connsiteX15" fmla="*/ 3554184 w 7110373"/>
                  <a:gd name="connsiteY15" fmla="*/ 0 h 496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10373" h="4967012">
                    <a:moveTo>
                      <a:pt x="3554184" y="0"/>
                    </a:moveTo>
                    <a:cubicBezTo>
                      <a:pt x="4346452" y="0"/>
                      <a:pt x="5035590" y="441554"/>
                      <a:pt x="5388931" y="1091995"/>
                    </a:cubicBezTo>
                    <a:lnTo>
                      <a:pt x="5410832" y="1137459"/>
                    </a:lnTo>
                    <a:lnTo>
                      <a:pt x="5579544" y="1163207"/>
                    </a:lnTo>
                    <a:cubicBezTo>
                      <a:pt x="6453187" y="1341980"/>
                      <a:pt x="7110373" y="2114978"/>
                      <a:pt x="7110373" y="3041470"/>
                    </a:cubicBezTo>
                    <a:cubicBezTo>
                      <a:pt x="7110373" y="4100318"/>
                      <a:pt x="6252007" y="4958684"/>
                      <a:pt x="5193158" y="4958684"/>
                    </a:cubicBezTo>
                    <a:lnTo>
                      <a:pt x="5160895" y="4956852"/>
                    </a:lnTo>
                    <a:lnTo>
                      <a:pt x="5160895" y="4967012"/>
                    </a:lnTo>
                    <a:lnTo>
                      <a:pt x="1687215" y="4967012"/>
                    </a:lnTo>
                    <a:lnTo>
                      <a:pt x="1687215" y="4956011"/>
                    </a:lnTo>
                    <a:lnTo>
                      <a:pt x="1610252" y="4958685"/>
                    </a:lnTo>
                    <a:cubicBezTo>
                      <a:pt x="720934" y="4958685"/>
                      <a:pt x="0" y="4237751"/>
                      <a:pt x="0" y="3348433"/>
                    </a:cubicBezTo>
                    <a:cubicBezTo>
                      <a:pt x="0" y="2514698"/>
                      <a:pt x="633634" y="1828956"/>
                      <a:pt x="1445613" y="1746495"/>
                    </a:cubicBezTo>
                    <a:lnTo>
                      <a:pt x="1498120" y="1743843"/>
                    </a:lnTo>
                    <a:lnTo>
                      <a:pt x="1509990" y="1666066"/>
                    </a:lnTo>
                    <a:cubicBezTo>
                      <a:pt x="1704556" y="715244"/>
                      <a:pt x="2545843" y="0"/>
                      <a:pt x="3554184" y="0"/>
                    </a:cubicBezTo>
                    <a:close/>
                  </a:path>
                </a:pathLst>
              </a:custGeom>
              <a:solidFill>
                <a:srgbClr val="FFFFFF"/>
              </a:solidFill>
              <a:ln w="12700" cap="flat" cmpd="sng" algn="ctr">
                <a:solidFill>
                  <a:schemeClr val="tx1"/>
                </a:solidFill>
                <a:prstDash val="dash"/>
                <a:headEnd type="none" w="med" len="med"/>
                <a:tailEnd type="none" w="med" len="med"/>
              </a:ln>
              <a:effectLst/>
            </p:spPr>
            <p:txBody>
              <a:bodyPr rot="0" spcFirstLastPara="0" vertOverflow="overflow" horzOverflow="overflow" vert="horz" wrap="square" lIns="182805" tIns="146243" rIns="182805" bIns="146243" numCol="1" spcCol="0" rtlCol="0" fromWordArt="0" anchor="ctr" anchorCtr="0" forceAA="0" compatLnSpc="1">
                <a:prstTxWarp prst="textNoShape">
                  <a:avLst/>
                </a:prstTxWarp>
                <a:noAutofit/>
              </a:bodyPr>
              <a:lstStyle/>
              <a:p>
                <a:pPr algn="ctr" defTabSz="913935">
                  <a:defRPr/>
                </a:pPr>
                <a:endParaRPr lang="en-US" sz="1398" b="1" kern="0" spc="50">
                  <a:gradFill>
                    <a:gsLst>
                      <a:gs pos="24779">
                        <a:srgbClr val="505050"/>
                      </a:gs>
                      <a:gs pos="100000">
                        <a:srgbClr val="505050"/>
                      </a:gs>
                    </a:gsLst>
                    <a:lin ang="5400000" scaled="1"/>
                  </a:gradFill>
                  <a:latin typeface="Segoe UI"/>
                  <a:cs typeface="Segoe UI Semibold" panose="020B0702040204020203" pitchFamily="34" charset="0"/>
                </a:endParaRPr>
              </a:p>
            </p:txBody>
          </p:sp>
          <p:sp>
            <p:nvSpPr>
              <p:cNvPr id="30" name="Freeform 21">
                <a:extLst>
                  <a:ext uri="{FF2B5EF4-FFF2-40B4-BE49-F238E27FC236}">
                    <a16:creationId xmlns:a16="http://schemas.microsoft.com/office/drawing/2014/main" id="{794224B4-22F9-4F02-B140-31427D0EA1F0}"/>
                  </a:ext>
                </a:extLst>
              </p:cNvPr>
              <p:cNvSpPr>
                <a:spLocks/>
              </p:cNvSpPr>
              <p:nvPr/>
            </p:nvSpPr>
            <p:spPr bwMode="auto">
              <a:xfrm>
                <a:off x="4085242" y="1884407"/>
                <a:ext cx="3963432" cy="2418297"/>
              </a:xfrm>
              <a:custGeom>
                <a:avLst/>
                <a:gdLst>
                  <a:gd name="T0" fmla="*/ 181 w 776"/>
                  <a:gd name="T1" fmla="*/ 207 h 518"/>
                  <a:gd name="T2" fmla="*/ 388 w 776"/>
                  <a:gd name="T3" fmla="*/ 0 h 518"/>
                  <a:gd name="T4" fmla="*/ 580 w 776"/>
                  <a:gd name="T5" fmla="*/ 130 h 518"/>
                  <a:gd name="T6" fmla="*/ 582 w 776"/>
                  <a:gd name="T7" fmla="*/ 130 h 518"/>
                  <a:gd name="T8" fmla="*/ 776 w 776"/>
                  <a:gd name="T9" fmla="*/ 324 h 518"/>
                  <a:gd name="T10" fmla="*/ 582 w 776"/>
                  <a:gd name="T11" fmla="*/ 518 h 518"/>
                  <a:gd name="T12" fmla="*/ 155 w 776"/>
                  <a:gd name="T13" fmla="*/ 518 h 518"/>
                  <a:gd name="T14" fmla="*/ 0 w 776"/>
                  <a:gd name="T15" fmla="*/ 362 h 518"/>
                  <a:gd name="T16" fmla="*/ 155 w 776"/>
                  <a:gd name="T17" fmla="*/ 207 h 518"/>
                  <a:gd name="T18" fmla="*/ 181 w 776"/>
                  <a:gd name="T19" fmla="*/ 209 h 518"/>
                  <a:gd name="T20" fmla="*/ 181 w 776"/>
                  <a:gd name="T21" fmla="*/ 207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6" h="518">
                    <a:moveTo>
                      <a:pt x="181" y="207"/>
                    </a:moveTo>
                    <a:cubicBezTo>
                      <a:pt x="181" y="93"/>
                      <a:pt x="274" y="0"/>
                      <a:pt x="388" y="0"/>
                    </a:cubicBezTo>
                    <a:cubicBezTo>
                      <a:pt x="475" y="0"/>
                      <a:pt x="549" y="54"/>
                      <a:pt x="580" y="130"/>
                    </a:cubicBezTo>
                    <a:cubicBezTo>
                      <a:pt x="582" y="130"/>
                      <a:pt x="582" y="130"/>
                      <a:pt x="582" y="130"/>
                    </a:cubicBezTo>
                    <a:cubicBezTo>
                      <a:pt x="689" y="130"/>
                      <a:pt x="776" y="217"/>
                      <a:pt x="776" y="324"/>
                    </a:cubicBezTo>
                    <a:cubicBezTo>
                      <a:pt x="776" y="431"/>
                      <a:pt x="689" y="518"/>
                      <a:pt x="582" y="518"/>
                    </a:cubicBezTo>
                    <a:cubicBezTo>
                      <a:pt x="155" y="518"/>
                      <a:pt x="155" y="518"/>
                      <a:pt x="155" y="518"/>
                    </a:cubicBezTo>
                    <a:cubicBezTo>
                      <a:pt x="69" y="518"/>
                      <a:pt x="0" y="448"/>
                      <a:pt x="0" y="362"/>
                    </a:cubicBezTo>
                    <a:cubicBezTo>
                      <a:pt x="0" y="277"/>
                      <a:pt x="69" y="207"/>
                      <a:pt x="155" y="207"/>
                    </a:cubicBezTo>
                    <a:cubicBezTo>
                      <a:pt x="164" y="207"/>
                      <a:pt x="173" y="208"/>
                      <a:pt x="181" y="209"/>
                    </a:cubicBezTo>
                    <a:lnTo>
                      <a:pt x="181" y="207"/>
                    </a:lnTo>
                    <a:close/>
                  </a:path>
                </a:pathLst>
              </a:custGeom>
              <a:solidFill>
                <a:srgbClr val="FFFFFF"/>
              </a:solidFill>
              <a:ln w="25400" cap="flat">
                <a:solidFill>
                  <a:schemeClr val="accent6"/>
                </a:solidFill>
                <a:prstDash val="solid"/>
                <a:miter lim="800000"/>
                <a:headEnd/>
                <a:tailEnd/>
              </a:ln>
            </p:spPr>
            <p:txBody>
              <a:bodyPr vert="horz" wrap="square" lIns="91403" tIns="45700" rIns="91403" bIns="45700" numCol="1" anchor="t" anchorCtr="0" compatLnSpc="1">
                <a:prstTxWarp prst="textNoShape">
                  <a:avLst/>
                </a:prstTxWarp>
              </a:bodyPr>
              <a:lstStyle/>
              <a:p>
                <a:pPr defTabSz="913935">
                  <a:defRPr/>
                </a:pPr>
                <a:endParaRPr lang="en-US" kern="0">
                  <a:solidFill>
                    <a:srgbClr val="FFFFFF"/>
                  </a:solidFill>
                  <a:latin typeface="Segoe UI"/>
                </a:endParaRPr>
              </a:p>
            </p:txBody>
          </p:sp>
          <p:sp>
            <p:nvSpPr>
              <p:cNvPr id="31" name="Rectangle 30">
                <a:extLst>
                  <a:ext uri="{FF2B5EF4-FFF2-40B4-BE49-F238E27FC236}">
                    <a16:creationId xmlns:a16="http://schemas.microsoft.com/office/drawing/2014/main" id="{102D1168-A122-42E1-A3C0-022CB2EE42F5}"/>
                  </a:ext>
                </a:extLst>
              </p:cNvPr>
              <p:cNvSpPr/>
              <p:nvPr/>
            </p:nvSpPr>
            <p:spPr bwMode="auto">
              <a:xfrm>
                <a:off x="5006741" y="4087704"/>
                <a:ext cx="2142593" cy="322658"/>
              </a:xfrm>
              <a:prstGeom prst="rect">
                <a:avLst/>
              </a:prstGeom>
              <a:solidFill>
                <a:srgbClr val="FFFFFF"/>
              </a:solidFill>
              <a:ln w="10795" cap="flat" cmpd="sng" algn="ctr">
                <a:noFill/>
                <a:prstDash val="solid"/>
                <a:headEnd type="none" w="med" len="med"/>
                <a:tailEnd type="none" w="med" len="med"/>
              </a:ln>
              <a:effectLst/>
            </p:spPr>
            <p:txBody>
              <a:bodyPr vert="horz" wrap="square" lIns="0" tIns="46617" rIns="0" bIns="46617" numCol="1" rtlCol="0" anchor="ctr" anchorCtr="0" compatLnSpc="1">
                <a:prstTxWarp prst="textNoShape">
                  <a:avLst/>
                </a:prstTxWarp>
              </a:bodyPr>
              <a:lstStyle/>
              <a:p>
                <a:pPr algn="ctr" defTabSz="931998" fontAlgn="base">
                  <a:spcBef>
                    <a:spcPct val="0"/>
                  </a:spcBef>
                  <a:spcAft>
                    <a:spcPct val="0"/>
                  </a:spcAft>
                  <a:defRPr/>
                </a:pPr>
                <a:r>
                  <a:rPr lang="en-US" sz="2448" kern="0">
                    <a:solidFill>
                      <a:srgbClr val="FFB900"/>
                    </a:solidFill>
                    <a:latin typeface="Segoe UI Semibold" panose="020B0702040204020203" pitchFamily="34" charset="0"/>
                    <a:cs typeface="Segoe UI Semibold" panose="020B0702040204020203" pitchFamily="34" charset="0"/>
                  </a:rPr>
                  <a:t>Power BI</a:t>
                </a:r>
              </a:p>
            </p:txBody>
          </p:sp>
        </p:grpSp>
        <p:sp>
          <p:nvSpPr>
            <p:cNvPr id="24" name="Analysis Services">
              <a:extLst>
                <a:ext uri="{FF2B5EF4-FFF2-40B4-BE49-F238E27FC236}">
                  <a16:creationId xmlns:a16="http://schemas.microsoft.com/office/drawing/2014/main" id="{50094B22-B82D-418A-8A49-5C194322E97E}"/>
                </a:ext>
              </a:extLst>
            </p:cNvPr>
            <p:cNvSpPr/>
            <p:nvPr/>
          </p:nvSpPr>
          <p:spPr>
            <a:xfrm>
              <a:off x="8279368" y="4250661"/>
              <a:ext cx="1542034" cy="267419"/>
            </a:xfrm>
            <a:prstGeom prst="rect">
              <a:avLst/>
            </a:prstGeom>
          </p:spPr>
          <p:txBody>
            <a:bodyPr wrap="none">
              <a:spAutoFit/>
            </a:bodyPr>
            <a:lstStyle/>
            <a:p>
              <a:pPr algn="ctr" defTabSz="913935">
                <a:lnSpc>
                  <a:spcPct val="90000"/>
                </a:lnSpc>
                <a:spcAft>
                  <a:spcPts val="600"/>
                </a:spcAft>
                <a:defRPr/>
              </a:pPr>
              <a:r>
                <a:rPr lang="en-US" sz="1632" b="1" kern="0">
                  <a:solidFill>
                    <a:srgbClr val="505050"/>
                  </a:solidFill>
                  <a:latin typeface="Segoe UI"/>
                </a:rPr>
                <a:t>Analysis Services</a:t>
              </a:r>
            </a:p>
          </p:txBody>
        </p:sp>
        <p:sp>
          <p:nvSpPr>
            <p:cNvPr id="59" name="bar">
              <a:extLst>
                <a:ext uri="{FF2B5EF4-FFF2-40B4-BE49-F238E27FC236}">
                  <a16:creationId xmlns:a16="http://schemas.microsoft.com/office/drawing/2014/main" id="{1DB8859E-EF0A-4E66-B90D-4CF2B809B775}"/>
                </a:ext>
              </a:extLst>
            </p:cNvPr>
            <p:cNvSpPr>
              <a:spLocks noChangeAspect="1" noEditPoints="1"/>
            </p:cNvSpPr>
            <p:nvPr/>
          </p:nvSpPr>
          <p:spPr bwMode="auto">
            <a:xfrm>
              <a:off x="6994999" y="4012604"/>
              <a:ext cx="431511" cy="395663"/>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22225" cap="sq">
              <a:solidFill>
                <a:schemeClr val="tx1"/>
              </a:solidFill>
              <a:prstDash val="solid"/>
              <a:miter lim="800000"/>
              <a:headEnd/>
              <a:tailEnd/>
            </a:ln>
          </p:spPr>
          <p:txBody>
            <a:bodyPr vert="horz" wrap="square" lIns="91403" tIns="45700" rIns="91403" bIns="45700" numCol="1" anchor="t" anchorCtr="0" compatLnSpc="1">
              <a:prstTxWarp prst="textNoShape">
                <a:avLst/>
              </a:prstTxWarp>
            </a:bodyPr>
            <a:lstStyle/>
            <a:p>
              <a:pPr defTabSz="932267">
                <a:defRPr/>
              </a:pPr>
              <a:endParaRPr lang="en-US">
                <a:solidFill>
                  <a:srgbClr val="0078D7"/>
                </a:solidFill>
                <a:latin typeface="Segoe UI Semilight"/>
              </a:endParaRPr>
            </a:p>
          </p:txBody>
        </p:sp>
        <p:pic>
          <p:nvPicPr>
            <p:cNvPr id="60" name="Picture 2" descr="Image result for Azure ANalysis Services Logo">
              <a:extLst>
                <a:ext uri="{FF2B5EF4-FFF2-40B4-BE49-F238E27FC236}">
                  <a16:creationId xmlns:a16="http://schemas.microsoft.com/office/drawing/2014/main" id="{6B8ECAB0-8EFE-433E-97BE-3CCEE20CDB01}"/>
                </a:ext>
              </a:extLst>
            </p:cNvPr>
            <p:cNvPicPr>
              <a:picLocks noChangeAspect="1" noChangeArrowheads="1"/>
            </p:cNvPicPr>
            <p:nvPr/>
          </p:nvPicPr>
          <p:blipFill>
            <a:blip r:embed="rId3">
              <a:biLevel thresh="75000"/>
              <a:extLst>
                <a:ext uri="{28A0092B-C50C-407E-A947-70E740481C1C}">
                  <a14:useLocalDpi xmlns:a14="http://schemas.microsoft.com/office/drawing/2010/main" val="0"/>
                </a:ext>
              </a:extLst>
            </a:blip>
            <a:srcRect/>
            <a:stretch>
              <a:fillRect/>
            </a:stretch>
          </p:blipFill>
          <p:spPr bwMode="auto">
            <a:xfrm>
              <a:off x="8440149" y="3532344"/>
              <a:ext cx="1220474" cy="640749"/>
            </a:xfrm>
            <a:prstGeom prst="rect">
              <a:avLst/>
            </a:prstGeom>
            <a:noFill/>
            <a:extLst>
              <a:ext uri="{909E8E84-426E-40DD-AFC4-6F175D3DCCD1}">
                <a14:hiddenFill xmlns:a14="http://schemas.microsoft.com/office/drawing/2010/main">
                  <a:solidFill>
                    <a:srgbClr val="FFFFFF"/>
                  </a:solidFill>
                </a14:hiddenFill>
              </a:ext>
            </a:extLst>
          </p:spPr>
        </p:pic>
      </p:grpSp>
      <p:sp>
        <p:nvSpPr>
          <p:cNvPr id="51" name="Title 1">
            <a:extLst>
              <a:ext uri="{FF2B5EF4-FFF2-40B4-BE49-F238E27FC236}">
                <a16:creationId xmlns:a16="http://schemas.microsoft.com/office/drawing/2014/main" id="{1E84D47B-CAAB-4150-8848-B4671587EFD5}"/>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Analysis Services integrated into Power BI</a:t>
            </a:r>
          </a:p>
        </p:txBody>
      </p:sp>
    </p:spTree>
    <p:extLst>
      <p:ext uri="{BB962C8B-B14F-4D97-AF65-F5344CB8AC3E}">
        <p14:creationId xmlns:p14="http://schemas.microsoft.com/office/powerpoint/2010/main" val="41763261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0" name="Group 49">
            <a:extLst>
              <a:ext uri="{FF2B5EF4-FFF2-40B4-BE49-F238E27FC236}">
                <a16:creationId xmlns:a16="http://schemas.microsoft.com/office/drawing/2014/main" id="{3EEE6E78-0B43-40AD-AE2A-3AC35D55B8FB}"/>
              </a:ext>
            </a:extLst>
          </p:cNvPr>
          <p:cNvGrpSpPr/>
          <p:nvPr/>
        </p:nvGrpSpPr>
        <p:grpSpPr>
          <a:xfrm>
            <a:off x="257804" y="1684183"/>
            <a:ext cx="11751932" cy="4623773"/>
            <a:chOff x="257836" y="1683951"/>
            <a:chExt cx="11753432" cy="4624363"/>
          </a:xfrm>
        </p:grpSpPr>
        <p:grpSp>
          <p:nvGrpSpPr>
            <p:cNvPr id="41" name="Group 40">
              <a:extLst>
                <a:ext uri="{FF2B5EF4-FFF2-40B4-BE49-F238E27FC236}">
                  <a16:creationId xmlns:a16="http://schemas.microsoft.com/office/drawing/2014/main" id="{FE6E94C7-265F-438E-9EF9-6882F92FEC40}"/>
                </a:ext>
              </a:extLst>
            </p:cNvPr>
            <p:cNvGrpSpPr/>
            <p:nvPr/>
          </p:nvGrpSpPr>
          <p:grpSpPr>
            <a:xfrm>
              <a:off x="6054342" y="1683951"/>
              <a:ext cx="5956926" cy="4624363"/>
              <a:chOff x="6057843" y="1683952"/>
              <a:chExt cx="5956926" cy="4624363"/>
            </a:xfrm>
          </p:grpSpPr>
          <p:sp>
            <p:nvSpPr>
              <p:cNvPr id="12" name="TextBox 11"/>
              <p:cNvSpPr txBox="1"/>
              <p:nvPr/>
            </p:nvSpPr>
            <p:spPr>
              <a:xfrm>
                <a:off x="6057843" y="5548234"/>
                <a:ext cx="1722622" cy="760081"/>
              </a:xfrm>
              <a:prstGeom prst="rect">
                <a:avLst/>
              </a:prstGeom>
              <a:noFill/>
            </p:spPr>
            <p:txBody>
              <a:bodyPr wrap="none" lIns="182779" tIns="146222" rIns="182779" bIns="146222" rtlCol="0">
                <a:spAutoFit/>
              </a:bodyPr>
              <a:lstStyle/>
              <a:p>
                <a:pPr algn="ctr" defTabSz="621446">
                  <a:lnSpc>
                    <a:spcPct val="90000"/>
                  </a:lnSpc>
                  <a:spcAft>
                    <a:spcPts val="600"/>
                  </a:spcAft>
                </a:pPr>
                <a:r>
                  <a:rPr lang="en-US" sz="1600">
                    <a:gradFill>
                      <a:gsLst>
                        <a:gs pos="2917">
                          <a:srgbClr val="000000"/>
                        </a:gs>
                        <a:gs pos="30000">
                          <a:srgbClr val="000000"/>
                        </a:gs>
                      </a:gsLst>
                      <a:lin ang="5400000" scaled="0"/>
                    </a:gradFill>
                    <a:latin typeface="Segoe UI"/>
                  </a:rPr>
                  <a:t>Data Freshness</a:t>
                </a:r>
              </a:p>
              <a:p>
                <a:pPr algn="ctr" defTabSz="621446">
                  <a:lnSpc>
                    <a:spcPct val="90000"/>
                  </a:lnSpc>
                  <a:spcAft>
                    <a:spcPts val="600"/>
                  </a:spcAft>
                </a:pPr>
                <a:r>
                  <a:rPr lang="en-US" sz="1200">
                    <a:gradFill>
                      <a:gsLst>
                        <a:gs pos="2917">
                          <a:srgbClr val="000000"/>
                        </a:gs>
                        <a:gs pos="30000">
                          <a:srgbClr val="000000"/>
                        </a:gs>
                      </a:gsLst>
                      <a:lin ang="5400000" scaled="0"/>
                    </a:gradFill>
                    <a:latin typeface="Segoe UI"/>
                  </a:rPr>
                  <a:t>(near real-time)</a:t>
                </a:r>
              </a:p>
            </p:txBody>
          </p:sp>
          <p:sp>
            <p:nvSpPr>
              <p:cNvPr id="37" name="Isosceles Triangle 36">
                <a:extLst>
                  <a:ext uri="{FF2B5EF4-FFF2-40B4-BE49-F238E27FC236}">
                    <a16:creationId xmlns:a16="http://schemas.microsoft.com/office/drawing/2014/main" id="{BA405A82-3094-44D8-8C5C-B641154CC619}"/>
                  </a:ext>
                </a:extLst>
              </p:cNvPr>
              <p:cNvSpPr/>
              <p:nvPr/>
            </p:nvSpPr>
            <p:spPr bwMode="auto">
              <a:xfrm>
                <a:off x="6146800" y="1683952"/>
                <a:ext cx="5867969" cy="3911979"/>
              </a:xfrm>
              <a:prstGeom prst="triangl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0" rIns="0" bIns="46610" numCol="1" rtlCol="0" anchor="ctr" anchorCtr="0" compatLnSpc="1">
                <a:prstTxWarp prst="textNoShape">
                  <a:avLst/>
                </a:prstTxWarp>
              </a:bodyPr>
              <a:lstStyle/>
              <a:p>
                <a:pPr algn="ctr" defTabSz="931960" fontAlgn="base">
                  <a:spcBef>
                    <a:spcPct val="0"/>
                  </a:spcBef>
                  <a:spcAft>
                    <a:spcPct val="0"/>
                  </a:spcAft>
                </a:pPr>
                <a:endParaRPr lang="en-US" sz="2000">
                  <a:gradFill>
                    <a:gsLst>
                      <a:gs pos="0">
                        <a:srgbClr val="FFFFFF"/>
                      </a:gs>
                      <a:gs pos="100000">
                        <a:srgbClr val="FFFFFF"/>
                      </a:gs>
                    </a:gsLst>
                    <a:lin ang="5400000" scaled="0"/>
                  </a:gradFill>
                  <a:latin typeface="Segoe UI"/>
                </a:endParaRPr>
              </a:p>
            </p:txBody>
          </p:sp>
          <p:sp>
            <p:nvSpPr>
              <p:cNvPr id="20" name="TextBox 19"/>
              <p:cNvSpPr txBox="1"/>
              <p:nvPr/>
            </p:nvSpPr>
            <p:spPr>
              <a:xfrm>
                <a:off x="6314966" y="5074738"/>
                <a:ext cx="1637920" cy="544637"/>
              </a:xfrm>
              <a:prstGeom prst="rect">
                <a:avLst/>
              </a:prstGeom>
              <a:noFill/>
            </p:spPr>
            <p:txBody>
              <a:bodyPr wrap="none" lIns="182779" tIns="146222" rIns="182779" bIns="146222" rtlCol="0">
                <a:spAutoFit/>
              </a:bodyPr>
              <a:lstStyle/>
              <a:p>
                <a:pPr algn="ctr" defTabSz="621446">
                  <a:lnSpc>
                    <a:spcPct val="90000"/>
                  </a:lnSpc>
                  <a:spcAft>
                    <a:spcPts val="600"/>
                  </a:spcAft>
                </a:pPr>
                <a:r>
                  <a:rPr lang="en-US">
                    <a:solidFill>
                      <a:schemeClr val="bg1"/>
                    </a:solidFill>
                    <a:latin typeface="+mj-lt"/>
                  </a:rPr>
                  <a:t>DirectQuery</a:t>
                </a:r>
              </a:p>
            </p:txBody>
          </p:sp>
        </p:grpSp>
        <p:sp>
          <p:nvSpPr>
            <p:cNvPr id="47" name="Text Placeholder 2">
              <a:extLst>
                <a:ext uri="{FF2B5EF4-FFF2-40B4-BE49-F238E27FC236}">
                  <a16:creationId xmlns:a16="http://schemas.microsoft.com/office/drawing/2014/main" id="{EBC3A24F-4950-4042-8CC6-993DE16B5ED6}"/>
                </a:ext>
              </a:extLst>
            </p:cNvPr>
            <p:cNvSpPr txBox="1">
              <a:spLocks/>
            </p:cNvSpPr>
            <p:nvPr/>
          </p:nvSpPr>
          <p:spPr>
            <a:xfrm>
              <a:off x="257836" y="3016076"/>
              <a:ext cx="5434464" cy="1103734"/>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a:gradFill>
                    <a:gsLst>
                      <a:gs pos="2917">
                        <a:srgbClr val="505050"/>
                      </a:gs>
                      <a:gs pos="30000">
                        <a:srgbClr val="505050"/>
                      </a:gs>
                    </a:gsLst>
                    <a:lin ang="5400000" scaled="0"/>
                  </a:gradFill>
                  <a:latin typeface="Segoe UI"/>
                  <a:cs typeface="+mn-cs"/>
                </a:rPr>
                <a:t>DirectQuery: </a:t>
              </a:r>
              <a:r>
                <a:rPr lang="en-US" sz="1600">
                  <a:gradFill>
                    <a:gsLst>
                      <a:gs pos="2917">
                        <a:srgbClr val="505050"/>
                      </a:gs>
                      <a:gs pos="30000">
                        <a:srgbClr val="505050"/>
                      </a:gs>
                    </a:gsLst>
                    <a:lin ang="5400000" scaled="0"/>
                  </a:gradFill>
                  <a:latin typeface="Segoe UI"/>
                  <a:cs typeface="+mn-cs"/>
                </a:rPr>
                <a:t>Does not import the data into memory, consists only of the metadata defining the structure. When the model is queried, native queries are used to retrieve data from the underlying data source.</a:t>
              </a:r>
            </a:p>
          </p:txBody>
        </p:sp>
      </p:grpSp>
      <p:sp>
        <p:nvSpPr>
          <p:cNvPr id="4" name="Title 1">
            <a:extLst>
              <a:ext uri="{FF2B5EF4-FFF2-40B4-BE49-F238E27FC236}">
                <a16:creationId xmlns:a16="http://schemas.microsoft.com/office/drawing/2014/main" id="{2A288852-D4E0-4A4A-B227-8BCE5C9DEB15}"/>
              </a:ext>
            </a:extLst>
          </p:cNvPr>
          <p:cNvSpPr txBox="1">
            <a:spLocks/>
          </p:cNvSpPr>
          <p:nvPr/>
        </p:nvSpPr>
        <p:spPr>
          <a:xfrm>
            <a:off x="275107" y="296593"/>
            <a:ext cx="11884675" cy="917197"/>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Storage Modes</a:t>
            </a:r>
          </a:p>
        </p:txBody>
      </p:sp>
      <p:sp>
        <p:nvSpPr>
          <p:cNvPr id="14" name="Text Placeholder 2">
            <a:extLst>
              <a:ext uri="{FF2B5EF4-FFF2-40B4-BE49-F238E27FC236}">
                <a16:creationId xmlns:a16="http://schemas.microsoft.com/office/drawing/2014/main" id="{870E74A7-55E3-4A2E-BAA5-7145B4E4C2D1}"/>
              </a:ext>
            </a:extLst>
          </p:cNvPr>
          <p:cNvSpPr txBox="1">
            <a:spLocks/>
          </p:cNvSpPr>
          <p:nvPr/>
        </p:nvSpPr>
        <p:spPr>
          <a:xfrm>
            <a:off x="257804" y="1524832"/>
            <a:ext cx="5433770" cy="1356502"/>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a:gradFill>
                  <a:gsLst>
                    <a:gs pos="2917">
                      <a:srgbClr val="505050"/>
                    </a:gs>
                    <a:gs pos="30000">
                      <a:srgbClr val="505050"/>
                    </a:gs>
                  </a:gsLst>
                  <a:lin ang="5400000" scaled="0"/>
                </a:gradFill>
                <a:latin typeface="Segoe UI"/>
                <a:cs typeface="+mn-cs"/>
              </a:rPr>
              <a:t>Import: </a:t>
            </a:r>
            <a:r>
              <a:rPr lang="en-US" sz="1600">
                <a:gradFill>
                  <a:gsLst>
                    <a:gs pos="2917">
                      <a:srgbClr val="505050"/>
                    </a:gs>
                    <a:gs pos="30000">
                      <a:srgbClr val="505050"/>
                    </a:gs>
                  </a:gsLst>
                  <a:lin ang="5400000" scaled="0"/>
                </a:gradFill>
                <a:latin typeface="Segoe UI"/>
                <a:cs typeface="+mn-cs"/>
              </a:rPr>
              <a:t>Caches data into memory to deliver extremely fast performance using the </a:t>
            </a:r>
            <a:r>
              <a:rPr lang="en-US" sz="1600" b="1">
                <a:gradFill>
                  <a:gsLst>
                    <a:gs pos="2917">
                      <a:srgbClr val="505050"/>
                    </a:gs>
                    <a:gs pos="30000">
                      <a:srgbClr val="505050"/>
                    </a:gs>
                  </a:gsLst>
                  <a:lin ang="5400000" scaled="0"/>
                </a:gradFill>
                <a:latin typeface="Segoe UI"/>
                <a:cs typeface="+mn-cs"/>
              </a:rPr>
              <a:t>analysis services </a:t>
            </a:r>
            <a:r>
              <a:rPr lang="en-US" sz="1600">
                <a:gradFill>
                  <a:gsLst>
                    <a:gs pos="2917">
                      <a:srgbClr val="505050"/>
                    </a:gs>
                    <a:gs pos="30000">
                      <a:srgbClr val="505050"/>
                    </a:gs>
                  </a:gsLst>
                  <a:lin ang="5400000" scaled="0"/>
                </a:gradFill>
                <a:latin typeface="Segoe UI"/>
                <a:cs typeface="+mn-cs"/>
              </a:rPr>
              <a:t>database engine. The default mode when creating a new Power BI Desktop solution along with providing Data Modelers the most design flexibility.</a:t>
            </a:r>
          </a:p>
        </p:txBody>
      </p:sp>
      <p:grpSp>
        <p:nvGrpSpPr>
          <p:cNvPr id="43" name="Group 42">
            <a:extLst>
              <a:ext uri="{FF2B5EF4-FFF2-40B4-BE49-F238E27FC236}">
                <a16:creationId xmlns:a16="http://schemas.microsoft.com/office/drawing/2014/main" id="{7BAC9F35-528E-4C54-94DB-03DE14E883F4}"/>
              </a:ext>
            </a:extLst>
          </p:cNvPr>
          <p:cNvGrpSpPr/>
          <p:nvPr/>
        </p:nvGrpSpPr>
        <p:grpSpPr>
          <a:xfrm>
            <a:off x="9454665" y="3890492"/>
            <a:ext cx="2558572" cy="2417462"/>
            <a:chOff x="9455871" y="3890542"/>
            <a:chExt cx="2558899" cy="2417771"/>
          </a:xfrm>
        </p:grpSpPr>
        <p:sp>
          <p:nvSpPr>
            <p:cNvPr id="8" name="TextBox 7"/>
            <p:cNvSpPr txBox="1"/>
            <p:nvPr/>
          </p:nvSpPr>
          <p:spPr>
            <a:xfrm>
              <a:off x="9658305" y="5548232"/>
              <a:ext cx="2354714" cy="760081"/>
            </a:xfrm>
            <a:prstGeom prst="rect">
              <a:avLst/>
            </a:prstGeom>
            <a:noFill/>
          </p:spPr>
          <p:txBody>
            <a:bodyPr wrap="square" lIns="182779" tIns="146222" rIns="182779" bIns="146222" rtlCol="0">
              <a:spAutoFit/>
            </a:bodyPr>
            <a:lstStyle/>
            <a:p>
              <a:pPr algn="ctr" defTabSz="621446">
                <a:lnSpc>
                  <a:spcPct val="90000"/>
                </a:lnSpc>
                <a:spcAft>
                  <a:spcPts val="600"/>
                </a:spcAft>
              </a:pPr>
              <a:r>
                <a:rPr lang="en-US" sz="1600">
                  <a:gradFill>
                    <a:gsLst>
                      <a:gs pos="2917">
                        <a:srgbClr val="000000"/>
                      </a:gs>
                      <a:gs pos="30000">
                        <a:srgbClr val="000000"/>
                      </a:gs>
                    </a:gsLst>
                    <a:lin ang="5400000" scaled="0"/>
                  </a:gradFill>
                  <a:latin typeface="Segoe UI"/>
                </a:rPr>
                <a:t>Query Performance</a:t>
              </a:r>
            </a:p>
            <a:p>
              <a:pPr algn="ctr" defTabSz="621446">
                <a:lnSpc>
                  <a:spcPct val="90000"/>
                </a:lnSpc>
                <a:spcAft>
                  <a:spcPts val="600"/>
                </a:spcAft>
              </a:pPr>
              <a:r>
                <a:rPr lang="en-US" sz="1200">
                  <a:gradFill>
                    <a:gsLst>
                      <a:gs pos="2917">
                        <a:srgbClr val="000000"/>
                      </a:gs>
                      <a:gs pos="30000">
                        <a:srgbClr val="000000"/>
                      </a:gs>
                    </a:gsLst>
                    <a:lin ang="5400000" scaled="0"/>
                  </a:gradFill>
                  <a:latin typeface="Segoe UI"/>
                </a:rPr>
                <a:t>(Compressed and Optimized)</a:t>
              </a:r>
            </a:p>
          </p:txBody>
        </p:sp>
        <p:sp>
          <p:nvSpPr>
            <p:cNvPr id="24" name="Isosceles Triangle 23">
              <a:extLst>
                <a:ext uri="{FF2B5EF4-FFF2-40B4-BE49-F238E27FC236}">
                  <a16:creationId xmlns:a16="http://schemas.microsoft.com/office/drawing/2014/main" id="{A06338FE-1A78-40E1-B474-1534CC3F1E92}"/>
                </a:ext>
              </a:extLst>
            </p:cNvPr>
            <p:cNvSpPr/>
            <p:nvPr/>
          </p:nvSpPr>
          <p:spPr bwMode="auto">
            <a:xfrm>
              <a:off x="9455871" y="3890542"/>
              <a:ext cx="2558899" cy="1705933"/>
            </a:xfrm>
            <a:prstGeom prst="triangle">
              <a:avLst/>
            </a:prstGeom>
            <a:solidFill>
              <a:srgbClr val="F2C81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0" rIns="0" bIns="46610" numCol="1" rtlCol="0" anchor="ctr" anchorCtr="0" compatLnSpc="1">
              <a:prstTxWarp prst="textNoShape">
                <a:avLst/>
              </a:prstTxWarp>
            </a:bodyPr>
            <a:lstStyle/>
            <a:p>
              <a:pPr algn="ctr" defTabSz="931960" fontAlgn="base">
                <a:spcBef>
                  <a:spcPct val="0"/>
                </a:spcBef>
                <a:spcAft>
                  <a:spcPct val="0"/>
                </a:spcAft>
              </a:pPr>
              <a:endParaRPr lang="en-US" sz="2000">
                <a:gradFill>
                  <a:gsLst>
                    <a:gs pos="0">
                      <a:srgbClr val="FFFFFF"/>
                    </a:gs>
                    <a:gs pos="100000">
                      <a:srgbClr val="FFFFFF"/>
                    </a:gs>
                  </a:gsLst>
                  <a:lin ang="5400000" scaled="0"/>
                </a:gradFill>
                <a:latin typeface="Segoe UI"/>
              </a:endParaRPr>
            </a:p>
          </p:txBody>
        </p:sp>
        <p:sp>
          <p:nvSpPr>
            <p:cNvPr id="21" name="TextBox 20"/>
            <p:cNvSpPr txBox="1"/>
            <p:nvPr/>
          </p:nvSpPr>
          <p:spPr>
            <a:xfrm>
              <a:off x="10670361" y="5139889"/>
              <a:ext cx="1340907" cy="544637"/>
            </a:xfrm>
            <a:prstGeom prst="rect">
              <a:avLst/>
            </a:prstGeom>
            <a:noFill/>
          </p:spPr>
          <p:txBody>
            <a:bodyPr wrap="square" lIns="182779" tIns="146222" rIns="182779" bIns="146222" rtlCol="0">
              <a:spAutoFit/>
            </a:bodyPr>
            <a:lstStyle/>
            <a:p>
              <a:pPr algn="ctr" defTabSz="621446">
                <a:lnSpc>
                  <a:spcPct val="90000"/>
                </a:lnSpc>
                <a:spcAft>
                  <a:spcPts val="600"/>
                </a:spcAft>
              </a:pPr>
              <a:r>
                <a:rPr lang="en-US">
                  <a:solidFill>
                    <a:srgbClr val="000000"/>
                  </a:solidFill>
                  <a:latin typeface="+mj-lt"/>
                </a:rPr>
                <a:t>Import</a:t>
              </a:r>
            </a:p>
          </p:txBody>
        </p:sp>
      </p:grpSp>
      <p:grpSp>
        <p:nvGrpSpPr>
          <p:cNvPr id="5" name="Group 4">
            <a:extLst>
              <a:ext uri="{FF2B5EF4-FFF2-40B4-BE49-F238E27FC236}">
                <a16:creationId xmlns:a16="http://schemas.microsoft.com/office/drawing/2014/main" id="{6351B261-DE54-4A46-AEE7-050960FD222F}"/>
              </a:ext>
            </a:extLst>
          </p:cNvPr>
          <p:cNvGrpSpPr/>
          <p:nvPr/>
        </p:nvGrpSpPr>
        <p:grpSpPr>
          <a:xfrm>
            <a:off x="275107" y="1524832"/>
            <a:ext cx="11744153" cy="5134864"/>
            <a:chOff x="275142" y="1524580"/>
            <a:chExt cx="11745652" cy="5135520"/>
          </a:xfrm>
        </p:grpSpPr>
        <p:grpSp>
          <p:nvGrpSpPr>
            <p:cNvPr id="51" name="Group 50">
              <a:extLst>
                <a:ext uri="{FF2B5EF4-FFF2-40B4-BE49-F238E27FC236}">
                  <a16:creationId xmlns:a16="http://schemas.microsoft.com/office/drawing/2014/main" id="{F7EDDFA3-7F6C-4A71-94F7-1EFBE437B135}"/>
                </a:ext>
              </a:extLst>
            </p:cNvPr>
            <p:cNvGrpSpPr/>
            <p:nvPr/>
          </p:nvGrpSpPr>
          <p:grpSpPr>
            <a:xfrm>
              <a:off x="275142" y="1524580"/>
              <a:ext cx="11745652" cy="4282980"/>
              <a:chOff x="275142" y="1524580"/>
              <a:chExt cx="11745652" cy="4282980"/>
            </a:xfrm>
          </p:grpSpPr>
          <p:grpSp>
            <p:nvGrpSpPr>
              <p:cNvPr id="42" name="Group 41">
                <a:extLst>
                  <a:ext uri="{FF2B5EF4-FFF2-40B4-BE49-F238E27FC236}">
                    <a16:creationId xmlns:a16="http://schemas.microsoft.com/office/drawing/2014/main" id="{CAB7A3C9-4208-4D23-9CA0-CF663A8DCC8E}"/>
                  </a:ext>
                </a:extLst>
              </p:cNvPr>
              <p:cNvGrpSpPr/>
              <p:nvPr/>
            </p:nvGrpSpPr>
            <p:grpSpPr>
              <a:xfrm>
                <a:off x="6134536" y="1524580"/>
                <a:ext cx="5886258" cy="4072145"/>
                <a:chOff x="6134536" y="1524580"/>
                <a:chExt cx="5886258" cy="4072145"/>
              </a:xfrm>
            </p:grpSpPr>
            <p:sp>
              <p:nvSpPr>
                <p:cNvPr id="7" name="TextBox 6"/>
                <p:cNvSpPr txBox="1"/>
                <p:nvPr/>
              </p:nvSpPr>
              <p:spPr>
                <a:xfrm>
                  <a:off x="10361582" y="1524580"/>
                  <a:ext cx="1436005" cy="1357167"/>
                </a:xfrm>
                <a:prstGeom prst="rect">
                  <a:avLst/>
                </a:prstGeom>
                <a:solidFill>
                  <a:schemeClr val="bg1">
                    <a:lumMod val="95000"/>
                  </a:schemeClr>
                </a:solidFill>
              </p:spPr>
              <p:txBody>
                <a:bodyPr wrap="none" lIns="182779" tIns="146222" rIns="182779" bIns="146222" rtlCol="0">
                  <a:spAutoFit/>
                </a:bodyPr>
                <a:lstStyle/>
                <a:p>
                  <a:pPr algn="ctr" defTabSz="621446">
                    <a:lnSpc>
                      <a:spcPct val="90000"/>
                    </a:lnSpc>
                    <a:spcAft>
                      <a:spcPts val="600"/>
                    </a:spcAft>
                  </a:pPr>
                  <a:r>
                    <a:rPr lang="en-US">
                      <a:gradFill>
                        <a:gsLst>
                          <a:gs pos="2917">
                            <a:srgbClr val="000000"/>
                          </a:gs>
                          <a:gs pos="30000">
                            <a:srgbClr val="000000"/>
                          </a:gs>
                        </a:gsLst>
                        <a:lin ang="5400000" scaled="0"/>
                      </a:gradFill>
                      <a:latin typeface="+mj-lt"/>
                    </a:rPr>
                    <a:t>Mixed</a:t>
                  </a:r>
                </a:p>
                <a:p>
                  <a:pPr algn="ctr" defTabSz="621446">
                    <a:lnSpc>
                      <a:spcPct val="90000"/>
                    </a:lnSpc>
                    <a:spcAft>
                      <a:spcPts val="600"/>
                    </a:spcAft>
                  </a:pPr>
                  <a:r>
                    <a:rPr lang="en-US" sz="1400">
                      <a:gradFill>
                        <a:gsLst>
                          <a:gs pos="2917">
                            <a:srgbClr val="000000"/>
                          </a:gs>
                          <a:gs pos="30000">
                            <a:srgbClr val="000000"/>
                          </a:gs>
                        </a:gsLst>
                        <a:lin ang="5400000" scaled="0"/>
                      </a:gradFill>
                      <a:latin typeface="Segoe UI"/>
                    </a:rPr>
                    <a:t>Composite</a:t>
                  </a:r>
                </a:p>
                <a:p>
                  <a:pPr algn="ctr" defTabSz="621446">
                    <a:lnSpc>
                      <a:spcPct val="90000"/>
                    </a:lnSpc>
                    <a:spcAft>
                      <a:spcPts val="600"/>
                    </a:spcAft>
                  </a:pPr>
                  <a:r>
                    <a:rPr lang="en-US" sz="1400">
                      <a:gradFill>
                        <a:gsLst>
                          <a:gs pos="2917">
                            <a:srgbClr val="000000"/>
                          </a:gs>
                          <a:gs pos="30000">
                            <a:srgbClr val="000000"/>
                          </a:gs>
                        </a:gsLst>
                        <a:lin ang="5400000" scaled="0"/>
                      </a:gradFill>
                      <a:latin typeface="Segoe UI"/>
                    </a:rPr>
                    <a:t>Aggregations</a:t>
                  </a:r>
                </a:p>
                <a:p>
                  <a:pPr algn="ctr" defTabSz="621446">
                    <a:lnSpc>
                      <a:spcPct val="90000"/>
                    </a:lnSpc>
                    <a:spcAft>
                      <a:spcPts val="600"/>
                    </a:spcAft>
                  </a:pPr>
                  <a:r>
                    <a:rPr lang="en-US" sz="1200">
                      <a:gradFill>
                        <a:gsLst>
                          <a:gs pos="2917">
                            <a:srgbClr val="000000"/>
                          </a:gs>
                          <a:gs pos="30000">
                            <a:srgbClr val="000000"/>
                          </a:gs>
                        </a:gsLst>
                        <a:lin ang="5400000" scaled="0"/>
                      </a:gradFill>
                      <a:latin typeface="Segoe UI"/>
                    </a:rPr>
                    <a:t>(Big Models)</a:t>
                  </a:r>
                </a:p>
              </p:txBody>
            </p:sp>
            <p:sp>
              <p:nvSpPr>
                <p:cNvPr id="11" name="Isosceles Triangle 10"/>
                <p:cNvSpPr/>
                <p:nvPr/>
              </p:nvSpPr>
              <p:spPr bwMode="auto">
                <a:xfrm>
                  <a:off x="6134536" y="1672553"/>
                  <a:ext cx="5886258" cy="3924172"/>
                </a:xfrm>
                <a:prstGeom prst="triangle">
                  <a:avLst/>
                </a:prstGeom>
                <a:solidFill>
                  <a:srgbClr val="F2C811">
                    <a:alpha val="65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0" rIns="0" bIns="46610" numCol="1" rtlCol="0" anchor="ctr" anchorCtr="0" compatLnSpc="1">
                  <a:prstTxWarp prst="textNoShape">
                    <a:avLst/>
                  </a:prstTxWarp>
                </a:bodyPr>
                <a:lstStyle/>
                <a:p>
                  <a:pPr algn="ctr" defTabSz="931960" fontAlgn="base">
                    <a:spcBef>
                      <a:spcPct val="0"/>
                    </a:spcBef>
                    <a:spcAft>
                      <a:spcPct val="0"/>
                    </a:spcAft>
                  </a:pPr>
                  <a:endParaRPr lang="en-US" sz="2000">
                    <a:gradFill>
                      <a:gsLst>
                        <a:gs pos="0">
                          <a:srgbClr val="FFFFFF"/>
                        </a:gs>
                        <a:gs pos="100000">
                          <a:srgbClr val="FFFFFF"/>
                        </a:gs>
                      </a:gsLst>
                      <a:lin ang="5400000" scaled="0"/>
                    </a:gradFill>
                    <a:latin typeface="Segoe UI"/>
                  </a:endParaRPr>
                </a:p>
              </p:txBody>
            </p:sp>
            <p:sp>
              <p:nvSpPr>
                <p:cNvPr id="29" name="TextBox 28">
                  <a:extLst>
                    <a:ext uri="{FF2B5EF4-FFF2-40B4-BE49-F238E27FC236}">
                      <a16:creationId xmlns:a16="http://schemas.microsoft.com/office/drawing/2014/main" id="{D35C2071-A088-4E1F-B660-883E003F8DE1}"/>
                    </a:ext>
                  </a:extLst>
                </p:cNvPr>
                <p:cNvSpPr txBox="1"/>
                <p:nvPr/>
              </p:nvSpPr>
              <p:spPr>
                <a:xfrm>
                  <a:off x="8304856" y="3215074"/>
                  <a:ext cx="1544853" cy="904736"/>
                </a:xfrm>
                <a:prstGeom prst="rect">
                  <a:avLst/>
                </a:prstGeom>
                <a:noFill/>
              </p:spPr>
              <p:txBody>
                <a:bodyPr wrap="square" lIns="182779" tIns="146222" rIns="182779" bIns="146222" rtlCol="0">
                  <a:spAutoFit/>
                </a:bodyPr>
                <a:lstStyle/>
                <a:p>
                  <a:pPr algn="ctr" defTabSz="621446">
                    <a:lnSpc>
                      <a:spcPct val="90000"/>
                    </a:lnSpc>
                    <a:spcAft>
                      <a:spcPts val="600"/>
                    </a:spcAft>
                  </a:pPr>
                  <a:r>
                    <a:rPr lang="en-US" sz="4400">
                      <a:solidFill>
                        <a:schemeClr val="bg1"/>
                      </a:solidFill>
                      <a:latin typeface="+mj-lt"/>
                    </a:rPr>
                    <a:t>Dual</a:t>
                  </a:r>
                </a:p>
              </p:txBody>
            </p:sp>
          </p:grpSp>
          <p:sp>
            <p:nvSpPr>
              <p:cNvPr id="49" name="Text Placeholder 2">
                <a:extLst>
                  <a:ext uri="{FF2B5EF4-FFF2-40B4-BE49-F238E27FC236}">
                    <a16:creationId xmlns:a16="http://schemas.microsoft.com/office/drawing/2014/main" id="{2BC01710-A7E0-42E2-B935-77DDB32A2F51}"/>
                  </a:ext>
                </a:extLst>
              </p:cNvPr>
              <p:cNvSpPr txBox="1">
                <a:spLocks/>
              </p:cNvSpPr>
              <p:nvPr/>
            </p:nvSpPr>
            <p:spPr>
              <a:xfrm>
                <a:off x="275142" y="4254631"/>
                <a:ext cx="5434464" cy="1552929"/>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a:gradFill>
                      <a:gsLst>
                        <a:gs pos="2917">
                          <a:srgbClr val="505050"/>
                        </a:gs>
                        <a:gs pos="30000">
                          <a:srgbClr val="505050"/>
                        </a:gs>
                      </a:gsLst>
                      <a:lin ang="5400000" scaled="0"/>
                    </a:gradFill>
                    <a:latin typeface="Segoe UI"/>
                    <a:cs typeface="+mn-cs"/>
                  </a:rPr>
                  <a:t>Dual: </a:t>
                </a:r>
                <a:r>
                  <a:rPr lang="en-US" sz="1600">
                    <a:gradFill>
                      <a:gsLst>
                        <a:gs pos="2917">
                          <a:srgbClr val="505050"/>
                        </a:gs>
                        <a:gs pos="30000">
                          <a:srgbClr val="505050"/>
                        </a:gs>
                      </a:gsLst>
                      <a:lin ang="5400000" scaled="0"/>
                    </a:gradFill>
                    <a:latin typeface="Segoe UI"/>
                    <a:cs typeface="+mn-cs"/>
                  </a:rPr>
                  <a:t>Can act as either cached or not cached, depending on the context of the query that's submitted to the Power BI dataset. In some cases, you fulfill queries from cached data. In other cases, you fulfill queries by executing an on-demand query to the underlying data source.</a:t>
                </a:r>
              </a:p>
            </p:txBody>
          </p:sp>
        </p:grpSp>
        <p:sp>
          <p:nvSpPr>
            <p:cNvPr id="45" name="TextBox 44">
              <a:extLst>
                <a:ext uri="{FF2B5EF4-FFF2-40B4-BE49-F238E27FC236}">
                  <a16:creationId xmlns:a16="http://schemas.microsoft.com/office/drawing/2014/main" id="{EAF243BA-79BB-4E9B-A926-13A91B678701}"/>
                </a:ext>
              </a:extLst>
            </p:cNvPr>
            <p:cNvSpPr txBox="1"/>
            <p:nvPr/>
          </p:nvSpPr>
          <p:spPr>
            <a:xfrm>
              <a:off x="275142" y="6013769"/>
              <a:ext cx="5434464" cy="646331"/>
            </a:xfrm>
            <a:prstGeom prst="rect">
              <a:avLst/>
            </a:prstGeom>
            <a:noFill/>
          </p:spPr>
          <p:txBody>
            <a:bodyPr wrap="square">
              <a:spAutoFit/>
            </a:bodyPr>
            <a:lstStyle/>
            <a:p>
              <a:r>
                <a:rPr lang="en-US" sz="1200">
                  <a:gradFill>
                    <a:gsLst>
                      <a:gs pos="2917">
                        <a:srgbClr val="505050"/>
                      </a:gs>
                      <a:gs pos="30000">
                        <a:srgbClr val="505050"/>
                      </a:gs>
                    </a:gsLst>
                    <a:lin ang="5400000" scaled="0"/>
                  </a:gradFill>
                  <a:latin typeface="Segoe UI"/>
                </a:rPr>
                <a:t>Changing the </a:t>
              </a:r>
              <a:r>
                <a:rPr lang="en-US" sz="1200" b="1">
                  <a:gradFill>
                    <a:gsLst>
                      <a:gs pos="2917">
                        <a:srgbClr val="505050"/>
                      </a:gs>
                      <a:gs pos="30000">
                        <a:srgbClr val="505050"/>
                      </a:gs>
                    </a:gsLst>
                    <a:lin ang="5400000" scaled="0"/>
                  </a:gradFill>
                  <a:latin typeface="Segoe UI"/>
                </a:rPr>
                <a:t>Storage mode</a:t>
              </a:r>
              <a:r>
                <a:rPr lang="en-US" sz="1200">
                  <a:gradFill>
                    <a:gsLst>
                      <a:gs pos="2917">
                        <a:srgbClr val="505050"/>
                      </a:gs>
                      <a:gs pos="30000">
                        <a:srgbClr val="505050"/>
                      </a:gs>
                    </a:gsLst>
                    <a:lin ang="5400000" scaled="0"/>
                  </a:gradFill>
                  <a:latin typeface="Segoe UI"/>
                </a:rPr>
                <a:t> of a table to </a:t>
              </a:r>
              <a:r>
                <a:rPr lang="en-US" sz="1200" b="1">
                  <a:gradFill>
                    <a:gsLst>
                      <a:gs pos="2917">
                        <a:srgbClr val="505050"/>
                      </a:gs>
                      <a:gs pos="30000">
                        <a:srgbClr val="505050"/>
                      </a:gs>
                    </a:gsLst>
                    <a:lin ang="5400000" scaled="0"/>
                  </a:gradFill>
                  <a:latin typeface="Segoe UI"/>
                </a:rPr>
                <a:t>Import</a:t>
              </a:r>
              <a:r>
                <a:rPr lang="en-US" sz="1200">
                  <a:gradFill>
                    <a:gsLst>
                      <a:gs pos="2917">
                        <a:srgbClr val="505050"/>
                      </a:gs>
                      <a:gs pos="30000">
                        <a:srgbClr val="505050"/>
                      </a:gs>
                    </a:gsLst>
                    <a:lin ang="5400000" scaled="0"/>
                  </a:gradFill>
                  <a:latin typeface="Segoe UI"/>
                </a:rPr>
                <a:t> is an irreversible operation.</a:t>
              </a:r>
            </a:p>
            <a:p>
              <a:r>
                <a:rPr lang="en-US" sz="1200">
                  <a:gradFill>
                    <a:gsLst>
                      <a:gs pos="2917">
                        <a:srgbClr val="505050"/>
                      </a:gs>
                      <a:gs pos="30000">
                        <a:srgbClr val="505050"/>
                      </a:gs>
                    </a:gsLst>
                    <a:lin ang="5400000" scaled="0"/>
                  </a:gradFill>
                  <a:latin typeface="Segoe UI"/>
                </a:rPr>
                <a:t>Once set, this property can't later be changed to either </a:t>
              </a:r>
              <a:r>
                <a:rPr lang="en-US" sz="1200" b="1" err="1">
                  <a:gradFill>
                    <a:gsLst>
                      <a:gs pos="2917">
                        <a:srgbClr val="505050"/>
                      </a:gs>
                      <a:gs pos="30000">
                        <a:srgbClr val="505050"/>
                      </a:gs>
                    </a:gsLst>
                    <a:lin ang="5400000" scaled="0"/>
                  </a:gradFill>
                  <a:latin typeface="Segoe UI"/>
                </a:rPr>
                <a:t>DirectQuery</a:t>
              </a:r>
              <a:r>
                <a:rPr lang="en-US" sz="1200">
                  <a:gradFill>
                    <a:gsLst>
                      <a:gs pos="2917">
                        <a:srgbClr val="505050"/>
                      </a:gs>
                      <a:gs pos="30000">
                        <a:srgbClr val="505050"/>
                      </a:gs>
                    </a:gsLst>
                    <a:lin ang="5400000" scaled="0"/>
                  </a:gradFill>
                  <a:latin typeface="Segoe UI"/>
                </a:rPr>
                <a:t> or </a:t>
              </a:r>
              <a:r>
                <a:rPr lang="en-US" sz="1200" b="1">
                  <a:gradFill>
                    <a:gsLst>
                      <a:gs pos="2917">
                        <a:srgbClr val="505050"/>
                      </a:gs>
                      <a:gs pos="30000">
                        <a:srgbClr val="505050"/>
                      </a:gs>
                    </a:gsLst>
                    <a:lin ang="5400000" scaled="0"/>
                  </a:gradFill>
                  <a:latin typeface="Segoe UI"/>
                </a:rPr>
                <a:t>Dual </a:t>
              </a:r>
              <a:r>
                <a:rPr lang="en-US" sz="1200">
                  <a:gradFill>
                    <a:gsLst>
                      <a:gs pos="2917">
                        <a:srgbClr val="505050"/>
                      </a:gs>
                      <a:gs pos="30000">
                        <a:srgbClr val="505050"/>
                      </a:gs>
                    </a:gsLst>
                    <a:lin ang="5400000" scaled="0"/>
                  </a:gradFill>
                  <a:latin typeface="Segoe UI"/>
                </a:rPr>
                <a:t>using Power BI Desktop.</a:t>
              </a:r>
            </a:p>
          </p:txBody>
        </p:sp>
      </p:grpSp>
      <p:cxnSp>
        <p:nvCxnSpPr>
          <p:cNvPr id="2" name="Straight Connector 1">
            <a:extLst>
              <a:ext uri="{FF2B5EF4-FFF2-40B4-BE49-F238E27FC236}">
                <a16:creationId xmlns:a16="http://schemas.microsoft.com/office/drawing/2014/main" id="{58EAFE93-E71B-4B70-8F10-2A6C9C77A583}"/>
              </a:ext>
            </a:extLst>
          </p:cNvPr>
          <p:cNvCxnSpPr>
            <a:cxnSpLocks/>
          </p:cNvCxnSpPr>
          <p:nvPr/>
        </p:nvCxnSpPr>
        <p:spPr>
          <a:xfrm>
            <a:off x="1764" y="1194784"/>
            <a:ext cx="12431361"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77374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1000"/>
                                        <p:tgtEl>
                                          <p:spTgt spid="5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4809618"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508234671"/>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527680714"/>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524967406"/>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460134010"/>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621617039"/>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523095080"/>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731090695"/>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nvGraphicFramePr>
        <p:xfrm>
          <a:off x="1992379" y="160481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508234671"/>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527680714"/>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524967406"/>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460134010"/>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621617039"/>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523095080"/>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731090695"/>
                  </a:ext>
                </a:extLst>
              </a:tr>
            </a:tbl>
          </a:graphicData>
        </a:graphic>
      </p:graphicFrame>
      <p:graphicFrame>
        <p:nvGraphicFramePr>
          <p:cNvPr id="7" name="Table 6">
            <a:extLst>
              <a:ext uri="{FF2B5EF4-FFF2-40B4-BE49-F238E27FC236}">
                <a16:creationId xmlns:a16="http://schemas.microsoft.com/office/drawing/2014/main" id="{3C7E8F80-E1F4-4944-958C-9983C2775965}"/>
              </a:ext>
            </a:extLst>
          </p:cNvPr>
          <p:cNvGraphicFramePr>
            <a:graphicFrameLocks noGrp="1"/>
          </p:cNvGraphicFramePr>
          <p:nvPr/>
        </p:nvGraphicFramePr>
        <p:xfrm>
          <a:off x="7626857"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508234671"/>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527680714"/>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524967406"/>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460134010"/>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621617039"/>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523095080"/>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731090695"/>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Tabular (Rows and Columns)</a:t>
            </a:r>
          </a:p>
        </p:txBody>
      </p:sp>
    </p:spTree>
    <p:extLst>
      <p:ext uri="{BB962C8B-B14F-4D97-AF65-F5344CB8AC3E}">
        <p14:creationId xmlns:p14="http://schemas.microsoft.com/office/powerpoint/2010/main" val="249120537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855768" y="1598425"/>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nvGraphicFramePr>
        <p:xfrm>
          <a:off x="4809618"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7" name="Table 6">
            <a:extLst>
              <a:ext uri="{FF2B5EF4-FFF2-40B4-BE49-F238E27FC236}">
                <a16:creationId xmlns:a16="http://schemas.microsoft.com/office/drawing/2014/main" id="{3C7E8F80-E1F4-4944-958C-9983C2775965}"/>
              </a:ext>
            </a:extLst>
          </p:cNvPr>
          <p:cNvGraphicFramePr>
            <a:graphicFrameLocks noGrp="1"/>
          </p:cNvGraphicFramePr>
          <p:nvPr/>
        </p:nvGraphicFramePr>
        <p:xfrm>
          <a:off x="8763467"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cxnSp>
        <p:nvCxnSpPr>
          <p:cNvPr id="12" name="Straight Connector 11">
            <a:extLst>
              <a:ext uri="{FF2B5EF4-FFF2-40B4-BE49-F238E27FC236}">
                <a16:creationId xmlns:a16="http://schemas.microsoft.com/office/drawing/2014/main" id="{1AB2F85C-C06C-447B-A94D-DDE1EB0C393B}"/>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4" name="Title 1">
            <a:extLst>
              <a:ext uri="{FF2B5EF4-FFF2-40B4-BE49-F238E27FC236}">
                <a16:creationId xmlns:a16="http://schemas.microsoft.com/office/drawing/2014/main" id="{F3D7B7AC-B908-4944-A9B7-55C86DC8B24A}"/>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Columnar Database</a:t>
            </a:r>
          </a:p>
        </p:txBody>
      </p:sp>
    </p:spTree>
    <p:extLst>
      <p:ext uri="{BB962C8B-B14F-4D97-AF65-F5344CB8AC3E}">
        <p14:creationId xmlns:p14="http://schemas.microsoft.com/office/powerpoint/2010/main" val="268466658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Encoding</a:t>
            </a:r>
            <a:endParaRPr lang="en-US"/>
          </a:p>
        </p:txBody>
      </p:sp>
      <p:sp>
        <p:nvSpPr>
          <p:cNvPr id="2" name="Content Placeholder 2">
            <a:extLst>
              <a:ext uri="{FF2B5EF4-FFF2-40B4-BE49-F238E27FC236}">
                <a16:creationId xmlns:a16="http://schemas.microsoft.com/office/drawing/2014/main" id="{7B59351F-8B83-4BC3-9EF6-945BE4783D85}"/>
              </a:ext>
            </a:extLst>
          </p:cNvPr>
          <p:cNvSpPr>
            <a:spLocks noGrp="1"/>
          </p:cNvSpPr>
          <p:nvPr>
            <p:ph idx="1"/>
          </p:nvPr>
        </p:nvSpPr>
        <p:spPr>
          <a:xfrm>
            <a:off x="1219577" y="1801578"/>
            <a:ext cx="9997321" cy="3391369"/>
          </a:xfrm>
        </p:spPr>
        <p:txBody>
          <a:bodyPr vert="horz" wrap="square" lIns="0" tIns="0" rIns="0" bIns="0" rtlCol="0" anchor="t">
            <a:normAutofit/>
          </a:bodyPr>
          <a:lstStyle/>
          <a:p>
            <a:pPr marL="0" indent="0">
              <a:buNone/>
            </a:pPr>
            <a:r>
              <a:rPr lang="en-US" sz="2800" b="1">
                <a:gradFill>
                  <a:gsLst>
                    <a:gs pos="2917">
                      <a:srgbClr val="505050"/>
                    </a:gs>
                    <a:gs pos="30000">
                      <a:srgbClr val="505050"/>
                    </a:gs>
                  </a:gsLst>
                  <a:lin ang="5400000" scaled="0"/>
                </a:gradFill>
                <a:latin typeface="Segoe UI"/>
                <a:cs typeface="+mn-cs"/>
              </a:rPr>
              <a:t>Value: </a:t>
            </a:r>
            <a:r>
              <a:rPr lang="en-US" sz="2100">
                <a:gradFill>
                  <a:gsLst>
                    <a:gs pos="2917">
                      <a:srgbClr val="505050"/>
                    </a:gs>
                    <a:gs pos="30000">
                      <a:srgbClr val="505050"/>
                    </a:gs>
                  </a:gsLst>
                  <a:lin ang="5400000" scaled="0"/>
                </a:gradFill>
                <a:latin typeface="Segoe UI"/>
                <a:cs typeface="+mn-cs"/>
              </a:rPr>
              <a:t>Value of the cell itself is used.</a:t>
            </a:r>
          </a:p>
          <a:p>
            <a:pPr marL="0" indent="0">
              <a:buNone/>
            </a:pPr>
            <a:r>
              <a:rPr lang="en-US" sz="1800" b="1">
                <a:solidFill>
                  <a:schemeClr val="tx1">
                    <a:lumMod val="50000"/>
                    <a:lumOff val="50000"/>
                  </a:schemeClr>
                </a:solidFill>
                <a:latin typeface="Segoe UI"/>
                <a:cs typeface="Segoe UI"/>
              </a:rPr>
              <a:t>It’s possible a mathematical operation is included.</a:t>
            </a:r>
            <a:endParaRPr lang="en-US" sz="1800">
              <a:solidFill>
                <a:schemeClr val="tx1">
                  <a:lumMod val="50000"/>
                  <a:lumOff val="50000"/>
                </a:schemeClr>
              </a:solidFill>
            </a:endParaRPr>
          </a:p>
          <a:p>
            <a:pPr marL="0" indent="0">
              <a:buNone/>
            </a:pPr>
            <a:r>
              <a:rPr lang="en-US" sz="2040">
                <a:solidFill>
                  <a:schemeClr val="tx1">
                    <a:lumMod val="50000"/>
                    <a:lumOff val="50000"/>
                  </a:schemeClr>
                </a:solidFill>
                <a:latin typeface="Segoe UI" panose="020B0502040204020203" pitchFamily="34" charset="0"/>
                <a:cs typeface="+mn-cs"/>
              </a:rPr>
              <a:t>For example, if a column contains the values 10,000 and 10,001, Analysis Services can subtract 10,000 from the values and keep the results 0 and 1, which can be stored using fewer bits.</a:t>
            </a:r>
          </a:p>
          <a:p>
            <a:pPr marL="466043" lvl="1" indent="0">
              <a:buNone/>
            </a:pPr>
            <a:endParaRPr lang="en-US">
              <a:solidFill>
                <a:schemeClr val="tx1">
                  <a:lumMod val="50000"/>
                  <a:lumOff val="50000"/>
                </a:schemeClr>
              </a:solidFill>
              <a:latin typeface="Segoe UI" panose="020B0502040204020203" pitchFamily="34" charset="0"/>
            </a:endParaRPr>
          </a:p>
          <a:p>
            <a:pPr marL="0" indent="0">
              <a:buNone/>
            </a:pPr>
            <a:r>
              <a:rPr lang="en-US" sz="2800" b="1">
                <a:gradFill>
                  <a:gsLst>
                    <a:gs pos="2917">
                      <a:srgbClr val="505050"/>
                    </a:gs>
                    <a:gs pos="30000">
                      <a:srgbClr val="505050"/>
                    </a:gs>
                  </a:gsLst>
                  <a:lin ang="5400000" scaled="0"/>
                </a:gradFill>
                <a:latin typeface="Segoe UI"/>
                <a:cs typeface="+mn-cs"/>
              </a:rPr>
              <a:t>Hash: </a:t>
            </a:r>
            <a:r>
              <a:rPr lang="en-US" sz="2100">
                <a:gradFill>
                  <a:gsLst>
                    <a:gs pos="2917">
                      <a:srgbClr val="505050"/>
                    </a:gs>
                    <a:gs pos="30000">
                      <a:srgbClr val="505050"/>
                    </a:gs>
                  </a:gsLst>
                  <a:lin ang="5400000" scaled="0"/>
                </a:gradFill>
                <a:latin typeface="Segoe UI"/>
                <a:cs typeface="+mn-cs"/>
              </a:rPr>
              <a:t>Values are transformed into integers. </a:t>
            </a:r>
          </a:p>
          <a:p>
            <a:pPr marL="0" indent="0">
              <a:buNone/>
            </a:pPr>
            <a:r>
              <a:rPr lang="en-US" sz="2040">
                <a:solidFill>
                  <a:schemeClr val="tx1">
                    <a:lumMod val="50000"/>
                    <a:lumOff val="50000"/>
                  </a:schemeClr>
                </a:solidFill>
                <a:latin typeface="Segoe UI" panose="020B0502040204020203" pitchFamily="34" charset="0"/>
                <a:cs typeface="+mn-cs"/>
              </a:rPr>
              <a:t>This transformation step is then kept in a dictionary, so Analysis Services can translate the integers back to the original value.</a:t>
            </a:r>
          </a:p>
        </p:txBody>
      </p:sp>
    </p:spTree>
    <p:extLst>
      <p:ext uri="{BB962C8B-B14F-4D97-AF65-F5344CB8AC3E}">
        <p14:creationId xmlns:p14="http://schemas.microsoft.com/office/powerpoint/2010/main" val="132574294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Understanding Value Encoding</a:t>
            </a:r>
            <a:endParaRPr lang="en-US"/>
          </a:p>
        </p:txBody>
      </p:sp>
      <p:graphicFrame>
        <p:nvGraphicFramePr>
          <p:cNvPr id="24" name="Table 6">
            <a:extLst>
              <a:ext uri="{FF2B5EF4-FFF2-40B4-BE49-F238E27FC236}">
                <a16:creationId xmlns:a16="http://schemas.microsoft.com/office/drawing/2014/main" id="{FAF400A1-FFA6-4E98-8DB0-A96817038C11}"/>
              </a:ext>
            </a:extLst>
          </p:cNvPr>
          <p:cNvGraphicFramePr>
            <a:graphicFrameLocks noGrp="1"/>
          </p:cNvGraphicFramePr>
          <p:nvPr>
            <p:extLst>
              <p:ext uri="{D42A27DB-BD31-4B8C-83A1-F6EECF244321}">
                <p14:modId xmlns:p14="http://schemas.microsoft.com/office/powerpoint/2010/main" val="69686737"/>
              </p:ext>
            </p:extLst>
          </p:nvPr>
        </p:nvGraphicFramePr>
        <p:xfrm>
          <a:off x="855768" y="1460062"/>
          <a:ext cx="1446353" cy="4546730"/>
        </p:xfrm>
        <a:graphic>
          <a:graphicData uri="http://schemas.openxmlformats.org/drawingml/2006/table">
            <a:tbl>
              <a:tblPr firstRow="1" bandRow="1">
                <a:tableStyleId>{5C22544A-7EE6-4342-B048-85BDC9FD1C3A}</a:tableStyleId>
              </a:tblPr>
              <a:tblGrid>
                <a:gridCol w="1446353">
                  <a:extLst>
                    <a:ext uri="{9D8B030D-6E8A-4147-A177-3AD203B41FA5}">
                      <a16:colId xmlns:a16="http://schemas.microsoft.com/office/drawing/2014/main" val="660710619"/>
                    </a:ext>
                  </a:extLst>
                </a:gridCol>
              </a:tblGrid>
              <a:tr h="454673">
                <a:tc>
                  <a:txBody>
                    <a:bodyPr/>
                    <a:lstStyle/>
                    <a:p>
                      <a:pPr algn="ctr"/>
                      <a:r>
                        <a:rPr lang="en-US" sz="1900"/>
                        <a:t>Unit Price</a:t>
                      </a:r>
                    </a:p>
                  </a:txBody>
                  <a:tcPr marL="93248" marR="93248" marT="46624" marB="46624"/>
                </a:tc>
                <a:extLst>
                  <a:ext uri="{0D108BD9-81ED-4DB2-BD59-A6C34878D82A}">
                    <a16:rowId xmlns:a16="http://schemas.microsoft.com/office/drawing/2014/main" val="3283667682"/>
                  </a:ext>
                </a:extLst>
              </a:tr>
              <a:tr h="454673">
                <a:tc>
                  <a:txBody>
                    <a:bodyPr/>
                    <a:lstStyle/>
                    <a:p>
                      <a:pPr algn="ctr"/>
                      <a:r>
                        <a:rPr lang="en-US" sz="1900"/>
                        <a:t>212</a:t>
                      </a:r>
                    </a:p>
                  </a:txBody>
                  <a:tcPr marL="93248" marR="93248" marT="46624" marB="46624"/>
                </a:tc>
                <a:extLst>
                  <a:ext uri="{0D108BD9-81ED-4DB2-BD59-A6C34878D82A}">
                    <a16:rowId xmlns:a16="http://schemas.microsoft.com/office/drawing/2014/main" val="3018550398"/>
                  </a:ext>
                </a:extLst>
              </a:tr>
              <a:tr h="454673">
                <a:tc>
                  <a:txBody>
                    <a:bodyPr/>
                    <a:lstStyle/>
                    <a:p>
                      <a:pPr algn="ctr"/>
                      <a:r>
                        <a:rPr lang="en-US" sz="1900"/>
                        <a:t>197</a:t>
                      </a:r>
                    </a:p>
                  </a:txBody>
                  <a:tcPr marL="93248" marR="93248" marT="46624" marB="46624"/>
                </a:tc>
                <a:extLst>
                  <a:ext uri="{0D108BD9-81ED-4DB2-BD59-A6C34878D82A}">
                    <a16:rowId xmlns:a16="http://schemas.microsoft.com/office/drawing/2014/main" val="966994607"/>
                  </a:ext>
                </a:extLst>
              </a:tr>
              <a:tr h="454673">
                <a:tc>
                  <a:txBody>
                    <a:bodyPr/>
                    <a:lstStyle/>
                    <a:p>
                      <a:pPr algn="ctr"/>
                      <a:r>
                        <a:rPr lang="en-US" sz="1900"/>
                        <a:t>214</a:t>
                      </a:r>
                    </a:p>
                  </a:txBody>
                  <a:tcPr marL="93248" marR="93248" marT="46624" marB="46624"/>
                </a:tc>
                <a:extLst>
                  <a:ext uri="{0D108BD9-81ED-4DB2-BD59-A6C34878D82A}">
                    <a16:rowId xmlns:a16="http://schemas.microsoft.com/office/drawing/2014/main" val="1890312210"/>
                  </a:ext>
                </a:extLst>
              </a:tr>
              <a:tr h="454673">
                <a:tc>
                  <a:txBody>
                    <a:bodyPr/>
                    <a:lstStyle/>
                    <a:p>
                      <a:pPr algn="ctr"/>
                      <a:r>
                        <a:rPr lang="en-US" sz="1900"/>
                        <a:t>197</a:t>
                      </a:r>
                    </a:p>
                  </a:txBody>
                  <a:tcPr marL="93248" marR="93248" marT="46624" marB="46624"/>
                </a:tc>
                <a:extLst>
                  <a:ext uri="{0D108BD9-81ED-4DB2-BD59-A6C34878D82A}">
                    <a16:rowId xmlns:a16="http://schemas.microsoft.com/office/drawing/2014/main" val="854759503"/>
                  </a:ext>
                </a:extLst>
              </a:tr>
              <a:tr h="454673">
                <a:tc>
                  <a:txBody>
                    <a:bodyPr/>
                    <a:lstStyle/>
                    <a:p>
                      <a:pPr algn="ctr"/>
                      <a:r>
                        <a:rPr lang="en-US" sz="1900"/>
                        <a:t>214</a:t>
                      </a:r>
                    </a:p>
                  </a:txBody>
                  <a:tcPr marL="93248" marR="93248" marT="46624" marB="46624"/>
                </a:tc>
                <a:extLst>
                  <a:ext uri="{0D108BD9-81ED-4DB2-BD59-A6C34878D82A}">
                    <a16:rowId xmlns:a16="http://schemas.microsoft.com/office/drawing/2014/main" val="2335329891"/>
                  </a:ext>
                </a:extLst>
              </a:tr>
              <a:tr h="454673">
                <a:tc>
                  <a:txBody>
                    <a:bodyPr/>
                    <a:lstStyle/>
                    <a:p>
                      <a:pPr algn="ctr"/>
                      <a:r>
                        <a:rPr lang="en-US" sz="1900"/>
                        <a:t>197</a:t>
                      </a:r>
                    </a:p>
                  </a:txBody>
                  <a:tcPr marL="93248" marR="93248" marT="46624" marB="46624"/>
                </a:tc>
                <a:extLst>
                  <a:ext uri="{0D108BD9-81ED-4DB2-BD59-A6C34878D82A}">
                    <a16:rowId xmlns:a16="http://schemas.microsoft.com/office/drawing/2014/main" val="590479453"/>
                  </a:ext>
                </a:extLst>
              </a:tr>
              <a:tr h="454673">
                <a:tc>
                  <a:txBody>
                    <a:bodyPr/>
                    <a:lstStyle/>
                    <a:p>
                      <a:pPr algn="ctr"/>
                      <a:r>
                        <a:rPr lang="en-US" sz="1900"/>
                        <a:t>194</a:t>
                      </a:r>
                    </a:p>
                  </a:txBody>
                  <a:tcPr marL="93248" marR="93248" marT="46624" marB="46624"/>
                </a:tc>
                <a:extLst>
                  <a:ext uri="{0D108BD9-81ED-4DB2-BD59-A6C34878D82A}">
                    <a16:rowId xmlns:a16="http://schemas.microsoft.com/office/drawing/2014/main" val="4034395117"/>
                  </a:ext>
                </a:extLst>
              </a:tr>
              <a:tr h="454673">
                <a:tc>
                  <a:txBody>
                    <a:bodyPr/>
                    <a:lstStyle/>
                    <a:p>
                      <a:pPr algn="ctr"/>
                      <a:r>
                        <a:rPr lang="en-US" sz="1900"/>
                        <a:t>197</a:t>
                      </a:r>
                    </a:p>
                  </a:txBody>
                  <a:tcPr marL="93248" marR="93248" marT="46624" marB="46624"/>
                </a:tc>
                <a:extLst>
                  <a:ext uri="{0D108BD9-81ED-4DB2-BD59-A6C34878D82A}">
                    <a16:rowId xmlns:a16="http://schemas.microsoft.com/office/drawing/2014/main" val="1090872867"/>
                  </a:ext>
                </a:extLst>
              </a:tr>
              <a:tr h="454673">
                <a:tc>
                  <a:txBody>
                    <a:bodyPr/>
                    <a:lstStyle/>
                    <a:p>
                      <a:pPr algn="ctr"/>
                      <a:r>
                        <a:rPr lang="en-US" sz="1900"/>
                        <a:t>216</a:t>
                      </a:r>
                    </a:p>
                  </a:txBody>
                  <a:tcPr marL="93248" marR="93248" marT="46624" marB="46624"/>
                </a:tc>
                <a:extLst>
                  <a:ext uri="{0D108BD9-81ED-4DB2-BD59-A6C34878D82A}">
                    <a16:rowId xmlns:a16="http://schemas.microsoft.com/office/drawing/2014/main" val="4044422552"/>
                  </a:ext>
                </a:extLst>
              </a:tr>
            </a:tbl>
          </a:graphicData>
        </a:graphic>
      </p:graphicFrame>
      <p:sp>
        <p:nvSpPr>
          <p:cNvPr id="26" name="Rectangle: Rounded Corners 25">
            <a:extLst>
              <a:ext uri="{FF2B5EF4-FFF2-40B4-BE49-F238E27FC236}">
                <a16:creationId xmlns:a16="http://schemas.microsoft.com/office/drawing/2014/main" id="{8D4C0505-97A5-441D-9934-4D110A772F04}"/>
              </a:ext>
            </a:extLst>
          </p:cNvPr>
          <p:cNvSpPr/>
          <p:nvPr/>
        </p:nvSpPr>
        <p:spPr>
          <a:xfrm>
            <a:off x="8433745" y="6005621"/>
            <a:ext cx="2975839" cy="69193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a:t>Max: 22</a:t>
            </a:r>
          </a:p>
          <a:p>
            <a:pPr algn="ctr"/>
            <a:r>
              <a:rPr lang="en-US" sz="1836"/>
              <a:t>5 bits needed</a:t>
            </a:r>
          </a:p>
        </p:txBody>
      </p:sp>
      <p:graphicFrame>
        <p:nvGraphicFramePr>
          <p:cNvPr id="28" name="Table 6">
            <a:extLst>
              <a:ext uri="{FF2B5EF4-FFF2-40B4-BE49-F238E27FC236}">
                <a16:creationId xmlns:a16="http://schemas.microsoft.com/office/drawing/2014/main" id="{37C980F3-912E-4C06-AFCD-0B280E6C5A68}"/>
              </a:ext>
            </a:extLst>
          </p:cNvPr>
          <p:cNvGraphicFramePr>
            <a:graphicFrameLocks noGrp="1"/>
          </p:cNvGraphicFramePr>
          <p:nvPr>
            <p:extLst>
              <p:ext uri="{D42A27DB-BD31-4B8C-83A1-F6EECF244321}">
                <p14:modId xmlns:p14="http://schemas.microsoft.com/office/powerpoint/2010/main" val="3990838735"/>
              </p:ext>
            </p:extLst>
          </p:nvPr>
        </p:nvGraphicFramePr>
        <p:xfrm>
          <a:off x="4531027" y="1460062"/>
          <a:ext cx="1847422" cy="4546730"/>
        </p:xfrm>
        <a:graphic>
          <a:graphicData uri="http://schemas.openxmlformats.org/drawingml/2006/table">
            <a:tbl>
              <a:tblPr firstRow="1" bandRow="1">
                <a:tableStyleId>{5C22544A-7EE6-4342-B048-85BDC9FD1C3A}</a:tableStyleId>
              </a:tblPr>
              <a:tblGrid>
                <a:gridCol w="1847422">
                  <a:extLst>
                    <a:ext uri="{9D8B030D-6E8A-4147-A177-3AD203B41FA5}">
                      <a16:colId xmlns:a16="http://schemas.microsoft.com/office/drawing/2014/main" val="660710619"/>
                    </a:ext>
                  </a:extLst>
                </a:gridCol>
              </a:tblGrid>
              <a:tr h="454673">
                <a:tc>
                  <a:txBody>
                    <a:bodyPr/>
                    <a:lstStyle/>
                    <a:p>
                      <a:pPr algn="ctr"/>
                      <a:r>
                        <a:rPr lang="en-US" sz="1900"/>
                        <a:t>Unit Price</a:t>
                      </a:r>
                    </a:p>
                  </a:txBody>
                  <a:tcPr marL="93248" marR="93248" marT="46624" marB="46624"/>
                </a:tc>
                <a:extLst>
                  <a:ext uri="{0D108BD9-81ED-4DB2-BD59-A6C34878D82A}">
                    <a16:rowId xmlns:a16="http://schemas.microsoft.com/office/drawing/2014/main" val="3283667682"/>
                  </a:ext>
                </a:extLst>
              </a:tr>
              <a:tr h="454673">
                <a:tc>
                  <a:txBody>
                    <a:bodyPr/>
                    <a:lstStyle/>
                    <a:p>
                      <a:pPr algn="ctr"/>
                      <a:r>
                        <a:rPr lang="en-US" sz="1900"/>
                        <a:t>212-</a:t>
                      </a:r>
                      <a:r>
                        <a:rPr lang="en-US" sz="1900" b="1"/>
                        <a:t>194</a:t>
                      </a:r>
                    </a:p>
                  </a:txBody>
                  <a:tcPr marL="93248" marR="93248" marT="46624" marB="46624"/>
                </a:tc>
                <a:extLst>
                  <a:ext uri="{0D108BD9-81ED-4DB2-BD59-A6C34878D82A}">
                    <a16:rowId xmlns:a16="http://schemas.microsoft.com/office/drawing/2014/main" val="3018550398"/>
                  </a:ext>
                </a:extLst>
              </a:tr>
              <a:tr h="454673">
                <a:tc>
                  <a:txBody>
                    <a:bodyPr/>
                    <a:lstStyle/>
                    <a:p>
                      <a:pPr algn="ctr"/>
                      <a:r>
                        <a:rPr lang="en-US" sz="1900"/>
                        <a:t>197-</a:t>
                      </a:r>
                      <a:r>
                        <a:rPr lang="en-US" sz="1900" b="1"/>
                        <a:t>194</a:t>
                      </a:r>
                    </a:p>
                  </a:txBody>
                  <a:tcPr marL="93248" marR="93248" marT="46624" marB="46624"/>
                </a:tc>
                <a:extLst>
                  <a:ext uri="{0D108BD9-81ED-4DB2-BD59-A6C34878D82A}">
                    <a16:rowId xmlns:a16="http://schemas.microsoft.com/office/drawing/2014/main" val="966994607"/>
                  </a:ext>
                </a:extLst>
              </a:tr>
              <a:tr h="454673">
                <a:tc>
                  <a:txBody>
                    <a:bodyPr/>
                    <a:lstStyle/>
                    <a:p>
                      <a:pPr algn="ctr"/>
                      <a:r>
                        <a:rPr lang="en-US" sz="1900"/>
                        <a:t>214-</a:t>
                      </a:r>
                      <a:r>
                        <a:rPr lang="en-US" sz="1900" b="1"/>
                        <a:t>194</a:t>
                      </a:r>
                    </a:p>
                  </a:txBody>
                  <a:tcPr marL="93248" marR="93248" marT="46624" marB="46624"/>
                </a:tc>
                <a:extLst>
                  <a:ext uri="{0D108BD9-81ED-4DB2-BD59-A6C34878D82A}">
                    <a16:rowId xmlns:a16="http://schemas.microsoft.com/office/drawing/2014/main" val="1890312210"/>
                  </a:ext>
                </a:extLst>
              </a:tr>
              <a:tr h="454673">
                <a:tc>
                  <a:txBody>
                    <a:bodyPr/>
                    <a:lstStyle/>
                    <a:p>
                      <a:pPr algn="ctr"/>
                      <a:r>
                        <a:rPr lang="en-US" sz="1900"/>
                        <a:t>197-</a:t>
                      </a:r>
                      <a:r>
                        <a:rPr lang="en-US" sz="1900" b="1"/>
                        <a:t>194</a:t>
                      </a:r>
                    </a:p>
                  </a:txBody>
                  <a:tcPr marL="93248" marR="93248" marT="46624" marB="46624"/>
                </a:tc>
                <a:extLst>
                  <a:ext uri="{0D108BD9-81ED-4DB2-BD59-A6C34878D82A}">
                    <a16:rowId xmlns:a16="http://schemas.microsoft.com/office/drawing/2014/main" val="854759503"/>
                  </a:ext>
                </a:extLst>
              </a:tr>
              <a:tr h="454673">
                <a:tc>
                  <a:txBody>
                    <a:bodyPr/>
                    <a:lstStyle/>
                    <a:p>
                      <a:pPr algn="ctr"/>
                      <a:r>
                        <a:rPr lang="en-US" sz="1900"/>
                        <a:t>214-</a:t>
                      </a:r>
                      <a:r>
                        <a:rPr lang="en-US" sz="1900" b="1"/>
                        <a:t>194</a:t>
                      </a:r>
                    </a:p>
                  </a:txBody>
                  <a:tcPr marL="93248" marR="93248" marT="46624" marB="46624"/>
                </a:tc>
                <a:extLst>
                  <a:ext uri="{0D108BD9-81ED-4DB2-BD59-A6C34878D82A}">
                    <a16:rowId xmlns:a16="http://schemas.microsoft.com/office/drawing/2014/main" val="2335329891"/>
                  </a:ext>
                </a:extLst>
              </a:tr>
              <a:tr h="454673">
                <a:tc>
                  <a:txBody>
                    <a:bodyPr/>
                    <a:lstStyle/>
                    <a:p>
                      <a:pPr algn="ctr"/>
                      <a:r>
                        <a:rPr lang="en-US" sz="1900"/>
                        <a:t>197-</a:t>
                      </a:r>
                      <a:r>
                        <a:rPr lang="en-US" sz="1900" b="1"/>
                        <a:t>194</a:t>
                      </a:r>
                    </a:p>
                  </a:txBody>
                  <a:tcPr marL="93248" marR="93248" marT="46624" marB="46624"/>
                </a:tc>
                <a:extLst>
                  <a:ext uri="{0D108BD9-81ED-4DB2-BD59-A6C34878D82A}">
                    <a16:rowId xmlns:a16="http://schemas.microsoft.com/office/drawing/2014/main" val="590479453"/>
                  </a:ext>
                </a:extLst>
              </a:tr>
              <a:tr h="454673">
                <a:tc>
                  <a:txBody>
                    <a:bodyPr/>
                    <a:lstStyle/>
                    <a:p>
                      <a:pPr algn="ctr"/>
                      <a:r>
                        <a:rPr lang="en-US" sz="1900"/>
                        <a:t>194-</a:t>
                      </a:r>
                      <a:r>
                        <a:rPr lang="en-US" sz="1900" b="1"/>
                        <a:t>194</a:t>
                      </a:r>
                    </a:p>
                  </a:txBody>
                  <a:tcPr marL="93248" marR="93248" marT="46624" marB="46624"/>
                </a:tc>
                <a:extLst>
                  <a:ext uri="{0D108BD9-81ED-4DB2-BD59-A6C34878D82A}">
                    <a16:rowId xmlns:a16="http://schemas.microsoft.com/office/drawing/2014/main" val="4034395117"/>
                  </a:ext>
                </a:extLst>
              </a:tr>
              <a:tr h="454673">
                <a:tc>
                  <a:txBody>
                    <a:bodyPr/>
                    <a:lstStyle/>
                    <a:p>
                      <a:pPr algn="ctr"/>
                      <a:r>
                        <a:rPr lang="en-US" sz="1900"/>
                        <a:t>197-</a:t>
                      </a:r>
                      <a:r>
                        <a:rPr lang="en-US" sz="1900" b="1"/>
                        <a:t>194</a:t>
                      </a:r>
                    </a:p>
                  </a:txBody>
                  <a:tcPr marL="93248" marR="93248" marT="46624" marB="46624"/>
                </a:tc>
                <a:extLst>
                  <a:ext uri="{0D108BD9-81ED-4DB2-BD59-A6C34878D82A}">
                    <a16:rowId xmlns:a16="http://schemas.microsoft.com/office/drawing/2014/main" val="1090872867"/>
                  </a:ext>
                </a:extLst>
              </a:tr>
              <a:tr h="454673">
                <a:tc>
                  <a:txBody>
                    <a:bodyPr/>
                    <a:lstStyle/>
                    <a:p>
                      <a:pPr algn="ctr"/>
                      <a:r>
                        <a:rPr lang="en-US" sz="1900"/>
                        <a:t>216-</a:t>
                      </a:r>
                      <a:r>
                        <a:rPr lang="en-US" sz="1900" b="1"/>
                        <a:t>194</a:t>
                      </a:r>
                    </a:p>
                  </a:txBody>
                  <a:tcPr marL="93248" marR="93248" marT="46624" marB="46624"/>
                </a:tc>
                <a:extLst>
                  <a:ext uri="{0D108BD9-81ED-4DB2-BD59-A6C34878D82A}">
                    <a16:rowId xmlns:a16="http://schemas.microsoft.com/office/drawing/2014/main" val="4044422552"/>
                  </a:ext>
                </a:extLst>
              </a:tr>
            </a:tbl>
          </a:graphicData>
        </a:graphic>
      </p:graphicFrame>
      <p:sp>
        <p:nvSpPr>
          <p:cNvPr id="30" name="Arrow: Right 29">
            <a:extLst>
              <a:ext uri="{FF2B5EF4-FFF2-40B4-BE49-F238E27FC236}">
                <a16:creationId xmlns:a16="http://schemas.microsoft.com/office/drawing/2014/main" id="{CCD50DBC-DF1F-42C4-A068-0AF0C3F97FEE}"/>
              </a:ext>
            </a:extLst>
          </p:cNvPr>
          <p:cNvSpPr/>
          <p:nvPr/>
        </p:nvSpPr>
        <p:spPr>
          <a:xfrm>
            <a:off x="2559272" y="3084345"/>
            <a:ext cx="1714787" cy="122949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a:t>Bit Packing</a:t>
            </a:r>
          </a:p>
        </p:txBody>
      </p:sp>
      <p:sp>
        <p:nvSpPr>
          <p:cNvPr id="32" name="Arrow: Right 31">
            <a:extLst>
              <a:ext uri="{FF2B5EF4-FFF2-40B4-BE49-F238E27FC236}">
                <a16:creationId xmlns:a16="http://schemas.microsoft.com/office/drawing/2014/main" id="{9E2722C0-8356-417C-9BD1-40534FE5466D}"/>
              </a:ext>
            </a:extLst>
          </p:cNvPr>
          <p:cNvSpPr/>
          <p:nvPr/>
        </p:nvSpPr>
        <p:spPr>
          <a:xfrm>
            <a:off x="6635653" y="3084356"/>
            <a:ext cx="1847658" cy="122949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a:t>Value Encoding</a:t>
            </a:r>
          </a:p>
        </p:txBody>
      </p:sp>
      <p:graphicFrame>
        <p:nvGraphicFramePr>
          <p:cNvPr id="34" name="Table 6">
            <a:extLst>
              <a:ext uri="{FF2B5EF4-FFF2-40B4-BE49-F238E27FC236}">
                <a16:creationId xmlns:a16="http://schemas.microsoft.com/office/drawing/2014/main" id="{1460C3EE-DFC9-413D-8EBA-BAA846496EF7}"/>
              </a:ext>
            </a:extLst>
          </p:cNvPr>
          <p:cNvGraphicFramePr>
            <a:graphicFrameLocks noGrp="1"/>
          </p:cNvGraphicFramePr>
          <p:nvPr>
            <p:extLst>
              <p:ext uri="{D42A27DB-BD31-4B8C-83A1-F6EECF244321}">
                <p14:modId xmlns:p14="http://schemas.microsoft.com/office/powerpoint/2010/main" val="2871800606"/>
              </p:ext>
            </p:extLst>
          </p:nvPr>
        </p:nvGraphicFramePr>
        <p:xfrm>
          <a:off x="8953373" y="1460062"/>
          <a:ext cx="1847422" cy="4546730"/>
        </p:xfrm>
        <a:graphic>
          <a:graphicData uri="http://schemas.openxmlformats.org/drawingml/2006/table">
            <a:tbl>
              <a:tblPr firstRow="1" bandRow="1">
                <a:tableStyleId>{5C22544A-7EE6-4342-B048-85BDC9FD1C3A}</a:tableStyleId>
              </a:tblPr>
              <a:tblGrid>
                <a:gridCol w="1847422">
                  <a:extLst>
                    <a:ext uri="{9D8B030D-6E8A-4147-A177-3AD203B41FA5}">
                      <a16:colId xmlns:a16="http://schemas.microsoft.com/office/drawing/2014/main" val="660710619"/>
                    </a:ext>
                  </a:extLst>
                </a:gridCol>
              </a:tblGrid>
              <a:tr h="454673">
                <a:tc>
                  <a:txBody>
                    <a:bodyPr/>
                    <a:lstStyle/>
                    <a:p>
                      <a:pPr algn="ctr"/>
                      <a:r>
                        <a:rPr lang="en-US" sz="1900"/>
                        <a:t>Unit Price</a:t>
                      </a:r>
                    </a:p>
                  </a:txBody>
                  <a:tcPr marL="93248" marR="93248" marT="46624" marB="46624"/>
                </a:tc>
                <a:extLst>
                  <a:ext uri="{0D108BD9-81ED-4DB2-BD59-A6C34878D82A}">
                    <a16:rowId xmlns:a16="http://schemas.microsoft.com/office/drawing/2014/main" val="3283667682"/>
                  </a:ext>
                </a:extLst>
              </a:tr>
              <a:tr h="454673">
                <a:tc>
                  <a:txBody>
                    <a:bodyPr/>
                    <a:lstStyle/>
                    <a:p>
                      <a:pPr algn="ctr"/>
                      <a:r>
                        <a:rPr lang="en-US" sz="1900"/>
                        <a:t>18</a:t>
                      </a:r>
                    </a:p>
                  </a:txBody>
                  <a:tcPr marL="93248" marR="93248" marT="46624" marB="46624"/>
                </a:tc>
                <a:extLst>
                  <a:ext uri="{0D108BD9-81ED-4DB2-BD59-A6C34878D82A}">
                    <a16:rowId xmlns:a16="http://schemas.microsoft.com/office/drawing/2014/main" val="3018550398"/>
                  </a:ext>
                </a:extLst>
              </a:tr>
              <a:tr h="454673">
                <a:tc>
                  <a:txBody>
                    <a:bodyPr/>
                    <a:lstStyle/>
                    <a:p>
                      <a:pPr algn="ctr"/>
                      <a:r>
                        <a:rPr lang="en-US" sz="1900"/>
                        <a:t>3</a:t>
                      </a:r>
                    </a:p>
                  </a:txBody>
                  <a:tcPr marL="93248" marR="93248" marT="46624" marB="46624"/>
                </a:tc>
                <a:extLst>
                  <a:ext uri="{0D108BD9-81ED-4DB2-BD59-A6C34878D82A}">
                    <a16:rowId xmlns:a16="http://schemas.microsoft.com/office/drawing/2014/main" val="966994607"/>
                  </a:ext>
                </a:extLst>
              </a:tr>
              <a:tr h="454673">
                <a:tc>
                  <a:txBody>
                    <a:bodyPr/>
                    <a:lstStyle/>
                    <a:p>
                      <a:pPr algn="ctr"/>
                      <a:r>
                        <a:rPr lang="en-US" sz="1900"/>
                        <a:t>20</a:t>
                      </a:r>
                    </a:p>
                  </a:txBody>
                  <a:tcPr marL="93248" marR="93248" marT="46624" marB="46624"/>
                </a:tc>
                <a:extLst>
                  <a:ext uri="{0D108BD9-81ED-4DB2-BD59-A6C34878D82A}">
                    <a16:rowId xmlns:a16="http://schemas.microsoft.com/office/drawing/2014/main" val="1890312210"/>
                  </a:ext>
                </a:extLst>
              </a:tr>
              <a:tr h="454673">
                <a:tc>
                  <a:txBody>
                    <a:bodyPr/>
                    <a:lstStyle/>
                    <a:p>
                      <a:pPr algn="ctr"/>
                      <a:r>
                        <a:rPr lang="en-US" sz="1900"/>
                        <a:t>3</a:t>
                      </a:r>
                    </a:p>
                  </a:txBody>
                  <a:tcPr marL="93248" marR="93248" marT="46624" marB="46624"/>
                </a:tc>
                <a:extLst>
                  <a:ext uri="{0D108BD9-81ED-4DB2-BD59-A6C34878D82A}">
                    <a16:rowId xmlns:a16="http://schemas.microsoft.com/office/drawing/2014/main" val="854759503"/>
                  </a:ext>
                </a:extLst>
              </a:tr>
              <a:tr h="454673">
                <a:tc>
                  <a:txBody>
                    <a:bodyPr/>
                    <a:lstStyle/>
                    <a:p>
                      <a:pPr algn="ctr"/>
                      <a:r>
                        <a:rPr lang="en-US" sz="1900"/>
                        <a:t>20</a:t>
                      </a:r>
                    </a:p>
                  </a:txBody>
                  <a:tcPr marL="93248" marR="93248" marT="46624" marB="46624"/>
                </a:tc>
                <a:extLst>
                  <a:ext uri="{0D108BD9-81ED-4DB2-BD59-A6C34878D82A}">
                    <a16:rowId xmlns:a16="http://schemas.microsoft.com/office/drawing/2014/main" val="2335329891"/>
                  </a:ext>
                </a:extLst>
              </a:tr>
              <a:tr h="454673">
                <a:tc>
                  <a:txBody>
                    <a:bodyPr/>
                    <a:lstStyle/>
                    <a:p>
                      <a:pPr algn="ctr"/>
                      <a:r>
                        <a:rPr lang="en-US" sz="1900"/>
                        <a:t>3</a:t>
                      </a:r>
                    </a:p>
                  </a:txBody>
                  <a:tcPr marL="93248" marR="93248" marT="46624" marB="46624"/>
                </a:tc>
                <a:extLst>
                  <a:ext uri="{0D108BD9-81ED-4DB2-BD59-A6C34878D82A}">
                    <a16:rowId xmlns:a16="http://schemas.microsoft.com/office/drawing/2014/main" val="590479453"/>
                  </a:ext>
                </a:extLst>
              </a:tr>
              <a:tr h="454673">
                <a:tc>
                  <a:txBody>
                    <a:bodyPr/>
                    <a:lstStyle/>
                    <a:p>
                      <a:pPr algn="ctr"/>
                      <a:r>
                        <a:rPr lang="en-US" sz="1900"/>
                        <a:t>0</a:t>
                      </a:r>
                    </a:p>
                  </a:txBody>
                  <a:tcPr marL="93248" marR="93248" marT="46624" marB="46624"/>
                </a:tc>
                <a:extLst>
                  <a:ext uri="{0D108BD9-81ED-4DB2-BD59-A6C34878D82A}">
                    <a16:rowId xmlns:a16="http://schemas.microsoft.com/office/drawing/2014/main" val="4034395117"/>
                  </a:ext>
                </a:extLst>
              </a:tr>
              <a:tr h="454673">
                <a:tc>
                  <a:txBody>
                    <a:bodyPr/>
                    <a:lstStyle/>
                    <a:p>
                      <a:pPr algn="ctr"/>
                      <a:r>
                        <a:rPr lang="en-US" sz="1900"/>
                        <a:t>3</a:t>
                      </a:r>
                    </a:p>
                  </a:txBody>
                  <a:tcPr marL="93248" marR="93248" marT="46624" marB="46624"/>
                </a:tc>
                <a:extLst>
                  <a:ext uri="{0D108BD9-81ED-4DB2-BD59-A6C34878D82A}">
                    <a16:rowId xmlns:a16="http://schemas.microsoft.com/office/drawing/2014/main" val="1090872867"/>
                  </a:ext>
                </a:extLst>
              </a:tr>
              <a:tr h="454673">
                <a:tc>
                  <a:txBody>
                    <a:bodyPr/>
                    <a:lstStyle/>
                    <a:p>
                      <a:pPr algn="ctr"/>
                      <a:r>
                        <a:rPr lang="en-US" sz="1900"/>
                        <a:t>22</a:t>
                      </a:r>
                    </a:p>
                  </a:txBody>
                  <a:tcPr marL="93248" marR="93248" marT="46624" marB="46624"/>
                </a:tc>
                <a:extLst>
                  <a:ext uri="{0D108BD9-81ED-4DB2-BD59-A6C34878D82A}">
                    <a16:rowId xmlns:a16="http://schemas.microsoft.com/office/drawing/2014/main" val="4044422552"/>
                  </a:ext>
                </a:extLst>
              </a:tr>
            </a:tbl>
          </a:graphicData>
        </a:graphic>
      </p:graphicFrame>
      <p:sp>
        <p:nvSpPr>
          <p:cNvPr id="36" name="Rectangle: Rounded Corners 35">
            <a:extLst>
              <a:ext uri="{FF2B5EF4-FFF2-40B4-BE49-F238E27FC236}">
                <a16:creationId xmlns:a16="http://schemas.microsoft.com/office/drawing/2014/main" id="{45E265BC-D118-48FD-BEC9-4339AC84F214}"/>
              </a:ext>
            </a:extLst>
          </p:cNvPr>
          <p:cNvSpPr/>
          <p:nvPr/>
        </p:nvSpPr>
        <p:spPr>
          <a:xfrm>
            <a:off x="468449" y="6005621"/>
            <a:ext cx="2172600" cy="69193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r>
              <a:rPr lang="en-US"/>
              <a:t>Max value: 216</a:t>
            </a:r>
          </a:p>
          <a:p>
            <a:pPr algn="ctr"/>
            <a:r>
              <a:rPr lang="en-US"/>
              <a:t>8 bits needed</a:t>
            </a:r>
            <a:endParaRPr lang="en-US">
              <a:cs typeface="Segoe UI"/>
            </a:endParaRPr>
          </a:p>
        </p:txBody>
      </p:sp>
      <p:sp>
        <p:nvSpPr>
          <p:cNvPr id="38" name="Rectangle: Rounded Corners 37">
            <a:extLst>
              <a:ext uri="{FF2B5EF4-FFF2-40B4-BE49-F238E27FC236}">
                <a16:creationId xmlns:a16="http://schemas.microsoft.com/office/drawing/2014/main" id="{8F04826B-CEC0-4E71-8438-8473BCC160DF}"/>
              </a:ext>
            </a:extLst>
          </p:cNvPr>
          <p:cNvSpPr/>
          <p:nvPr/>
        </p:nvSpPr>
        <p:spPr>
          <a:xfrm>
            <a:off x="4005505" y="6005621"/>
            <a:ext cx="2926482" cy="691932"/>
          </a:xfrm>
          <a:prstGeom prst="roundRect">
            <a:avLst/>
          </a:prstGeom>
          <a:ln>
            <a:solidFill>
              <a:schemeClr val="tx1">
                <a:lumMod val="65000"/>
                <a:lumOff val="35000"/>
              </a:schemeClr>
            </a:solidFill>
          </a:ln>
        </p:spPr>
        <p:style>
          <a:lnRef idx="2">
            <a:schemeClr val="accent4">
              <a:shade val="50000"/>
            </a:schemeClr>
          </a:lnRef>
          <a:fillRef idx="1">
            <a:schemeClr val="accent4"/>
          </a:fillRef>
          <a:effectRef idx="0">
            <a:schemeClr val="accent4"/>
          </a:effectRef>
          <a:fontRef idx="minor">
            <a:schemeClr val="lt1"/>
          </a:fontRef>
        </p:style>
        <p:txBody>
          <a:bodyPr lIns="91428" tIns="45714" rIns="91428" bIns="45714" rtlCol="0" anchor="ctr"/>
          <a:lstStyle/>
          <a:p>
            <a:pPr algn="ctr"/>
            <a:r>
              <a:rPr lang="en-US">
                <a:solidFill>
                  <a:schemeClr val="tx1"/>
                </a:solidFill>
              </a:rPr>
              <a:t>Subtract Min: 194</a:t>
            </a:r>
            <a:endParaRPr lang="en-US" sz="1836">
              <a:solidFill>
                <a:schemeClr val="tx1"/>
              </a:solidFill>
            </a:endParaRPr>
          </a:p>
        </p:txBody>
      </p:sp>
    </p:spTree>
    <p:extLst>
      <p:ext uri="{BB962C8B-B14F-4D97-AF65-F5344CB8AC3E}">
        <p14:creationId xmlns:p14="http://schemas.microsoft.com/office/powerpoint/2010/main" val="21264240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3120643"/>
            <a:ext cx="7384111" cy="753238"/>
          </a:xfrm>
        </p:spPr>
        <p:txBody>
          <a:bodyPr/>
          <a:lstStyle/>
          <a:p>
            <a:r>
              <a:rPr lang="en-US" sz="4799"/>
              <a:t>A retrospective…</a:t>
            </a:r>
          </a:p>
        </p:txBody>
      </p:sp>
    </p:spTree>
    <p:extLst>
      <p:ext uri="{BB962C8B-B14F-4D97-AF65-F5344CB8AC3E}">
        <p14:creationId xmlns:p14="http://schemas.microsoft.com/office/powerpoint/2010/main" val="2701077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Understanding Hash Encoding</a:t>
            </a:r>
            <a:endParaRPr lang="en-US" sz="4050" spc="0">
              <a:solidFill>
                <a:srgbClr val="FFC000"/>
              </a:solidFill>
            </a:endParaRPr>
          </a:p>
        </p:txBody>
      </p:sp>
      <p:sp>
        <p:nvSpPr>
          <p:cNvPr id="2" name="Rectangle 1">
            <a:extLst>
              <a:ext uri="{FF2B5EF4-FFF2-40B4-BE49-F238E27FC236}">
                <a16:creationId xmlns:a16="http://schemas.microsoft.com/office/drawing/2014/main" id="{65A22AE4-108C-4C2C-815C-593A679F56BF}"/>
              </a:ext>
            </a:extLst>
          </p:cNvPr>
          <p:cNvSpPr/>
          <p:nvPr/>
        </p:nvSpPr>
        <p:spPr>
          <a:xfrm>
            <a:off x="855768" y="1675952"/>
            <a:ext cx="5984205" cy="469683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3" name="Rectangle 2">
            <a:extLst>
              <a:ext uri="{FF2B5EF4-FFF2-40B4-BE49-F238E27FC236}">
                <a16:creationId xmlns:a16="http://schemas.microsoft.com/office/drawing/2014/main" id="{84065C69-31EE-4611-B869-322B0AED831A}"/>
              </a:ext>
            </a:extLst>
          </p:cNvPr>
          <p:cNvSpPr/>
          <p:nvPr/>
        </p:nvSpPr>
        <p:spPr>
          <a:xfrm>
            <a:off x="4029210" y="2020640"/>
            <a:ext cx="2189027" cy="1917018"/>
          </a:xfrm>
          <a:prstGeom prst="rect">
            <a:avLst/>
          </a:prstGeom>
          <a:solidFill>
            <a:schemeClr val="bg2"/>
          </a:solidFill>
          <a:ln>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836">
                <a:latin typeface="Helvetica" panose="020B0604020202020204" pitchFamily="34" charset="0"/>
                <a:cs typeface="Helvetica" panose="020B0604020202020204" pitchFamily="34" charset="0"/>
              </a:rPr>
              <a:t>DATA</a:t>
            </a:r>
          </a:p>
          <a:p>
            <a:pPr algn="ctr"/>
            <a:r>
              <a:rPr lang="en-US" sz="1836">
                <a:latin typeface="Helvetica" panose="020B0604020202020204" pitchFamily="34" charset="0"/>
                <a:cs typeface="Helvetica" panose="020B0604020202020204" pitchFamily="34" charset="0"/>
              </a:rPr>
              <a:t>DICTIONARY</a:t>
            </a:r>
          </a:p>
        </p:txBody>
      </p:sp>
      <p:sp>
        <p:nvSpPr>
          <p:cNvPr id="4" name="Rectangle 3">
            <a:extLst>
              <a:ext uri="{FF2B5EF4-FFF2-40B4-BE49-F238E27FC236}">
                <a16:creationId xmlns:a16="http://schemas.microsoft.com/office/drawing/2014/main" id="{14D9E6EF-3702-4B16-9B29-B6826CFD07EB}"/>
              </a:ext>
            </a:extLst>
          </p:cNvPr>
          <p:cNvSpPr/>
          <p:nvPr/>
        </p:nvSpPr>
        <p:spPr>
          <a:xfrm>
            <a:off x="1218447" y="2020640"/>
            <a:ext cx="2189027" cy="4088595"/>
          </a:xfrm>
          <a:prstGeom prst="rect">
            <a:avLst/>
          </a:prstGeom>
          <a:solidFill>
            <a:schemeClr val="tx1"/>
          </a:solidFill>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836">
                <a:solidFill>
                  <a:schemeClr val="bg1"/>
                </a:solidFill>
                <a:latin typeface="Helvetica" panose="020B0604020202020204" pitchFamily="34" charset="0"/>
                <a:cs typeface="Helvetica" panose="020B0604020202020204" pitchFamily="34" charset="0"/>
              </a:rPr>
              <a:t>DICTIONARY </a:t>
            </a:r>
          </a:p>
          <a:p>
            <a:pPr algn="ctr"/>
            <a:r>
              <a:rPr lang="en-US" sz="1836">
                <a:solidFill>
                  <a:schemeClr val="bg1"/>
                </a:solidFill>
                <a:latin typeface="Helvetica" panose="020B0604020202020204" pitchFamily="34" charset="0"/>
                <a:cs typeface="Helvetica" panose="020B0604020202020204" pitchFamily="34" charset="0"/>
              </a:rPr>
              <a:t>ENCODING</a:t>
            </a:r>
          </a:p>
        </p:txBody>
      </p:sp>
      <p:sp>
        <p:nvSpPr>
          <p:cNvPr id="5" name="TextBox 4">
            <a:extLst>
              <a:ext uri="{FF2B5EF4-FFF2-40B4-BE49-F238E27FC236}">
                <a16:creationId xmlns:a16="http://schemas.microsoft.com/office/drawing/2014/main" id="{716474F4-7A97-41B7-BA21-46B856D517B4}"/>
              </a:ext>
            </a:extLst>
          </p:cNvPr>
          <p:cNvSpPr txBox="1"/>
          <p:nvPr/>
        </p:nvSpPr>
        <p:spPr>
          <a:xfrm>
            <a:off x="7305535" y="1675866"/>
            <a:ext cx="4274325" cy="123110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000">
                <a:ea typeface="+mn-lt"/>
                <a:cs typeface="+mn-lt"/>
              </a:rPr>
              <a:t>For group-by columns (often dimension-table values) and foreign keys. String columns are always hash encoded.</a:t>
            </a:r>
            <a:endParaRPr lang="en-US">
              <a:cs typeface="Segoe UI"/>
            </a:endParaRPr>
          </a:p>
        </p:txBody>
      </p:sp>
    </p:spTree>
    <p:extLst>
      <p:ext uri="{BB962C8B-B14F-4D97-AF65-F5344CB8AC3E}">
        <p14:creationId xmlns:p14="http://schemas.microsoft.com/office/powerpoint/2010/main" val="141161002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Tabular Data</a:t>
            </a:r>
          </a:p>
        </p:txBody>
      </p:sp>
      <p:graphicFrame>
        <p:nvGraphicFramePr>
          <p:cNvPr id="6" name="Table 5">
            <a:extLst>
              <a:ext uri="{FF2B5EF4-FFF2-40B4-BE49-F238E27FC236}">
                <a16:creationId xmlns:a16="http://schemas.microsoft.com/office/drawing/2014/main" id="{9C223563-5BF0-4F0E-874B-33D7B3DFCEEB}"/>
              </a:ext>
            </a:extLst>
          </p:cNvPr>
          <p:cNvGraphicFramePr>
            <a:graphicFrameLocks noGrp="1"/>
          </p:cNvGraphicFramePr>
          <p:nvPr>
            <p:extLst>
              <p:ext uri="{D42A27DB-BD31-4B8C-83A1-F6EECF244321}">
                <p14:modId xmlns:p14="http://schemas.microsoft.com/office/powerpoint/2010/main" val="2623302496"/>
              </p:ext>
            </p:extLst>
          </p:nvPr>
        </p:nvGraphicFramePr>
        <p:xfrm>
          <a:off x="855768" y="1699338"/>
          <a:ext cx="3976009" cy="4593696"/>
        </p:xfrm>
        <a:graphic>
          <a:graphicData uri="http://schemas.openxmlformats.org/drawingml/2006/table">
            <a:tbl>
              <a:tblPr firstRow="1" bandRow="1">
                <a:tableStyleId>{0E3FDE45-AF77-4B5C-9715-49D594BDF05E}</a:tableStyleId>
              </a:tblPr>
              <a:tblGrid>
                <a:gridCol w="1611058">
                  <a:extLst>
                    <a:ext uri="{9D8B030D-6E8A-4147-A177-3AD203B41FA5}">
                      <a16:colId xmlns:a16="http://schemas.microsoft.com/office/drawing/2014/main" val="4238571193"/>
                    </a:ext>
                  </a:extLst>
                </a:gridCol>
                <a:gridCol w="1039615">
                  <a:extLst>
                    <a:ext uri="{9D8B030D-6E8A-4147-A177-3AD203B41FA5}">
                      <a16:colId xmlns:a16="http://schemas.microsoft.com/office/drawing/2014/main" val="1318354377"/>
                    </a:ext>
                  </a:extLst>
                </a:gridCol>
                <a:gridCol w="1325336">
                  <a:extLst>
                    <a:ext uri="{9D8B030D-6E8A-4147-A177-3AD203B41FA5}">
                      <a16:colId xmlns:a16="http://schemas.microsoft.com/office/drawing/2014/main" val="11329721"/>
                    </a:ext>
                  </a:extLst>
                </a:gridCol>
              </a:tblGrid>
              <a:tr h="382771">
                <a:tc>
                  <a:txBody>
                    <a:bodyPr/>
                    <a:lstStyle/>
                    <a:p>
                      <a:endParaRPr lang="en-US" sz="1900">
                        <a:solidFill>
                          <a:schemeClr val="bg1"/>
                        </a:solidFill>
                      </a:endParaRPr>
                    </a:p>
                  </a:txBody>
                  <a:tcPr marL="93248" marR="93248" marT="46624" marB="46624">
                    <a:lnL>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US" sz="1900"/>
                        <a:t>Color</a:t>
                      </a:r>
                    </a:p>
                  </a:txBody>
                  <a:tcPr marL="93248" marR="93248" marT="46624" marB="46624">
                    <a:lnL>
                      <a:noFill/>
                    </a:lnL>
                  </a:tcPr>
                </a:tc>
                <a:tc>
                  <a:txBody>
                    <a:bodyPr/>
                    <a:lstStyle/>
                    <a:p>
                      <a:r>
                        <a:rPr lang="en-US" sz="1900"/>
                        <a:t>Value</a:t>
                      </a:r>
                    </a:p>
                  </a:txBody>
                  <a:tcPr marL="93248" marR="93248" marT="46624" marB="46624"/>
                </a:tc>
                <a:extLst>
                  <a:ext uri="{0D108BD9-81ED-4DB2-BD59-A6C34878D82A}">
                    <a16:rowId xmlns:a16="http://schemas.microsoft.com/office/drawing/2014/main" val="4092537062"/>
                  </a:ext>
                </a:extLst>
              </a:tr>
              <a:tr h="382771">
                <a:tc>
                  <a:txBody>
                    <a:bodyPr/>
                    <a:lstStyle/>
                    <a:p>
                      <a:endParaRPr lang="en-US" sz="1900">
                        <a:solidFill>
                          <a:schemeClr val="bg1"/>
                        </a:solidFill>
                      </a:endParaRPr>
                    </a:p>
                  </a:txBody>
                  <a:tcPr marL="93248" marR="93248" marT="46624" marB="46624">
                    <a:lnL>
                      <a:noFill/>
                    </a:lnL>
                    <a:lnR>
                      <a:noFill/>
                    </a:lnR>
                    <a:lnT w="12700" cmpd="sng">
                      <a:noFill/>
                    </a:lnT>
                    <a:lnB>
                      <a:noFill/>
                    </a:lnB>
                    <a:lnTlToBr w="12700" cmpd="sng">
                      <a:noFill/>
                      <a:prstDash val="solid"/>
                    </a:lnTlToBr>
                    <a:lnBlToTr w="12700" cmpd="sng">
                      <a:noFill/>
                      <a:prstDash val="solid"/>
                    </a:lnBlToTr>
                    <a:solidFill>
                      <a:schemeClr val="bg1"/>
                    </a:solidFill>
                  </a:tcPr>
                </a:tc>
                <a:tc>
                  <a:txBody>
                    <a:bodyPr/>
                    <a:lstStyle/>
                    <a:p>
                      <a:r>
                        <a:rPr lang="en-US" sz="1900"/>
                        <a:t>Red</a:t>
                      </a:r>
                    </a:p>
                  </a:txBody>
                  <a:tcPr marL="93248" marR="93248" marT="46624" marB="46624">
                    <a:lnL>
                      <a:noFill/>
                    </a:lnL>
                  </a:tcPr>
                </a:tc>
                <a:tc>
                  <a:txBody>
                    <a:bodyPr/>
                    <a:lstStyle/>
                    <a:p>
                      <a:r>
                        <a:rPr lang="en-US" sz="1900"/>
                        <a:t>10</a:t>
                      </a:r>
                    </a:p>
                  </a:txBody>
                  <a:tcPr marL="93248" marR="93248" marT="46624" marB="46624"/>
                </a:tc>
                <a:extLst>
                  <a:ext uri="{0D108BD9-81ED-4DB2-BD59-A6C34878D82A}">
                    <a16:rowId xmlns:a16="http://schemas.microsoft.com/office/drawing/2014/main" val="2966966809"/>
                  </a:ext>
                </a:extLst>
              </a:tr>
              <a:tr h="382771">
                <a:tc>
                  <a:txBody>
                    <a:bodyPr/>
                    <a:lstStyle/>
                    <a:p>
                      <a:endParaRPr lang="en-US" sz="1900">
                        <a:solidFill>
                          <a:schemeClr val="bg1"/>
                        </a:solidFill>
                      </a:endParaRPr>
                    </a:p>
                  </a:txBody>
                  <a:tcPr marL="93248" marR="93248" marT="46624" marB="46624">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r>
                        <a:rPr lang="en-US" sz="1900"/>
                        <a:t>Blue</a:t>
                      </a:r>
                    </a:p>
                  </a:txBody>
                  <a:tcPr marL="93248" marR="93248" marT="46624" marB="46624">
                    <a:lnL>
                      <a:noFill/>
                    </a:lnL>
                  </a:tcPr>
                </a:tc>
                <a:tc>
                  <a:txBody>
                    <a:bodyPr/>
                    <a:lstStyle/>
                    <a:p>
                      <a:r>
                        <a:rPr lang="en-US" sz="1900"/>
                        <a:t>15</a:t>
                      </a:r>
                    </a:p>
                  </a:txBody>
                  <a:tcPr marL="93248" marR="93248" marT="46624" marB="46624"/>
                </a:tc>
                <a:extLst>
                  <a:ext uri="{0D108BD9-81ED-4DB2-BD59-A6C34878D82A}">
                    <a16:rowId xmlns:a16="http://schemas.microsoft.com/office/drawing/2014/main" val="139747291"/>
                  </a:ext>
                </a:extLst>
              </a:tr>
              <a:tr h="382771">
                <a:tc>
                  <a:txBody>
                    <a:bodyPr/>
                    <a:lstStyle/>
                    <a:p>
                      <a:endParaRPr lang="en-US" sz="1900">
                        <a:solidFill>
                          <a:schemeClr val="bg1"/>
                        </a:solidFill>
                      </a:endParaRPr>
                    </a:p>
                  </a:txBody>
                  <a:tcPr marL="93248" marR="93248" marT="46624" marB="46624">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r>
                        <a:rPr lang="en-US" sz="1900"/>
                        <a:t>Green</a:t>
                      </a:r>
                    </a:p>
                  </a:txBody>
                  <a:tcPr marL="93248" marR="93248" marT="46624" marB="46624">
                    <a:lnL>
                      <a:noFill/>
                    </a:lnL>
                  </a:tcPr>
                </a:tc>
                <a:tc>
                  <a:txBody>
                    <a:bodyPr/>
                    <a:lstStyle/>
                    <a:p>
                      <a:r>
                        <a:rPr lang="en-US" sz="1900"/>
                        <a:t>13</a:t>
                      </a:r>
                    </a:p>
                  </a:txBody>
                  <a:tcPr marL="93248" marR="93248" marT="46624" marB="46624"/>
                </a:tc>
                <a:extLst>
                  <a:ext uri="{0D108BD9-81ED-4DB2-BD59-A6C34878D82A}">
                    <a16:rowId xmlns:a16="http://schemas.microsoft.com/office/drawing/2014/main" val="4149566330"/>
                  </a:ext>
                </a:extLst>
              </a:tr>
              <a:tr h="382771">
                <a:tc>
                  <a:txBody>
                    <a:bodyPr/>
                    <a:lstStyle/>
                    <a:p>
                      <a:endParaRPr lang="en-US" sz="1900">
                        <a:solidFill>
                          <a:schemeClr val="bg1"/>
                        </a:solidFill>
                      </a:endParaRPr>
                    </a:p>
                  </a:txBody>
                  <a:tcPr marL="93248" marR="93248" marT="46624" marB="46624">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r>
                        <a:rPr lang="en-US" sz="1900"/>
                        <a:t>Green</a:t>
                      </a:r>
                    </a:p>
                  </a:txBody>
                  <a:tcPr marL="93248" marR="93248" marT="46624" marB="46624">
                    <a:lnL>
                      <a:noFill/>
                    </a:lnL>
                  </a:tcPr>
                </a:tc>
                <a:tc>
                  <a:txBody>
                    <a:bodyPr/>
                    <a:lstStyle/>
                    <a:p>
                      <a:r>
                        <a:rPr lang="en-US" sz="1900"/>
                        <a:t>25</a:t>
                      </a:r>
                    </a:p>
                  </a:txBody>
                  <a:tcPr marL="93248" marR="93248" marT="46624" marB="46624"/>
                </a:tc>
                <a:extLst>
                  <a:ext uri="{0D108BD9-81ED-4DB2-BD59-A6C34878D82A}">
                    <a16:rowId xmlns:a16="http://schemas.microsoft.com/office/drawing/2014/main" val="346437377"/>
                  </a:ext>
                </a:extLst>
              </a:tr>
              <a:tr h="382771">
                <a:tc>
                  <a:txBody>
                    <a:bodyPr/>
                    <a:lstStyle/>
                    <a:p>
                      <a:endParaRPr lang="en-US" sz="1900">
                        <a:solidFill>
                          <a:schemeClr val="bg1"/>
                        </a:solidFill>
                      </a:endParaRPr>
                    </a:p>
                  </a:txBody>
                  <a:tcPr marL="93248" marR="93248" marT="46624" marB="46624">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r>
                        <a:rPr lang="en-US" sz="1900"/>
                        <a:t>Yellow</a:t>
                      </a:r>
                    </a:p>
                  </a:txBody>
                  <a:tcPr marL="93248" marR="93248" marT="46624" marB="46624">
                    <a:lnL>
                      <a:noFill/>
                    </a:lnL>
                  </a:tcPr>
                </a:tc>
                <a:tc>
                  <a:txBody>
                    <a:bodyPr/>
                    <a:lstStyle/>
                    <a:p>
                      <a:r>
                        <a:rPr lang="en-US" sz="1900"/>
                        <a:t>31</a:t>
                      </a:r>
                    </a:p>
                  </a:txBody>
                  <a:tcPr marL="93248" marR="93248" marT="46624" marB="46624"/>
                </a:tc>
                <a:extLst>
                  <a:ext uri="{0D108BD9-81ED-4DB2-BD59-A6C34878D82A}">
                    <a16:rowId xmlns:a16="http://schemas.microsoft.com/office/drawing/2014/main" val="905654355"/>
                  </a:ext>
                </a:extLst>
              </a:tr>
              <a:tr h="382771">
                <a:tc>
                  <a:txBody>
                    <a:bodyPr/>
                    <a:lstStyle/>
                    <a:p>
                      <a:endParaRPr lang="en-US" sz="1900">
                        <a:solidFill>
                          <a:schemeClr val="bg1"/>
                        </a:solidFill>
                      </a:endParaRPr>
                    </a:p>
                  </a:txBody>
                  <a:tcPr marL="93248" marR="93248" marT="46624" marB="46624">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r>
                        <a:rPr lang="en-US" sz="1900"/>
                        <a:t>Yellow</a:t>
                      </a:r>
                    </a:p>
                  </a:txBody>
                  <a:tcPr marL="93248" marR="93248" marT="46624" marB="46624">
                    <a:lnL>
                      <a:noFill/>
                    </a:lnL>
                  </a:tcPr>
                </a:tc>
                <a:tc>
                  <a:txBody>
                    <a:bodyPr/>
                    <a:lstStyle/>
                    <a:p>
                      <a:r>
                        <a:rPr lang="en-US" sz="1900"/>
                        <a:t>41</a:t>
                      </a:r>
                    </a:p>
                  </a:txBody>
                  <a:tcPr marL="93248" marR="93248" marT="46624" marB="46624"/>
                </a:tc>
                <a:extLst>
                  <a:ext uri="{0D108BD9-81ED-4DB2-BD59-A6C34878D82A}">
                    <a16:rowId xmlns:a16="http://schemas.microsoft.com/office/drawing/2014/main" val="3057340688"/>
                  </a:ext>
                </a:extLst>
              </a:tr>
              <a:tr h="382771">
                <a:tc>
                  <a:txBody>
                    <a:bodyPr/>
                    <a:lstStyle/>
                    <a:p>
                      <a:endParaRPr lang="en-US" sz="1900">
                        <a:solidFill>
                          <a:schemeClr val="bg1"/>
                        </a:solidFill>
                      </a:endParaRPr>
                    </a:p>
                  </a:txBody>
                  <a:tcPr marL="93248" marR="93248" marT="46624" marB="46624">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r>
                        <a:rPr lang="en-US" sz="1900"/>
                        <a:t>Red</a:t>
                      </a:r>
                    </a:p>
                  </a:txBody>
                  <a:tcPr marL="93248" marR="93248" marT="46624" marB="46624">
                    <a:lnL>
                      <a:noFill/>
                    </a:lnL>
                  </a:tcPr>
                </a:tc>
                <a:tc>
                  <a:txBody>
                    <a:bodyPr/>
                    <a:lstStyle/>
                    <a:p>
                      <a:r>
                        <a:rPr lang="en-US" sz="1900"/>
                        <a:t>11</a:t>
                      </a:r>
                    </a:p>
                  </a:txBody>
                  <a:tcPr marL="93248" marR="93248" marT="46624" marB="46624"/>
                </a:tc>
                <a:extLst>
                  <a:ext uri="{0D108BD9-81ED-4DB2-BD59-A6C34878D82A}">
                    <a16:rowId xmlns:a16="http://schemas.microsoft.com/office/drawing/2014/main" val="3744258451"/>
                  </a:ext>
                </a:extLst>
              </a:tr>
              <a:tr h="382771">
                <a:tc>
                  <a:txBody>
                    <a:bodyPr/>
                    <a:lstStyle/>
                    <a:p>
                      <a:endParaRPr lang="en-US" sz="1900">
                        <a:solidFill>
                          <a:schemeClr val="bg1"/>
                        </a:solidFill>
                      </a:endParaRPr>
                    </a:p>
                  </a:txBody>
                  <a:tcPr marL="93248" marR="93248" marT="46624" marB="46624">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r>
                        <a:rPr lang="en-US" sz="1900"/>
                        <a:t>Blue</a:t>
                      </a:r>
                    </a:p>
                  </a:txBody>
                  <a:tcPr marL="93248" marR="93248" marT="46624" marB="46624">
                    <a:lnL>
                      <a:noFill/>
                    </a:lnL>
                  </a:tcPr>
                </a:tc>
                <a:tc>
                  <a:txBody>
                    <a:bodyPr/>
                    <a:lstStyle/>
                    <a:p>
                      <a:r>
                        <a:rPr lang="en-US" sz="1900"/>
                        <a:t>14</a:t>
                      </a:r>
                    </a:p>
                  </a:txBody>
                  <a:tcPr marL="93248" marR="93248" marT="46624" marB="46624"/>
                </a:tc>
                <a:extLst>
                  <a:ext uri="{0D108BD9-81ED-4DB2-BD59-A6C34878D82A}">
                    <a16:rowId xmlns:a16="http://schemas.microsoft.com/office/drawing/2014/main" val="405235012"/>
                  </a:ext>
                </a:extLst>
              </a:tr>
              <a:tr h="382771">
                <a:tc>
                  <a:txBody>
                    <a:bodyPr/>
                    <a:lstStyle/>
                    <a:p>
                      <a:endParaRPr lang="en-US" sz="1900">
                        <a:solidFill>
                          <a:schemeClr val="bg1"/>
                        </a:solidFill>
                      </a:endParaRPr>
                    </a:p>
                  </a:txBody>
                  <a:tcPr marL="93248" marR="93248" marT="46624" marB="46624">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r>
                        <a:rPr lang="en-US" sz="1900"/>
                        <a:t>Purple</a:t>
                      </a:r>
                    </a:p>
                  </a:txBody>
                  <a:tcPr marL="93248" marR="93248" marT="46624" marB="46624">
                    <a:lnL>
                      <a:noFill/>
                    </a:lnL>
                  </a:tcPr>
                </a:tc>
                <a:tc>
                  <a:txBody>
                    <a:bodyPr/>
                    <a:lstStyle/>
                    <a:p>
                      <a:r>
                        <a:rPr lang="en-US" sz="1900"/>
                        <a:t>21</a:t>
                      </a:r>
                    </a:p>
                  </a:txBody>
                  <a:tcPr marL="93248" marR="93248" marT="46624" marB="46624"/>
                </a:tc>
                <a:extLst>
                  <a:ext uri="{0D108BD9-81ED-4DB2-BD59-A6C34878D82A}">
                    <a16:rowId xmlns:a16="http://schemas.microsoft.com/office/drawing/2014/main" val="240716551"/>
                  </a:ext>
                </a:extLst>
              </a:tr>
              <a:tr h="382771">
                <a:tc>
                  <a:txBody>
                    <a:bodyPr/>
                    <a:lstStyle/>
                    <a:p>
                      <a:endParaRPr lang="en-US" sz="1900">
                        <a:solidFill>
                          <a:schemeClr val="bg1"/>
                        </a:solidFill>
                      </a:endParaRPr>
                    </a:p>
                  </a:txBody>
                  <a:tcPr marL="93248" marR="93248" marT="46624" marB="46624">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r>
                        <a:rPr lang="en-US" sz="1900"/>
                        <a:t>Orange</a:t>
                      </a:r>
                    </a:p>
                  </a:txBody>
                  <a:tcPr marL="93248" marR="93248" marT="46624" marB="46624">
                    <a:lnL>
                      <a:noFill/>
                    </a:lnL>
                  </a:tcPr>
                </a:tc>
                <a:tc>
                  <a:txBody>
                    <a:bodyPr/>
                    <a:lstStyle/>
                    <a:p>
                      <a:r>
                        <a:rPr lang="en-US" sz="1900"/>
                        <a:t>6</a:t>
                      </a:r>
                    </a:p>
                  </a:txBody>
                  <a:tcPr marL="93248" marR="93248" marT="46624" marB="46624"/>
                </a:tc>
                <a:extLst>
                  <a:ext uri="{0D108BD9-81ED-4DB2-BD59-A6C34878D82A}">
                    <a16:rowId xmlns:a16="http://schemas.microsoft.com/office/drawing/2014/main" val="2765816756"/>
                  </a:ext>
                </a:extLst>
              </a:tr>
              <a:tr h="382771">
                <a:tc>
                  <a:txBody>
                    <a:bodyPr/>
                    <a:lstStyle/>
                    <a:p>
                      <a:endParaRPr lang="en-US" sz="1900">
                        <a:solidFill>
                          <a:schemeClr val="bg1"/>
                        </a:solidFill>
                      </a:endParaRPr>
                    </a:p>
                  </a:txBody>
                  <a:tcPr marL="93248" marR="93248" marT="46624" marB="46624">
                    <a:lnL>
                      <a:noFill/>
                    </a:lnL>
                    <a:lnR>
                      <a:noFill/>
                    </a:lnR>
                    <a:lnT>
                      <a:noFill/>
                    </a:lnT>
                    <a:lnB w="12700" cmpd="sng">
                      <a:noFill/>
                    </a:lnB>
                    <a:lnTlToBr w="12700" cmpd="sng">
                      <a:noFill/>
                      <a:prstDash val="solid"/>
                    </a:lnTlToBr>
                    <a:lnBlToTr w="12700" cmpd="sng">
                      <a:noFill/>
                      <a:prstDash val="solid"/>
                    </a:lnBlToTr>
                    <a:solidFill>
                      <a:schemeClr val="bg1"/>
                    </a:solidFill>
                  </a:tcPr>
                </a:tc>
                <a:tc>
                  <a:txBody>
                    <a:bodyPr/>
                    <a:lstStyle/>
                    <a:p>
                      <a:r>
                        <a:rPr lang="en-US" sz="1900"/>
                        <a:t>Red</a:t>
                      </a:r>
                    </a:p>
                  </a:txBody>
                  <a:tcPr marL="93248" marR="93248" marT="46624" marB="46624">
                    <a:lnL>
                      <a:noFill/>
                    </a:lnL>
                  </a:tcPr>
                </a:tc>
                <a:tc>
                  <a:txBody>
                    <a:bodyPr/>
                    <a:lstStyle/>
                    <a:p>
                      <a:r>
                        <a:rPr lang="en-US" sz="1900"/>
                        <a:t>15</a:t>
                      </a:r>
                    </a:p>
                  </a:txBody>
                  <a:tcPr marL="93248" marR="93248" marT="46624" marB="46624"/>
                </a:tc>
                <a:extLst>
                  <a:ext uri="{0D108BD9-81ED-4DB2-BD59-A6C34878D82A}">
                    <a16:rowId xmlns:a16="http://schemas.microsoft.com/office/drawing/2014/main" val="1703907355"/>
                  </a:ext>
                </a:extLst>
              </a:tr>
            </a:tbl>
          </a:graphicData>
        </a:graphic>
      </p:graphicFrame>
    </p:spTree>
    <p:extLst>
      <p:ext uri="{BB962C8B-B14F-4D97-AF65-F5344CB8AC3E}">
        <p14:creationId xmlns:p14="http://schemas.microsoft.com/office/powerpoint/2010/main" val="279136826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Data Dictionary</a:t>
            </a:r>
          </a:p>
        </p:txBody>
      </p:sp>
      <p:graphicFrame>
        <p:nvGraphicFramePr>
          <p:cNvPr id="2" name="Table 1">
            <a:extLst>
              <a:ext uri="{FF2B5EF4-FFF2-40B4-BE49-F238E27FC236}">
                <a16:creationId xmlns:a16="http://schemas.microsoft.com/office/drawing/2014/main" id="{B338C6A0-6F18-467B-B8D9-065D44570F70}"/>
              </a:ext>
            </a:extLst>
          </p:cNvPr>
          <p:cNvGraphicFramePr>
            <a:graphicFrameLocks noGrp="1"/>
          </p:cNvGraphicFramePr>
          <p:nvPr>
            <p:extLst>
              <p:ext uri="{D42A27DB-BD31-4B8C-83A1-F6EECF244321}">
                <p14:modId xmlns:p14="http://schemas.microsoft.com/office/powerpoint/2010/main" val="3844994847"/>
              </p:ext>
            </p:extLst>
          </p:nvPr>
        </p:nvGraphicFramePr>
        <p:xfrm>
          <a:off x="855768" y="1699338"/>
          <a:ext cx="3976009" cy="4593696"/>
        </p:xfrm>
        <a:graphic>
          <a:graphicData uri="http://schemas.openxmlformats.org/drawingml/2006/table">
            <a:tbl>
              <a:tblPr firstRow="1" bandRow="1">
                <a:tableStyleId>{0E3FDE45-AF77-4B5C-9715-49D594BDF05E}</a:tableStyleId>
              </a:tblPr>
              <a:tblGrid>
                <a:gridCol w="1611058">
                  <a:extLst>
                    <a:ext uri="{9D8B030D-6E8A-4147-A177-3AD203B41FA5}">
                      <a16:colId xmlns:a16="http://schemas.microsoft.com/office/drawing/2014/main" val="4238571193"/>
                    </a:ext>
                  </a:extLst>
                </a:gridCol>
                <a:gridCol w="1039615">
                  <a:extLst>
                    <a:ext uri="{9D8B030D-6E8A-4147-A177-3AD203B41FA5}">
                      <a16:colId xmlns:a16="http://schemas.microsoft.com/office/drawing/2014/main" val="1318354377"/>
                    </a:ext>
                  </a:extLst>
                </a:gridCol>
                <a:gridCol w="1325336">
                  <a:extLst>
                    <a:ext uri="{9D8B030D-6E8A-4147-A177-3AD203B41FA5}">
                      <a16:colId xmlns:a16="http://schemas.microsoft.com/office/drawing/2014/main" val="11329721"/>
                    </a:ext>
                  </a:extLst>
                </a:gridCol>
              </a:tblGrid>
              <a:tr h="382771">
                <a:tc>
                  <a:txBody>
                    <a:bodyPr/>
                    <a:lstStyle/>
                    <a:p>
                      <a:r>
                        <a:rPr lang="en-US" sz="1900"/>
                        <a:t>ID</a:t>
                      </a:r>
                      <a:endParaRPr lang="en-US" sz="1900">
                        <a:solidFill>
                          <a:schemeClr val="bg1"/>
                        </a:solidFill>
                      </a:endParaRPr>
                    </a:p>
                  </a:txBody>
                  <a:tcPr marL="93248" marR="93248" marT="46624" marB="46624"/>
                </a:tc>
                <a:tc>
                  <a:txBody>
                    <a:bodyPr/>
                    <a:lstStyle/>
                    <a:p>
                      <a:r>
                        <a:rPr lang="en-US" sz="1900"/>
                        <a:t>Color</a:t>
                      </a:r>
                    </a:p>
                  </a:txBody>
                  <a:tcPr marL="93248" marR="93248" marT="46624" marB="46624"/>
                </a:tc>
                <a:tc>
                  <a:txBody>
                    <a:bodyPr/>
                    <a:lstStyle/>
                    <a:p>
                      <a:r>
                        <a:rPr lang="en-US" sz="1900"/>
                        <a:t>Value</a:t>
                      </a:r>
                    </a:p>
                  </a:txBody>
                  <a:tcPr marL="93248" marR="93248" marT="46624" marB="46624"/>
                </a:tc>
                <a:extLst>
                  <a:ext uri="{0D108BD9-81ED-4DB2-BD59-A6C34878D82A}">
                    <a16:rowId xmlns:a16="http://schemas.microsoft.com/office/drawing/2014/main" val="4092537062"/>
                  </a:ext>
                </a:extLst>
              </a:tr>
              <a:tr h="382771">
                <a:tc>
                  <a:txBody>
                    <a:bodyPr/>
                    <a:lstStyle/>
                    <a:p>
                      <a:r>
                        <a:rPr lang="en-US" sz="1900"/>
                        <a:t>0</a:t>
                      </a:r>
                      <a:endParaRPr lang="en-US" sz="1900">
                        <a:solidFill>
                          <a:schemeClr val="bg1"/>
                        </a:solidFill>
                      </a:endParaRPr>
                    </a:p>
                  </a:txBody>
                  <a:tcPr marL="93248" marR="93248" marT="46624" marB="46624"/>
                </a:tc>
                <a:tc>
                  <a:txBody>
                    <a:bodyPr/>
                    <a:lstStyle/>
                    <a:p>
                      <a:r>
                        <a:rPr lang="en-US" sz="1900"/>
                        <a:t>Red</a:t>
                      </a:r>
                    </a:p>
                  </a:txBody>
                  <a:tcPr marL="93248" marR="93248" marT="46624" marB="46624"/>
                </a:tc>
                <a:tc>
                  <a:txBody>
                    <a:bodyPr/>
                    <a:lstStyle/>
                    <a:p>
                      <a:r>
                        <a:rPr lang="en-US" sz="1900"/>
                        <a:t>10</a:t>
                      </a:r>
                    </a:p>
                  </a:txBody>
                  <a:tcPr marL="93248" marR="93248" marT="46624" marB="46624"/>
                </a:tc>
                <a:extLst>
                  <a:ext uri="{0D108BD9-81ED-4DB2-BD59-A6C34878D82A}">
                    <a16:rowId xmlns:a16="http://schemas.microsoft.com/office/drawing/2014/main" val="2966966809"/>
                  </a:ext>
                </a:extLst>
              </a:tr>
              <a:tr h="382771">
                <a:tc>
                  <a:txBody>
                    <a:bodyPr/>
                    <a:lstStyle/>
                    <a:p>
                      <a:r>
                        <a:rPr lang="en-US" sz="1900"/>
                        <a:t>1</a:t>
                      </a:r>
                      <a:endParaRPr lang="en-US" sz="1900">
                        <a:solidFill>
                          <a:schemeClr val="bg1"/>
                        </a:solidFill>
                      </a:endParaRPr>
                    </a:p>
                  </a:txBody>
                  <a:tcPr marL="93248" marR="93248" marT="46624" marB="46624"/>
                </a:tc>
                <a:tc>
                  <a:txBody>
                    <a:bodyPr/>
                    <a:lstStyle/>
                    <a:p>
                      <a:r>
                        <a:rPr lang="en-US" sz="1900"/>
                        <a:t>Blue</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139747291"/>
                  </a:ext>
                </a:extLst>
              </a:tr>
              <a:tr h="382771">
                <a:tc>
                  <a:txBody>
                    <a:bodyPr/>
                    <a:lstStyle/>
                    <a:p>
                      <a:r>
                        <a:rPr lang="en-US" sz="1900"/>
                        <a:t>2</a:t>
                      </a:r>
                      <a:endParaRPr lang="en-US" sz="1900">
                        <a:solidFill>
                          <a:schemeClr val="bg1"/>
                        </a:solidFill>
                      </a:endParaRPr>
                    </a:p>
                  </a:txBody>
                  <a:tcPr marL="93248" marR="93248" marT="46624" marB="46624"/>
                </a:tc>
                <a:tc>
                  <a:txBody>
                    <a:bodyPr/>
                    <a:lstStyle/>
                    <a:p>
                      <a:r>
                        <a:rPr lang="en-US" sz="1900"/>
                        <a:t>Green</a:t>
                      </a:r>
                    </a:p>
                  </a:txBody>
                  <a:tcPr marL="93248" marR="93248" marT="46624" marB="46624"/>
                </a:tc>
                <a:tc>
                  <a:txBody>
                    <a:bodyPr/>
                    <a:lstStyle/>
                    <a:p>
                      <a:r>
                        <a:rPr lang="en-US" sz="1900"/>
                        <a:t>13</a:t>
                      </a:r>
                    </a:p>
                  </a:txBody>
                  <a:tcPr marL="93248" marR="93248" marT="46624" marB="46624"/>
                </a:tc>
                <a:extLst>
                  <a:ext uri="{0D108BD9-81ED-4DB2-BD59-A6C34878D82A}">
                    <a16:rowId xmlns:a16="http://schemas.microsoft.com/office/drawing/2014/main" val="4149566330"/>
                  </a:ext>
                </a:extLst>
              </a:tr>
              <a:tr h="382771">
                <a:tc>
                  <a:txBody>
                    <a:bodyPr/>
                    <a:lstStyle/>
                    <a:p>
                      <a:r>
                        <a:rPr lang="en-US" sz="1900"/>
                        <a:t>2</a:t>
                      </a:r>
                      <a:endParaRPr lang="en-US" sz="1900">
                        <a:solidFill>
                          <a:schemeClr val="bg1"/>
                        </a:solidFill>
                      </a:endParaRPr>
                    </a:p>
                  </a:txBody>
                  <a:tcPr marL="93248" marR="93248" marT="46624" marB="46624"/>
                </a:tc>
                <a:tc>
                  <a:txBody>
                    <a:bodyPr/>
                    <a:lstStyle/>
                    <a:p>
                      <a:r>
                        <a:rPr lang="en-US" sz="1900"/>
                        <a:t>Green</a:t>
                      </a:r>
                    </a:p>
                  </a:txBody>
                  <a:tcPr marL="93248" marR="93248" marT="46624" marB="46624"/>
                </a:tc>
                <a:tc>
                  <a:txBody>
                    <a:bodyPr/>
                    <a:lstStyle/>
                    <a:p>
                      <a:r>
                        <a:rPr lang="en-US" sz="1900"/>
                        <a:t>25</a:t>
                      </a:r>
                    </a:p>
                  </a:txBody>
                  <a:tcPr marL="93248" marR="93248" marT="46624" marB="46624"/>
                </a:tc>
                <a:extLst>
                  <a:ext uri="{0D108BD9-81ED-4DB2-BD59-A6C34878D82A}">
                    <a16:rowId xmlns:a16="http://schemas.microsoft.com/office/drawing/2014/main" val="346437377"/>
                  </a:ext>
                </a:extLst>
              </a:tr>
              <a:tr h="382771">
                <a:tc>
                  <a:txBody>
                    <a:bodyPr/>
                    <a:lstStyle/>
                    <a:p>
                      <a:r>
                        <a:rPr lang="en-US" sz="1900"/>
                        <a:t>3</a:t>
                      </a:r>
                      <a:endParaRPr lang="en-US" sz="1900">
                        <a:solidFill>
                          <a:schemeClr val="bg1"/>
                        </a:solidFill>
                      </a:endParaRPr>
                    </a:p>
                  </a:txBody>
                  <a:tcPr marL="93248" marR="93248" marT="46624" marB="46624"/>
                </a:tc>
                <a:tc>
                  <a:txBody>
                    <a:bodyPr/>
                    <a:lstStyle/>
                    <a:p>
                      <a:r>
                        <a:rPr lang="en-US" sz="1900"/>
                        <a:t>Yellow</a:t>
                      </a:r>
                    </a:p>
                  </a:txBody>
                  <a:tcPr marL="93248" marR="93248" marT="46624" marB="46624"/>
                </a:tc>
                <a:tc>
                  <a:txBody>
                    <a:bodyPr/>
                    <a:lstStyle/>
                    <a:p>
                      <a:r>
                        <a:rPr lang="en-US" sz="1900"/>
                        <a:t>31</a:t>
                      </a:r>
                    </a:p>
                  </a:txBody>
                  <a:tcPr marL="93248" marR="93248" marT="46624" marB="46624"/>
                </a:tc>
                <a:extLst>
                  <a:ext uri="{0D108BD9-81ED-4DB2-BD59-A6C34878D82A}">
                    <a16:rowId xmlns:a16="http://schemas.microsoft.com/office/drawing/2014/main" val="905654355"/>
                  </a:ext>
                </a:extLst>
              </a:tr>
              <a:tr h="382771">
                <a:tc>
                  <a:txBody>
                    <a:bodyPr/>
                    <a:lstStyle/>
                    <a:p>
                      <a:r>
                        <a:rPr lang="en-US" sz="1900"/>
                        <a:t>3</a:t>
                      </a:r>
                      <a:endParaRPr lang="en-US" sz="1900">
                        <a:solidFill>
                          <a:schemeClr val="bg1"/>
                        </a:solidFill>
                      </a:endParaRPr>
                    </a:p>
                  </a:txBody>
                  <a:tcPr marL="93248" marR="93248" marT="46624" marB="46624"/>
                </a:tc>
                <a:tc>
                  <a:txBody>
                    <a:bodyPr/>
                    <a:lstStyle/>
                    <a:p>
                      <a:r>
                        <a:rPr lang="en-US" sz="1900"/>
                        <a:t>Yellow</a:t>
                      </a:r>
                    </a:p>
                  </a:txBody>
                  <a:tcPr marL="93248" marR="93248" marT="46624" marB="46624"/>
                </a:tc>
                <a:tc>
                  <a:txBody>
                    <a:bodyPr/>
                    <a:lstStyle/>
                    <a:p>
                      <a:r>
                        <a:rPr lang="en-US" sz="1900"/>
                        <a:t>41</a:t>
                      </a:r>
                    </a:p>
                  </a:txBody>
                  <a:tcPr marL="93248" marR="93248" marT="46624" marB="46624"/>
                </a:tc>
                <a:extLst>
                  <a:ext uri="{0D108BD9-81ED-4DB2-BD59-A6C34878D82A}">
                    <a16:rowId xmlns:a16="http://schemas.microsoft.com/office/drawing/2014/main" val="3057340688"/>
                  </a:ext>
                </a:extLst>
              </a:tr>
              <a:tr h="382771">
                <a:tc>
                  <a:txBody>
                    <a:bodyPr/>
                    <a:lstStyle/>
                    <a:p>
                      <a:r>
                        <a:rPr lang="en-US" sz="1900"/>
                        <a:t>0</a:t>
                      </a:r>
                      <a:endParaRPr lang="en-US" sz="1900">
                        <a:solidFill>
                          <a:schemeClr val="bg1"/>
                        </a:solidFill>
                      </a:endParaRPr>
                    </a:p>
                  </a:txBody>
                  <a:tcPr marL="93248" marR="93248" marT="46624" marB="46624"/>
                </a:tc>
                <a:tc>
                  <a:txBody>
                    <a:bodyPr/>
                    <a:lstStyle/>
                    <a:p>
                      <a:r>
                        <a:rPr lang="en-US" sz="1900"/>
                        <a:t>Red</a:t>
                      </a:r>
                    </a:p>
                  </a:txBody>
                  <a:tcPr marL="93248" marR="93248" marT="46624" marB="46624"/>
                </a:tc>
                <a:tc>
                  <a:txBody>
                    <a:bodyPr/>
                    <a:lstStyle/>
                    <a:p>
                      <a:r>
                        <a:rPr lang="en-US" sz="1900"/>
                        <a:t>11</a:t>
                      </a:r>
                    </a:p>
                  </a:txBody>
                  <a:tcPr marL="93248" marR="93248" marT="46624" marB="46624"/>
                </a:tc>
                <a:extLst>
                  <a:ext uri="{0D108BD9-81ED-4DB2-BD59-A6C34878D82A}">
                    <a16:rowId xmlns:a16="http://schemas.microsoft.com/office/drawing/2014/main" val="3744258451"/>
                  </a:ext>
                </a:extLst>
              </a:tr>
              <a:tr h="382771">
                <a:tc>
                  <a:txBody>
                    <a:bodyPr/>
                    <a:lstStyle/>
                    <a:p>
                      <a:r>
                        <a:rPr lang="en-US" sz="1900"/>
                        <a:t>1</a:t>
                      </a:r>
                      <a:endParaRPr lang="en-US" sz="1900">
                        <a:solidFill>
                          <a:schemeClr val="bg1"/>
                        </a:solidFill>
                      </a:endParaRPr>
                    </a:p>
                  </a:txBody>
                  <a:tcPr marL="93248" marR="93248" marT="46624" marB="46624"/>
                </a:tc>
                <a:tc>
                  <a:txBody>
                    <a:bodyPr/>
                    <a:lstStyle/>
                    <a:p>
                      <a:r>
                        <a:rPr lang="en-US" sz="1900"/>
                        <a:t>Blue</a:t>
                      </a:r>
                    </a:p>
                  </a:txBody>
                  <a:tcPr marL="93248" marR="93248" marT="46624" marB="46624"/>
                </a:tc>
                <a:tc>
                  <a:txBody>
                    <a:bodyPr/>
                    <a:lstStyle/>
                    <a:p>
                      <a:r>
                        <a:rPr lang="en-US" sz="1900"/>
                        <a:t>14</a:t>
                      </a:r>
                    </a:p>
                  </a:txBody>
                  <a:tcPr marL="93248" marR="93248" marT="46624" marB="46624"/>
                </a:tc>
                <a:extLst>
                  <a:ext uri="{0D108BD9-81ED-4DB2-BD59-A6C34878D82A}">
                    <a16:rowId xmlns:a16="http://schemas.microsoft.com/office/drawing/2014/main" val="405235012"/>
                  </a:ext>
                </a:extLst>
              </a:tr>
              <a:tr h="382771">
                <a:tc>
                  <a:txBody>
                    <a:bodyPr/>
                    <a:lstStyle/>
                    <a:p>
                      <a:r>
                        <a:rPr lang="en-US" sz="1900"/>
                        <a:t>4</a:t>
                      </a:r>
                      <a:endParaRPr lang="en-US" sz="1900">
                        <a:solidFill>
                          <a:schemeClr val="bg1"/>
                        </a:solidFill>
                      </a:endParaRPr>
                    </a:p>
                  </a:txBody>
                  <a:tcPr marL="93248" marR="93248" marT="46624" marB="46624"/>
                </a:tc>
                <a:tc>
                  <a:txBody>
                    <a:bodyPr/>
                    <a:lstStyle/>
                    <a:p>
                      <a:r>
                        <a:rPr lang="en-US" sz="1900"/>
                        <a:t>Purple</a:t>
                      </a:r>
                    </a:p>
                  </a:txBody>
                  <a:tcPr marL="93248" marR="93248" marT="46624" marB="46624"/>
                </a:tc>
                <a:tc>
                  <a:txBody>
                    <a:bodyPr/>
                    <a:lstStyle/>
                    <a:p>
                      <a:r>
                        <a:rPr lang="en-US" sz="1900"/>
                        <a:t>21</a:t>
                      </a:r>
                    </a:p>
                  </a:txBody>
                  <a:tcPr marL="93248" marR="93248" marT="46624" marB="46624"/>
                </a:tc>
                <a:extLst>
                  <a:ext uri="{0D108BD9-81ED-4DB2-BD59-A6C34878D82A}">
                    <a16:rowId xmlns:a16="http://schemas.microsoft.com/office/drawing/2014/main" val="240716551"/>
                  </a:ext>
                </a:extLst>
              </a:tr>
              <a:tr h="382771">
                <a:tc>
                  <a:txBody>
                    <a:bodyPr/>
                    <a:lstStyle/>
                    <a:p>
                      <a:r>
                        <a:rPr lang="en-US" sz="1900"/>
                        <a:t>5</a:t>
                      </a:r>
                      <a:endParaRPr lang="en-US" sz="1900">
                        <a:solidFill>
                          <a:schemeClr val="bg1"/>
                        </a:solidFill>
                      </a:endParaRPr>
                    </a:p>
                  </a:txBody>
                  <a:tcPr marL="93248" marR="93248" marT="46624" marB="46624"/>
                </a:tc>
                <a:tc>
                  <a:txBody>
                    <a:bodyPr/>
                    <a:lstStyle/>
                    <a:p>
                      <a:r>
                        <a:rPr lang="en-US" sz="1900"/>
                        <a:t>Orange</a:t>
                      </a:r>
                    </a:p>
                  </a:txBody>
                  <a:tcPr marL="93248" marR="93248" marT="46624" marB="46624"/>
                </a:tc>
                <a:tc>
                  <a:txBody>
                    <a:bodyPr/>
                    <a:lstStyle/>
                    <a:p>
                      <a:r>
                        <a:rPr lang="en-US" sz="1900"/>
                        <a:t>6</a:t>
                      </a:r>
                    </a:p>
                  </a:txBody>
                  <a:tcPr marL="93248" marR="93248" marT="46624" marB="46624"/>
                </a:tc>
                <a:extLst>
                  <a:ext uri="{0D108BD9-81ED-4DB2-BD59-A6C34878D82A}">
                    <a16:rowId xmlns:a16="http://schemas.microsoft.com/office/drawing/2014/main" val="2765816756"/>
                  </a:ext>
                </a:extLst>
              </a:tr>
              <a:tr h="382771">
                <a:tc>
                  <a:txBody>
                    <a:bodyPr/>
                    <a:lstStyle/>
                    <a:p>
                      <a:r>
                        <a:rPr lang="en-US" sz="1900"/>
                        <a:t>0</a:t>
                      </a:r>
                      <a:endParaRPr lang="en-US" sz="1900">
                        <a:solidFill>
                          <a:schemeClr val="bg1"/>
                        </a:solidFill>
                      </a:endParaRPr>
                    </a:p>
                  </a:txBody>
                  <a:tcPr marL="93248" marR="93248" marT="46624" marB="46624"/>
                </a:tc>
                <a:tc>
                  <a:txBody>
                    <a:bodyPr/>
                    <a:lstStyle/>
                    <a:p>
                      <a:r>
                        <a:rPr lang="en-US" sz="1900"/>
                        <a:t>Red</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1703907355"/>
                  </a:ext>
                </a:extLst>
              </a:tr>
            </a:tbl>
          </a:graphicData>
        </a:graphic>
      </p:graphicFrame>
      <p:graphicFrame>
        <p:nvGraphicFramePr>
          <p:cNvPr id="3" name="Table 2">
            <a:extLst>
              <a:ext uri="{FF2B5EF4-FFF2-40B4-BE49-F238E27FC236}">
                <a16:creationId xmlns:a16="http://schemas.microsoft.com/office/drawing/2014/main" id="{F05D5036-020F-4AE1-AA71-DE51DBF34940}"/>
              </a:ext>
            </a:extLst>
          </p:cNvPr>
          <p:cNvGraphicFramePr>
            <a:graphicFrameLocks noGrp="1"/>
          </p:cNvGraphicFramePr>
          <p:nvPr/>
        </p:nvGraphicFramePr>
        <p:xfrm>
          <a:off x="6218237" y="1699339"/>
          <a:ext cx="2610955" cy="2969216"/>
        </p:xfrm>
        <a:graphic>
          <a:graphicData uri="http://schemas.openxmlformats.org/drawingml/2006/table">
            <a:tbl>
              <a:tblPr firstRow="1" bandRow="1">
                <a:tableStyleId>{0E3FDE45-AF77-4B5C-9715-49D594BDF05E}</a:tableStyleId>
              </a:tblPr>
              <a:tblGrid>
                <a:gridCol w="1611680">
                  <a:extLst>
                    <a:ext uri="{9D8B030D-6E8A-4147-A177-3AD203B41FA5}">
                      <a16:colId xmlns:a16="http://schemas.microsoft.com/office/drawing/2014/main" val="3362507804"/>
                    </a:ext>
                  </a:extLst>
                </a:gridCol>
                <a:gridCol w="999275">
                  <a:extLst>
                    <a:ext uri="{9D8B030D-6E8A-4147-A177-3AD203B41FA5}">
                      <a16:colId xmlns:a16="http://schemas.microsoft.com/office/drawing/2014/main" val="3411275190"/>
                    </a:ext>
                  </a:extLst>
                </a:gridCol>
              </a:tblGrid>
              <a:tr h="672294">
                <a:tc>
                  <a:txBody>
                    <a:bodyPr/>
                    <a:lstStyle/>
                    <a:p>
                      <a:r>
                        <a:rPr lang="en-US" sz="1900"/>
                        <a:t>Dictionary ID</a:t>
                      </a:r>
                    </a:p>
                  </a:txBody>
                  <a:tcPr marL="93248" marR="93248" marT="46624" marB="46624"/>
                </a:tc>
                <a:tc>
                  <a:txBody>
                    <a:bodyPr/>
                    <a:lstStyle/>
                    <a:p>
                      <a:r>
                        <a:rPr lang="en-US" sz="1900"/>
                        <a:t>Color</a:t>
                      </a:r>
                    </a:p>
                  </a:txBody>
                  <a:tcPr marL="93248" marR="93248" marT="46624" marB="46624"/>
                </a:tc>
                <a:extLst>
                  <a:ext uri="{0D108BD9-81ED-4DB2-BD59-A6C34878D82A}">
                    <a16:rowId xmlns:a16="http://schemas.microsoft.com/office/drawing/2014/main" val="615278999"/>
                  </a:ext>
                </a:extLst>
              </a:tr>
              <a:tr h="382771">
                <a:tc>
                  <a:txBody>
                    <a:bodyPr/>
                    <a:lstStyle/>
                    <a:p>
                      <a:r>
                        <a:rPr lang="en-US" sz="1900"/>
                        <a:t>0</a:t>
                      </a:r>
                    </a:p>
                  </a:txBody>
                  <a:tcPr marL="93248" marR="93248" marT="46624" marB="46624"/>
                </a:tc>
                <a:tc>
                  <a:txBody>
                    <a:bodyPr/>
                    <a:lstStyle/>
                    <a:p>
                      <a:r>
                        <a:rPr lang="en-US" sz="1900"/>
                        <a:t>Red</a:t>
                      </a:r>
                    </a:p>
                  </a:txBody>
                  <a:tcPr marL="93248" marR="93248" marT="46624" marB="46624"/>
                </a:tc>
                <a:extLst>
                  <a:ext uri="{0D108BD9-81ED-4DB2-BD59-A6C34878D82A}">
                    <a16:rowId xmlns:a16="http://schemas.microsoft.com/office/drawing/2014/main" val="4205088475"/>
                  </a:ext>
                </a:extLst>
              </a:tr>
              <a:tr h="382771">
                <a:tc>
                  <a:txBody>
                    <a:bodyPr/>
                    <a:lstStyle/>
                    <a:p>
                      <a:r>
                        <a:rPr lang="en-US" sz="1900"/>
                        <a:t>1</a:t>
                      </a:r>
                    </a:p>
                  </a:txBody>
                  <a:tcPr marL="93248" marR="93248" marT="46624" marB="46624"/>
                </a:tc>
                <a:tc>
                  <a:txBody>
                    <a:bodyPr/>
                    <a:lstStyle/>
                    <a:p>
                      <a:r>
                        <a:rPr lang="en-US" sz="1900"/>
                        <a:t>Blue</a:t>
                      </a:r>
                    </a:p>
                  </a:txBody>
                  <a:tcPr marL="93248" marR="93248" marT="46624" marB="46624"/>
                </a:tc>
                <a:extLst>
                  <a:ext uri="{0D108BD9-81ED-4DB2-BD59-A6C34878D82A}">
                    <a16:rowId xmlns:a16="http://schemas.microsoft.com/office/drawing/2014/main" val="4255828405"/>
                  </a:ext>
                </a:extLst>
              </a:tr>
              <a:tr h="382771">
                <a:tc>
                  <a:txBody>
                    <a:bodyPr/>
                    <a:lstStyle/>
                    <a:p>
                      <a:r>
                        <a:rPr lang="en-US" sz="1900"/>
                        <a:t>2</a:t>
                      </a:r>
                    </a:p>
                  </a:txBody>
                  <a:tcPr marL="93248" marR="93248" marT="46624" marB="46624"/>
                </a:tc>
                <a:tc>
                  <a:txBody>
                    <a:bodyPr/>
                    <a:lstStyle/>
                    <a:p>
                      <a:r>
                        <a:rPr lang="en-US" sz="1900"/>
                        <a:t>Green</a:t>
                      </a:r>
                    </a:p>
                  </a:txBody>
                  <a:tcPr marL="93248" marR="93248" marT="46624" marB="46624"/>
                </a:tc>
                <a:extLst>
                  <a:ext uri="{0D108BD9-81ED-4DB2-BD59-A6C34878D82A}">
                    <a16:rowId xmlns:a16="http://schemas.microsoft.com/office/drawing/2014/main" val="1254543638"/>
                  </a:ext>
                </a:extLst>
              </a:tr>
              <a:tr h="382771">
                <a:tc>
                  <a:txBody>
                    <a:bodyPr/>
                    <a:lstStyle/>
                    <a:p>
                      <a:r>
                        <a:rPr lang="en-US" sz="1900"/>
                        <a:t>3</a:t>
                      </a:r>
                    </a:p>
                  </a:txBody>
                  <a:tcPr marL="93248" marR="93248" marT="46624" marB="46624"/>
                </a:tc>
                <a:tc>
                  <a:txBody>
                    <a:bodyPr/>
                    <a:lstStyle/>
                    <a:p>
                      <a:r>
                        <a:rPr lang="en-US" sz="1900"/>
                        <a:t>Yellow</a:t>
                      </a:r>
                    </a:p>
                  </a:txBody>
                  <a:tcPr marL="93248" marR="93248" marT="46624" marB="46624"/>
                </a:tc>
                <a:extLst>
                  <a:ext uri="{0D108BD9-81ED-4DB2-BD59-A6C34878D82A}">
                    <a16:rowId xmlns:a16="http://schemas.microsoft.com/office/drawing/2014/main" val="1779252747"/>
                  </a:ext>
                </a:extLst>
              </a:tr>
              <a:tr h="382771">
                <a:tc>
                  <a:txBody>
                    <a:bodyPr/>
                    <a:lstStyle/>
                    <a:p>
                      <a:r>
                        <a:rPr lang="en-US" sz="1900"/>
                        <a:t>4</a:t>
                      </a:r>
                    </a:p>
                  </a:txBody>
                  <a:tcPr marL="93248" marR="93248" marT="46624" marB="46624"/>
                </a:tc>
                <a:tc>
                  <a:txBody>
                    <a:bodyPr/>
                    <a:lstStyle/>
                    <a:p>
                      <a:r>
                        <a:rPr lang="en-US" sz="1900"/>
                        <a:t>Purple</a:t>
                      </a:r>
                    </a:p>
                  </a:txBody>
                  <a:tcPr marL="93248" marR="93248" marT="46624" marB="46624"/>
                </a:tc>
                <a:extLst>
                  <a:ext uri="{0D108BD9-81ED-4DB2-BD59-A6C34878D82A}">
                    <a16:rowId xmlns:a16="http://schemas.microsoft.com/office/drawing/2014/main" val="1004245262"/>
                  </a:ext>
                </a:extLst>
              </a:tr>
              <a:tr h="382771">
                <a:tc>
                  <a:txBody>
                    <a:bodyPr/>
                    <a:lstStyle/>
                    <a:p>
                      <a:r>
                        <a:rPr lang="en-US" sz="1900"/>
                        <a:t>5</a:t>
                      </a:r>
                    </a:p>
                  </a:txBody>
                  <a:tcPr marL="93248" marR="93248" marT="46624" marB="46624"/>
                </a:tc>
                <a:tc>
                  <a:txBody>
                    <a:bodyPr/>
                    <a:lstStyle/>
                    <a:p>
                      <a:r>
                        <a:rPr lang="en-US" sz="1900"/>
                        <a:t>Orange</a:t>
                      </a:r>
                    </a:p>
                  </a:txBody>
                  <a:tcPr marL="93248" marR="93248" marT="46624" marB="46624"/>
                </a:tc>
                <a:extLst>
                  <a:ext uri="{0D108BD9-81ED-4DB2-BD59-A6C34878D82A}">
                    <a16:rowId xmlns:a16="http://schemas.microsoft.com/office/drawing/2014/main" val="3216277509"/>
                  </a:ext>
                </a:extLst>
              </a:tr>
            </a:tbl>
          </a:graphicData>
        </a:graphic>
      </p:graphicFrame>
    </p:spTree>
    <p:extLst>
      <p:ext uri="{BB962C8B-B14F-4D97-AF65-F5344CB8AC3E}">
        <p14:creationId xmlns:p14="http://schemas.microsoft.com/office/powerpoint/2010/main" val="139202680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Hash Dictionary Encoding</a:t>
            </a:r>
            <a:endParaRPr lang="en-US"/>
          </a:p>
        </p:txBody>
      </p:sp>
      <p:graphicFrame>
        <p:nvGraphicFramePr>
          <p:cNvPr id="2" name="Table 1">
            <a:extLst>
              <a:ext uri="{FF2B5EF4-FFF2-40B4-BE49-F238E27FC236}">
                <a16:creationId xmlns:a16="http://schemas.microsoft.com/office/drawing/2014/main" id="{82105C3A-6890-4045-A9B7-0CD3A05CF12A}"/>
              </a:ext>
            </a:extLst>
          </p:cNvPr>
          <p:cNvGraphicFramePr>
            <a:graphicFrameLocks noGrp="1"/>
          </p:cNvGraphicFramePr>
          <p:nvPr/>
        </p:nvGraphicFramePr>
        <p:xfrm>
          <a:off x="855769" y="1699338"/>
          <a:ext cx="2936394" cy="4593696"/>
        </p:xfrm>
        <a:graphic>
          <a:graphicData uri="http://schemas.openxmlformats.org/drawingml/2006/table">
            <a:tbl>
              <a:tblPr firstRow="1" bandRow="1">
                <a:tableStyleId>{0E3FDE45-AF77-4B5C-9715-49D594BDF05E}</a:tableStyleId>
              </a:tblPr>
              <a:tblGrid>
                <a:gridCol w="1611058">
                  <a:extLst>
                    <a:ext uri="{9D8B030D-6E8A-4147-A177-3AD203B41FA5}">
                      <a16:colId xmlns:a16="http://schemas.microsoft.com/office/drawing/2014/main" val="4238571193"/>
                    </a:ext>
                  </a:extLst>
                </a:gridCol>
                <a:gridCol w="1325336">
                  <a:extLst>
                    <a:ext uri="{9D8B030D-6E8A-4147-A177-3AD203B41FA5}">
                      <a16:colId xmlns:a16="http://schemas.microsoft.com/office/drawing/2014/main" val="11329721"/>
                    </a:ext>
                  </a:extLst>
                </a:gridCol>
              </a:tblGrid>
              <a:tr h="382771">
                <a:tc>
                  <a:txBody>
                    <a:bodyPr/>
                    <a:lstStyle/>
                    <a:p>
                      <a:r>
                        <a:rPr lang="en-US" sz="1900"/>
                        <a:t>ID</a:t>
                      </a:r>
                    </a:p>
                  </a:txBody>
                  <a:tcPr marL="93248" marR="93248" marT="46624" marB="46624"/>
                </a:tc>
                <a:tc>
                  <a:txBody>
                    <a:bodyPr/>
                    <a:lstStyle/>
                    <a:p>
                      <a:r>
                        <a:rPr lang="en-US" sz="1900"/>
                        <a:t>Value</a:t>
                      </a:r>
                    </a:p>
                  </a:txBody>
                  <a:tcPr marL="93248" marR="93248" marT="46624" marB="46624"/>
                </a:tc>
                <a:extLst>
                  <a:ext uri="{0D108BD9-81ED-4DB2-BD59-A6C34878D82A}">
                    <a16:rowId xmlns:a16="http://schemas.microsoft.com/office/drawing/2014/main" val="4092537062"/>
                  </a:ext>
                </a:extLst>
              </a:tr>
              <a:tr h="382771">
                <a:tc>
                  <a:txBody>
                    <a:bodyPr/>
                    <a:lstStyle/>
                    <a:p>
                      <a:r>
                        <a:rPr lang="en-US" sz="1900"/>
                        <a:t>0</a:t>
                      </a:r>
                    </a:p>
                  </a:txBody>
                  <a:tcPr marL="93248" marR="93248" marT="46624" marB="46624"/>
                </a:tc>
                <a:tc>
                  <a:txBody>
                    <a:bodyPr/>
                    <a:lstStyle/>
                    <a:p>
                      <a:r>
                        <a:rPr lang="en-US" sz="1900"/>
                        <a:t>10</a:t>
                      </a:r>
                    </a:p>
                  </a:txBody>
                  <a:tcPr marL="93248" marR="93248" marT="46624" marB="46624"/>
                </a:tc>
                <a:extLst>
                  <a:ext uri="{0D108BD9-81ED-4DB2-BD59-A6C34878D82A}">
                    <a16:rowId xmlns:a16="http://schemas.microsoft.com/office/drawing/2014/main" val="2966966809"/>
                  </a:ext>
                </a:extLst>
              </a:tr>
              <a:tr h="382771">
                <a:tc>
                  <a:txBody>
                    <a:bodyPr/>
                    <a:lstStyle/>
                    <a:p>
                      <a:r>
                        <a:rPr lang="en-US" sz="1900"/>
                        <a:t>1</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139747291"/>
                  </a:ext>
                </a:extLst>
              </a:tr>
              <a:tr h="382771">
                <a:tc>
                  <a:txBody>
                    <a:bodyPr/>
                    <a:lstStyle/>
                    <a:p>
                      <a:r>
                        <a:rPr lang="en-US" sz="1900"/>
                        <a:t>2</a:t>
                      </a:r>
                    </a:p>
                  </a:txBody>
                  <a:tcPr marL="93248" marR="93248" marT="46624" marB="46624"/>
                </a:tc>
                <a:tc>
                  <a:txBody>
                    <a:bodyPr/>
                    <a:lstStyle/>
                    <a:p>
                      <a:r>
                        <a:rPr lang="en-US" sz="1900"/>
                        <a:t>13</a:t>
                      </a:r>
                    </a:p>
                  </a:txBody>
                  <a:tcPr marL="93248" marR="93248" marT="46624" marB="46624"/>
                </a:tc>
                <a:extLst>
                  <a:ext uri="{0D108BD9-81ED-4DB2-BD59-A6C34878D82A}">
                    <a16:rowId xmlns:a16="http://schemas.microsoft.com/office/drawing/2014/main" val="4149566330"/>
                  </a:ext>
                </a:extLst>
              </a:tr>
              <a:tr h="382771">
                <a:tc>
                  <a:txBody>
                    <a:bodyPr/>
                    <a:lstStyle/>
                    <a:p>
                      <a:r>
                        <a:rPr lang="en-US" sz="1900"/>
                        <a:t>2</a:t>
                      </a:r>
                    </a:p>
                  </a:txBody>
                  <a:tcPr marL="93248" marR="93248" marT="46624" marB="46624"/>
                </a:tc>
                <a:tc>
                  <a:txBody>
                    <a:bodyPr/>
                    <a:lstStyle/>
                    <a:p>
                      <a:r>
                        <a:rPr lang="en-US" sz="1900"/>
                        <a:t>25</a:t>
                      </a:r>
                    </a:p>
                  </a:txBody>
                  <a:tcPr marL="93248" marR="93248" marT="46624" marB="46624"/>
                </a:tc>
                <a:extLst>
                  <a:ext uri="{0D108BD9-81ED-4DB2-BD59-A6C34878D82A}">
                    <a16:rowId xmlns:a16="http://schemas.microsoft.com/office/drawing/2014/main" val="346437377"/>
                  </a:ext>
                </a:extLst>
              </a:tr>
              <a:tr h="382771">
                <a:tc>
                  <a:txBody>
                    <a:bodyPr/>
                    <a:lstStyle/>
                    <a:p>
                      <a:r>
                        <a:rPr lang="en-US" sz="1900"/>
                        <a:t>3</a:t>
                      </a:r>
                    </a:p>
                  </a:txBody>
                  <a:tcPr marL="93248" marR="93248" marT="46624" marB="46624"/>
                </a:tc>
                <a:tc>
                  <a:txBody>
                    <a:bodyPr/>
                    <a:lstStyle/>
                    <a:p>
                      <a:r>
                        <a:rPr lang="en-US" sz="1900"/>
                        <a:t>31</a:t>
                      </a:r>
                    </a:p>
                  </a:txBody>
                  <a:tcPr marL="93248" marR="93248" marT="46624" marB="46624"/>
                </a:tc>
                <a:extLst>
                  <a:ext uri="{0D108BD9-81ED-4DB2-BD59-A6C34878D82A}">
                    <a16:rowId xmlns:a16="http://schemas.microsoft.com/office/drawing/2014/main" val="905654355"/>
                  </a:ext>
                </a:extLst>
              </a:tr>
              <a:tr h="382771">
                <a:tc>
                  <a:txBody>
                    <a:bodyPr/>
                    <a:lstStyle/>
                    <a:p>
                      <a:r>
                        <a:rPr lang="en-US" sz="1900"/>
                        <a:t>3</a:t>
                      </a:r>
                    </a:p>
                  </a:txBody>
                  <a:tcPr marL="93248" marR="93248" marT="46624" marB="46624"/>
                </a:tc>
                <a:tc>
                  <a:txBody>
                    <a:bodyPr/>
                    <a:lstStyle/>
                    <a:p>
                      <a:r>
                        <a:rPr lang="en-US" sz="1900"/>
                        <a:t>41</a:t>
                      </a:r>
                    </a:p>
                  </a:txBody>
                  <a:tcPr marL="93248" marR="93248" marT="46624" marB="46624"/>
                </a:tc>
                <a:extLst>
                  <a:ext uri="{0D108BD9-81ED-4DB2-BD59-A6C34878D82A}">
                    <a16:rowId xmlns:a16="http://schemas.microsoft.com/office/drawing/2014/main" val="3057340688"/>
                  </a:ext>
                </a:extLst>
              </a:tr>
              <a:tr h="382771">
                <a:tc>
                  <a:txBody>
                    <a:bodyPr/>
                    <a:lstStyle/>
                    <a:p>
                      <a:r>
                        <a:rPr lang="en-US" sz="1900"/>
                        <a:t>0</a:t>
                      </a:r>
                    </a:p>
                  </a:txBody>
                  <a:tcPr marL="93248" marR="93248" marT="46624" marB="46624"/>
                </a:tc>
                <a:tc>
                  <a:txBody>
                    <a:bodyPr/>
                    <a:lstStyle/>
                    <a:p>
                      <a:r>
                        <a:rPr lang="en-US" sz="1900"/>
                        <a:t>11</a:t>
                      </a:r>
                    </a:p>
                  </a:txBody>
                  <a:tcPr marL="93248" marR="93248" marT="46624" marB="46624"/>
                </a:tc>
                <a:extLst>
                  <a:ext uri="{0D108BD9-81ED-4DB2-BD59-A6C34878D82A}">
                    <a16:rowId xmlns:a16="http://schemas.microsoft.com/office/drawing/2014/main" val="3744258451"/>
                  </a:ext>
                </a:extLst>
              </a:tr>
              <a:tr h="382771">
                <a:tc>
                  <a:txBody>
                    <a:bodyPr/>
                    <a:lstStyle/>
                    <a:p>
                      <a:r>
                        <a:rPr lang="en-US" sz="1900"/>
                        <a:t>1</a:t>
                      </a:r>
                    </a:p>
                  </a:txBody>
                  <a:tcPr marL="93248" marR="93248" marT="46624" marB="46624"/>
                </a:tc>
                <a:tc>
                  <a:txBody>
                    <a:bodyPr/>
                    <a:lstStyle/>
                    <a:p>
                      <a:r>
                        <a:rPr lang="en-US" sz="1900"/>
                        <a:t>14</a:t>
                      </a:r>
                    </a:p>
                  </a:txBody>
                  <a:tcPr marL="93248" marR="93248" marT="46624" marB="46624"/>
                </a:tc>
                <a:extLst>
                  <a:ext uri="{0D108BD9-81ED-4DB2-BD59-A6C34878D82A}">
                    <a16:rowId xmlns:a16="http://schemas.microsoft.com/office/drawing/2014/main" val="405235012"/>
                  </a:ext>
                </a:extLst>
              </a:tr>
              <a:tr h="382771">
                <a:tc>
                  <a:txBody>
                    <a:bodyPr/>
                    <a:lstStyle/>
                    <a:p>
                      <a:r>
                        <a:rPr lang="en-US" sz="1900"/>
                        <a:t>4</a:t>
                      </a:r>
                    </a:p>
                  </a:txBody>
                  <a:tcPr marL="93248" marR="93248" marT="46624" marB="46624"/>
                </a:tc>
                <a:tc>
                  <a:txBody>
                    <a:bodyPr/>
                    <a:lstStyle/>
                    <a:p>
                      <a:r>
                        <a:rPr lang="en-US" sz="1900"/>
                        <a:t>21</a:t>
                      </a:r>
                    </a:p>
                  </a:txBody>
                  <a:tcPr marL="93248" marR="93248" marT="46624" marB="46624"/>
                </a:tc>
                <a:extLst>
                  <a:ext uri="{0D108BD9-81ED-4DB2-BD59-A6C34878D82A}">
                    <a16:rowId xmlns:a16="http://schemas.microsoft.com/office/drawing/2014/main" val="240716551"/>
                  </a:ext>
                </a:extLst>
              </a:tr>
              <a:tr h="382771">
                <a:tc>
                  <a:txBody>
                    <a:bodyPr/>
                    <a:lstStyle/>
                    <a:p>
                      <a:r>
                        <a:rPr lang="en-US" sz="1900"/>
                        <a:t>5</a:t>
                      </a:r>
                    </a:p>
                  </a:txBody>
                  <a:tcPr marL="93248" marR="93248" marT="46624" marB="46624"/>
                </a:tc>
                <a:tc>
                  <a:txBody>
                    <a:bodyPr/>
                    <a:lstStyle/>
                    <a:p>
                      <a:r>
                        <a:rPr lang="en-US" sz="1900"/>
                        <a:t>6</a:t>
                      </a:r>
                    </a:p>
                  </a:txBody>
                  <a:tcPr marL="93248" marR="93248" marT="46624" marB="46624"/>
                </a:tc>
                <a:extLst>
                  <a:ext uri="{0D108BD9-81ED-4DB2-BD59-A6C34878D82A}">
                    <a16:rowId xmlns:a16="http://schemas.microsoft.com/office/drawing/2014/main" val="2765816756"/>
                  </a:ext>
                </a:extLst>
              </a:tr>
              <a:tr h="382771">
                <a:tc>
                  <a:txBody>
                    <a:bodyPr/>
                    <a:lstStyle/>
                    <a:p>
                      <a:r>
                        <a:rPr lang="en-US" sz="1900"/>
                        <a:t>0</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1703907355"/>
                  </a:ext>
                </a:extLst>
              </a:tr>
            </a:tbl>
          </a:graphicData>
        </a:graphic>
      </p:graphicFrame>
      <p:graphicFrame>
        <p:nvGraphicFramePr>
          <p:cNvPr id="3" name="Table 2">
            <a:extLst>
              <a:ext uri="{FF2B5EF4-FFF2-40B4-BE49-F238E27FC236}">
                <a16:creationId xmlns:a16="http://schemas.microsoft.com/office/drawing/2014/main" id="{36A5BB46-45FC-4AF2-86FB-7C953F48F922}"/>
              </a:ext>
            </a:extLst>
          </p:cNvPr>
          <p:cNvGraphicFramePr>
            <a:graphicFrameLocks noGrp="1"/>
          </p:cNvGraphicFramePr>
          <p:nvPr/>
        </p:nvGraphicFramePr>
        <p:xfrm>
          <a:off x="6218237" y="1699339"/>
          <a:ext cx="2610955" cy="2969216"/>
        </p:xfrm>
        <a:graphic>
          <a:graphicData uri="http://schemas.openxmlformats.org/drawingml/2006/table">
            <a:tbl>
              <a:tblPr firstRow="1" bandRow="1">
                <a:tableStyleId>{0E3FDE45-AF77-4B5C-9715-49D594BDF05E}</a:tableStyleId>
              </a:tblPr>
              <a:tblGrid>
                <a:gridCol w="1611680">
                  <a:extLst>
                    <a:ext uri="{9D8B030D-6E8A-4147-A177-3AD203B41FA5}">
                      <a16:colId xmlns:a16="http://schemas.microsoft.com/office/drawing/2014/main" val="3362507804"/>
                    </a:ext>
                  </a:extLst>
                </a:gridCol>
                <a:gridCol w="999275">
                  <a:extLst>
                    <a:ext uri="{9D8B030D-6E8A-4147-A177-3AD203B41FA5}">
                      <a16:colId xmlns:a16="http://schemas.microsoft.com/office/drawing/2014/main" val="3411275190"/>
                    </a:ext>
                  </a:extLst>
                </a:gridCol>
              </a:tblGrid>
              <a:tr h="672294">
                <a:tc>
                  <a:txBody>
                    <a:bodyPr/>
                    <a:lstStyle/>
                    <a:p>
                      <a:r>
                        <a:rPr lang="en-US" sz="1900"/>
                        <a:t>Dictionary ID</a:t>
                      </a:r>
                    </a:p>
                  </a:txBody>
                  <a:tcPr marL="93248" marR="93248" marT="46624" marB="46624"/>
                </a:tc>
                <a:tc>
                  <a:txBody>
                    <a:bodyPr/>
                    <a:lstStyle/>
                    <a:p>
                      <a:r>
                        <a:rPr lang="en-US" sz="1900"/>
                        <a:t>Color</a:t>
                      </a:r>
                    </a:p>
                  </a:txBody>
                  <a:tcPr marL="93248" marR="93248" marT="46624" marB="46624"/>
                </a:tc>
                <a:extLst>
                  <a:ext uri="{0D108BD9-81ED-4DB2-BD59-A6C34878D82A}">
                    <a16:rowId xmlns:a16="http://schemas.microsoft.com/office/drawing/2014/main" val="615278999"/>
                  </a:ext>
                </a:extLst>
              </a:tr>
              <a:tr h="382771">
                <a:tc>
                  <a:txBody>
                    <a:bodyPr/>
                    <a:lstStyle/>
                    <a:p>
                      <a:r>
                        <a:rPr lang="en-US" sz="1900"/>
                        <a:t>0</a:t>
                      </a:r>
                    </a:p>
                  </a:txBody>
                  <a:tcPr marL="93248" marR="93248" marT="46624" marB="46624"/>
                </a:tc>
                <a:tc>
                  <a:txBody>
                    <a:bodyPr/>
                    <a:lstStyle/>
                    <a:p>
                      <a:r>
                        <a:rPr lang="en-US" sz="1900"/>
                        <a:t>Red</a:t>
                      </a:r>
                    </a:p>
                  </a:txBody>
                  <a:tcPr marL="93248" marR="93248" marT="46624" marB="46624"/>
                </a:tc>
                <a:extLst>
                  <a:ext uri="{0D108BD9-81ED-4DB2-BD59-A6C34878D82A}">
                    <a16:rowId xmlns:a16="http://schemas.microsoft.com/office/drawing/2014/main" val="4205088475"/>
                  </a:ext>
                </a:extLst>
              </a:tr>
              <a:tr h="382771">
                <a:tc>
                  <a:txBody>
                    <a:bodyPr/>
                    <a:lstStyle/>
                    <a:p>
                      <a:r>
                        <a:rPr lang="en-US" sz="1900"/>
                        <a:t>1</a:t>
                      </a:r>
                    </a:p>
                  </a:txBody>
                  <a:tcPr marL="93248" marR="93248" marT="46624" marB="46624"/>
                </a:tc>
                <a:tc>
                  <a:txBody>
                    <a:bodyPr/>
                    <a:lstStyle/>
                    <a:p>
                      <a:r>
                        <a:rPr lang="en-US" sz="1900"/>
                        <a:t>Blue</a:t>
                      </a:r>
                    </a:p>
                  </a:txBody>
                  <a:tcPr marL="93248" marR="93248" marT="46624" marB="46624"/>
                </a:tc>
                <a:extLst>
                  <a:ext uri="{0D108BD9-81ED-4DB2-BD59-A6C34878D82A}">
                    <a16:rowId xmlns:a16="http://schemas.microsoft.com/office/drawing/2014/main" val="4255828405"/>
                  </a:ext>
                </a:extLst>
              </a:tr>
              <a:tr h="382771">
                <a:tc>
                  <a:txBody>
                    <a:bodyPr/>
                    <a:lstStyle/>
                    <a:p>
                      <a:r>
                        <a:rPr lang="en-US" sz="1900"/>
                        <a:t>2</a:t>
                      </a:r>
                    </a:p>
                  </a:txBody>
                  <a:tcPr marL="93248" marR="93248" marT="46624" marB="46624"/>
                </a:tc>
                <a:tc>
                  <a:txBody>
                    <a:bodyPr/>
                    <a:lstStyle/>
                    <a:p>
                      <a:r>
                        <a:rPr lang="en-US" sz="1900"/>
                        <a:t>Green</a:t>
                      </a:r>
                    </a:p>
                  </a:txBody>
                  <a:tcPr marL="93248" marR="93248" marT="46624" marB="46624"/>
                </a:tc>
                <a:extLst>
                  <a:ext uri="{0D108BD9-81ED-4DB2-BD59-A6C34878D82A}">
                    <a16:rowId xmlns:a16="http://schemas.microsoft.com/office/drawing/2014/main" val="1254543638"/>
                  </a:ext>
                </a:extLst>
              </a:tr>
              <a:tr h="382771">
                <a:tc>
                  <a:txBody>
                    <a:bodyPr/>
                    <a:lstStyle/>
                    <a:p>
                      <a:r>
                        <a:rPr lang="en-US" sz="1900"/>
                        <a:t>3</a:t>
                      </a:r>
                    </a:p>
                  </a:txBody>
                  <a:tcPr marL="93248" marR="93248" marT="46624" marB="46624"/>
                </a:tc>
                <a:tc>
                  <a:txBody>
                    <a:bodyPr/>
                    <a:lstStyle/>
                    <a:p>
                      <a:r>
                        <a:rPr lang="en-US" sz="1900"/>
                        <a:t>Yellow</a:t>
                      </a:r>
                    </a:p>
                  </a:txBody>
                  <a:tcPr marL="93248" marR="93248" marT="46624" marB="46624"/>
                </a:tc>
                <a:extLst>
                  <a:ext uri="{0D108BD9-81ED-4DB2-BD59-A6C34878D82A}">
                    <a16:rowId xmlns:a16="http://schemas.microsoft.com/office/drawing/2014/main" val="1779252747"/>
                  </a:ext>
                </a:extLst>
              </a:tr>
              <a:tr h="382771">
                <a:tc>
                  <a:txBody>
                    <a:bodyPr/>
                    <a:lstStyle/>
                    <a:p>
                      <a:r>
                        <a:rPr lang="en-US" sz="1900"/>
                        <a:t>4</a:t>
                      </a:r>
                    </a:p>
                  </a:txBody>
                  <a:tcPr marL="93248" marR="93248" marT="46624" marB="46624"/>
                </a:tc>
                <a:tc>
                  <a:txBody>
                    <a:bodyPr/>
                    <a:lstStyle/>
                    <a:p>
                      <a:r>
                        <a:rPr lang="en-US" sz="1900"/>
                        <a:t>Purple</a:t>
                      </a:r>
                    </a:p>
                  </a:txBody>
                  <a:tcPr marL="93248" marR="93248" marT="46624" marB="46624"/>
                </a:tc>
                <a:extLst>
                  <a:ext uri="{0D108BD9-81ED-4DB2-BD59-A6C34878D82A}">
                    <a16:rowId xmlns:a16="http://schemas.microsoft.com/office/drawing/2014/main" val="1004245262"/>
                  </a:ext>
                </a:extLst>
              </a:tr>
              <a:tr h="382771">
                <a:tc>
                  <a:txBody>
                    <a:bodyPr/>
                    <a:lstStyle/>
                    <a:p>
                      <a:r>
                        <a:rPr lang="en-US" sz="1900"/>
                        <a:t>5</a:t>
                      </a:r>
                    </a:p>
                  </a:txBody>
                  <a:tcPr marL="93248" marR="93248" marT="46624" marB="46624"/>
                </a:tc>
                <a:tc>
                  <a:txBody>
                    <a:bodyPr/>
                    <a:lstStyle/>
                    <a:p>
                      <a:r>
                        <a:rPr lang="en-US" sz="1900"/>
                        <a:t>Orange</a:t>
                      </a:r>
                    </a:p>
                  </a:txBody>
                  <a:tcPr marL="93248" marR="93248" marT="46624" marB="46624"/>
                </a:tc>
                <a:extLst>
                  <a:ext uri="{0D108BD9-81ED-4DB2-BD59-A6C34878D82A}">
                    <a16:rowId xmlns:a16="http://schemas.microsoft.com/office/drawing/2014/main" val="3216277509"/>
                  </a:ext>
                </a:extLst>
              </a:tr>
            </a:tbl>
          </a:graphicData>
        </a:graphic>
      </p:graphicFrame>
    </p:spTree>
    <p:extLst>
      <p:ext uri="{BB962C8B-B14F-4D97-AF65-F5344CB8AC3E}">
        <p14:creationId xmlns:p14="http://schemas.microsoft.com/office/powerpoint/2010/main" val="135888415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Evaluation???</a:t>
            </a:r>
            <a:endParaRPr lang="en-US"/>
          </a:p>
        </p:txBody>
      </p:sp>
      <p:graphicFrame>
        <p:nvGraphicFramePr>
          <p:cNvPr id="4" name="Table 3">
            <a:extLst>
              <a:ext uri="{FF2B5EF4-FFF2-40B4-BE49-F238E27FC236}">
                <a16:creationId xmlns:a16="http://schemas.microsoft.com/office/drawing/2014/main" id="{2A5368D6-1F39-4C8E-8030-C31C3FE5B7F4}"/>
              </a:ext>
            </a:extLst>
          </p:cNvPr>
          <p:cNvGraphicFramePr>
            <a:graphicFrameLocks noGrp="1"/>
          </p:cNvGraphicFramePr>
          <p:nvPr/>
        </p:nvGraphicFramePr>
        <p:xfrm>
          <a:off x="855769" y="1699338"/>
          <a:ext cx="2936394" cy="4593696"/>
        </p:xfrm>
        <a:graphic>
          <a:graphicData uri="http://schemas.openxmlformats.org/drawingml/2006/table">
            <a:tbl>
              <a:tblPr firstRow="1" bandRow="1">
                <a:tableStyleId>{0E3FDE45-AF77-4B5C-9715-49D594BDF05E}</a:tableStyleId>
              </a:tblPr>
              <a:tblGrid>
                <a:gridCol w="1611058">
                  <a:extLst>
                    <a:ext uri="{9D8B030D-6E8A-4147-A177-3AD203B41FA5}">
                      <a16:colId xmlns:a16="http://schemas.microsoft.com/office/drawing/2014/main" val="4238571193"/>
                    </a:ext>
                  </a:extLst>
                </a:gridCol>
                <a:gridCol w="1325336">
                  <a:extLst>
                    <a:ext uri="{9D8B030D-6E8A-4147-A177-3AD203B41FA5}">
                      <a16:colId xmlns:a16="http://schemas.microsoft.com/office/drawing/2014/main" val="11329721"/>
                    </a:ext>
                  </a:extLst>
                </a:gridCol>
              </a:tblGrid>
              <a:tr h="382771">
                <a:tc>
                  <a:txBody>
                    <a:bodyPr/>
                    <a:lstStyle/>
                    <a:p>
                      <a:r>
                        <a:rPr lang="en-US" sz="1900"/>
                        <a:t>ID</a:t>
                      </a:r>
                    </a:p>
                  </a:txBody>
                  <a:tcPr marL="93248" marR="93248" marT="46624" marB="46624"/>
                </a:tc>
                <a:tc>
                  <a:txBody>
                    <a:bodyPr/>
                    <a:lstStyle/>
                    <a:p>
                      <a:r>
                        <a:rPr lang="en-US" sz="1900"/>
                        <a:t>Value</a:t>
                      </a:r>
                    </a:p>
                  </a:txBody>
                  <a:tcPr marL="93248" marR="93248" marT="46624" marB="46624"/>
                </a:tc>
                <a:extLst>
                  <a:ext uri="{0D108BD9-81ED-4DB2-BD59-A6C34878D82A}">
                    <a16:rowId xmlns:a16="http://schemas.microsoft.com/office/drawing/2014/main" val="4092537062"/>
                  </a:ext>
                </a:extLst>
              </a:tr>
              <a:tr h="382771">
                <a:tc>
                  <a:txBody>
                    <a:bodyPr/>
                    <a:lstStyle/>
                    <a:p>
                      <a:r>
                        <a:rPr lang="en-US" sz="1900"/>
                        <a:t>0</a:t>
                      </a:r>
                    </a:p>
                  </a:txBody>
                  <a:tcPr marL="93248" marR="93248" marT="46624" marB="46624"/>
                </a:tc>
                <a:tc>
                  <a:txBody>
                    <a:bodyPr/>
                    <a:lstStyle/>
                    <a:p>
                      <a:r>
                        <a:rPr lang="en-US" sz="1900"/>
                        <a:t>10</a:t>
                      </a:r>
                    </a:p>
                  </a:txBody>
                  <a:tcPr marL="93248" marR="93248" marT="46624" marB="46624"/>
                </a:tc>
                <a:extLst>
                  <a:ext uri="{0D108BD9-81ED-4DB2-BD59-A6C34878D82A}">
                    <a16:rowId xmlns:a16="http://schemas.microsoft.com/office/drawing/2014/main" val="2966966809"/>
                  </a:ext>
                </a:extLst>
              </a:tr>
              <a:tr h="382771">
                <a:tc>
                  <a:txBody>
                    <a:bodyPr/>
                    <a:lstStyle/>
                    <a:p>
                      <a:r>
                        <a:rPr lang="en-US" sz="1900"/>
                        <a:t>1</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139747291"/>
                  </a:ext>
                </a:extLst>
              </a:tr>
              <a:tr h="382771">
                <a:tc>
                  <a:txBody>
                    <a:bodyPr/>
                    <a:lstStyle/>
                    <a:p>
                      <a:r>
                        <a:rPr lang="en-US" sz="1900"/>
                        <a:t>2</a:t>
                      </a:r>
                    </a:p>
                  </a:txBody>
                  <a:tcPr marL="93248" marR="93248" marT="46624" marB="46624"/>
                </a:tc>
                <a:tc>
                  <a:txBody>
                    <a:bodyPr/>
                    <a:lstStyle/>
                    <a:p>
                      <a:r>
                        <a:rPr lang="en-US" sz="1900"/>
                        <a:t>13</a:t>
                      </a:r>
                    </a:p>
                  </a:txBody>
                  <a:tcPr marL="93248" marR="93248" marT="46624" marB="46624"/>
                </a:tc>
                <a:extLst>
                  <a:ext uri="{0D108BD9-81ED-4DB2-BD59-A6C34878D82A}">
                    <a16:rowId xmlns:a16="http://schemas.microsoft.com/office/drawing/2014/main" val="4149566330"/>
                  </a:ext>
                </a:extLst>
              </a:tr>
              <a:tr h="382771">
                <a:tc>
                  <a:txBody>
                    <a:bodyPr/>
                    <a:lstStyle/>
                    <a:p>
                      <a:r>
                        <a:rPr lang="en-US" sz="1900"/>
                        <a:t>2</a:t>
                      </a:r>
                    </a:p>
                  </a:txBody>
                  <a:tcPr marL="93248" marR="93248" marT="46624" marB="46624"/>
                </a:tc>
                <a:tc>
                  <a:txBody>
                    <a:bodyPr/>
                    <a:lstStyle/>
                    <a:p>
                      <a:r>
                        <a:rPr lang="en-US" sz="1900"/>
                        <a:t>25</a:t>
                      </a:r>
                    </a:p>
                  </a:txBody>
                  <a:tcPr marL="93248" marR="93248" marT="46624" marB="46624"/>
                </a:tc>
                <a:extLst>
                  <a:ext uri="{0D108BD9-81ED-4DB2-BD59-A6C34878D82A}">
                    <a16:rowId xmlns:a16="http://schemas.microsoft.com/office/drawing/2014/main" val="346437377"/>
                  </a:ext>
                </a:extLst>
              </a:tr>
              <a:tr h="382771">
                <a:tc>
                  <a:txBody>
                    <a:bodyPr/>
                    <a:lstStyle/>
                    <a:p>
                      <a:r>
                        <a:rPr lang="en-US" sz="1900"/>
                        <a:t>3</a:t>
                      </a:r>
                    </a:p>
                  </a:txBody>
                  <a:tcPr marL="93248" marR="93248" marT="46624" marB="46624"/>
                </a:tc>
                <a:tc>
                  <a:txBody>
                    <a:bodyPr/>
                    <a:lstStyle/>
                    <a:p>
                      <a:r>
                        <a:rPr lang="en-US" sz="1900"/>
                        <a:t>31</a:t>
                      </a:r>
                    </a:p>
                  </a:txBody>
                  <a:tcPr marL="93248" marR="93248" marT="46624" marB="46624"/>
                </a:tc>
                <a:extLst>
                  <a:ext uri="{0D108BD9-81ED-4DB2-BD59-A6C34878D82A}">
                    <a16:rowId xmlns:a16="http://schemas.microsoft.com/office/drawing/2014/main" val="905654355"/>
                  </a:ext>
                </a:extLst>
              </a:tr>
              <a:tr h="382771">
                <a:tc>
                  <a:txBody>
                    <a:bodyPr/>
                    <a:lstStyle/>
                    <a:p>
                      <a:r>
                        <a:rPr lang="en-US" sz="1900"/>
                        <a:t>3</a:t>
                      </a:r>
                    </a:p>
                  </a:txBody>
                  <a:tcPr marL="93248" marR="93248" marT="46624" marB="46624"/>
                </a:tc>
                <a:tc>
                  <a:txBody>
                    <a:bodyPr/>
                    <a:lstStyle/>
                    <a:p>
                      <a:r>
                        <a:rPr lang="en-US" sz="1900"/>
                        <a:t>41</a:t>
                      </a:r>
                    </a:p>
                  </a:txBody>
                  <a:tcPr marL="93248" marR="93248" marT="46624" marB="46624"/>
                </a:tc>
                <a:extLst>
                  <a:ext uri="{0D108BD9-81ED-4DB2-BD59-A6C34878D82A}">
                    <a16:rowId xmlns:a16="http://schemas.microsoft.com/office/drawing/2014/main" val="3057340688"/>
                  </a:ext>
                </a:extLst>
              </a:tr>
              <a:tr h="382771">
                <a:tc>
                  <a:txBody>
                    <a:bodyPr/>
                    <a:lstStyle/>
                    <a:p>
                      <a:r>
                        <a:rPr lang="en-US" sz="1900"/>
                        <a:t>0</a:t>
                      </a:r>
                    </a:p>
                  </a:txBody>
                  <a:tcPr marL="93248" marR="93248" marT="46624" marB="46624"/>
                </a:tc>
                <a:tc>
                  <a:txBody>
                    <a:bodyPr/>
                    <a:lstStyle/>
                    <a:p>
                      <a:r>
                        <a:rPr lang="en-US" sz="1900"/>
                        <a:t>11</a:t>
                      </a:r>
                    </a:p>
                  </a:txBody>
                  <a:tcPr marL="93248" marR="93248" marT="46624" marB="46624"/>
                </a:tc>
                <a:extLst>
                  <a:ext uri="{0D108BD9-81ED-4DB2-BD59-A6C34878D82A}">
                    <a16:rowId xmlns:a16="http://schemas.microsoft.com/office/drawing/2014/main" val="3744258451"/>
                  </a:ext>
                </a:extLst>
              </a:tr>
              <a:tr h="382771">
                <a:tc>
                  <a:txBody>
                    <a:bodyPr/>
                    <a:lstStyle/>
                    <a:p>
                      <a:r>
                        <a:rPr lang="en-US" sz="1900"/>
                        <a:t>1</a:t>
                      </a:r>
                    </a:p>
                  </a:txBody>
                  <a:tcPr marL="93248" marR="93248" marT="46624" marB="46624"/>
                </a:tc>
                <a:tc>
                  <a:txBody>
                    <a:bodyPr/>
                    <a:lstStyle/>
                    <a:p>
                      <a:r>
                        <a:rPr lang="en-US" sz="1900"/>
                        <a:t>14</a:t>
                      </a:r>
                    </a:p>
                  </a:txBody>
                  <a:tcPr marL="93248" marR="93248" marT="46624" marB="46624"/>
                </a:tc>
                <a:extLst>
                  <a:ext uri="{0D108BD9-81ED-4DB2-BD59-A6C34878D82A}">
                    <a16:rowId xmlns:a16="http://schemas.microsoft.com/office/drawing/2014/main" val="405235012"/>
                  </a:ext>
                </a:extLst>
              </a:tr>
              <a:tr h="382771">
                <a:tc>
                  <a:txBody>
                    <a:bodyPr/>
                    <a:lstStyle/>
                    <a:p>
                      <a:r>
                        <a:rPr lang="en-US" sz="1900"/>
                        <a:t>4</a:t>
                      </a:r>
                    </a:p>
                  </a:txBody>
                  <a:tcPr marL="93248" marR="93248" marT="46624" marB="46624"/>
                </a:tc>
                <a:tc>
                  <a:txBody>
                    <a:bodyPr/>
                    <a:lstStyle/>
                    <a:p>
                      <a:r>
                        <a:rPr lang="en-US" sz="1900"/>
                        <a:t>21</a:t>
                      </a:r>
                    </a:p>
                  </a:txBody>
                  <a:tcPr marL="93248" marR="93248" marT="46624" marB="46624"/>
                </a:tc>
                <a:extLst>
                  <a:ext uri="{0D108BD9-81ED-4DB2-BD59-A6C34878D82A}">
                    <a16:rowId xmlns:a16="http://schemas.microsoft.com/office/drawing/2014/main" val="240716551"/>
                  </a:ext>
                </a:extLst>
              </a:tr>
              <a:tr h="382771">
                <a:tc>
                  <a:txBody>
                    <a:bodyPr/>
                    <a:lstStyle/>
                    <a:p>
                      <a:r>
                        <a:rPr lang="en-US" sz="1900"/>
                        <a:t>5</a:t>
                      </a:r>
                    </a:p>
                  </a:txBody>
                  <a:tcPr marL="93248" marR="93248" marT="46624" marB="46624"/>
                </a:tc>
                <a:tc>
                  <a:txBody>
                    <a:bodyPr/>
                    <a:lstStyle/>
                    <a:p>
                      <a:r>
                        <a:rPr lang="en-US" sz="1900"/>
                        <a:t>6</a:t>
                      </a:r>
                    </a:p>
                  </a:txBody>
                  <a:tcPr marL="93248" marR="93248" marT="46624" marB="46624"/>
                </a:tc>
                <a:extLst>
                  <a:ext uri="{0D108BD9-81ED-4DB2-BD59-A6C34878D82A}">
                    <a16:rowId xmlns:a16="http://schemas.microsoft.com/office/drawing/2014/main" val="2765816756"/>
                  </a:ext>
                </a:extLst>
              </a:tr>
              <a:tr h="382771">
                <a:tc>
                  <a:txBody>
                    <a:bodyPr/>
                    <a:lstStyle/>
                    <a:p>
                      <a:r>
                        <a:rPr lang="en-US" sz="1900"/>
                        <a:t>0</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1703907355"/>
                  </a:ext>
                </a:extLst>
              </a:tr>
            </a:tbl>
          </a:graphicData>
        </a:graphic>
      </p:graphicFrame>
      <p:graphicFrame>
        <p:nvGraphicFramePr>
          <p:cNvPr id="5" name="Table 4">
            <a:extLst>
              <a:ext uri="{FF2B5EF4-FFF2-40B4-BE49-F238E27FC236}">
                <a16:creationId xmlns:a16="http://schemas.microsoft.com/office/drawing/2014/main" id="{81FEF50E-0141-4BD3-B2C9-AA9A8770E577}"/>
              </a:ext>
            </a:extLst>
          </p:cNvPr>
          <p:cNvGraphicFramePr>
            <a:graphicFrameLocks noGrp="1"/>
          </p:cNvGraphicFramePr>
          <p:nvPr/>
        </p:nvGraphicFramePr>
        <p:xfrm>
          <a:off x="6218237" y="1699339"/>
          <a:ext cx="4177528" cy="2969216"/>
        </p:xfrm>
        <a:graphic>
          <a:graphicData uri="http://schemas.openxmlformats.org/drawingml/2006/table">
            <a:tbl>
              <a:tblPr firstRow="1" bandRow="1">
                <a:tableStyleId>{0E3FDE45-AF77-4B5C-9715-49D594BDF05E}</a:tableStyleId>
              </a:tblPr>
              <a:tblGrid>
                <a:gridCol w="1613555">
                  <a:extLst>
                    <a:ext uri="{9D8B030D-6E8A-4147-A177-3AD203B41FA5}">
                      <a16:colId xmlns:a16="http://schemas.microsoft.com/office/drawing/2014/main" val="3362507804"/>
                    </a:ext>
                  </a:extLst>
                </a:gridCol>
                <a:gridCol w="1000437">
                  <a:extLst>
                    <a:ext uri="{9D8B030D-6E8A-4147-A177-3AD203B41FA5}">
                      <a16:colId xmlns:a16="http://schemas.microsoft.com/office/drawing/2014/main" val="3411275190"/>
                    </a:ext>
                  </a:extLst>
                </a:gridCol>
                <a:gridCol w="1563536">
                  <a:extLst>
                    <a:ext uri="{9D8B030D-6E8A-4147-A177-3AD203B41FA5}">
                      <a16:colId xmlns:a16="http://schemas.microsoft.com/office/drawing/2014/main" val="230633731"/>
                    </a:ext>
                  </a:extLst>
                </a:gridCol>
              </a:tblGrid>
              <a:tr h="672294">
                <a:tc>
                  <a:txBody>
                    <a:bodyPr/>
                    <a:lstStyle/>
                    <a:p>
                      <a:r>
                        <a:rPr lang="en-US" sz="1900"/>
                        <a:t>Dictionary ID</a:t>
                      </a:r>
                    </a:p>
                  </a:txBody>
                  <a:tcPr marL="93248" marR="93248" marT="46624" marB="46624"/>
                </a:tc>
                <a:tc>
                  <a:txBody>
                    <a:bodyPr/>
                    <a:lstStyle/>
                    <a:p>
                      <a:r>
                        <a:rPr lang="en-US" sz="1900"/>
                        <a:t>Color</a:t>
                      </a:r>
                    </a:p>
                  </a:txBody>
                  <a:tcPr marL="93248" marR="93248" marT="46624" marB="46624"/>
                </a:tc>
                <a:tc>
                  <a:txBody>
                    <a:bodyPr/>
                    <a:lstStyle/>
                    <a:p>
                      <a:r>
                        <a:rPr lang="en-US" sz="1900"/>
                        <a:t>Value (SUM)</a:t>
                      </a:r>
                    </a:p>
                  </a:txBody>
                  <a:tcPr marL="93248" marR="93248" marT="46624" marB="46624"/>
                </a:tc>
                <a:extLst>
                  <a:ext uri="{0D108BD9-81ED-4DB2-BD59-A6C34878D82A}">
                    <a16:rowId xmlns:a16="http://schemas.microsoft.com/office/drawing/2014/main" val="615278999"/>
                  </a:ext>
                </a:extLst>
              </a:tr>
              <a:tr h="382771">
                <a:tc>
                  <a:txBody>
                    <a:bodyPr/>
                    <a:lstStyle/>
                    <a:p>
                      <a:r>
                        <a:rPr lang="en-US" sz="1900"/>
                        <a:t>0</a:t>
                      </a:r>
                    </a:p>
                  </a:txBody>
                  <a:tcPr marL="93248" marR="93248" marT="46624" marB="46624"/>
                </a:tc>
                <a:tc>
                  <a:txBody>
                    <a:bodyPr/>
                    <a:lstStyle/>
                    <a:p>
                      <a:r>
                        <a:rPr lang="en-US" sz="1900"/>
                        <a:t>Red</a:t>
                      </a:r>
                    </a:p>
                  </a:txBody>
                  <a:tcPr marL="93248" marR="93248" marT="46624" marB="46624"/>
                </a:tc>
                <a:tc>
                  <a:txBody>
                    <a:bodyPr/>
                    <a:lstStyle/>
                    <a:p>
                      <a:r>
                        <a:rPr lang="en-US" sz="1900"/>
                        <a:t>36</a:t>
                      </a:r>
                    </a:p>
                  </a:txBody>
                  <a:tcPr marL="93248" marR="93248" marT="46624" marB="46624"/>
                </a:tc>
                <a:extLst>
                  <a:ext uri="{0D108BD9-81ED-4DB2-BD59-A6C34878D82A}">
                    <a16:rowId xmlns:a16="http://schemas.microsoft.com/office/drawing/2014/main" val="4205088475"/>
                  </a:ext>
                </a:extLst>
              </a:tr>
              <a:tr h="382771">
                <a:tc>
                  <a:txBody>
                    <a:bodyPr/>
                    <a:lstStyle/>
                    <a:p>
                      <a:r>
                        <a:rPr lang="en-US" sz="1900"/>
                        <a:t>1</a:t>
                      </a:r>
                    </a:p>
                  </a:txBody>
                  <a:tcPr marL="93248" marR="93248" marT="46624" marB="46624"/>
                </a:tc>
                <a:tc>
                  <a:txBody>
                    <a:bodyPr/>
                    <a:lstStyle/>
                    <a:p>
                      <a:r>
                        <a:rPr lang="en-US" sz="1900"/>
                        <a:t>Blue</a:t>
                      </a:r>
                    </a:p>
                  </a:txBody>
                  <a:tcPr marL="93248" marR="93248" marT="46624" marB="46624"/>
                </a:tc>
                <a:tc>
                  <a:txBody>
                    <a:bodyPr/>
                    <a:lstStyle/>
                    <a:p>
                      <a:r>
                        <a:rPr lang="en-US" sz="1900"/>
                        <a:t>29</a:t>
                      </a:r>
                    </a:p>
                  </a:txBody>
                  <a:tcPr marL="93248" marR="93248" marT="46624" marB="46624"/>
                </a:tc>
                <a:extLst>
                  <a:ext uri="{0D108BD9-81ED-4DB2-BD59-A6C34878D82A}">
                    <a16:rowId xmlns:a16="http://schemas.microsoft.com/office/drawing/2014/main" val="4255828405"/>
                  </a:ext>
                </a:extLst>
              </a:tr>
              <a:tr h="382771">
                <a:tc>
                  <a:txBody>
                    <a:bodyPr/>
                    <a:lstStyle/>
                    <a:p>
                      <a:r>
                        <a:rPr lang="en-US" sz="1900"/>
                        <a:t>2</a:t>
                      </a:r>
                    </a:p>
                  </a:txBody>
                  <a:tcPr marL="93248" marR="93248" marT="46624" marB="46624"/>
                </a:tc>
                <a:tc>
                  <a:txBody>
                    <a:bodyPr/>
                    <a:lstStyle/>
                    <a:p>
                      <a:r>
                        <a:rPr lang="en-US" sz="1900"/>
                        <a:t>Green</a:t>
                      </a:r>
                    </a:p>
                  </a:txBody>
                  <a:tcPr marL="93248" marR="93248" marT="46624" marB="46624"/>
                </a:tc>
                <a:tc>
                  <a:txBody>
                    <a:bodyPr/>
                    <a:lstStyle/>
                    <a:p>
                      <a:r>
                        <a:rPr lang="en-US" sz="1900"/>
                        <a:t>38</a:t>
                      </a:r>
                    </a:p>
                  </a:txBody>
                  <a:tcPr marL="93248" marR="93248" marT="46624" marB="46624"/>
                </a:tc>
                <a:extLst>
                  <a:ext uri="{0D108BD9-81ED-4DB2-BD59-A6C34878D82A}">
                    <a16:rowId xmlns:a16="http://schemas.microsoft.com/office/drawing/2014/main" val="1254543638"/>
                  </a:ext>
                </a:extLst>
              </a:tr>
              <a:tr h="382771">
                <a:tc>
                  <a:txBody>
                    <a:bodyPr/>
                    <a:lstStyle/>
                    <a:p>
                      <a:r>
                        <a:rPr lang="en-US" sz="1900"/>
                        <a:t>3</a:t>
                      </a:r>
                    </a:p>
                  </a:txBody>
                  <a:tcPr marL="93248" marR="93248" marT="46624" marB="46624"/>
                </a:tc>
                <a:tc>
                  <a:txBody>
                    <a:bodyPr/>
                    <a:lstStyle/>
                    <a:p>
                      <a:r>
                        <a:rPr lang="en-US" sz="1900"/>
                        <a:t>Yellow</a:t>
                      </a:r>
                    </a:p>
                  </a:txBody>
                  <a:tcPr marL="93248" marR="93248" marT="46624" marB="46624"/>
                </a:tc>
                <a:tc>
                  <a:txBody>
                    <a:bodyPr/>
                    <a:lstStyle/>
                    <a:p>
                      <a:r>
                        <a:rPr lang="en-US" sz="1900"/>
                        <a:t>72</a:t>
                      </a:r>
                    </a:p>
                  </a:txBody>
                  <a:tcPr marL="93248" marR="93248" marT="46624" marB="46624"/>
                </a:tc>
                <a:extLst>
                  <a:ext uri="{0D108BD9-81ED-4DB2-BD59-A6C34878D82A}">
                    <a16:rowId xmlns:a16="http://schemas.microsoft.com/office/drawing/2014/main" val="1779252747"/>
                  </a:ext>
                </a:extLst>
              </a:tr>
              <a:tr h="382771">
                <a:tc>
                  <a:txBody>
                    <a:bodyPr/>
                    <a:lstStyle/>
                    <a:p>
                      <a:r>
                        <a:rPr lang="en-US" sz="1900"/>
                        <a:t>4</a:t>
                      </a:r>
                    </a:p>
                  </a:txBody>
                  <a:tcPr marL="93248" marR="93248" marT="46624" marB="46624"/>
                </a:tc>
                <a:tc>
                  <a:txBody>
                    <a:bodyPr/>
                    <a:lstStyle/>
                    <a:p>
                      <a:r>
                        <a:rPr lang="en-US" sz="1900"/>
                        <a:t>Purple</a:t>
                      </a:r>
                    </a:p>
                  </a:txBody>
                  <a:tcPr marL="93248" marR="93248" marT="46624" marB="46624"/>
                </a:tc>
                <a:tc>
                  <a:txBody>
                    <a:bodyPr/>
                    <a:lstStyle/>
                    <a:p>
                      <a:r>
                        <a:rPr lang="en-US" sz="1900"/>
                        <a:t>21</a:t>
                      </a:r>
                    </a:p>
                  </a:txBody>
                  <a:tcPr marL="93248" marR="93248" marT="46624" marB="46624"/>
                </a:tc>
                <a:extLst>
                  <a:ext uri="{0D108BD9-81ED-4DB2-BD59-A6C34878D82A}">
                    <a16:rowId xmlns:a16="http://schemas.microsoft.com/office/drawing/2014/main" val="1004245262"/>
                  </a:ext>
                </a:extLst>
              </a:tr>
              <a:tr h="382771">
                <a:tc>
                  <a:txBody>
                    <a:bodyPr/>
                    <a:lstStyle/>
                    <a:p>
                      <a:r>
                        <a:rPr lang="en-US" sz="1900"/>
                        <a:t>5</a:t>
                      </a:r>
                    </a:p>
                  </a:txBody>
                  <a:tcPr marL="93248" marR="93248" marT="46624" marB="46624"/>
                </a:tc>
                <a:tc>
                  <a:txBody>
                    <a:bodyPr/>
                    <a:lstStyle/>
                    <a:p>
                      <a:r>
                        <a:rPr lang="en-US" sz="1900"/>
                        <a:t>Orange</a:t>
                      </a:r>
                    </a:p>
                  </a:txBody>
                  <a:tcPr marL="93248" marR="93248" marT="46624" marB="46624"/>
                </a:tc>
                <a:tc>
                  <a:txBody>
                    <a:bodyPr/>
                    <a:lstStyle/>
                    <a:p>
                      <a:r>
                        <a:rPr lang="en-US" sz="1900"/>
                        <a:t>6</a:t>
                      </a:r>
                    </a:p>
                  </a:txBody>
                  <a:tcPr marL="93248" marR="93248" marT="46624" marB="46624"/>
                </a:tc>
                <a:extLst>
                  <a:ext uri="{0D108BD9-81ED-4DB2-BD59-A6C34878D82A}">
                    <a16:rowId xmlns:a16="http://schemas.microsoft.com/office/drawing/2014/main" val="3216277509"/>
                  </a:ext>
                </a:extLst>
              </a:tr>
            </a:tbl>
          </a:graphicData>
        </a:graphic>
      </p:graphicFrame>
      <p:cxnSp>
        <p:nvCxnSpPr>
          <p:cNvPr id="7" name="Straight Connector 6">
            <a:extLst>
              <a:ext uri="{FF2B5EF4-FFF2-40B4-BE49-F238E27FC236}">
                <a16:creationId xmlns:a16="http://schemas.microsoft.com/office/drawing/2014/main" id="{AB97C982-6DD8-4B13-BC4C-7DDFF7D6B564}"/>
              </a:ext>
            </a:extLst>
          </p:cNvPr>
          <p:cNvCxnSpPr>
            <a:cxnSpLocks/>
          </p:cNvCxnSpPr>
          <p:nvPr/>
        </p:nvCxnSpPr>
        <p:spPr>
          <a:xfrm>
            <a:off x="3792538" y="2214933"/>
            <a:ext cx="2438653" cy="272009"/>
          </a:xfrm>
          <a:prstGeom prst="line">
            <a:avLst/>
          </a:prstGeom>
          <a:ln>
            <a:solidFill>
              <a:srgbClr val="FF0000"/>
            </a:solidFill>
          </a:ln>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21D23A73-A532-4607-9A4F-F7D9CA4274F6}"/>
              </a:ext>
            </a:extLst>
          </p:cNvPr>
          <p:cNvCxnSpPr>
            <a:cxnSpLocks/>
            <a:endCxn id="25" idx="1"/>
          </p:cNvCxnSpPr>
          <p:nvPr/>
        </p:nvCxnSpPr>
        <p:spPr>
          <a:xfrm>
            <a:off x="3783107" y="2655329"/>
            <a:ext cx="2431413" cy="255001"/>
          </a:xfrm>
          <a:prstGeom prst="line">
            <a:avLst/>
          </a:prstGeom>
        </p:spPr>
        <p:style>
          <a:lnRef idx="1">
            <a:schemeClr val="accent5"/>
          </a:lnRef>
          <a:fillRef idx="0">
            <a:schemeClr val="accent5"/>
          </a:fillRef>
          <a:effectRef idx="0">
            <a:schemeClr val="accent5"/>
          </a:effectRef>
          <a:fontRef idx="minor">
            <a:schemeClr val="tx1"/>
          </a:fontRef>
        </p:style>
      </p:cxnSp>
      <p:cxnSp>
        <p:nvCxnSpPr>
          <p:cNvPr id="11" name="Straight Connector 10">
            <a:extLst>
              <a:ext uri="{FF2B5EF4-FFF2-40B4-BE49-F238E27FC236}">
                <a16:creationId xmlns:a16="http://schemas.microsoft.com/office/drawing/2014/main" id="{58FD321E-1E4B-4DE6-8177-77163F4BC44F}"/>
              </a:ext>
            </a:extLst>
          </p:cNvPr>
          <p:cNvCxnSpPr>
            <a:cxnSpLocks/>
          </p:cNvCxnSpPr>
          <p:nvPr/>
        </p:nvCxnSpPr>
        <p:spPr>
          <a:xfrm>
            <a:off x="3792536" y="2989440"/>
            <a:ext cx="2425702" cy="352388"/>
          </a:xfrm>
          <a:prstGeom prst="line">
            <a:avLst/>
          </a:prstGeom>
        </p:spPr>
        <p:style>
          <a:lnRef idx="1">
            <a:schemeClr val="accent6"/>
          </a:lnRef>
          <a:fillRef idx="0">
            <a:schemeClr val="accent6"/>
          </a:fillRef>
          <a:effectRef idx="0">
            <a:schemeClr val="accent6"/>
          </a:effectRef>
          <a:fontRef idx="minor">
            <a:schemeClr val="tx1"/>
          </a:fontRef>
        </p:style>
      </p:cxnSp>
      <p:sp>
        <p:nvSpPr>
          <p:cNvPr id="17" name="Freeform: Shape 16">
            <a:extLst>
              <a:ext uri="{FF2B5EF4-FFF2-40B4-BE49-F238E27FC236}">
                <a16:creationId xmlns:a16="http://schemas.microsoft.com/office/drawing/2014/main" id="{87B5D4EF-A210-4251-A2FC-74A930C362F4}"/>
              </a:ext>
            </a:extLst>
          </p:cNvPr>
          <p:cNvSpPr/>
          <p:nvPr/>
        </p:nvSpPr>
        <p:spPr>
          <a:xfrm>
            <a:off x="3783107" y="3310742"/>
            <a:ext cx="2423305" cy="56992"/>
          </a:xfrm>
          <a:custGeom>
            <a:avLst/>
            <a:gdLst>
              <a:gd name="connsiteX0" fmla="*/ 0 w 2400300"/>
              <a:gd name="connsiteY0" fmla="*/ 368300 h 368300"/>
              <a:gd name="connsiteX1" fmla="*/ 2400300 w 2400300"/>
              <a:gd name="connsiteY1" fmla="*/ 0 h 368300"/>
            </a:gdLst>
            <a:ahLst/>
            <a:cxnLst>
              <a:cxn ang="0">
                <a:pos x="connsiteX0" y="connsiteY0"/>
              </a:cxn>
              <a:cxn ang="0">
                <a:pos x="connsiteX1" y="connsiteY1"/>
              </a:cxn>
            </a:cxnLst>
            <a:rect l="l" t="t" r="r" b="b"/>
            <a:pathLst>
              <a:path w="2400300" h="368300">
                <a:moveTo>
                  <a:pt x="0" y="368300"/>
                </a:moveTo>
                <a:lnTo>
                  <a:pt x="2400300" y="0"/>
                </a:lnTo>
              </a:path>
            </a:pathLst>
          </a:custGeom>
        </p:spPr>
        <p:style>
          <a:lnRef idx="1">
            <a:schemeClr val="accent6"/>
          </a:lnRef>
          <a:fillRef idx="0">
            <a:schemeClr val="accent6"/>
          </a:fillRef>
          <a:effectRef idx="0">
            <a:schemeClr val="accent6"/>
          </a:effectRef>
          <a:fontRef idx="minor">
            <a:schemeClr val="tx1"/>
          </a:fontRef>
        </p:style>
        <p:txBody>
          <a:bodyPr rtlCol="0" anchor="ctr"/>
          <a:lstStyle/>
          <a:p>
            <a:pPr algn="ctr"/>
            <a:endParaRPr lang="en-US" sz="1836"/>
          </a:p>
        </p:txBody>
      </p:sp>
      <p:sp>
        <p:nvSpPr>
          <p:cNvPr id="19" name="Freeform: Shape 18">
            <a:extLst>
              <a:ext uri="{FF2B5EF4-FFF2-40B4-BE49-F238E27FC236}">
                <a16:creationId xmlns:a16="http://schemas.microsoft.com/office/drawing/2014/main" id="{3474A077-2687-4DA7-AA6D-D3A8E73E8DC0}"/>
              </a:ext>
            </a:extLst>
          </p:cNvPr>
          <p:cNvSpPr/>
          <p:nvPr/>
        </p:nvSpPr>
        <p:spPr>
          <a:xfrm>
            <a:off x="3770151" y="3650034"/>
            <a:ext cx="2463629" cy="130824"/>
          </a:xfrm>
          <a:custGeom>
            <a:avLst/>
            <a:gdLst>
              <a:gd name="connsiteX0" fmla="*/ 0 w 2400300"/>
              <a:gd name="connsiteY0" fmla="*/ 368300 h 368300"/>
              <a:gd name="connsiteX1" fmla="*/ 2400300 w 2400300"/>
              <a:gd name="connsiteY1" fmla="*/ 0 h 368300"/>
            </a:gdLst>
            <a:ahLst/>
            <a:cxnLst>
              <a:cxn ang="0">
                <a:pos x="connsiteX0" y="connsiteY0"/>
              </a:cxn>
              <a:cxn ang="0">
                <a:pos x="connsiteX1" y="connsiteY1"/>
              </a:cxn>
            </a:cxnLst>
            <a:rect l="l" t="t" r="r" b="b"/>
            <a:pathLst>
              <a:path w="2400300" h="368300">
                <a:moveTo>
                  <a:pt x="0" y="368300"/>
                </a:moveTo>
                <a:lnTo>
                  <a:pt x="2400300" y="0"/>
                </a:lnTo>
              </a:path>
            </a:pathLst>
          </a:custGeom>
        </p:spPr>
        <p:style>
          <a:lnRef idx="1">
            <a:schemeClr val="accent4"/>
          </a:lnRef>
          <a:fillRef idx="0">
            <a:schemeClr val="accent4"/>
          </a:fillRef>
          <a:effectRef idx="0">
            <a:schemeClr val="accent4"/>
          </a:effectRef>
          <a:fontRef idx="minor">
            <a:schemeClr val="tx1"/>
          </a:fontRef>
        </p:style>
        <p:txBody>
          <a:bodyPr rtlCol="0" anchor="ctr"/>
          <a:lstStyle/>
          <a:p>
            <a:pPr algn="ctr"/>
            <a:endParaRPr lang="en-US" sz="1836"/>
          </a:p>
        </p:txBody>
      </p:sp>
      <p:sp>
        <p:nvSpPr>
          <p:cNvPr id="21" name="Freeform: Shape 20">
            <a:extLst>
              <a:ext uri="{FF2B5EF4-FFF2-40B4-BE49-F238E27FC236}">
                <a16:creationId xmlns:a16="http://schemas.microsoft.com/office/drawing/2014/main" id="{4AE10696-5E55-49FF-A5A3-C344F6D94D77}"/>
              </a:ext>
            </a:extLst>
          </p:cNvPr>
          <p:cNvSpPr/>
          <p:nvPr/>
        </p:nvSpPr>
        <p:spPr>
          <a:xfrm>
            <a:off x="3785697" y="3697933"/>
            <a:ext cx="2420715" cy="459923"/>
          </a:xfrm>
          <a:custGeom>
            <a:avLst/>
            <a:gdLst>
              <a:gd name="connsiteX0" fmla="*/ 0 w 2385060"/>
              <a:gd name="connsiteY0" fmla="*/ 723900 h 723900"/>
              <a:gd name="connsiteX1" fmla="*/ 2385060 w 2385060"/>
              <a:gd name="connsiteY1" fmla="*/ 0 h 723900"/>
            </a:gdLst>
            <a:ahLst/>
            <a:cxnLst>
              <a:cxn ang="0">
                <a:pos x="connsiteX0" y="connsiteY0"/>
              </a:cxn>
              <a:cxn ang="0">
                <a:pos x="connsiteX1" y="connsiteY1"/>
              </a:cxn>
            </a:cxnLst>
            <a:rect l="l" t="t" r="r" b="b"/>
            <a:pathLst>
              <a:path w="2385060" h="723900">
                <a:moveTo>
                  <a:pt x="0" y="723900"/>
                </a:moveTo>
                <a:cubicBezTo>
                  <a:pt x="1078865" y="363855"/>
                  <a:pt x="2157730" y="3810"/>
                  <a:pt x="2385060" y="0"/>
                </a:cubicBezTo>
              </a:path>
            </a:pathLst>
          </a:custGeom>
        </p:spPr>
        <p:style>
          <a:lnRef idx="1">
            <a:schemeClr val="accent4"/>
          </a:lnRef>
          <a:fillRef idx="0">
            <a:schemeClr val="accent4"/>
          </a:fillRef>
          <a:effectRef idx="0">
            <a:schemeClr val="accent4"/>
          </a:effectRef>
          <a:fontRef idx="minor">
            <a:schemeClr val="tx1"/>
          </a:fontRef>
        </p:style>
        <p:txBody>
          <a:bodyPr rtlCol="0" anchor="ctr"/>
          <a:lstStyle/>
          <a:p>
            <a:pPr algn="ctr"/>
            <a:endParaRPr lang="en-US" sz="1836"/>
          </a:p>
        </p:txBody>
      </p:sp>
      <p:sp>
        <p:nvSpPr>
          <p:cNvPr id="23" name="Freeform: Shape 22">
            <a:extLst>
              <a:ext uri="{FF2B5EF4-FFF2-40B4-BE49-F238E27FC236}">
                <a16:creationId xmlns:a16="http://schemas.microsoft.com/office/drawing/2014/main" id="{03A0FFFE-9A9E-4079-B243-BC60B20A3AB9}"/>
              </a:ext>
            </a:extLst>
          </p:cNvPr>
          <p:cNvSpPr/>
          <p:nvPr/>
        </p:nvSpPr>
        <p:spPr>
          <a:xfrm>
            <a:off x="3773871" y="2534670"/>
            <a:ext cx="2448084" cy="2308193"/>
          </a:xfrm>
          <a:custGeom>
            <a:avLst/>
            <a:gdLst>
              <a:gd name="connsiteX0" fmla="*/ 0 w 2400300"/>
              <a:gd name="connsiteY0" fmla="*/ 2263140 h 2263140"/>
              <a:gd name="connsiteX1" fmla="*/ 2400300 w 2400300"/>
              <a:gd name="connsiteY1" fmla="*/ 0 h 2263140"/>
            </a:gdLst>
            <a:ahLst/>
            <a:cxnLst>
              <a:cxn ang="0">
                <a:pos x="connsiteX0" y="connsiteY0"/>
              </a:cxn>
              <a:cxn ang="0">
                <a:pos x="connsiteX1" y="connsiteY1"/>
              </a:cxn>
            </a:cxnLst>
            <a:rect l="l" t="t" r="r" b="b"/>
            <a:pathLst>
              <a:path w="2400300" h="2263140">
                <a:moveTo>
                  <a:pt x="0" y="2263140"/>
                </a:moveTo>
                <a:lnTo>
                  <a:pt x="2400300" y="0"/>
                </a:lnTo>
              </a:path>
            </a:pathLst>
          </a:custGeom>
          <a:ln>
            <a:solidFill>
              <a:srgbClr val="FF000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US" sz="1836"/>
          </a:p>
        </p:txBody>
      </p:sp>
      <p:sp>
        <p:nvSpPr>
          <p:cNvPr id="25" name="Freeform: Shape 24">
            <a:extLst>
              <a:ext uri="{FF2B5EF4-FFF2-40B4-BE49-F238E27FC236}">
                <a16:creationId xmlns:a16="http://schemas.microsoft.com/office/drawing/2014/main" id="{6799A08C-FA88-42D8-B6A0-32B4974A7148}"/>
              </a:ext>
            </a:extLst>
          </p:cNvPr>
          <p:cNvSpPr/>
          <p:nvPr/>
        </p:nvSpPr>
        <p:spPr>
          <a:xfrm>
            <a:off x="3777926" y="2910330"/>
            <a:ext cx="2436594" cy="2016924"/>
          </a:xfrm>
          <a:custGeom>
            <a:avLst/>
            <a:gdLst>
              <a:gd name="connsiteX0" fmla="*/ 0 w 2407920"/>
              <a:gd name="connsiteY0" fmla="*/ 2202180 h 2202180"/>
              <a:gd name="connsiteX1" fmla="*/ 2407920 w 2407920"/>
              <a:gd name="connsiteY1" fmla="*/ 0 h 2202180"/>
            </a:gdLst>
            <a:ahLst/>
            <a:cxnLst>
              <a:cxn ang="0">
                <a:pos x="connsiteX0" y="connsiteY0"/>
              </a:cxn>
              <a:cxn ang="0">
                <a:pos x="connsiteX1" y="connsiteY1"/>
              </a:cxn>
            </a:cxnLst>
            <a:rect l="l" t="t" r="r" b="b"/>
            <a:pathLst>
              <a:path w="2407920" h="2202180">
                <a:moveTo>
                  <a:pt x="0" y="2202180"/>
                </a:moveTo>
                <a:cubicBezTo>
                  <a:pt x="1052195" y="1174115"/>
                  <a:pt x="2104390" y="146050"/>
                  <a:pt x="2407920" y="0"/>
                </a:cubicBezTo>
              </a:path>
            </a:pathLst>
          </a:custGeom>
        </p:spPr>
        <p:style>
          <a:lnRef idx="1">
            <a:schemeClr val="dk1"/>
          </a:lnRef>
          <a:fillRef idx="0">
            <a:schemeClr val="dk1"/>
          </a:fillRef>
          <a:effectRef idx="0">
            <a:schemeClr val="dk1"/>
          </a:effectRef>
          <a:fontRef idx="minor">
            <a:schemeClr val="tx1"/>
          </a:fontRef>
        </p:style>
        <p:txBody>
          <a:bodyPr rtlCol="0" anchor="ctr"/>
          <a:lstStyle/>
          <a:p>
            <a:pPr algn="ctr"/>
            <a:endParaRPr lang="en-US" sz="1836"/>
          </a:p>
        </p:txBody>
      </p:sp>
      <p:cxnSp>
        <p:nvCxnSpPr>
          <p:cNvPr id="27" name="Straight Connector 26">
            <a:extLst>
              <a:ext uri="{FF2B5EF4-FFF2-40B4-BE49-F238E27FC236}">
                <a16:creationId xmlns:a16="http://schemas.microsoft.com/office/drawing/2014/main" id="{5E3F20DE-BD3C-4E22-9546-A00FB8A9FEB1}"/>
              </a:ext>
            </a:extLst>
          </p:cNvPr>
          <p:cNvCxnSpPr>
            <a:cxnSpLocks/>
          </p:cNvCxnSpPr>
          <p:nvPr/>
        </p:nvCxnSpPr>
        <p:spPr>
          <a:xfrm flipV="1">
            <a:off x="3785697" y="4041281"/>
            <a:ext cx="2432538" cy="1235699"/>
          </a:xfrm>
          <a:prstGeom prst="line">
            <a:avLst/>
          </a:prstGeom>
          <a:ln>
            <a:solidFill>
              <a:srgbClr val="7030A0"/>
            </a:solidFill>
          </a:ln>
        </p:spPr>
        <p:style>
          <a:lnRef idx="1">
            <a:schemeClr val="accent3"/>
          </a:lnRef>
          <a:fillRef idx="0">
            <a:schemeClr val="accent3"/>
          </a:fillRef>
          <a:effectRef idx="0">
            <a:schemeClr val="accent3"/>
          </a:effectRef>
          <a:fontRef idx="minor">
            <a:schemeClr val="tx1"/>
          </a:fontRef>
        </p:style>
      </p:cxnSp>
      <p:cxnSp>
        <p:nvCxnSpPr>
          <p:cNvPr id="29" name="Straight Connector 28">
            <a:extLst>
              <a:ext uri="{FF2B5EF4-FFF2-40B4-BE49-F238E27FC236}">
                <a16:creationId xmlns:a16="http://schemas.microsoft.com/office/drawing/2014/main" id="{83656C9F-37E2-4337-BFB0-6B9EDF72A75B}"/>
              </a:ext>
            </a:extLst>
          </p:cNvPr>
          <p:cNvCxnSpPr>
            <a:cxnSpLocks/>
          </p:cNvCxnSpPr>
          <p:nvPr/>
        </p:nvCxnSpPr>
        <p:spPr>
          <a:xfrm flipV="1">
            <a:off x="3777925" y="4429865"/>
            <a:ext cx="2440310" cy="1227928"/>
          </a:xfrm>
          <a:prstGeom prst="line">
            <a:avLst/>
          </a:prstGeom>
          <a:ln>
            <a:solidFill>
              <a:schemeClr val="accent2"/>
            </a:solidFill>
          </a:ln>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288FE88C-91E5-4C68-A699-81FC55E0171C}"/>
              </a:ext>
            </a:extLst>
          </p:cNvPr>
          <p:cNvCxnSpPr>
            <a:cxnSpLocks/>
          </p:cNvCxnSpPr>
          <p:nvPr/>
        </p:nvCxnSpPr>
        <p:spPr>
          <a:xfrm flipV="1">
            <a:off x="3777925" y="2486942"/>
            <a:ext cx="2440310" cy="3551664"/>
          </a:xfrm>
          <a:prstGeom prst="line">
            <a:avLst/>
          </a:prstGeom>
          <a:ln>
            <a:solidFill>
              <a:srgbClr val="FF0000"/>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55659710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Optimal Sort Order</a:t>
            </a:r>
          </a:p>
        </p:txBody>
      </p:sp>
      <p:graphicFrame>
        <p:nvGraphicFramePr>
          <p:cNvPr id="10" name="Table 9">
            <a:extLst>
              <a:ext uri="{FF2B5EF4-FFF2-40B4-BE49-F238E27FC236}">
                <a16:creationId xmlns:a16="http://schemas.microsoft.com/office/drawing/2014/main" id="{164E9189-3B81-43CA-9B37-C6B48F6A53D9}"/>
              </a:ext>
            </a:extLst>
          </p:cNvPr>
          <p:cNvGraphicFramePr>
            <a:graphicFrameLocks noGrp="1"/>
          </p:cNvGraphicFramePr>
          <p:nvPr>
            <p:extLst>
              <p:ext uri="{D42A27DB-BD31-4B8C-83A1-F6EECF244321}">
                <p14:modId xmlns:p14="http://schemas.microsoft.com/office/powerpoint/2010/main" val="3938203846"/>
              </p:ext>
            </p:extLst>
          </p:nvPr>
        </p:nvGraphicFramePr>
        <p:xfrm>
          <a:off x="855769" y="1699338"/>
          <a:ext cx="2936394" cy="4593696"/>
        </p:xfrm>
        <a:graphic>
          <a:graphicData uri="http://schemas.openxmlformats.org/drawingml/2006/table">
            <a:tbl>
              <a:tblPr firstRow="1" bandRow="1">
                <a:tableStyleId>{0E3FDE45-AF77-4B5C-9715-49D594BDF05E}</a:tableStyleId>
              </a:tblPr>
              <a:tblGrid>
                <a:gridCol w="1611058">
                  <a:extLst>
                    <a:ext uri="{9D8B030D-6E8A-4147-A177-3AD203B41FA5}">
                      <a16:colId xmlns:a16="http://schemas.microsoft.com/office/drawing/2014/main" val="4238571193"/>
                    </a:ext>
                  </a:extLst>
                </a:gridCol>
                <a:gridCol w="1325336">
                  <a:extLst>
                    <a:ext uri="{9D8B030D-6E8A-4147-A177-3AD203B41FA5}">
                      <a16:colId xmlns:a16="http://schemas.microsoft.com/office/drawing/2014/main" val="11329721"/>
                    </a:ext>
                  </a:extLst>
                </a:gridCol>
              </a:tblGrid>
              <a:tr h="382771">
                <a:tc>
                  <a:txBody>
                    <a:bodyPr/>
                    <a:lstStyle/>
                    <a:p>
                      <a:r>
                        <a:rPr lang="en-US" sz="1900"/>
                        <a:t>ID</a:t>
                      </a:r>
                    </a:p>
                  </a:txBody>
                  <a:tcPr marL="93248" marR="93248" marT="46624" marB="46624"/>
                </a:tc>
                <a:tc>
                  <a:txBody>
                    <a:bodyPr/>
                    <a:lstStyle/>
                    <a:p>
                      <a:r>
                        <a:rPr lang="en-US" sz="1900"/>
                        <a:t>Value</a:t>
                      </a:r>
                    </a:p>
                  </a:txBody>
                  <a:tcPr marL="93248" marR="93248" marT="46624" marB="46624"/>
                </a:tc>
                <a:extLst>
                  <a:ext uri="{0D108BD9-81ED-4DB2-BD59-A6C34878D82A}">
                    <a16:rowId xmlns:a16="http://schemas.microsoft.com/office/drawing/2014/main" val="4092537062"/>
                  </a:ext>
                </a:extLst>
              </a:tr>
              <a:tr h="382771">
                <a:tc>
                  <a:txBody>
                    <a:bodyPr/>
                    <a:lstStyle/>
                    <a:p>
                      <a:r>
                        <a:rPr lang="en-US" sz="1900"/>
                        <a:t>0</a:t>
                      </a:r>
                    </a:p>
                  </a:txBody>
                  <a:tcPr marL="93248" marR="93248" marT="46624" marB="46624"/>
                </a:tc>
                <a:tc>
                  <a:txBody>
                    <a:bodyPr/>
                    <a:lstStyle/>
                    <a:p>
                      <a:r>
                        <a:rPr lang="en-US" sz="1900"/>
                        <a:t>10</a:t>
                      </a:r>
                    </a:p>
                  </a:txBody>
                  <a:tcPr marL="93248" marR="93248" marT="46624" marB="46624"/>
                </a:tc>
                <a:extLst>
                  <a:ext uri="{0D108BD9-81ED-4DB2-BD59-A6C34878D82A}">
                    <a16:rowId xmlns:a16="http://schemas.microsoft.com/office/drawing/2014/main" val="2966966809"/>
                  </a:ext>
                </a:extLst>
              </a:tr>
              <a:tr h="382771">
                <a:tc>
                  <a:txBody>
                    <a:bodyPr/>
                    <a:lstStyle/>
                    <a:p>
                      <a:r>
                        <a:rPr lang="en-US" sz="1900"/>
                        <a:t>0</a:t>
                      </a:r>
                    </a:p>
                  </a:txBody>
                  <a:tcPr marL="93248" marR="93248" marT="46624" marB="46624"/>
                </a:tc>
                <a:tc>
                  <a:txBody>
                    <a:bodyPr/>
                    <a:lstStyle/>
                    <a:p>
                      <a:r>
                        <a:rPr lang="en-US" sz="1900"/>
                        <a:t>11</a:t>
                      </a:r>
                    </a:p>
                  </a:txBody>
                  <a:tcPr marL="93248" marR="93248" marT="46624" marB="46624"/>
                </a:tc>
                <a:extLst>
                  <a:ext uri="{0D108BD9-81ED-4DB2-BD59-A6C34878D82A}">
                    <a16:rowId xmlns:a16="http://schemas.microsoft.com/office/drawing/2014/main" val="2223557135"/>
                  </a:ext>
                </a:extLst>
              </a:tr>
              <a:tr h="382771">
                <a:tc>
                  <a:txBody>
                    <a:bodyPr/>
                    <a:lstStyle/>
                    <a:p>
                      <a:r>
                        <a:rPr lang="en-US" sz="1900"/>
                        <a:t>0</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1789230711"/>
                  </a:ext>
                </a:extLst>
              </a:tr>
              <a:tr h="382771">
                <a:tc>
                  <a:txBody>
                    <a:bodyPr/>
                    <a:lstStyle/>
                    <a:p>
                      <a:r>
                        <a:rPr lang="en-US" sz="1900"/>
                        <a:t>1</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723929199"/>
                  </a:ext>
                </a:extLst>
              </a:tr>
              <a:tr h="382771">
                <a:tc>
                  <a:txBody>
                    <a:bodyPr/>
                    <a:lstStyle/>
                    <a:p>
                      <a:r>
                        <a:rPr lang="en-US" sz="1900"/>
                        <a:t>1</a:t>
                      </a:r>
                    </a:p>
                  </a:txBody>
                  <a:tcPr marL="93248" marR="93248" marT="46624" marB="46624"/>
                </a:tc>
                <a:tc>
                  <a:txBody>
                    <a:bodyPr/>
                    <a:lstStyle/>
                    <a:p>
                      <a:r>
                        <a:rPr lang="en-US" sz="1900"/>
                        <a:t>14</a:t>
                      </a:r>
                    </a:p>
                  </a:txBody>
                  <a:tcPr marL="93248" marR="93248" marT="46624" marB="46624"/>
                </a:tc>
                <a:extLst>
                  <a:ext uri="{0D108BD9-81ED-4DB2-BD59-A6C34878D82A}">
                    <a16:rowId xmlns:a16="http://schemas.microsoft.com/office/drawing/2014/main" val="139747291"/>
                  </a:ext>
                </a:extLst>
              </a:tr>
              <a:tr h="382771">
                <a:tc>
                  <a:txBody>
                    <a:bodyPr/>
                    <a:lstStyle/>
                    <a:p>
                      <a:r>
                        <a:rPr lang="en-US" sz="1900"/>
                        <a:t>2</a:t>
                      </a:r>
                    </a:p>
                  </a:txBody>
                  <a:tcPr marL="93248" marR="93248" marT="46624" marB="46624"/>
                </a:tc>
                <a:tc>
                  <a:txBody>
                    <a:bodyPr/>
                    <a:lstStyle/>
                    <a:p>
                      <a:r>
                        <a:rPr lang="en-US" sz="1900"/>
                        <a:t>13</a:t>
                      </a:r>
                    </a:p>
                  </a:txBody>
                  <a:tcPr marL="93248" marR="93248" marT="46624" marB="46624"/>
                </a:tc>
                <a:extLst>
                  <a:ext uri="{0D108BD9-81ED-4DB2-BD59-A6C34878D82A}">
                    <a16:rowId xmlns:a16="http://schemas.microsoft.com/office/drawing/2014/main" val="4149566330"/>
                  </a:ext>
                </a:extLst>
              </a:tr>
              <a:tr h="382771">
                <a:tc>
                  <a:txBody>
                    <a:bodyPr/>
                    <a:lstStyle/>
                    <a:p>
                      <a:r>
                        <a:rPr lang="en-US" sz="1900"/>
                        <a:t>2</a:t>
                      </a:r>
                    </a:p>
                  </a:txBody>
                  <a:tcPr marL="93248" marR="93248" marT="46624" marB="46624"/>
                </a:tc>
                <a:tc>
                  <a:txBody>
                    <a:bodyPr/>
                    <a:lstStyle/>
                    <a:p>
                      <a:r>
                        <a:rPr lang="en-US" sz="1900"/>
                        <a:t>25</a:t>
                      </a:r>
                    </a:p>
                  </a:txBody>
                  <a:tcPr marL="93248" marR="93248" marT="46624" marB="46624"/>
                </a:tc>
                <a:extLst>
                  <a:ext uri="{0D108BD9-81ED-4DB2-BD59-A6C34878D82A}">
                    <a16:rowId xmlns:a16="http://schemas.microsoft.com/office/drawing/2014/main" val="346437377"/>
                  </a:ext>
                </a:extLst>
              </a:tr>
              <a:tr h="382771">
                <a:tc>
                  <a:txBody>
                    <a:bodyPr/>
                    <a:lstStyle/>
                    <a:p>
                      <a:r>
                        <a:rPr lang="en-US" sz="1900"/>
                        <a:t>3</a:t>
                      </a:r>
                    </a:p>
                  </a:txBody>
                  <a:tcPr marL="93248" marR="93248" marT="46624" marB="46624"/>
                </a:tc>
                <a:tc>
                  <a:txBody>
                    <a:bodyPr/>
                    <a:lstStyle/>
                    <a:p>
                      <a:r>
                        <a:rPr lang="en-US" sz="1900"/>
                        <a:t>31</a:t>
                      </a:r>
                    </a:p>
                  </a:txBody>
                  <a:tcPr marL="93248" marR="93248" marT="46624" marB="46624"/>
                </a:tc>
                <a:extLst>
                  <a:ext uri="{0D108BD9-81ED-4DB2-BD59-A6C34878D82A}">
                    <a16:rowId xmlns:a16="http://schemas.microsoft.com/office/drawing/2014/main" val="905654355"/>
                  </a:ext>
                </a:extLst>
              </a:tr>
              <a:tr h="382771">
                <a:tc>
                  <a:txBody>
                    <a:bodyPr/>
                    <a:lstStyle/>
                    <a:p>
                      <a:r>
                        <a:rPr lang="en-US" sz="1900"/>
                        <a:t>3</a:t>
                      </a:r>
                    </a:p>
                  </a:txBody>
                  <a:tcPr marL="93248" marR="93248" marT="46624" marB="46624"/>
                </a:tc>
                <a:tc>
                  <a:txBody>
                    <a:bodyPr/>
                    <a:lstStyle/>
                    <a:p>
                      <a:r>
                        <a:rPr lang="en-US" sz="1900"/>
                        <a:t>41</a:t>
                      </a:r>
                    </a:p>
                  </a:txBody>
                  <a:tcPr marL="93248" marR="93248" marT="46624" marB="46624"/>
                </a:tc>
                <a:extLst>
                  <a:ext uri="{0D108BD9-81ED-4DB2-BD59-A6C34878D82A}">
                    <a16:rowId xmlns:a16="http://schemas.microsoft.com/office/drawing/2014/main" val="3057340688"/>
                  </a:ext>
                </a:extLst>
              </a:tr>
              <a:tr h="382771">
                <a:tc>
                  <a:txBody>
                    <a:bodyPr/>
                    <a:lstStyle/>
                    <a:p>
                      <a:r>
                        <a:rPr lang="en-US" sz="1900"/>
                        <a:t>4</a:t>
                      </a:r>
                    </a:p>
                  </a:txBody>
                  <a:tcPr marL="93248" marR="93248" marT="46624" marB="46624"/>
                </a:tc>
                <a:tc>
                  <a:txBody>
                    <a:bodyPr/>
                    <a:lstStyle/>
                    <a:p>
                      <a:r>
                        <a:rPr lang="en-US" sz="1900"/>
                        <a:t>21</a:t>
                      </a:r>
                    </a:p>
                  </a:txBody>
                  <a:tcPr marL="93248" marR="93248" marT="46624" marB="46624"/>
                </a:tc>
                <a:extLst>
                  <a:ext uri="{0D108BD9-81ED-4DB2-BD59-A6C34878D82A}">
                    <a16:rowId xmlns:a16="http://schemas.microsoft.com/office/drawing/2014/main" val="240716551"/>
                  </a:ext>
                </a:extLst>
              </a:tr>
              <a:tr h="382771">
                <a:tc>
                  <a:txBody>
                    <a:bodyPr/>
                    <a:lstStyle/>
                    <a:p>
                      <a:r>
                        <a:rPr lang="en-US" sz="1900"/>
                        <a:t>5</a:t>
                      </a:r>
                    </a:p>
                  </a:txBody>
                  <a:tcPr marL="93248" marR="93248" marT="46624" marB="46624"/>
                </a:tc>
                <a:tc>
                  <a:txBody>
                    <a:bodyPr/>
                    <a:lstStyle/>
                    <a:p>
                      <a:r>
                        <a:rPr lang="en-US" sz="1900"/>
                        <a:t>6</a:t>
                      </a:r>
                    </a:p>
                  </a:txBody>
                  <a:tcPr marL="93248" marR="93248" marT="46624" marB="46624"/>
                </a:tc>
                <a:extLst>
                  <a:ext uri="{0D108BD9-81ED-4DB2-BD59-A6C34878D82A}">
                    <a16:rowId xmlns:a16="http://schemas.microsoft.com/office/drawing/2014/main" val="2765816756"/>
                  </a:ext>
                </a:extLst>
              </a:tr>
            </a:tbl>
          </a:graphicData>
        </a:graphic>
      </p:graphicFrame>
      <p:graphicFrame>
        <p:nvGraphicFramePr>
          <p:cNvPr id="12" name="Table 11">
            <a:extLst>
              <a:ext uri="{FF2B5EF4-FFF2-40B4-BE49-F238E27FC236}">
                <a16:creationId xmlns:a16="http://schemas.microsoft.com/office/drawing/2014/main" id="{DC9299CE-7511-47A8-9D59-FAAF2F6A744C}"/>
              </a:ext>
            </a:extLst>
          </p:cNvPr>
          <p:cNvGraphicFramePr>
            <a:graphicFrameLocks noGrp="1"/>
          </p:cNvGraphicFramePr>
          <p:nvPr>
            <p:extLst>
              <p:ext uri="{D42A27DB-BD31-4B8C-83A1-F6EECF244321}">
                <p14:modId xmlns:p14="http://schemas.microsoft.com/office/powerpoint/2010/main" val="3415226161"/>
              </p:ext>
            </p:extLst>
          </p:nvPr>
        </p:nvGraphicFramePr>
        <p:xfrm>
          <a:off x="6218237" y="1699339"/>
          <a:ext cx="2610955" cy="2969216"/>
        </p:xfrm>
        <a:graphic>
          <a:graphicData uri="http://schemas.openxmlformats.org/drawingml/2006/table">
            <a:tbl>
              <a:tblPr firstRow="1" bandRow="1">
                <a:tableStyleId>{0E3FDE45-AF77-4B5C-9715-49D594BDF05E}</a:tableStyleId>
              </a:tblPr>
              <a:tblGrid>
                <a:gridCol w="1611681">
                  <a:extLst>
                    <a:ext uri="{9D8B030D-6E8A-4147-A177-3AD203B41FA5}">
                      <a16:colId xmlns:a16="http://schemas.microsoft.com/office/drawing/2014/main" val="3362507804"/>
                    </a:ext>
                  </a:extLst>
                </a:gridCol>
                <a:gridCol w="999274">
                  <a:extLst>
                    <a:ext uri="{9D8B030D-6E8A-4147-A177-3AD203B41FA5}">
                      <a16:colId xmlns:a16="http://schemas.microsoft.com/office/drawing/2014/main" val="3411275190"/>
                    </a:ext>
                  </a:extLst>
                </a:gridCol>
              </a:tblGrid>
              <a:tr h="672294">
                <a:tc>
                  <a:txBody>
                    <a:bodyPr/>
                    <a:lstStyle/>
                    <a:p>
                      <a:r>
                        <a:rPr lang="en-US" sz="1900"/>
                        <a:t>Dictionary ID</a:t>
                      </a:r>
                    </a:p>
                  </a:txBody>
                  <a:tcPr marL="93248" marR="93248" marT="46624" marB="46624"/>
                </a:tc>
                <a:tc>
                  <a:txBody>
                    <a:bodyPr/>
                    <a:lstStyle/>
                    <a:p>
                      <a:r>
                        <a:rPr lang="en-US" sz="1900"/>
                        <a:t>Color</a:t>
                      </a:r>
                    </a:p>
                  </a:txBody>
                  <a:tcPr marL="93248" marR="93248" marT="46624" marB="46624"/>
                </a:tc>
                <a:extLst>
                  <a:ext uri="{0D108BD9-81ED-4DB2-BD59-A6C34878D82A}">
                    <a16:rowId xmlns:a16="http://schemas.microsoft.com/office/drawing/2014/main" val="615278999"/>
                  </a:ext>
                </a:extLst>
              </a:tr>
              <a:tr h="382771">
                <a:tc>
                  <a:txBody>
                    <a:bodyPr/>
                    <a:lstStyle/>
                    <a:p>
                      <a:r>
                        <a:rPr lang="en-US" sz="1900"/>
                        <a:t>0</a:t>
                      </a:r>
                    </a:p>
                  </a:txBody>
                  <a:tcPr marL="93248" marR="93248" marT="46624" marB="46624"/>
                </a:tc>
                <a:tc>
                  <a:txBody>
                    <a:bodyPr/>
                    <a:lstStyle/>
                    <a:p>
                      <a:r>
                        <a:rPr lang="en-US" sz="1900"/>
                        <a:t>Red</a:t>
                      </a:r>
                    </a:p>
                  </a:txBody>
                  <a:tcPr marL="93248" marR="93248" marT="46624" marB="46624"/>
                </a:tc>
                <a:extLst>
                  <a:ext uri="{0D108BD9-81ED-4DB2-BD59-A6C34878D82A}">
                    <a16:rowId xmlns:a16="http://schemas.microsoft.com/office/drawing/2014/main" val="4205088475"/>
                  </a:ext>
                </a:extLst>
              </a:tr>
              <a:tr h="382771">
                <a:tc>
                  <a:txBody>
                    <a:bodyPr/>
                    <a:lstStyle/>
                    <a:p>
                      <a:r>
                        <a:rPr lang="en-US" sz="1900"/>
                        <a:t>1</a:t>
                      </a:r>
                    </a:p>
                  </a:txBody>
                  <a:tcPr marL="93248" marR="93248" marT="46624" marB="46624"/>
                </a:tc>
                <a:tc>
                  <a:txBody>
                    <a:bodyPr/>
                    <a:lstStyle/>
                    <a:p>
                      <a:r>
                        <a:rPr lang="en-US" sz="1900"/>
                        <a:t>Blue</a:t>
                      </a:r>
                    </a:p>
                  </a:txBody>
                  <a:tcPr marL="93248" marR="93248" marT="46624" marB="46624"/>
                </a:tc>
                <a:extLst>
                  <a:ext uri="{0D108BD9-81ED-4DB2-BD59-A6C34878D82A}">
                    <a16:rowId xmlns:a16="http://schemas.microsoft.com/office/drawing/2014/main" val="4255828405"/>
                  </a:ext>
                </a:extLst>
              </a:tr>
              <a:tr h="382771">
                <a:tc>
                  <a:txBody>
                    <a:bodyPr/>
                    <a:lstStyle/>
                    <a:p>
                      <a:r>
                        <a:rPr lang="en-US" sz="1900"/>
                        <a:t>2</a:t>
                      </a:r>
                    </a:p>
                  </a:txBody>
                  <a:tcPr marL="93248" marR="93248" marT="46624" marB="46624"/>
                </a:tc>
                <a:tc>
                  <a:txBody>
                    <a:bodyPr/>
                    <a:lstStyle/>
                    <a:p>
                      <a:r>
                        <a:rPr lang="en-US" sz="1900"/>
                        <a:t>Green</a:t>
                      </a:r>
                    </a:p>
                  </a:txBody>
                  <a:tcPr marL="93248" marR="93248" marT="46624" marB="46624"/>
                </a:tc>
                <a:extLst>
                  <a:ext uri="{0D108BD9-81ED-4DB2-BD59-A6C34878D82A}">
                    <a16:rowId xmlns:a16="http://schemas.microsoft.com/office/drawing/2014/main" val="1254543638"/>
                  </a:ext>
                </a:extLst>
              </a:tr>
              <a:tr h="382771">
                <a:tc>
                  <a:txBody>
                    <a:bodyPr/>
                    <a:lstStyle/>
                    <a:p>
                      <a:r>
                        <a:rPr lang="en-US" sz="1900"/>
                        <a:t>3</a:t>
                      </a:r>
                    </a:p>
                  </a:txBody>
                  <a:tcPr marL="93248" marR="93248" marT="46624" marB="46624"/>
                </a:tc>
                <a:tc>
                  <a:txBody>
                    <a:bodyPr/>
                    <a:lstStyle/>
                    <a:p>
                      <a:r>
                        <a:rPr lang="en-US" sz="1900"/>
                        <a:t>Yellow</a:t>
                      </a:r>
                    </a:p>
                  </a:txBody>
                  <a:tcPr marL="93248" marR="93248" marT="46624" marB="46624"/>
                </a:tc>
                <a:extLst>
                  <a:ext uri="{0D108BD9-81ED-4DB2-BD59-A6C34878D82A}">
                    <a16:rowId xmlns:a16="http://schemas.microsoft.com/office/drawing/2014/main" val="1779252747"/>
                  </a:ext>
                </a:extLst>
              </a:tr>
              <a:tr h="382771">
                <a:tc>
                  <a:txBody>
                    <a:bodyPr/>
                    <a:lstStyle/>
                    <a:p>
                      <a:r>
                        <a:rPr lang="en-US" sz="1900"/>
                        <a:t>4</a:t>
                      </a:r>
                    </a:p>
                  </a:txBody>
                  <a:tcPr marL="93248" marR="93248" marT="46624" marB="46624"/>
                </a:tc>
                <a:tc>
                  <a:txBody>
                    <a:bodyPr/>
                    <a:lstStyle/>
                    <a:p>
                      <a:r>
                        <a:rPr lang="en-US" sz="1900"/>
                        <a:t>Purple</a:t>
                      </a:r>
                    </a:p>
                  </a:txBody>
                  <a:tcPr marL="93248" marR="93248" marT="46624" marB="46624"/>
                </a:tc>
                <a:extLst>
                  <a:ext uri="{0D108BD9-81ED-4DB2-BD59-A6C34878D82A}">
                    <a16:rowId xmlns:a16="http://schemas.microsoft.com/office/drawing/2014/main" val="1004245262"/>
                  </a:ext>
                </a:extLst>
              </a:tr>
              <a:tr h="382771">
                <a:tc>
                  <a:txBody>
                    <a:bodyPr/>
                    <a:lstStyle/>
                    <a:p>
                      <a:r>
                        <a:rPr lang="en-US" sz="1900"/>
                        <a:t>5</a:t>
                      </a:r>
                    </a:p>
                  </a:txBody>
                  <a:tcPr marL="93248" marR="93248" marT="46624" marB="46624"/>
                </a:tc>
                <a:tc>
                  <a:txBody>
                    <a:bodyPr/>
                    <a:lstStyle/>
                    <a:p>
                      <a:r>
                        <a:rPr lang="en-US" sz="1900"/>
                        <a:t>Orange</a:t>
                      </a:r>
                    </a:p>
                  </a:txBody>
                  <a:tcPr marL="93248" marR="93248" marT="46624" marB="46624"/>
                </a:tc>
                <a:extLst>
                  <a:ext uri="{0D108BD9-81ED-4DB2-BD59-A6C34878D82A}">
                    <a16:rowId xmlns:a16="http://schemas.microsoft.com/office/drawing/2014/main" val="3216277509"/>
                  </a:ext>
                </a:extLst>
              </a:tr>
            </a:tbl>
          </a:graphicData>
        </a:graphic>
      </p:graphicFrame>
      <p:pic>
        <p:nvPicPr>
          <p:cNvPr id="18" name="Picture 2" descr="See the source image">
            <a:extLst>
              <a:ext uri="{FF2B5EF4-FFF2-40B4-BE49-F238E27FC236}">
                <a16:creationId xmlns:a16="http://schemas.microsoft.com/office/drawing/2014/main" id="{4BC6F4BE-9890-4F38-B332-F7C12E002E3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1042" y="1792599"/>
            <a:ext cx="181411" cy="1814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111575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Run Length Encoding</a:t>
            </a:r>
          </a:p>
        </p:txBody>
      </p:sp>
      <p:graphicFrame>
        <p:nvGraphicFramePr>
          <p:cNvPr id="8" name="Table 7">
            <a:extLst>
              <a:ext uri="{FF2B5EF4-FFF2-40B4-BE49-F238E27FC236}">
                <a16:creationId xmlns:a16="http://schemas.microsoft.com/office/drawing/2014/main" id="{E7871D9C-5A08-4584-89C7-DF84EFA1C909}"/>
              </a:ext>
            </a:extLst>
          </p:cNvPr>
          <p:cNvGraphicFramePr>
            <a:graphicFrameLocks noGrp="1"/>
          </p:cNvGraphicFramePr>
          <p:nvPr/>
        </p:nvGraphicFramePr>
        <p:xfrm>
          <a:off x="855769" y="1699338"/>
          <a:ext cx="2936394" cy="4593696"/>
        </p:xfrm>
        <a:graphic>
          <a:graphicData uri="http://schemas.openxmlformats.org/drawingml/2006/table">
            <a:tbl>
              <a:tblPr firstRow="1" bandRow="1">
                <a:tableStyleId>{0E3FDE45-AF77-4B5C-9715-49D594BDF05E}</a:tableStyleId>
              </a:tblPr>
              <a:tblGrid>
                <a:gridCol w="1611058">
                  <a:extLst>
                    <a:ext uri="{9D8B030D-6E8A-4147-A177-3AD203B41FA5}">
                      <a16:colId xmlns:a16="http://schemas.microsoft.com/office/drawing/2014/main" val="4238571193"/>
                    </a:ext>
                  </a:extLst>
                </a:gridCol>
                <a:gridCol w="1325336">
                  <a:extLst>
                    <a:ext uri="{9D8B030D-6E8A-4147-A177-3AD203B41FA5}">
                      <a16:colId xmlns:a16="http://schemas.microsoft.com/office/drawing/2014/main" val="11329721"/>
                    </a:ext>
                  </a:extLst>
                </a:gridCol>
              </a:tblGrid>
              <a:tr h="382771">
                <a:tc>
                  <a:txBody>
                    <a:bodyPr/>
                    <a:lstStyle/>
                    <a:p>
                      <a:r>
                        <a:rPr lang="en-US" sz="1900"/>
                        <a:t>ID</a:t>
                      </a:r>
                    </a:p>
                  </a:txBody>
                  <a:tcPr marL="93248" marR="93248" marT="46624" marB="46624"/>
                </a:tc>
                <a:tc>
                  <a:txBody>
                    <a:bodyPr/>
                    <a:lstStyle/>
                    <a:p>
                      <a:r>
                        <a:rPr lang="en-US" sz="1900"/>
                        <a:t>Value</a:t>
                      </a:r>
                    </a:p>
                  </a:txBody>
                  <a:tcPr marL="93248" marR="93248" marT="46624" marB="46624"/>
                </a:tc>
                <a:extLst>
                  <a:ext uri="{0D108BD9-81ED-4DB2-BD59-A6C34878D82A}">
                    <a16:rowId xmlns:a16="http://schemas.microsoft.com/office/drawing/2014/main" val="4092537062"/>
                  </a:ext>
                </a:extLst>
              </a:tr>
              <a:tr h="382771">
                <a:tc>
                  <a:txBody>
                    <a:bodyPr/>
                    <a:lstStyle/>
                    <a:p>
                      <a:r>
                        <a:rPr lang="en-US" sz="1900"/>
                        <a:t>0</a:t>
                      </a:r>
                    </a:p>
                  </a:txBody>
                  <a:tcPr marL="93248" marR="93248" marT="46624" marB="46624"/>
                </a:tc>
                <a:tc>
                  <a:txBody>
                    <a:bodyPr/>
                    <a:lstStyle/>
                    <a:p>
                      <a:r>
                        <a:rPr lang="en-US" sz="1900"/>
                        <a:t>10</a:t>
                      </a:r>
                    </a:p>
                  </a:txBody>
                  <a:tcPr marL="93248" marR="93248" marT="46624" marB="46624"/>
                </a:tc>
                <a:extLst>
                  <a:ext uri="{0D108BD9-81ED-4DB2-BD59-A6C34878D82A}">
                    <a16:rowId xmlns:a16="http://schemas.microsoft.com/office/drawing/2014/main" val="2966966809"/>
                  </a:ext>
                </a:extLst>
              </a:tr>
              <a:tr h="382771">
                <a:tc>
                  <a:txBody>
                    <a:bodyPr/>
                    <a:lstStyle/>
                    <a:p>
                      <a:r>
                        <a:rPr lang="en-US" sz="1900"/>
                        <a:t>0</a:t>
                      </a:r>
                    </a:p>
                  </a:txBody>
                  <a:tcPr marL="93248" marR="93248" marT="46624" marB="46624"/>
                </a:tc>
                <a:tc>
                  <a:txBody>
                    <a:bodyPr/>
                    <a:lstStyle/>
                    <a:p>
                      <a:r>
                        <a:rPr lang="en-US" sz="1900"/>
                        <a:t>11</a:t>
                      </a:r>
                    </a:p>
                  </a:txBody>
                  <a:tcPr marL="93248" marR="93248" marT="46624" marB="46624"/>
                </a:tc>
                <a:extLst>
                  <a:ext uri="{0D108BD9-81ED-4DB2-BD59-A6C34878D82A}">
                    <a16:rowId xmlns:a16="http://schemas.microsoft.com/office/drawing/2014/main" val="2223557135"/>
                  </a:ext>
                </a:extLst>
              </a:tr>
              <a:tr h="382771">
                <a:tc>
                  <a:txBody>
                    <a:bodyPr/>
                    <a:lstStyle/>
                    <a:p>
                      <a:r>
                        <a:rPr lang="en-US" sz="1900"/>
                        <a:t>0</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1789230711"/>
                  </a:ext>
                </a:extLst>
              </a:tr>
              <a:tr h="382771">
                <a:tc>
                  <a:txBody>
                    <a:bodyPr/>
                    <a:lstStyle/>
                    <a:p>
                      <a:r>
                        <a:rPr lang="en-US" sz="1900"/>
                        <a:t>1</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723929199"/>
                  </a:ext>
                </a:extLst>
              </a:tr>
              <a:tr h="382771">
                <a:tc>
                  <a:txBody>
                    <a:bodyPr/>
                    <a:lstStyle/>
                    <a:p>
                      <a:r>
                        <a:rPr lang="en-US" sz="1900"/>
                        <a:t>1</a:t>
                      </a:r>
                    </a:p>
                  </a:txBody>
                  <a:tcPr marL="93248" marR="93248" marT="46624" marB="46624"/>
                </a:tc>
                <a:tc>
                  <a:txBody>
                    <a:bodyPr/>
                    <a:lstStyle/>
                    <a:p>
                      <a:r>
                        <a:rPr lang="en-US" sz="1900"/>
                        <a:t>14</a:t>
                      </a:r>
                    </a:p>
                  </a:txBody>
                  <a:tcPr marL="93248" marR="93248" marT="46624" marB="46624"/>
                </a:tc>
                <a:extLst>
                  <a:ext uri="{0D108BD9-81ED-4DB2-BD59-A6C34878D82A}">
                    <a16:rowId xmlns:a16="http://schemas.microsoft.com/office/drawing/2014/main" val="139747291"/>
                  </a:ext>
                </a:extLst>
              </a:tr>
              <a:tr h="382771">
                <a:tc>
                  <a:txBody>
                    <a:bodyPr/>
                    <a:lstStyle/>
                    <a:p>
                      <a:r>
                        <a:rPr lang="en-US" sz="1900"/>
                        <a:t>2</a:t>
                      </a:r>
                    </a:p>
                  </a:txBody>
                  <a:tcPr marL="93248" marR="93248" marT="46624" marB="46624"/>
                </a:tc>
                <a:tc>
                  <a:txBody>
                    <a:bodyPr/>
                    <a:lstStyle/>
                    <a:p>
                      <a:r>
                        <a:rPr lang="en-US" sz="1900"/>
                        <a:t>13</a:t>
                      </a:r>
                    </a:p>
                  </a:txBody>
                  <a:tcPr marL="93248" marR="93248" marT="46624" marB="46624"/>
                </a:tc>
                <a:extLst>
                  <a:ext uri="{0D108BD9-81ED-4DB2-BD59-A6C34878D82A}">
                    <a16:rowId xmlns:a16="http://schemas.microsoft.com/office/drawing/2014/main" val="4149566330"/>
                  </a:ext>
                </a:extLst>
              </a:tr>
              <a:tr h="382771">
                <a:tc>
                  <a:txBody>
                    <a:bodyPr/>
                    <a:lstStyle/>
                    <a:p>
                      <a:r>
                        <a:rPr lang="en-US" sz="1900"/>
                        <a:t>2</a:t>
                      </a:r>
                    </a:p>
                  </a:txBody>
                  <a:tcPr marL="93248" marR="93248" marT="46624" marB="46624"/>
                </a:tc>
                <a:tc>
                  <a:txBody>
                    <a:bodyPr/>
                    <a:lstStyle/>
                    <a:p>
                      <a:r>
                        <a:rPr lang="en-US" sz="1900"/>
                        <a:t>25</a:t>
                      </a:r>
                    </a:p>
                  </a:txBody>
                  <a:tcPr marL="93248" marR="93248" marT="46624" marB="46624"/>
                </a:tc>
                <a:extLst>
                  <a:ext uri="{0D108BD9-81ED-4DB2-BD59-A6C34878D82A}">
                    <a16:rowId xmlns:a16="http://schemas.microsoft.com/office/drawing/2014/main" val="346437377"/>
                  </a:ext>
                </a:extLst>
              </a:tr>
              <a:tr h="382771">
                <a:tc>
                  <a:txBody>
                    <a:bodyPr/>
                    <a:lstStyle/>
                    <a:p>
                      <a:r>
                        <a:rPr lang="en-US" sz="1900"/>
                        <a:t>3</a:t>
                      </a:r>
                    </a:p>
                  </a:txBody>
                  <a:tcPr marL="93248" marR="93248" marT="46624" marB="46624"/>
                </a:tc>
                <a:tc>
                  <a:txBody>
                    <a:bodyPr/>
                    <a:lstStyle/>
                    <a:p>
                      <a:r>
                        <a:rPr lang="en-US" sz="1900"/>
                        <a:t>31</a:t>
                      </a:r>
                    </a:p>
                  </a:txBody>
                  <a:tcPr marL="93248" marR="93248" marT="46624" marB="46624"/>
                </a:tc>
                <a:extLst>
                  <a:ext uri="{0D108BD9-81ED-4DB2-BD59-A6C34878D82A}">
                    <a16:rowId xmlns:a16="http://schemas.microsoft.com/office/drawing/2014/main" val="905654355"/>
                  </a:ext>
                </a:extLst>
              </a:tr>
              <a:tr h="382771">
                <a:tc>
                  <a:txBody>
                    <a:bodyPr/>
                    <a:lstStyle/>
                    <a:p>
                      <a:r>
                        <a:rPr lang="en-US" sz="1900"/>
                        <a:t>3</a:t>
                      </a:r>
                    </a:p>
                  </a:txBody>
                  <a:tcPr marL="93248" marR="93248" marT="46624" marB="46624"/>
                </a:tc>
                <a:tc>
                  <a:txBody>
                    <a:bodyPr/>
                    <a:lstStyle/>
                    <a:p>
                      <a:r>
                        <a:rPr lang="en-US" sz="1900"/>
                        <a:t>41</a:t>
                      </a:r>
                    </a:p>
                  </a:txBody>
                  <a:tcPr marL="93248" marR="93248" marT="46624" marB="46624"/>
                </a:tc>
                <a:extLst>
                  <a:ext uri="{0D108BD9-81ED-4DB2-BD59-A6C34878D82A}">
                    <a16:rowId xmlns:a16="http://schemas.microsoft.com/office/drawing/2014/main" val="3057340688"/>
                  </a:ext>
                </a:extLst>
              </a:tr>
              <a:tr h="382771">
                <a:tc>
                  <a:txBody>
                    <a:bodyPr/>
                    <a:lstStyle/>
                    <a:p>
                      <a:r>
                        <a:rPr lang="en-US" sz="1900"/>
                        <a:t>4</a:t>
                      </a:r>
                    </a:p>
                  </a:txBody>
                  <a:tcPr marL="93248" marR="93248" marT="46624" marB="46624"/>
                </a:tc>
                <a:tc>
                  <a:txBody>
                    <a:bodyPr/>
                    <a:lstStyle/>
                    <a:p>
                      <a:r>
                        <a:rPr lang="en-US" sz="1900"/>
                        <a:t>21</a:t>
                      </a:r>
                    </a:p>
                  </a:txBody>
                  <a:tcPr marL="93248" marR="93248" marT="46624" marB="46624"/>
                </a:tc>
                <a:extLst>
                  <a:ext uri="{0D108BD9-81ED-4DB2-BD59-A6C34878D82A}">
                    <a16:rowId xmlns:a16="http://schemas.microsoft.com/office/drawing/2014/main" val="240716551"/>
                  </a:ext>
                </a:extLst>
              </a:tr>
              <a:tr h="382771">
                <a:tc>
                  <a:txBody>
                    <a:bodyPr/>
                    <a:lstStyle/>
                    <a:p>
                      <a:r>
                        <a:rPr lang="en-US" sz="1900"/>
                        <a:t>5</a:t>
                      </a:r>
                    </a:p>
                  </a:txBody>
                  <a:tcPr marL="93248" marR="93248" marT="46624" marB="46624"/>
                </a:tc>
                <a:tc>
                  <a:txBody>
                    <a:bodyPr/>
                    <a:lstStyle/>
                    <a:p>
                      <a:r>
                        <a:rPr lang="en-US" sz="1900"/>
                        <a:t>6</a:t>
                      </a:r>
                    </a:p>
                  </a:txBody>
                  <a:tcPr marL="93248" marR="93248" marT="46624" marB="46624"/>
                </a:tc>
                <a:extLst>
                  <a:ext uri="{0D108BD9-81ED-4DB2-BD59-A6C34878D82A}">
                    <a16:rowId xmlns:a16="http://schemas.microsoft.com/office/drawing/2014/main" val="2765816756"/>
                  </a:ext>
                </a:extLst>
              </a:tr>
            </a:tbl>
          </a:graphicData>
        </a:graphic>
      </p:graphicFrame>
      <p:graphicFrame>
        <p:nvGraphicFramePr>
          <p:cNvPr id="10" name="Table 9">
            <a:extLst>
              <a:ext uri="{FF2B5EF4-FFF2-40B4-BE49-F238E27FC236}">
                <a16:creationId xmlns:a16="http://schemas.microsoft.com/office/drawing/2014/main" id="{14D5B220-4F97-4FCB-83E8-6EBBBC94FFB8}"/>
              </a:ext>
            </a:extLst>
          </p:cNvPr>
          <p:cNvGraphicFramePr>
            <a:graphicFrameLocks noGrp="1"/>
          </p:cNvGraphicFramePr>
          <p:nvPr>
            <p:extLst>
              <p:ext uri="{D42A27DB-BD31-4B8C-83A1-F6EECF244321}">
                <p14:modId xmlns:p14="http://schemas.microsoft.com/office/powerpoint/2010/main" val="222959931"/>
              </p:ext>
            </p:extLst>
          </p:nvPr>
        </p:nvGraphicFramePr>
        <p:xfrm>
          <a:off x="6218237" y="1699339"/>
          <a:ext cx="5576256" cy="2969216"/>
        </p:xfrm>
        <a:graphic>
          <a:graphicData uri="http://schemas.openxmlformats.org/drawingml/2006/table">
            <a:tbl>
              <a:tblPr firstRow="1" bandRow="1">
                <a:tableStyleId>{0E3FDE45-AF77-4B5C-9715-49D594BDF05E}</a:tableStyleId>
              </a:tblPr>
              <a:tblGrid>
                <a:gridCol w="1609837">
                  <a:extLst>
                    <a:ext uri="{9D8B030D-6E8A-4147-A177-3AD203B41FA5}">
                      <a16:colId xmlns:a16="http://schemas.microsoft.com/office/drawing/2014/main" val="3362507804"/>
                    </a:ext>
                  </a:extLst>
                </a:gridCol>
                <a:gridCol w="990474">
                  <a:extLst>
                    <a:ext uri="{9D8B030D-6E8A-4147-A177-3AD203B41FA5}">
                      <a16:colId xmlns:a16="http://schemas.microsoft.com/office/drawing/2014/main" val="3411275190"/>
                    </a:ext>
                  </a:extLst>
                </a:gridCol>
                <a:gridCol w="1175907">
                  <a:extLst>
                    <a:ext uri="{9D8B030D-6E8A-4147-A177-3AD203B41FA5}">
                      <a16:colId xmlns:a16="http://schemas.microsoft.com/office/drawing/2014/main" val="924140574"/>
                    </a:ext>
                  </a:extLst>
                </a:gridCol>
                <a:gridCol w="1800038">
                  <a:extLst>
                    <a:ext uri="{9D8B030D-6E8A-4147-A177-3AD203B41FA5}">
                      <a16:colId xmlns:a16="http://schemas.microsoft.com/office/drawing/2014/main" val="550511282"/>
                    </a:ext>
                  </a:extLst>
                </a:gridCol>
              </a:tblGrid>
              <a:tr h="672294">
                <a:tc>
                  <a:txBody>
                    <a:bodyPr/>
                    <a:lstStyle/>
                    <a:p>
                      <a:r>
                        <a:rPr lang="en-US" sz="1900"/>
                        <a:t>Dictionary ID</a:t>
                      </a:r>
                    </a:p>
                  </a:txBody>
                  <a:tcPr marL="93248" marR="93248" marT="46624" marB="46624"/>
                </a:tc>
                <a:tc>
                  <a:txBody>
                    <a:bodyPr/>
                    <a:lstStyle/>
                    <a:p>
                      <a:r>
                        <a:rPr lang="en-US" sz="1900"/>
                        <a:t>Color</a:t>
                      </a:r>
                    </a:p>
                  </a:txBody>
                  <a:tcPr marL="93248" marR="93248" marT="46624" marB="46624"/>
                </a:tc>
                <a:tc>
                  <a:txBody>
                    <a:bodyPr/>
                    <a:lstStyle/>
                    <a:p>
                      <a:r>
                        <a:rPr lang="en-US" sz="1900"/>
                        <a:t>Start</a:t>
                      </a:r>
                    </a:p>
                  </a:txBody>
                  <a:tcPr marL="93248" marR="93248" marT="46624" marB="46624"/>
                </a:tc>
                <a:tc>
                  <a:txBody>
                    <a:bodyPr/>
                    <a:lstStyle/>
                    <a:p>
                      <a:r>
                        <a:rPr lang="en-US" sz="1900"/>
                        <a:t>Count</a:t>
                      </a:r>
                    </a:p>
                  </a:txBody>
                  <a:tcPr marL="93248" marR="93248" marT="46624" marB="46624"/>
                </a:tc>
                <a:extLst>
                  <a:ext uri="{0D108BD9-81ED-4DB2-BD59-A6C34878D82A}">
                    <a16:rowId xmlns:a16="http://schemas.microsoft.com/office/drawing/2014/main" val="615278999"/>
                  </a:ext>
                </a:extLst>
              </a:tr>
              <a:tr h="382771">
                <a:tc>
                  <a:txBody>
                    <a:bodyPr/>
                    <a:lstStyle/>
                    <a:p>
                      <a:r>
                        <a:rPr lang="en-US" sz="1900"/>
                        <a:t>0</a:t>
                      </a:r>
                    </a:p>
                  </a:txBody>
                  <a:tcPr marL="93248" marR="93248" marT="46624" marB="46624"/>
                </a:tc>
                <a:tc>
                  <a:txBody>
                    <a:bodyPr/>
                    <a:lstStyle/>
                    <a:p>
                      <a:r>
                        <a:rPr lang="en-US" sz="1900"/>
                        <a:t>Red</a:t>
                      </a:r>
                    </a:p>
                  </a:txBody>
                  <a:tcPr marL="93248" marR="93248" marT="46624" marB="46624"/>
                </a:tc>
                <a:tc>
                  <a:txBody>
                    <a:bodyPr/>
                    <a:lstStyle/>
                    <a:p>
                      <a:r>
                        <a:rPr lang="en-US" sz="1900"/>
                        <a:t>1</a:t>
                      </a:r>
                    </a:p>
                  </a:txBody>
                  <a:tcPr marL="93248" marR="93248" marT="46624" marB="46624"/>
                </a:tc>
                <a:tc>
                  <a:txBody>
                    <a:bodyPr/>
                    <a:lstStyle/>
                    <a:p>
                      <a:r>
                        <a:rPr lang="en-US" sz="1900"/>
                        <a:t>3</a:t>
                      </a:r>
                    </a:p>
                  </a:txBody>
                  <a:tcPr marL="93248" marR="93248" marT="46624" marB="46624"/>
                </a:tc>
                <a:extLst>
                  <a:ext uri="{0D108BD9-81ED-4DB2-BD59-A6C34878D82A}">
                    <a16:rowId xmlns:a16="http://schemas.microsoft.com/office/drawing/2014/main" val="4205088475"/>
                  </a:ext>
                </a:extLst>
              </a:tr>
              <a:tr h="382771">
                <a:tc>
                  <a:txBody>
                    <a:bodyPr/>
                    <a:lstStyle/>
                    <a:p>
                      <a:r>
                        <a:rPr lang="en-US" sz="1900"/>
                        <a:t>1</a:t>
                      </a:r>
                    </a:p>
                  </a:txBody>
                  <a:tcPr marL="93248" marR="93248" marT="46624" marB="46624"/>
                </a:tc>
                <a:tc>
                  <a:txBody>
                    <a:bodyPr/>
                    <a:lstStyle/>
                    <a:p>
                      <a:r>
                        <a:rPr lang="en-US" sz="1900"/>
                        <a:t>Blue</a:t>
                      </a:r>
                    </a:p>
                  </a:txBody>
                  <a:tcPr marL="93248" marR="93248" marT="46624" marB="46624"/>
                </a:tc>
                <a:tc>
                  <a:txBody>
                    <a:bodyPr/>
                    <a:lstStyle/>
                    <a:p>
                      <a:r>
                        <a:rPr lang="en-US" sz="1900"/>
                        <a:t>4</a:t>
                      </a:r>
                    </a:p>
                  </a:txBody>
                  <a:tcPr marL="93248" marR="93248" marT="46624" marB="46624"/>
                </a:tc>
                <a:tc>
                  <a:txBody>
                    <a:bodyPr/>
                    <a:lstStyle/>
                    <a:p>
                      <a:r>
                        <a:rPr lang="en-US" sz="1900"/>
                        <a:t>2</a:t>
                      </a:r>
                    </a:p>
                  </a:txBody>
                  <a:tcPr marL="93248" marR="93248" marT="46624" marB="46624"/>
                </a:tc>
                <a:extLst>
                  <a:ext uri="{0D108BD9-81ED-4DB2-BD59-A6C34878D82A}">
                    <a16:rowId xmlns:a16="http://schemas.microsoft.com/office/drawing/2014/main" val="4255828405"/>
                  </a:ext>
                </a:extLst>
              </a:tr>
              <a:tr h="382771">
                <a:tc>
                  <a:txBody>
                    <a:bodyPr/>
                    <a:lstStyle/>
                    <a:p>
                      <a:r>
                        <a:rPr lang="en-US" sz="1900"/>
                        <a:t>2</a:t>
                      </a:r>
                    </a:p>
                  </a:txBody>
                  <a:tcPr marL="93248" marR="93248" marT="46624" marB="46624"/>
                </a:tc>
                <a:tc>
                  <a:txBody>
                    <a:bodyPr/>
                    <a:lstStyle/>
                    <a:p>
                      <a:r>
                        <a:rPr lang="en-US" sz="1900"/>
                        <a:t>Green</a:t>
                      </a:r>
                    </a:p>
                  </a:txBody>
                  <a:tcPr marL="93248" marR="93248" marT="46624" marB="46624"/>
                </a:tc>
                <a:tc>
                  <a:txBody>
                    <a:bodyPr/>
                    <a:lstStyle/>
                    <a:p>
                      <a:r>
                        <a:rPr lang="en-US" sz="1900"/>
                        <a:t>6</a:t>
                      </a:r>
                    </a:p>
                  </a:txBody>
                  <a:tcPr marL="93248" marR="93248" marT="46624" marB="46624"/>
                </a:tc>
                <a:tc>
                  <a:txBody>
                    <a:bodyPr/>
                    <a:lstStyle/>
                    <a:p>
                      <a:r>
                        <a:rPr lang="en-US" sz="1900"/>
                        <a:t>2</a:t>
                      </a:r>
                    </a:p>
                  </a:txBody>
                  <a:tcPr marL="93248" marR="93248" marT="46624" marB="46624"/>
                </a:tc>
                <a:extLst>
                  <a:ext uri="{0D108BD9-81ED-4DB2-BD59-A6C34878D82A}">
                    <a16:rowId xmlns:a16="http://schemas.microsoft.com/office/drawing/2014/main" val="1254543638"/>
                  </a:ext>
                </a:extLst>
              </a:tr>
              <a:tr h="382771">
                <a:tc>
                  <a:txBody>
                    <a:bodyPr/>
                    <a:lstStyle/>
                    <a:p>
                      <a:r>
                        <a:rPr lang="en-US" sz="1900"/>
                        <a:t>3</a:t>
                      </a:r>
                    </a:p>
                  </a:txBody>
                  <a:tcPr marL="93248" marR="93248" marT="46624" marB="46624"/>
                </a:tc>
                <a:tc>
                  <a:txBody>
                    <a:bodyPr/>
                    <a:lstStyle/>
                    <a:p>
                      <a:r>
                        <a:rPr lang="en-US" sz="1900"/>
                        <a:t>Yellow</a:t>
                      </a:r>
                    </a:p>
                  </a:txBody>
                  <a:tcPr marL="93248" marR="93248" marT="46624" marB="46624"/>
                </a:tc>
                <a:tc>
                  <a:txBody>
                    <a:bodyPr/>
                    <a:lstStyle/>
                    <a:p>
                      <a:r>
                        <a:rPr lang="en-US" sz="1900"/>
                        <a:t>8</a:t>
                      </a:r>
                    </a:p>
                  </a:txBody>
                  <a:tcPr marL="93248" marR="93248" marT="46624" marB="46624"/>
                </a:tc>
                <a:tc>
                  <a:txBody>
                    <a:bodyPr/>
                    <a:lstStyle/>
                    <a:p>
                      <a:r>
                        <a:rPr lang="en-US" sz="1900"/>
                        <a:t>2</a:t>
                      </a:r>
                    </a:p>
                  </a:txBody>
                  <a:tcPr marL="93248" marR="93248" marT="46624" marB="46624"/>
                </a:tc>
                <a:extLst>
                  <a:ext uri="{0D108BD9-81ED-4DB2-BD59-A6C34878D82A}">
                    <a16:rowId xmlns:a16="http://schemas.microsoft.com/office/drawing/2014/main" val="1779252747"/>
                  </a:ext>
                </a:extLst>
              </a:tr>
              <a:tr h="382771">
                <a:tc>
                  <a:txBody>
                    <a:bodyPr/>
                    <a:lstStyle/>
                    <a:p>
                      <a:r>
                        <a:rPr lang="en-US" sz="1900"/>
                        <a:t>4</a:t>
                      </a:r>
                    </a:p>
                  </a:txBody>
                  <a:tcPr marL="93248" marR="93248" marT="46624" marB="46624"/>
                </a:tc>
                <a:tc>
                  <a:txBody>
                    <a:bodyPr/>
                    <a:lstStyle/>
                    <a:p>
                      <a:r>
                        <a:rPr lang="en-US" sz="1900"/>
                        <a:t>Purple</a:t>
                      </a:r>
                    </a:p>
                  </a:txBody>
                  <a:tcPr marL="93248" marR="93248" marT="46624" marB="46624"/>
                </a:tc>
                <a:tc>
                  <a:txBody>
                    <a:bodyPr/>
                    <a:lstStyle/>
                    <a:p>
                      <a:r>
                        <a:rPr lang="en-US" sz="1900"/>
                        <a:t>10</a:t>
                      </a:r>
                    </a:p>
                  </a:txBody>
                  <a:tcPr marL="93248" marR="93248" marT="46624" marB="46624"/>
                </a:tc>
                <a:tc>
                  <a:txBody>
                    <a:bodyPr/>
                    <a:lstStyle/>
                    <a:p>
                      <a:r>
                        <a:rPr lang="en-US" sz="1900"/>
                        <a:t>1</a:t>
                      </a:r>
                    </a:p>
                  </a:txBody>
                  <a:tcPr marL="93248" marR="93248" marT="46624" marB="46624"/>
                </a:tc>
                <a:extLst>
                  <a:ext uri="{0D108BD9-81ED-4DB2-BD59-A6C34878D82A}">
                    <a16:rowId xmlns:a16="http://schemas.microsoft.com/office/drawing/2014/main" val="1004245262"/>
                  </a:ext>
                </a:extLst>
              </a:tr>
              <a:tr h="382771">
                <a:tc>
                  <a:txBody>
                    <a:bodyPr/>
                    <a:lstStyle/>
                    <a:p>
                      <a:r>
                        <a:rPr lang="en-US" sz="1900"/>
                        <a:t>5</a:t>
                      </a:r>
                    </a:p>
                  </a:txBody>
                  <a:tcPr marL="93248" marR="93248" marT="46624" marB="46624"/>
                </a:tc>
                <a:tc>
                  <a:txBody>
                    <a:bodyPr/>
                    <a:lstStyle/>
                    <a:p>
                      <a:r>
                        <a:rPr lang="en-US" sz="1900"/>
                        <a:t>Orange</a:t>
                      </a:r>
                    </a:p>
                  </a:txBody>
                  <a:tcPr marL="93248" marR="93248" marT="46624" marB="46624"/>
                </a:tc>
                <a:tc>
                  <a:txBody>
                    <a:bodyPr/>
                    <a:lstStyle/>
                    <a:p>
                      <a:r>
                        <a:rPr lang="en-US" sz="1900"/>
                        <a:t>11</a:t>
                      </a:r>
                    </a:p>
                  </a:txBody>
                  <a:tcPr marL="93248" marR="93248" marT="46624" marB="46624"/>
                </a:tc>
                <a:tc>
                  <a:txBody>
                    <a:bodyPr/>
                    <a:lstStyle/>
                    <a:p>
                      <a:r>
                        <a:rPr lang="en-US" sz="1900"/>
                        <a:t>1</a:t>
                      </a:r>
                    </a:p>
                  </a:txBody>
                  <a:tcPr marL="93248" marR="93248" marT="46624" marB="46624"/>
                </a:tc>
                <a:extLst>
                  <a:ext uri="{0D108BD9-81ED-4DB2-BD59-A6C34878D82A}">
                    <a16:rowId xmlns:a16="http://schemas.microsoft.com/office/drawing/2014/main" val="3216277509"/>
                  </a:ext>
                </a:extLst>
              </a:tr>
            </a:tbl>
          </a:graphicData>
        </a:graphic>
      </p:graphicFrame>
    </p:spTree>
    <p:extLst>
      <p:ext uri="{BB962C8B-B14F-4D97-AF65-F5344CB8AC3E}">
        <p14:creationId xmlns:p14="http://schemas.microsoft.com/office/powerpoint/2010/main" val="180445144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Evaluation</a:t>
            </a:r>
            <a:endParaRPr lang="en-US" sz="4080" spc="0">
              <a:solidFill>
                <a:srgbClr val="FFC000"/>
              </a:solidFill>
            </a:endParaRPr>
          </a:p>
        </p:txBody>
      </p:sp>
      <p:graphicFrame>
        <p:nvGraphicFramePr>
          <p:cNvPr id="2" name="Table 1">
            <a:extLst>
              <a:ext uri="{FF2B5EF4-FFF2-40B4-BE49-F238E27FC236}">
                <a16:creationId xmlns:a16="http://schemas.microsoft.com/office/drawing/2014/main" id="{D2E136EC-AE25-4EC5-BA5D-501AC703741B}"/>
              </a:ext>
            </a:extLst>
          </p:cNvPr>
          <p:cNvGraphicFramePr>
            <a:graphicFrameLocks noGrp="1"/>
          </p:cNvGraphicFramePr>
          <p:nvPr/>
        </p:nvGraphicFramePr>
        <p:xfrm>
          <a:off x="855769" y="1699338"/>
          <a:ext cx="2936394" cy="4593696"/>
        </p:xfrm>
        <a:graphic>
          <a:graphicData uri="http://schemas.openxmlformats.org/drawingml/2006/table">
            <a:tbl>
              <a:tblPr firstRow="1" bandRow="1">
                <a:tableStyleId>{0E3FDE45-AF77-4B5C-9715-49D594BDF05E}</a:tableStyleId>
              </a:tblPr>
              <a:tblGrid>
                <a:gridCol w="1611058">
                  <a:extLst>
                    <a:ext uri="{9D8B030D-6E8A-4147-A177-3AD203B41FA5}">
                      <a16:colId xmlns:a16="http://schemas.microsoft.com/office/drawing/2014/main" val="4238571193"/>
                    </a:ext>
                  </a:extLst>
                </a:gridCol>
                <a:gridCol w="1325336">
                  <a:extLst>
                    <a:ext uri="{9D8B030D-6E8A-4147-A177-3AD203B41FA5}">
                      <a16:colId xmlns:a16="http://schemas.microsoft.com/office/drawing/2014/main" val="11329721"/>
                    </a:ext>
                  </a:extLst>
                </a:gridCol>
              </a:tblGrid>
              <a:tr h="382771">
                <a:tc>
                  <a:txBody>
                    <a:bodyPr/>
                    <a:lstStyle/>
                    <a:p>
                      <a:r>
                        <a:rPr lang="en-US" sz="1900"/>
                        <a:t>ID</a:t>
                      </a:r>
                    </a:p>
                  </a:txBody>
                  <a:tcPr marL="93248" marR="93248" marT="46624" marB="46624"/>
                </a:tc>
                <a:tc>
                  <a:txBody>
                    <a:bodyPr/>
                    <a:lstStyle/>
                    <a:p>
                      <a:r>
                        <a:rPr lang="en-US" sz="1900"/>
                        <a:t>Value</a:t>
                      </a:r>
                    </a:p>
                  </a:txBody>
                  <a:tcPr marL="93248" marR="93248" marT="46624" marB="46624"/>
                </a:tc>
                <a:extLst>
                  <a:ext uri="{0D108BD9-81ED-4DB2-BD59-A6C34878D82A}">
                    <a16:rowId xmlns:a16="http://schemas.microsoft.com/office/drawing/2014/main" val="4092537062"/>
                  </a:ext>
                </a:extLst>
              </a:tr>
              <a:tr h="382771">
                <a:tc>
                  <a:txBody>
                    <a:bodyPr/>
                    <a:lstStyle/>
                    <a:p>
                      <a:r>
                        <a:rPr lang="en-US" sz="1900"/>
                        <a:t>0</a:t>
                      </a:r>
                    </a:p>
                  </a:txBody>
                  <a:tcPr marL="93248" marR="93248" marT="46624" marB="46624"/>
                </a:tc>
                <a:tc>
                  <a:txBody>
                    <a:bodyPr/>
                    <a:lstStyle/>
                    <a:p>
                      <a:r>
                        <a:rPr lang="en-US" sz="1900"/>
                        <a:t>10</a:t>
                      </a:r>
                    </a:p>
                  </a:txBody>
                  <a:tcPr marL="93248" marR="93248" marT="46624" marB="46624"/>
                </a:tc>
                <a:extLst>
                  <a:ext uri="{0D108BD9-81ED-4DB2-BD59-A6C34878D82A}">
                    <a16:rowId xmlns:a16="http://schemas.microsoft.com/office/drawing/2014/main" val="2966966809"/>
                  </a:ext>
                </a:extLst>
              </a:tr>
              <a:tr h="382771">
                <a:tc>
                  <a:txBody>
                    <a:bodyPr/>
                    <a:lstStyle/>
                    <a:p>
                      <a:r>
                        <a:rPr lang="en-US" sz="1900"/>
                        <a:t>0</a:t>
                      </a:r>
                    </a:p>
                  </a:txBody>
                  <a:tcPr marL="93248" marR="93248" marT="46624" marB="46624"/>
                </a:tc>
                <a:tc>
                  <a:txBody>
                    <a:bodyPr/>
                    <a:lstStyle/>
                    <a:p>
                      <a:r>
                        <a:rPr lang="en-US" sz="1900"/>
                        <a:t>11</a:t>
                      </a:r>
                    </a:p>
                  </a:txBody>
                  <a:tcPr marL="93248" marR="93248" marT="46624" marB="46624"/>
                </a:tc>
                <a:extLst>
                  <a:ext uri="{0D108BD9-81ED-4DB2-BD59-A6C34878D82A}">
                    <a16:rowId xmlns:a16="http://schemas.microsoft.com/office/drawing/2014/main" val="2223557135"/>
                  </a:ext>
                </a:extLst>
              </a:tr>
              <a:tr h="382771">
                <a:tc>
                  <a:txBody>
                    <a:bodyPr/>
                    <a:lstStyle/>
                    <a:p>
                      <a:r>
                        <a:rPr lang="en-US" sz="1900"/>
                        <a:t>0</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1789230711"/>
                  </a:ext>
                </a:extLst>
              </a:tr>
              <a:tr h="382771">
                <a:tc>
                  <a:txBody>
                    <a:bodyPr/>
                    <a:lstStyle/>
                    <a:p>
                      <a:r>
                        <a:rPr lang="en-US" sz="1900"/>
                        <a:t>1</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723929199"/>
                  </a:ext>
                </a:extLst>
              </a:tr>
              <a:tr h="382771">
                <a:tc>
                  <a:txBody>
                    <a:bodyPr/>
                    <a:lstStyle/>
                    <a:p>
                      <a:r>
                        <a:rPr lang="en-US" sz="1900"/>
                        <a:t>1</a:t>
                      </a:r>
                    </a:p>
                  </a:txBody>
                  <a:tcPr marL="93248" marR="93248" marT="46624" marB="46624"/>
                </a:tc>
                <a:tc>
                  <a:txBody>
                    <a:bodyPr/>
                    <a:lstStyle/>
                    <a:p>
                      <a:r>
                        <a:rPr lang="en-US" sz="1900"/>
                        <a:t>14</a:t>
                      </a:r>
                    </a:p>
                  </a:txBody>
                  <a:tcPr marL="93248" marR="93248" marT="46624" marB="46624"/>
                </a:tc>
                <a:extLst>
                  <a:ext uri="{0D108BD9-81ED-4DB2-BD59-A6C34878D82A}">
                    <a16:rowId xmlns:a16="http://schemas.microsoft.com/office/drawing/2014/main" val="139747291"/>
                  </a:ext>
                </a:extLst>
              </a:tr>
              <a:tr h="382771">
                <a:tc>
                  <a:txBody>
                    <a:bodyPr/>
                    <a:lstStyle/>
                    <a:p>
                      <a:r>
                        <a:rPr lang="en-US" sz="1900"/>
                        <a:t>2</a:t>
                      </a:r>
                    </a:p>
                  </a:txBody>
                  <a:tcPr marL="93248" marR="93248" marT="46624" marB="46624"/>
                </a:tc>
                <a:tc>
                  <a:txBody>
                    <a:bodyPr/>
                    <a:lstStyle/>
                    <a:p>
                      <a:r>
                        <a:rPr lang="en-US" sz="1900"/>
                        <a:t>13</a:t>
                      </a:r>
                    </a:p>
                  </a:txBody>
                  <a:tcPr marL="93248" marR="93248" marT="46624" marB="46624"/>
                </a:tc>
                <a:extLst>
                  <a:ext uri="{0D108BD9-81ED-4DB2-BD59-A6C34878D82A}">
                    <a16:rowId xmlns:a16="http://schemas.microsoft.com/office/drawing/2014/main" val="4149566330"/>
                  </a:ext>
                </a:extLst>
              </a:tr>
              <a:tr h="382771">
                <a:tc>
                  <a:txBody>
                    <a:bodyPr/>
                    <a:lstStyle/>
                    <a:p>
                      <a:r>
                        <a:rPr lang="en-US" sz="1900"/>
                        <a:t>2</a:t>
                      </a:r>
                    </a:p>
                  </a:txBody>
                  <a:tcPr marL="93248" marR="93248" marT="46624" marB="46624"/>
                </a:tc>
                <a:tc>
                  <a:txBody>
                    <a:bodyPr/>
                    <a:lstStyle/>
                    <a:p>
                      <a:r>
                        <a:rPr lang="en-US" sz="1900"/>
                        <a:t>25</a:t>
                      </a:r>
                    </a:p>
                  </a:txBody>
                  <a:tcPr marL="93248" marR="93248" marT="46624" marB="46624"/>
                </a:tc>
                <a:extLst>
                  <a:ext uri="{0D108BD9-81ED-4DB2-BD59-A6C34878D82A}">
                    <a16:rowId xmlns:a16="http://schemas.microsoft.com/office/drawing/2014/main" val="346437377"/>
                  </a:ext>
                </a:extLst>
              </a:tr>
              <a:tr h="382771">
                <a:tc>
                  <a:txBody>
                    <a:bodyPr/>
                    <a:lstStyle/>
                    <a:p>
                      <a:r>
                        <a:rPr lang="en-US" sz="1900"/>
                        <a:t>3</a:t>
                      </a:r>
                    </a:p>
                  </a:txBody>
                  <a:tcPr marL="93248" marR="93248" marT="46624" marB="46624"/>
                </a:tc>
                <a:tc>
                  <a:txBody>
                    <a:bodyPr/>
                    <a:lstStyle/>
                    <a:p>
                      <a:r>
                        <a:rPr lang="en-US" sz="1900"/>
                        <a:t>31</a:t>
                      </a:r>
                    </a:p>
                  </a:txBody>
                  <a:tcPr marL="93248" marR="93248" marT="46624" marB="46624"/>
                </a:tc>
                <a:extLst>
                  <a:ext uri="{0D108BD9-81ED-4DB2-BD59-A6C34878D82A}">
                    <a16:rowId xmlns:a16="http://schemas.microsoft.com/office/drawing/2014/main" val="905654355"/>
                  </a:ext>
                </a:extLst>
              </a:tr>
              <a:tr h="382771">
                <a:tc>
                  <a:txBody>
                    <a:bodyPr/>
                    <a:lstStyle/>
                    <a:p>
                      <a:r>
                        <a:rPr lang="en-US" sz="1900"/>
                        <a:t>3</a:t>
                      </a:r>
                    </a:p>
                  </a:txBody>
                  <a:tcPr marL="93248" marR="93248" marT="46624" marB="46624"/>
                </a:tc>
                <a:tc>
                  <a:txBody>
                    <a:bodyPr/>
                    <a:lstStyle/>
                    <a:p>
                      <a:r>
                        <a:rPr lang="en-US" sz="1900"/>
                        <a:t>41</a:t>
                      </a:r>
                    </a:p>
                  </a:txBody>
                  <a:tcPr marL="93248" marR="93248" marT="46624" marB="46624"/>
                </a:tc>
                <a:extLst>
                  <a:ext uri="{0D108BD9-81ED-4DB2-BD59-A6C34878D82A}">
                    <a16:rowId xmlns:a16="http://schemas.microsoft.com/office/drawing/2014/main" val="3057340688"/>
                  </a:ext>
                </a:extLst>
              </a:tr>
              <a:tr h="382771">
                <a:tc>
                  <a:txBody>
                    <a:bodyPr/>
                    <a:lstStyle/>
                    <a:p>
                      <a:r>
                        <a:rPr lang="en-US" sz="1900"/>
                        <a:t>4</a:t>
                      </a:r>
                    </a:p>
                  </a:txBody>
                  <a:tcPr marL="93248" marR="93248" marT="46624" marB="46624"/>
                </a:tc>
                <a:tc>
                  <a:txBody>
                    <a:bodyPr/>
                    <a:lstStyle/>
                    <a:p>
                      <a:r>
                        <a:rPr lang="en-US" sz="1900"/>
                        <a:t>21</a:t>
                      </a:r>
                    </a:p>
                  </a:txBody>
                  <a:tcPr marL="93248" marR="93248" marT="46624" marB="46624"/>
                </a:tc>
                <a:extLst>
                  <a:ext uri="{0D108BD9-81ED-4DB2-BD59-A6C34878D82A}">
                    <a16:rowId xmlns:a16="http://schemas.microsoft.com/office/drawing/2014/main" val="240716551"/>
                  </a:ext>
                </a:extLst>
              </a:tr>
              <a:tr h="382771">
                <a:tc>
                  <a:txBody>
                    <a:bodyPr/>
                    <a:lstStyle/>
                    <a:p>
                      <a:r>
                        <a:rPr lang="en-US" sz="1900"/>
                        <a:t>5</a:t>
                      </a:r>
                    </a:p>
                  </a:txBody>
                  <a:tcPr marL="93248" marR="93248" marT="46624" marB="46624"/>
                </a:tc>
                <a:tc>
                  <a:txBody>
                    <a:bodyPr/>
                    <a:lstStyle/>
                    <a:p>
                      <a:r>
                        <a:rPr lang="en-US" sz="1900"/>
                        <a:t>6</a:t>
                      </a:r>
                    </a:p>
                  </a:txBody>
                  <a:tcPr marL="93248" marR="93248" marT="46624" marB="46624"/>
                </a:tc>
                <a:extLst>
                  <a:ext uri="{0D108BD9-81ED-4DB2-BD59-A6C34878D82A}">
                    <a16:rowId xmlns:a16="http://schemas.microsoft.com/office/drawing/2014/main" val="2765816756"/>
                  </a:ext>
                </a:extLst>
              </a:tr>
            </a:tbl>
          </a:graphicData>
        </a:graphic>
      </p:graphicFrame>
      <p:graphicFrame>
        <p:nvGraphicFramePr>
          <p:cNvPr id="3" name="Table 2">
            <a:extLst>
              <a:ext uri="{FF2B5EF4-FFF2-40B4-BE49-F238E27FC236}">
                <a16:creationId xmlns:a16="http://schemas.microsoft.com/office/drawing/2014/main" id="{574D5487-015D-4390-878A-1F375759E925}"/>
              </a:ext>
            </a:extLst>
          </p:cNvPr>
          <p:cNvGraphicFramePr>
            <a:graphicFrameLocks noGrp="1"/>
          </p:cNvGraphicFramePr>
          <p:nvPr>
            <p:extLst>
              <p:ext uri="{D42A27DB-BD31-4B8C-83A1-F6EECF244321}">
                <p14:modId xmlns:p14="http://schemas.microsoft.com/office/powerpoint/2010/main" val="2296349770"/>
              </p:ext>
            </p:extLst>
          </p:nvPr>
        </p:nvGraphicFramePr>
        <p:xfrm>
          <a:off x="6218237" y="1699339"/>
          <a:ext cx="4177530" cy="2969216"/>
        </p:xfrm>
        <a:graphic>
          <a:graphicData uri="http://schemas.openxmlformats.org/drawingml/2006/table">
            <a:tbl>
              <a:tblPr firstRow="1" bandRow="1">
                <a:tableStyleId>{0E3FDE45-AF77-4B5C-9715-49D594BDF05E}</a:tableStyleId>
              </a:tblPr>
              <a:tblGrid>
                <a:gridCol w="1614917">
                  <a:extLst>
                    <a:ext uri="{9D8B030D-6E8A-4147-A177-3AD203B41FA5}">
                      <a16:colId xmlns:a16="http://schemas.microsoft.com/office/drawing/2014/main" val="3362507804"/>
                    </a:ext>
                  </a:extLst>
                </a:gridCol>
                <a:gridCol w="1051426">
                  <a:extLst>
                    <a:ext uri="{9D8B030D-6E8A-4147-A177-3AD203B41FA5}">
                      <a16:colId xmlns:a16="http://schemas.microsoft.com/office/drawing/2014/main" val="3411275190"/>
                    </a:ext>
                  </a:extLst>
                </a:gridCol>
                <a:gridCol w="1511187">
                  <a:extLst>
                    <a:ext uri="{9D8B030D-6E8A-4147-A177-3AD203B41FA5}">
                      <a16:colId xmlns:a16="http://schemas.microsoft.com/office/drawing/2014/main" val="230633731"/>
                    </a:ext>
                  </a:extLst>
                </a:gridCol>
              </a:tblGrid>
              <a:tr h="672294">
                <a:tc>
                  <a:txBody>
                    <a:bodyPr/>
                    <a:lstStyle/>
                    <a:p>
                      <a:r>
                        <a:rPr lang="en-US" sz="1900"/>
                        <a:t>Dictionary ID</a:t>
                      </a:r>
                    </a:p>
                  </a:txBody>
                  <a:tcPr marL="93248" marR="93248" marT="46624" marB="46624"/>
                </a:tc>
                <a:tc>
                  <a:txBody>
                    <a:bodyPr/>
                    <a:lstStyle/>
                    <a:p>
                      <a:r>
                        <a:rPr lang="en-US" sz="1900"/>
                        <a:t>Color</a:t>
                      </a:r>
                    </a:p>
                  </a:txBody>
                  <a:tcPr marL="93248" marR="93248" marT="46624" marB="46624"/>
                </a:tc>
                <a:tc>
                  <a:txBody>
                    <a:bodyPr/>
                    <a:lstStyle/>
                    <a:p>
                      <a:r>
                        <a:rPr lang="en-US" sz="1900"/>
                        <a:t>Value (SUM)</a:t>
                      </a:r>
                    </a:p>
                  </a:txBody>
                  <a:tcPr marL="93248" marR="93248" marT="46624" marB="46624"/>
                </a:tc>
                <a:extLst>
                  <a:ext uri="{0D108BD9-81ED-4DB2-BD59-A6C34878D82A}">
                    <a16:rowId xmlns:a16="http://schemas.microsoft.com/office/drawing/2014/main" val="615278999"/>
                  </a:ext>
                </a:extLst>
              </a:tr>
              <a:tr h="382771">
                <a:tc>
                  <a:txBody>
                    <a:bodyPr/>
                    <a:lstStyle/>
                    <a:p>
                      <a:r>
                        <a:rPr lang="en-US" sz="1900"/>
                        <a:t>0</a:t>
                      </a:r>
                    </a:p>
                  </a:txBody>
                  <a:tcPr marL="93248" marR="93248" marT="46624" marB="46624"/>
                </a:tc>
                <a:tc>
                  <a:txBody>
                    <a:bodyPr/>
                    <a:lstStyle/>
                    <a:p>
                      <a:r>
                        <a:rPr lang="en-US" sz="1900"/>
                        <a:t>Red</a:t>
                      </a:r>
                    </a:p>
                  </a:txBody>
                  <a:tcPr marL="93248" marR="93248" marT="46624" marB="46624"/>
                </a:tc>
                <a:tc>
                  <a:txBody>
                    <a:bodyPr/>
                    <a:lstStyle/>
                    <a:p>
                      <a:r>
                        <a:rPr lang="en-US" sz="1900"/>
                        <a:t>36</a:t>
                      </a:r>
                    </a:p>
                  </a:txBody>
                  <a:tcPr marL="93248" marR="93248" marT="46624" marB="46624"/>
                </a:tc>
                <a:extLst>
                  <a:ext uri="{0D108BD9-81ED-4DB2-BD59-A6C34878D82A}">
                    <a16:rowId xmlns:a16="http://schemas.microsoft.com/office/drawing/2014/main" val="4205088475"/>
                  </a:ext>
                </a:extLst>
              </a:tr>
              <a:tr h="382771">
                <a:tc>
                  <a:txBody>
                    <a:bodyPr/>
                    <a:lstStyle/>
                    <a:p>
                      <a:r>
                        <a:rPr lang="en-US" sz="1900"/>
                        <a:t>1</a:t>
                      </a:r>
                    </a:p>
                  </a:txBody>
                  <a:tcPr marL="93248" marR="93248" marT="46624" marB="46624"/>
                </a:tc>
                <a:tc>
                  <a:txBody>
                    <a:bodyPr/>
                    <a:lstStyle/>
                    <a:p>
                      <a:r>
                        <a:rPr lang="en-US" sz="1900"/>
                        <a:t>Blue</a:t>
                      </a:r>
                    </a:p>
                  </a:txBody>
                  <a:tcPr marL="93248" marR="93248" marT="46624" marB="46624"/>
                </a:tc>
                <a:tc>
                  <a:txBody>
                    <a:bodyPr/>
                    <a:lstStyle/>
                    <a:p>
                      <a:r>
                        <a:rPr lang="en-US" sz="1900"/>
                        <a:t>29</a:t>
                      </a:r>
                    </a:p>
                  </a:txBody>
                  <a:tcPr marL="93248" marR="93248" marT="46624" marB="46624"/>
                </a:tc>
                <a:extLst>
                  <a:ext uri="{0D108BD9-81ED-4DB2-BD59-A6C34878D82A}">
                    <a16:rowId xmlns:a16="http://schemas.microsoft.com/office/drawing/2014/main" val="4255828405"/>
                  </a:ext>
                </a:extLst>
              </a:tr>
              <a:tr h="382771">
                <a:tc>
                  <a:txBody>
                    <a:bodyPr/>
                    <a:lstStyle/>
                    <a:p>
                      <a:r>
                        <a:rPr lang="en-US" sz="1900"/>
                        <a:t>2</a:t>
                      </a:r>
                    </a:p>
                  </a:txBody>
                  <a:tcPr marL="93248" marR="93248" marT="46624" marB="46624"/>
                </a:tc>
                <a:tc>
                  <a:txBody>
                    <a:bodyPr/>
                    <a:lstStyle/>
                    <a:p>
                      <a:r>
                        <a:rPr lang="en-US" sz="1900"/>
                        <a:t>Green</a:t>
                      </a:r>
                    </a:p>
                  </a:txBody>
                  <a:tcPr marL="93248" marR="93248" marT="46624" marB="46624"/>
                </a:tc>
                <a:tc>
                  <a:txBody>
                    <a:bodyPr/>
                    <a:lstStyle/>
                    <a:p>
                      <a:r>
                        <a:rPr lang="en-US" sz="1900"/>
                        <a:t>38</a:t>
                      </a:r>
                    </a:p>
                  </a:txBody>
                  <a:tcPr marL="93248" marR="93248" marT="46624" marB="46624"/>
                </a:tc>
                <a:extLst>
                  <a:ext uri="{0D108BD9-81ED-4DB2-BD59-A6C34878D82A}">
                    <a16:rowId xmlns:a16="http://schemas.microsoft.com/office/drawing/2014/main" val="1254543638"/>
                  </a:ext>
                </a:extLst>
              </a:tr>
              <a:tr h="382771">
                <a:tc>
                  <a:txBody>
                    <a:bodyPr/>
                    <a:lstStyle/>
                    <a:p>
                      <a:r>
                        <a:rPr lang="en-US" sz="1900"/>
                        <a:t>3</a:t>
                      </a:r>
                    </a:p>
                  </a:txBody>
                  <a:tcPr marL="93248" marR="93248" marT="46624" marB="46624"/>
                </a:tc>
                <a:tc>
                  <a:txBody>
                    <a:bodyPr/>
                    <a:lstStyle/>
                    <a:p>
                      <a:r>
                        <a:rPr lang="en-US" sz="1900"/>
                        <a:t>Yellow</a:t>
                      </a:r>
                    </a:p>
                  </a:txBody>
                  <a:tcPr marL="93248" marR="93248" marT="46624" marB="46624"/>
                </a:tc>
                <a:tc>
                  <a:txBody>
                    <a:bodyPr/>
                    <a:lstStyle/>
                    <a:p>
                      <a:r>
                        <a:rPr lang="en-US" sz="1900"/>
                        <a:t>72</a:t>
                      </a:r>
                    </a:p>
                  </a:txBody>
                  <a:tcPr marL="93248" marR="93248" marT="46624" marB="46624"/>
                </a:tc>
                <a:extLst>
                  <a:ext uri="{0D108BD9-81ED-4DB2-BD59-A6C34878D82A}">
                    <a16:rowId xmlns:a16="http://schemas.microsoft.com/office/drawing/2014/main" val="1779252747"/>
                  </a:ext>
                </a:extLst>
              </a:tr>
              <a:tr h="382771">
                <a:tc>
                  <a:txBody>
                    <a:bodyPr/>
                    <a:lstStyle/>
                    <a:p>
                      <a:r>
                        <a:rPr lang="en-US" sz="1900"/>
                        <a:t>4</a:t>
                      </a:r>
                    </a:p>
                  </a:txBody>
                  <a:tcPr marL="93248" marR="93248" marT="46624" marB="46624"/>
                </a:tc>
                <a:tc>
                  <a:txBody>
                    <a:bodyPr/>
                    <a:lstStyle/>
                    <a:p>
                      <a:r>
                        <a:rPr lang="en-US" sz="1900"/>
                        <a:t>Purple</a:t>
                      </a:r>
                    </a:p>
                  </a:txBody>
                  <a:tcPr marL="93248" marR="93248" marT="46624" marB="46624"/>
                </a:tc>
                <a:tc>
                  <a:txBody>
                    <a:bodyPr/>
                    <a:lstStyle/>
                    <a:p>
                      <a:r>
                        <a:rPr lang="en-US" sz="1900"/>
                        <a:t>21</a:t>
                      </a:r>
                    </a:p>
                  </a:txBody>
                  <a:tcPr marL="93248" marR="93248" marT="46624" marB="46624"/>
                </a:tc>
                <a:extLst>
                  <a:ext uri="{0D108BD9-81ED-4DB2-BD59-A6C34878D82A}">
                    <a16:rowId xmlns:a16="http://schemas.microsoft.com/office/drawing/2014/main" val="1004245262"/>
                  </a:ext>
                </a:extLst>
              </a:tr>
              <a:tr h="382771">
                <a:tc>
                  <a:txBody>
                    <a:bodyPr/>
                    <a:lstStyle/>
                    <a:p>
                      <a:r>
                        <a:rPr lang="en-US" sz="1900"/>
                        <a:t>5</a:t>
                      </a:r>
                    </a:p>
                  </a:txBody>
                  <a:tcPr marL="93248" marR="93248" marT="46624" marB="46624"/>
                </a:tc>
                <a:tc>
                  <a:txBody>
                    <a:bodyPr/>
                    <a:lstStyle/>
                    <a:p>
                      <a:r>
                        <a:rPr lang="en-US" sz="1900"/>
                        <a:t>Orange</a:t>
                      </a:r>
                    </a:p>
                  </a:txBody>
                  <a:tcPr marL="93248" marR="93248" marT="46624" marB="46624"/>
                </a:tc>
                <a:tc>
                  <a:txBody>
                    <a:bodyPr/>
                    <a:lstStyle/>
                    <a:p>
                      <a:r>
                        <a:rPr lang="en-US" sz="1900"/>
                        <a:t>6</a:t>
                      </a:r>
                    </a:p>
                  </a:txBody>
                  <a:tcPr marL="93248" marR="93248" marT="46624" marB="46624"/>
                </a:tc>
                <a:extLst>
                  <a:ext uri="{0D108BD9-81ED-4DB2-BD59-A6C34878D82A}">
                    <a16:rowId xmlns:a16="http://schemas.microsoft.com/office/drawing/2014/main" val="3216277509"/>
                  </a:ext>
                </a:extLst>
              </a:tr>
            </a:tbl>
          </a:graphicData>
        </a:graphic>
      </p:graphicFrame>
      <p:sp>
        <p:nvSpPr>
          <p:cNvPr id="5" name="Freeform: Shape 4">
            <a:extLst>
              <a:ext uri="{FF2B5EF4-FFF2-40B4-BE49-F238E27FC236}">
                <a16:creationId xmlns:a16="http://schemas.microsoft.com/office/drawing/2014/main" id="{82010679-59C7-44AB-8325-A73CEC33B972}"/>
              </a:ext>
            </a:extLst>
          </p:cNvPr>
          <p:cNvSpPr/>
          <p:nvPr/>
        </p:nvSpPr>
        <p:spPr>
          <a:xfrm flipV="1">
            <a:off x="3792523" y="2222758"/>
            <a:ext cx="2402369" cy="301773"/>
          </a:xfrm>
          <a:custGeom>
            <a:avLst/>
            <a:gdLst>
              <a:gd name="connsiteX0" fmla="*/ 0 w 2400300"/>
              <a:gd name="connsiteY0" fmla="*/ 2263140 h 2263140"/>
              <a:gd name="connsiteX1" fmla="*/ 2400300 w 2400300"/>
              <a:gd name="connsiteY1" fmla="*/ 0 h 2263140"/>
            </a:gdLst>
            <a:ahLst/>
            <a:cxnLst>
              <a:cxn ang="0">
                <a:pos x="connsiteX0" y="connsiteY0"/>
              </a:cxn>
              <a:cxn ang="0">
                <a:pos x="connsiteX1" y="connsiteY1"/>
              </a:cxn>
            </a:cxnLst>
            <a:rect l="l" t="t" r="r" b="b"/>
            <a:pathLst>
              <a:path w="2400300" h="2263140">
                <a:moveTo>
                  <a:pt x="0" y="2263140"/>
                </a:moveTo>
                <a:lnTo>
                  <a:pt x="2400300" y="0"/>
                </a:lnTo>
              </a:path>
            </a:pathLst>
          </a:custGeom>
          <a:ln w="38100">
            <a:solidFill>
              <a:srgbClr val="FF000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US" sz="1836"/>
          </a:p>
        </p:txBody>
      </p:sp>
      <p:cxnSp>
        <p:nvCxnSpPr>
          <p:cNvPr id="7" name="Straight Connector 6">
            <a:extLst>
              <a:ext uri="{FF2B5EF4-FFF2-40B4-BE49-F238E27FC236}">
                <a16:creationId xmlns:a16="http://schemas.microsoft.com/office/drawing/2014/main" id="{4E4D7A35-2E41-4CE4-86B2-6BF82486AF52}"/>
              </a:ext>
            </a:extLst>
          </p:cNvPr>
          <p:cNvCxnSpPr>
            <a:cxnSpLocks/>
          </p:cNvCxnSpPr>
          <p:nvPr/>
        </p:nvCxnSpPr>
        <p:spPr>
          <a:xfrm flipV="1">
            <a:off x="3792523" y="2894369"/>
            <a:ext cx="2417929" cy="505749"/>
          </a:xfrm>
          <a:prstGeom prst="line">
            <a:avLst/>
          </a:prstGeom>
          <a:ln w="38100"/>
        </p:spPr>
        <p:style>
          <a:lnRef idx="1">
            <a:schemeClr val="accent5"/>
          </a:lnRef>
          <a:fillRef idx="0">
            <a:schemeClr val="accent5"/>
          </a:fillRef>
          <a:effectRef idx="0">
            <a:schemeClr val="accent5"/>
          </a:effectRef>
          <a:fontRef idx="minor">
            <a:schemeClr val="tx1"/>
          </a:fontRef>
        </p:style>
      </p:cxnSp>
      <p:cxnSp>
        <p:nvCxnSpPr>
          <p:cNvPr id="9" name="Straight Connector 8">
            <a:extLst>
              <a:ext uri="{FF2B5EF4-FFF2-40B4-BE49-F238E27FC236}">
                <a16:creationId xmlns:a16="http://schemas.microsoft.com/office/drawing/2014/main" id="{D04AC7D6-A9BB-4101-BAF9-F1B20C373453}"/>
              </a:ext>
            </a:extLst>
          </p:cNvPr>
          <p:cNvCxnSpPr>
            <a:cxnSpLocks/>
          </p:cNvCxnSpPr>
          <p:nvPr/>
        </p:nvCxnSpPr>
        <p:spPr>
          <a:xfrm flipV="1">
            <a:off x="3792536" y="2896349"/>
            <a:ext cx="2441233" cy="900701"/>
          </a:xfrm>
          <a:prstGeom prst="line">
            <a:avLst/>
          </a:prstGeom>
          <a:ln w="38100"/>
        </p:spPr>
        <p:style>
          <a:lnRef idx="1">
            <a:schemeClr val="accent5"/>
          </a:lnRef>
          <a:fillRef idx="0">
            <a:schemeClr val="accent5"/>
          </a:fillRef>
          <a:effectRef idx="0">
            <a:schemeClr val="accent5"/>
          </a:effectRef>
          <a:fontRef idx="minor">
            <a:schemeClr val="tx1"/>
          </a:fontRef>
        </p:style>
      </p:cxnSp>
      <p:cxnSp>
        <p:nvCxnSpPr>
          <p:cNvPr id="11" name="Straight Connector 10">
            <a:extLst>
              <a:ext uri="{FF2B5EF4-FFF2-40B4-BE49-F238E27FC236}">
                <a16:creationId xmlns:a16="http://schemas.microsoft.com/office/drawing/2014/main" id="{438179DA-5B74-4341-984E-5ECC3A0D87DA}"/>
              </a:ext>
            </a:extLst>
          </p:cNvPr>
          <p:cNvCxnSpPr>
            <a:cxnSpLocks/>
          </p:cNvCxnSpPr>
          <p:nvPr/>
        </p:nvCxnSpPr>
        <p:spPr>
          <a:xfrm flipV="1">
            <a:off x="3792536" y="3340558"/>
            <a:ext cx="2441233" cy="836728"/>
          </a:xfrm>
          <a:prstGeom prst="line">
            <a:avLst/>
          </a:prstGeom>
          <a:ln w="38100"/>
        </p:spPr>
        <p:style>
          <a:lnRef idx="1">
            <a:schemeClr val="accent6"/>
          </a:lnRef>
          <a:fillRef idx="0">
            <a:schemeClr val="accent6"/>
          </a:fillRef>
          <a:effectRef idx="0">
            <a:schemeClr val="accent6"/>
          </a:effectRef>
          <a:fontRef idx="minor">
            <a:schemeClr val="tx1"/>
          </a:fontRef>
        </p:style>
      </p:cxnSp>
      <p:cxnSp>
        <p:nvCxnSpPr>
          <p:cNvPr id="17" name="Straight Connector 16">
            <a:extLst>
              <a:ext uri="{FF2B5EF4-FFF2-40B4-BE49-F238E27FC236}">
                <a16:creationId xmlns:a16="http://schemas.microsoft.com/office/drawing/2014/main" id="{659491C9-4E24-4A5C-92C7-FC5BDCDB9E23}"/>
              </a:ext>
            </a:extLst>
          </p:cNvPr>
          <p:cNvCxnSpPr>
            <a:cxnSpLocks/>
          </p:cNvCxnSpPr>
          <p:nvPr/>
        </p:nvCxnSpPr>
        <p:spPr>
          <a:xfrm flipV="1">
            <a:off x="3792534" y="3316510"/>
            <a:ext cx="2433467" cy="1246087"/>
          </a:xfrm>
          <a:prstGeom prst="line">
            <a:avLst/>
          </a:prstGeom>
          <a:ln w="38100"/>
        </p:spPr>
        <p:style>
          <a:lnRef idx="1">
            <a:schemeClr val="accent6"/>
          </a:lnRef>
          <a:fillRef idx="0">
            <a:schemeClr val="accent6"/>
          </a:fillRef>
          <a:effectRef idx="0">
            <a:schemeClr val="accent6"/>
          </a:effectRef>
          <a:fontRef idx="minor">
            <a:schemeClr val="tx1"/>
          </a:fontRef>
        </p:style>
      </p:cxnSp>
      <p:sp>
        <p:nvSpPr>
          <p:cNvPr id="19" name="Freeform: Shape 18">
            <a:extLst>
              <a:ext uri="{FF2B5EF4-FFF2-40B4-BE49-F238E27FC236}">
                <a16:creationId xmlns:a16="http://schemas.microsoft.com/office/drawing/2014/main" id="{587AA123-78B5-4026-B45E-545D29B85548}"/>
              </a:ext>
            </a:extLst>
          </p:cNvPr>
          <p:cNvSpPr/>
          <p:nvPr/>
        </p:nvSpPr>
        <p:spPr>
          <a:xfrm>
            <a:off x="3792530" y="3678015"/>
            <a:ext cx="2417929" cy="1252362"/>
          </a:xfrm>
          <a:custGeom>
            <a:avLst/>
            <a:gdLst>
              <a:gd name="connsiteX0" fmla="*/ 0 w 2400300"/>
              <a:gd name="connsiteY0" fmla="*/ 368300 h 368300"/>
              <a:gd name="connsiteX1" fmla="*/ 2400300 w 2400300"/>
              <a:gd name="connsiteY1" fmla="*/ 0 h 368300"/>
            </a:gdLst>
            <a:ahLst/>
            <a:cxnLst>
              <a:cxn ang="0">
                <a:pos x="connsiteX0" y="connsiteY0"/>
              </a:cxn>
              <a:cxn ang="0">
                <a:pos x="connsiteX1" y="connsiteY1"/>
              </a:cxn>
            </a:cxnLst>
            <a:rect l="l" t="t" r="r" b="b"/>
            <a:pathLst>
              <a:path w="2400300" h="368300">
                <a:moveTo>
                  <a:pt x="0" y="368300"/>
                </a:moveTo>
                <a:lnTo>
                  <a:pt x="2400300" y="0"/>
                </a:lnTo>
              </a:path>
            </a:pathLst>
          </a:custGeom>
          <a:ln w="38100"/>
        </p:spPr>
        <p:style>
          <a:lnRef idx="1">
            <a:schemeClr val="accent4"/>
          </a:lnRef>
          <a:fillRef idx="0">
            <a:schemeClr val="accent4"/>
          </a:fillRef>
          <a:effectRef idx="0">
            <a:schemeClr val="accent4"/>
          </a:effectRef>
          <a:fontRef idx="minor">
            <a:schemeClr val="tx1"/>
          </a:fontRef>
        </p:style>
        <p:txBody>
          <a:bodyPr rtlCol="0" anchor="ctr"/>
          <a:lstStyle/>
          <a:p>
            <a:pPr algn="ctr"/>
            <a:endParaRPr lang="en-US" sz="1836"/>
          </a:p>
        </p:txBody>
      </p:sp>
      <p:sp>
        <p:nvSpPr>
          <p:cNvPr id="21" name="Freeform: Shape 20">
            <a:extLst>
              <a:ext uri="{FF2B5EF4-FFF2-40B4-BE49-F238E27FC236}">
                <a16:creationId xmlns:a16="http://schemas.microsoft.com/office/drawing/2014/main" id="{78C53012-2D2B-4DDB-AF84-37DA7DFDB07E}"/>
              </a:ext>
            </a:extLst>
          </p:cNvPr>
          <p:cNvSpPr/>
          <p:nvPr/>
        </p:nvSpPr>
        <p:spPr>
          <a:xfrm>
            <a:off x="3792530" y="3678016"/>
            <a:ext cx="2417929" cy="1617170"/>
          </a:xfrm>
          <a:custGeom>
            <a:avLst/>
            <a:gdLst>
              <a:gd name="connsiteX0" fmla="*/ 0 w 2400300"/>
              <a:gd name="connsiteY0" fmla="*/ 368300 h 368300"/>
              <a:gd name="connsiteX1" fmla="*/ 2400300 w 2400300"/>
              <a:gd name="connsiteY1" fmla="*/ 0 h 368300"/>
            </a:gdLst>
            <a:ahLst/>
            <a:cxnLst>
              <a:cxn ang="0">
                <a:pos x="connsiteX0" y="connsiteY0"/>
              </a:cxn>
              <a:cxn ang="0">
                <a:pos x="connsiteX1" y="connsiteY1"/>
              </a:cxn>
            </a:cxnLst>
            <a:rect l="l" t="t" r="r" b="b"/>
            <a:pathLst>
              <a:path w="2400300" h="368300">
                <a:moveTo>
                  <a:pt x="0" y="368300"/>
                </a:moveTo>
                <a:lnTo>
                  <a:pt x="2400300" y="0"/>
                </a:lnTo>
              </a:path>
            </a:pathLst>
          </a:custGeom>
          <a:ln w="38100"/>
        </p:spPr>
        <p:style>
          <a:lnRef idx="1">
            <a:schemeClr val="accent4"/>
          </a:lnRef>
          <a:fillRef idx="0">
            <a:schemeClr val="accent4"/>
          </a:fillRef>
          <a:effectRef idx="0">
            <a:schemeClr val="accent4"/>
          </a:effectRef>
          <a:fontRef idx="minor">
            <a:schemeClr val="tx1"/>
          </a:fontRef>
        </p:style>
        <p:txBody>
          <a:bodyPr rtlCol="0" anchor="ctr"/>
          <a:lstStyle/>
          <a:p>
            <a:pPr algn="ctr"/>
            <a:endParaRPr lang="en-US" sz="1836"/>
          </a:p>
        </p:txBody>
      </p:sp>
      <p:cxnSp>
        <p:nvCxnSpPr>
          <p:cNvPr id="23" name="Straight Connector 22">
            <a:extLst>
              <a:ext uri="{FF2B5EF4-FFF2-40B4-BE49-F238E27FC236}">
                <a16:creationId xmlns:a16="http://schemas.microsoft.com/office/drawing/2014/main" id="{61D4CD6E-49C7-4364-AF1B-CF253FA4584E}"/>
              </a:ext>
            </a:extLst>
          </p:cNvPr>
          <p:cNvCxnSpPr>
            <a:cxnSpLocks/>
          </p:cNvCxnSpPr>
          <p:nvPr/>
        </p:nvCxnSpPr>
        <p:spPr>
          <a:xfrm flipV="1">
            <a:off x="3792530" y="4041280"/>
            <a:ext cx="2433471" cy="1564055"/>
          </a:xfrm>
          <a:prstGeom prst="line">
            <a:avLst/>
          </a:prstGeom>
          <a:ln w="38100">
            <a:solidFill>
              <a:srgbClr val="7030A0"/>
            </a:solidFill>
          </a:ln>
        </p:spPr>
        <p:style>
          <a:lnRef idx="1">
            <a:schemeClr val="accent3"/>
          </a:lnRef>
          <a:fillRef idx="0">
            <a:schemeClr val="accent3"/>
          </a:fillRef>
          <a:effectRef idx="0">
            <a:schemeClr val="accent3"/>
          </a:effectRef>
          <a:fontRef idx="minor">
            <a:schemeClr val="tx1"/>
          </a:fontRef>
        </p:style>
      </p:cxnSp>
      <p:cxnSp>
        <p:nvCxnSpPr>
          <p:cNvPr id="25" name="Straight Connector 24">
            <a:extLst>
              <a:ext uri="{FF2B5EF4-FFF2-40B4-BE49-F238E27FC236}">
                <a16:creationId xmlns:a16="http://schemas.microsoft.com/office/drawing/2014/main" id="{A2F393BD-2E7E-45AD-8562-5D86443D6F0A}"/>
              </a:ext>
            </a:extLst>
          </p:cNvPr>
          <p:cNvCxnSpPr>
            <a:cxnSpLocks/>
          </p:cNvCxnSpPr>
          <p:nvPr/>
        </p:nvCxnSpPr>
        <p:spPr>
          <a:xfrm flipV="1">
            <a:off x="3792530" y="4352148"/>
            <a:ext cx="2417929" cy="1661201"/>
          </a:xfrm>
          <a:prstGeom prst="line">
            <a:avLst/>
          </a:prstGeom>
          <a:ln w="38100">
            <a:solidFill>
              <a:schemeClr val="accent2"/>
            </a:solidFill>
          </a:ln>
        </p:spPr>
        <p:style>
          <a:lnRef idx="1">
            <a:schemeClr val="dk1"/>
          </a:lnRef>
          <a:fillRef idx="0">
            <a:schemeClr val="dk1"/>
          </a:fillRef>
          <a:effectRef idx="0">
            <a:schemeClr val="dk1"/>
          </a:effectRef>
          <a:fontRef idx="minor">
            <a:schemeClr val="tx1"/>
          </a:fontRef>
        </p:style>
      </p:cxnSp>
      <p:sp>
        <p:nvSpPr>
          <p:cNvPr id="27" name="Freeform: Shape 26">
            <a:extLst>
              <a:ext uri="{FF2B5EF4-FFF2-40B4-BE49-F238E27FC236}">
                <a16:creationId xmlns:a16="http://schemas.microsoft.com/office/drawing/2014/main" id="{F5717913-3668-4958-8CAB-59D1361B2150}"/>
              </a:ext>
            </a:extLst>
          </p:cNvPr>
          <p:cNvSpPr/>
          <p:nvPr/>
        </p:nvSpPr>
        <p:spPr>
          <a:xfrm>
            <a:off x="3792527" y="2556909"/>
            <a:ext cx="2417926" cy="505750"/>
          </a:xfrm>
          <a:custGeom>
            <a:avLst/>
            <a:gdLst>
              <a:gd name="connsiteX0" fmla="*/ 0 w 2400300"/>
              <a:gd name="connsiteY0" fmla="*/ 2263140 h 2263140"/>
              <a:gd name="connsiteX1" fmla="*/ 2400300 w 2400300"/>
              <a:gd name="connsiteY1" fmla="*/ 0 h 2263140"/>
            </a:gdLst>
            <a:ahLst/>
            <a:cxnLst>
              <a:cxn ang="0">
                <a:pos x="connsiteX0" y="connsiteY0"/>
              </a:cxn>
              <a:cxn ang="0">
                <a:pos x="connsiteX1" y="connsiteY1"/>
              </a:cxn>
            </a:cxnLst>
            <a:rect l="l" t="t" r="r" b="b"/>
            <a:pathLst>
              <a:path w="2400300" h="2263140">
                <a:moveTo>
                  <a:pt x="0" y="2263140"/>
                </a:moveTo>
                <a:lnTo>
                  <a:pt x="2400300" y="0"/>
                </a:lnTo>
              </a:path>
            </a:pathLst>
          </a:custGeom>
          <a:ln w="38100">
            <a:solidFill>
              <a:srgbClr val="FF000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US" sz="1836"/>
          </a:p>
        </p:txBody>
      </p:sp>
    </p:spTree>
    <p:extLst>
      <p:ext uri="{BB962C8B-B14F-4D97-AF65-F5344CB8AC3E}">
        <p14:creationId xmlns:p14="http://schemas.microsoft.com/office/powerpoint/2010/main" val="52762205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Pro Tip: Encoding</a:t>
            </a:r>
            <a:endParaRPr lang="en-US"/>
          </a:p>
        </p:txBody>
      </p:sp>
      <p:sp>
        <p:nvSpPr>
          <p:cNvPr id="2" name="Content Placeholder 2">
            <a:extLst>
              <a:ext uri="{FF2B5EF4-FFF2-40B4-BE49-F238E27FC236}">
                <a16:creationId xmlns:a16="http://schemas.microsoft.com/office/drawing/2014/main" id="{7B59351F-8B83-4BC3-9EF6-945BE4783D85}"/>
              </a:ext>
            </a:extLst>
          </p:cNvPr>
          <p:cNvSpPr>
            <a:spLocks noGrp="1"/>
          </p:cNvSpPr>
          <p:nvPr>
            <p:ph idx="1"/>
          </p:nvPr>
        </p:nvSpPr>
        <p:spPr>
          <a:xfrm>
            <a:off x="1051704" y="1831336"/>
            <a:ext cx="10328190" cy="2831381"/>
          </a:xfrm>
        </p:spPr>
        <p:txBody>
          <a:bodyPr vert="horz" wrap="square" lIns="0" tIns="0" rIns="0" bIns="0" rtlCol="0" anchor="t">
            <a:normAutofit/>
          </a:bodyPr>
          <a:lstStyle/>
          <a:p>
            <a:pPr marL="0" indent="0">
              <a:spcBef>
                <a:spcPts val="0"/>
              </a:spcBef>
              <a:buNone/>
            </a:pPr>
            <a:r>
              <a:rPr lang="en-US" sz="2400" b="1">
                <a:gradFill>
                  <a:gsLst>
                    <a:gs pos="2917">
                      <a:srgbClr val="505050"/>
                    </a:gs>
                    <a:gs pos="30000">
                      <a:srgbClr val="505050"/>
                    </a:gs>
                  </a:gsLst>
                  <a:lin ang="5400000" scaled="0"/>
                </a:gradFill>
                <a:latin typeface="Segoe UI"/>
                <a:cs typeface="+mn-cs"/>
              </a:rPr>
              <a:t>Value Encoding:</a:t>
            </a:r>
            <a:endParaRPr lang="en-US">
              <a:solidFill>
                <a:srgbClr val="000000"/>
              </a:solidFill>
              <a:latin typeface="Segoe UI"/>
              <a:cs typeface="+mn-cs"/>
            </a:endParaRPr>
          </a:p>
          <a:p>
            <a:pPr marL="342866" indent="-342866">
              <a:spcBef>
                <a:spcPts val="0"/>
              </a:spcBef>
              <a:buAutoNum type="arabicPeriod"/>
            </a:pPr>
            <a:r>
              <a:rPr lang="en-US" sz="1800">
                <a:gradFill>
                  <a:gsLst>
                    <a:gs pos="2917">
                      <a:srgbClr val="505050"/>
                    </a:gs>
                    <a:gs pos="30000">
                      <a:srgbClr val="505050"/>
                    </a:gs>
                  </a:gsLst>
                  <a:lin ang="5400000" scaled="0"/>
                </a:gradFill>
                <a:latin typeface="Segoe UI"/>
                <a:cs typeface="+mn-cs"/>
              </a:rPr>
              <a:t>Only takes place for integer columns.</a:t>
            </a:r>
          </a:p>
          <a:p>
            <a:pPr marL="436836" lvl="2" indent="0">
              <a:spcBef>
                <a:spcPts val="0"/>
              </a:spcBef>
              <a:buNone/>
            </a:pPr>
            <a:r>
              <a:rPr lang="en-US" sz="1400">
                <a:gradFill>
                  <a:gsLst>
                    <a:gs pos="2917">
                      <a:srgbClr val="505050"/>
                    </a:gs>
                    <a:gs pos="30000">
                      <a:srgbClr val="505050"/>
                    </a:gs>
                  </a:gsLst>
                  <a:lin ang="5400000" scaled="0"/>
                </a:gradFill>
                <a:latin typeface="Segoe UI"/>
              </a:rPr>
              <a:t>2,147,483,647 (the maximum value for an integer)</a:t>
            </a:r>
            <a:endParaRPr lang="en-US" sz="1400">
              <a:gradFill>
                <a:gsLst>
                  <a:gs pos="2917">
                    <a:srgbClr val="505050"/>
                  </a:gs>
                  <a:gs pos="30000">
                    <a:srgbClr val="505050"/>
                  </a:gs>
                </a:gsLst>
                <a:lin ang="5400000" scaled="0"/>
              </a:gradFill>
              <a:latin typeface="Segoe UI"/>
              <a:cs typeface="Segoe UI"/>
            </a:endParaRPr>
          </a:p>
          <a:p>
            <a:pPr marL="342866" indent="-342866">
              <a:spcBef>
                <a:spcPts val="0"/>
              </a:spcBef>
              <a:buAutoNum type="arabicPeriod"/>
            </a:pPr>
            <a:r>
              <a:rPr lang="en-US" sz="1800">
                <a:gradFill>
                  <a:gsLst>
                    <a:gs pos="2917">
                      <a:srgbClr val="505050"/>
                    </a:gs>
                    <a:gs pos="30000">
                      <a:srgbClr val="505050"/>
                    </a:gs>
                  </a:gsLst>
                  <a:lin ang="5400000" scaled="0"/>
                </a:gradFill>
                <a:latin typeface="Segoe UI"/>
                <a:cs typeface="+mn-cs"/>
              </a:rPr>
              <a:t>Cannot by applied to strings or floating points values.</a:t>
            </a:r>
            <a:endParaRPr lang="en-US" sz="1800">
              <a:gradFill>
                <a:gsLst>
                  <a:gs pos="2917">
                    <a:srgbClr val="505050"/>
                  </a:gs>
                  <a:gs pos="30000">
                    <a:srgbClr val="505050"/>
                  </a:gs>
                </a:gsLst>
                <a:lin ang="5400000" scaled="0"/>
              </a:gradFill>
              <a:latin typeface="Segoe UI"/>
              <a:cs typeface="Segoe UI"/>
            </a:endParaRPr>
          </a:p>
          <a:p>
            <a:pPr marL="342866" indent="-342866">
              <a:spcBef>
                <a:spcPts val="0"/>
              </a:spcBef>
              <a:buAutoNum type="arabicPeriod"/>
            </a:pPr>
            <a:r>
              <a:rPr lang="en-US" sz="1800">
                <a:gradFill>
                  <a:gsLst>
                    <a:gs pos="2917">
                      <a:srgbClr val="505050"/>
                    </a:gs>
                    <a:gs pos="30000">
                      <a:srgbClr val="505050"/>
                    </a:gs>
                  </a:gsLst>
                  <a:lin ang="5400000" scaled="0"/>
                </a:gradFill>
                <a:latin typeface="Segoe UI"/>
                <a:cs typeface="+mn-cs"/>
              </a:rPr>
              <a:t>Currency is stored as an integer so…..it can be value encoded.</a:t>
            </a:r>
            <a:endParaRPr lang="en-US" sz="1800">
              <a:gradFill>
                <a:gsLst>
                  <a:gs pos="2917">
                    <a:srgbClr val="505050"/>
                  </a:gs>
                  <a:gs pos="30000">
                    <a:srgbClr val="505050"/>
                  </a:gs>
                </a:gsLst>
                <a:lin ang="5400000" scaled="0"/>
              </a:gradFill>
              <a:latin typeface="Segoe UI"/>
              <a:cs typeface="Segoe UI"/>
            </a:endParaRPr>
          </a:p>
          <a:p>
            <a:pPr marL="0" indent="0">
              <a:spcBef>
                <a:spcPts val="0"/>
              </a:spcBef>
              <a:buNone/>
            </a:pPr>
            <a:endParaRPr lang="en-US" sz="2400">
              <a:solidFill>
                <a:srgbClr val="000000"/>
              </a:solidFill>
              <a:latin typeface="Segoe UI" panose="020B0502040204020203" pitchFamily="34" charset="0"/>
            </a:endParaRPr>
          </a:p>
          <a:p>
            <a:pPr marL="0" indent="0">
              <a:spcBef>
                <a:spcPts val="0"/>
              </a:spcBef>
              <a:buNone/>
            </a:pPr>
            <a:r>
              <a:rPr lang="en-US" sz="2448" b="1">
                <a:gradFill>
                  <a:gsLst>
                    <a:gs pos="2917">
                      <a:srgbClr val="505050"/>
                    </a:gs>
                    <a:gs pos="30000">
                      <a:srgbClr val="505050"/>
                    </a:gs>
                  </a:gsLst>
                  <a:lin ang="5400000" scaled="0"/>
                </a:gradFill>
                <a:latin typeface="Segoe UI"/>
                <a:cs typeface="+mn-cs"/>
              </a:rPr>
              <a:t>Hash Encoding</a:t>
            </a:r>
          </a:p>
          <a:p>
            <a:pPr marL="342866" indent="-342866">
              <a:spcBef>
                <a:spcPts val="0"/>
              </a:spcBef>
              <a:buAutoNum type="arabicPeriod"/>
            </a:pPr>
            <a:r>
              <a:rPr lang="en-US" sz="1800">
                <a:gradFill>
                  <a:gsLst>
                    <a:gs pos="2917">
                      <a:srgbClr val="505050"/>
                    </a:gs>
                    <a:gs pos="30000">
                      <a:srgbClr val="505050"/>
                    </a:gs>
                  </a:gsLst>
                  <a:lin ang="5400000" scaled="0"/>
                </a:gradFill>
                <a:latin typeface="Segoe UI"/>
                <a:cs typeface="+mn-cs"/>
              </a:rPr>
              <a:t>If the value changes to often (Primary Key) Vertipaq skips RLE.</a:t>
            </a:r>
            <a:endParaRPr lang="en-US" sz="1800">
              <a:gradFill>
                <a:gsLst>
                  <a:gs pos="2917">
                    <a:srgbClr val="505050"/>
                  </a:gs>
                  <a:gs pos="30000">
                    <a:srgbClr val="505050"/>
                  </a:gs>
                </a:gsLst>
                <a:lin ang="5400000" scaled="0"/>
              </a:gradFill>
              <a:latin typeface="Segoe UI"/>
              <a:cs typeface="Segoe UI"/>
            </a:endParaRPr>
          </a:p>
          <a:p>
            <a:pPr marL="342866" indent="-342866">
              <a:spcBef>
                <a:spcPts val="0"/>
              </a:spcBef>
              <a:buAutoNum type="arabicPeriod"/>
            </a:pPr>
            <a:r>
              <a:rPr lang="en-US" sz="1800">
                <a:gradFill>
                  <a:gsLst>
                    <a:gs pos="2917">
                      <a:srgbClr val="505050"/>
                    </a:gs>
                    <a:gs pos="30000">
                      <a:srgbClr val="505050"/>
                    </a:gs>
                  </a:gsLst>
                  <a:lin ang="5400000" scaled="0"/>
                </a:gradFill>
                <a:latin typeface="Segoe UI"/>
                <a:cs typeface="+mn-cs"/>
              </a:rPr>
              <a:t>Vertipaq storage of a column will never exceed the original column size.</a:t>
            </a:r>
            <a:endParaRPr lang="en-US" sz="1800">
              <a:gradFill>
                <a:gsLst>
                  <a:gs pos="2917">
                    <a:srgbClr val="505050"/>
                  </a:gs>
                  <a:gs pos="30000">
                    <a:srgbClr val="505050"/>
                  </a:gs>
                </a:gsLst>
                <a:lin ang="5400000" scaled="0"/>
              </a:gradFill>
              <a:latin typeface="Segoe UI"/>
              <a:cs typeface="Segoe UI"/>
            </a:endParaRPr>
          </a:p>
        </p:txBody>
      </p:sp>
    </p:spTree>
    <p:extLst>
      <p:ext uri="{BB962C8B-B14F-4D97-AF65-F5344CB8AC3E}">
        <p14:creationId xmlns:p14="http://schemas.microsoft.com/office/powerpoint/2010/main" val="108886583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Pro Tip: Providing an Encoding Hint</a:t>
            </a:r>
            <a:endParaRPr lang="en-US"/>
          </a:p>
        </p:txBody>
      </p:sp>
      <p:sp>
        <p:nvSpPr>
          <p:cNvPr id="2" name="Content Placeholder 2">
            <a:extLst>
              <a:ext uri="{FF2B5EF4-FFF2-40B4-BE49-F238E27FC236}">
                <a16:creationId xmlns:a16="http://schemas.microsoft.com/office/drawing/2014/main" id="{7B59351F-8B83-4BC3-9EF6-945BE4783D85}"/>
              </a:ext>
            </a:extLst>
          </p:cNvPr>
          <p:cNvSpPr>
            <a:spLocks noGrp="1"/>
          </p:cNvSpPr>
          <p:nvPr>
            <p:ph idx="1"/>
          </p:nvPr>
        </p:nvSpPr>
        <p:spPr>
          <a:xfrm>
            <a:off x="586291" y="1553529"/>
            <a:ext cx="3024996" cy="2015724"/>
          </a:xfrm>
        </p:spPr>
        <p:txBody>
          <a:bodyPr vert="horz" wrap="square" lIns="0" tIns="0" rIns="0" bIns="0" rtlCol="0" anchor="t">
            <a:normAutofit/>
          </a:bodyPr>
          <a:lstStyle/>
          <a:p>
            <a:pPr marL="0" indent="0">
              <a:spcBef>
                <a:spcPts val="0"/>
              </a:spcBef>
              <a:buNone/>
            </a:pPr>
            <a:r>
              <a:rPr lang="en-US" sz="2400">
                <a:gradFill>
                  <a:gsLst>
                    <a:gs pos="2917">
                      <a:srgbClr val="505050"/>
                    </a:gs>
                    <a:gs pos="30000">
                      <a:srgbClr val="505050"/>
                    </a:gs>
                  </a:gsLst>
                  <a:lin ang="5400000" scaled="0"/>
                </a:gradFill>
                <a:latin typeface="Segoe UI"/>
                <a:cs typeface="+mn-cs"/>
              </a:rPr>
              <a:t>External Tool:</a:t>
            </a:r>
          </a:p>
          <a:p>
            <a:pPr marL="0" indent="0">
              <a:spcBef>
                <a:spcPts val="0"/>
              </a:spcBef>
              <a:buNone/>
            </a:pPr>
            <a:r>
              <a:rPr lang="en-US" sz="2400" b="1">
                <a:gradFill>
                  <a:gsLst>
                    <a:gs pos="2917">
                      <a:srgbClr val="505050"/>
                    </a:gs>
                    <a:gs pos="30000">
                      <a:srgbClr val="505050"/>
                    </a:gs>
                  </a:gsLst>
                  <a:lin ang="5400000" scaled="0"/>
                </a:gradFill>
                <a:latin typeface="Segoe UI"/>
                <a:cs typeface="+mn-cs"/>
              </a:rPr>
              <a:t>Tabular Editor</a:t>
            </a:r>
          </a:p>
          <a:p>
            <a:pPr marL="0" indent="0">
              <a:spcBef>
                <a:spcPts val="0"/>
              </a:spcBef>
              <a:buNone/>
            </a:pPr>
            <a:endParaRPr lang="en-US" b="1"/>
          </a:p>
          <a:p>
            <a:pPr marL="0" indent="0">
              <a:spcBef>
                <a:spcPts val="0"/>
              </a:spcBef>
              <a:buNone/>
            </a:pPr>
            <a:r>
              <a:rPr lang="en-US" sz="2400">
                <a:gradFill>
                  <a:gsLst>
                    <a:gs pos="2917">
                      <a:srgbClr val="505050"/>
                    </a:gs>
                    <a:gs pos="30000">
                      <a:srgbClr val="505050"/>
                    </a:gs>
                  </a:gsLst>
                  <a:lin ang="5400000" scaled="0"/>
                </a:gradFill>
                <a:latin typeface="Segoe UI"/>
                <a:cs typeface="+mn-cs"/>
              </a:rPr>
              <a:t>Column Property:</a:t>
            </a:r>
          </a:p>
          <a:p>
            <a:pPr marL="0" indent="0">
              <a:spcBef>
                <a:spcPts val="0"/>
              </a:spcBef>
              <a:buNone/>
            </a:pPr>
            <a:r>
              <a:rPr lang="en-US" sz="2400" b="1">
                <a:gradFill>
                  <a:gsLst>
                    <a:gs pos="2917">
                      <a:srgbClr val="505050"/>
                    </a:gs>
                    <a:gs pos="30000">
                      <a:srgbClr val="505050"/>
                    </a:gs>
                  </a:gsLst>
                  <a:lin ang="5400000" scaled="0"/>
                </a:gradFill>
                <a:latin typeface="Segoe UI"/>
                <a:cs typeface="+mn-cs"/>
              </a:rPr>
              <a:t>Encoding Hint</a:t>
            </a:r>
          </a:p>
          <a:p>
            <a:pPr marL="0" indent="0">
              <a:spcBef>
                <a:spcPts val="0"/>
              </a:spcBef>
              <a:buNone/>
            </a:pPr>
            <a:endParaRPr lang="en-US" sz="2400" b="1">
              <a:gradFill>
                <a:gsLst>
                  <a:gs pos="2917">
                    <a:srgbClr val="505050"/>
                  </a:gs>
                  <a:gs pos="30000">
                    <a:srgbClr val="505050"/>
                  </a:gs>
                </a:gsLst>
                <a:lin ang="5400000" scaled="0"/>
              </a:gradFill>
              <a:latin typeface="Segoe UI"/>
              <a:cs typeface="+mn-cs"/>
            </a:endParaRPr>
          </a:p>
          <a:p>
            <a:pPr marL="0" indent="0">
              <a:spcBef>
                <a:spcPts val="0"/>
              </a:spcBef>
              <a:buNone/>
            </a:pPr>
            <a:endParaRPr lang="en-US" sz="2400" b="1">
              <a:gradFill>
                <a:gsLst>
                  <a:gs pos="2917">
                    <a:srgbClr val="505050"/>
                  </a:gs>
                  <a:gs pos="30000">
                    <a:srgbClr val="505050"/>
                  </a:gs>
                </a:gsLst>
                <a:lin ang="5400000" scaled="0"/>
              </a:gradFill>
              <a:latin typeface="Segoe UI"/>
              <a:cs typeface="+mn-cs"/>
            </a:endParaRPr>
          </a:p>
          <a:p>
            <a:pPr marL="0" indent="0">
              <a:spcBef>
                <a:spcPts val="0"/>
              </a:spcBef>
              <a:buNone/>
            </a:pPr>
            <a:endParaRPr lang="en-US">
              <a:solidFill>
                <a:srgbClr val="000000"/>
              </a:solidFill>
              <a:latin typeface="Segoe UI"/>
              <a:cs typeface="+mn-cs"/>
            </a:endParaRPr>
          </a:p>
        </p:txBody>
      </p:sp>
      <p:grpSp>
        <p:nvGrpSpPr>
          <p:cNvPr id="9" name="Group 8">
            <a:extLst>
              <a:ext uri="{FF2B5EF4-FFF2-40B4-BE49-F238E27FC236}">
                <a16:creationId xmlns:a16="http://schemas.microsoft.com/office/drawing/2014/main" id="{93A569B6-22C1-474D-BEA5-13970BD40F61}"/>
              </a:ext>
            </a:extLst>
          </p:cNvPr>
          <p:cNvGrpSpPr/>
          <p:nvPr/>
        </p:nvGrpSpPr>
        <p:grpSpPr>
          <a:xfrm>
            <a:off x="4423614" y="1783234"/>
            <a:ext cx="7626742" cy="3143412"/>
            <a:chOff x="4344101" y="3037773"/>
            <a:chExt cx="7626742" cy="3143412"/>
          </a:xfrm>
        </p:grpSpPr>
        <p:grpSp>
          <p:nvGrpSpPr>
            <p:cNvPr id="8" name="Group 7">
              <a:extLst>
                <a:ext uri="{FF2B5EF4-FFF2-40B4-BE49-F238E27FC236}">
                  <a16:creationId xmlns:a16="http://schemas.microsoft.com/office/drawing/2014/main" id="{027E3F2A-511A-4AEA-8B8C-30FFCE16BF72}"/>
                </a:ext>
              </a:extLst>
            </p:cNvPr>
            <p:cNvGrpSpPr/>
            <p:nvPr/>
          </p:nvGrpSpPr>
          <p:grpSpPr>
            <a:xfrm>
              <a:off x="4344101" y="3037773"/>
              <a:ext cx="7626742" cy="3143412"/>
              <a:chOff x="4277840" y="1521239"/>
              <a:chExt cx="7626742" cy="3143412"/>
            </a:xfrm>
          </p:grpSpPr>
          <p:pic>
            <p:nvPicPr>
              <p:cNvPr id="7" name="Picture 6">
                <a:extLst>
                  <a:ext uri="{FF2B5EF4-FFF2-40B4-BE49-F238E27FC236}">
                    <a16:creationId xmlns:a16="http://schemas.microsoft.com/office/drawing/2014/main" id="{43ACC134-0338-446C-AFE0-23E4DED4312F}"/>
                  </a:ext>
                </a:extLst>
              </p:cNvPr>
              <p:cNvPicPr>
                <a:picLocks noChangeAspect="1"/>
              </p:cNvPicPr>
              <p:nvPr/>
            </p:nvPicPr>
            <p:blipFill>
              <a:blip r:embed="rId2"/>
              <a:stretch>
                <a:fillRect/>
              </a:stretch>
            </p:blipFill>
            <p:spPr>
              <a:xfrm>
                <a:off x="4277840" y="1521239"/>
                <a:ext cx="7626742" cy="3143412"/>
              </a:xfrm>
              <a:prstGeom prst="rect">
                <a:avLst/>
              </a:prstGeom>
              <a:ln>
                <a:solidFill>
                  <a:schemeClr val="tx1">
                    <a:lumMod val="50000"/>
                    <a:lumOff val="50000"/>
                  </a:schemeClr>
                </a:solidFill>
              </a:ln>
            </p:spPr>
          </p:pic>
          <p:sp>
            <p:nvSpPr>
              <p:cNvPr id="11" name="Rectangle 10">
                <a:extLst>
                  <a:ext uri="{FF2B5EF4-FFF2-40B4-BE49-F238E27FC236}">
                    <a16:creationId xmlns:a16="http://schemas.microsoft.com/office/drawing/2014/main" id="{5B68B983-62D7-4B5F-B565-EE38FB6AF7E4}"/>
                  </a:ext>
                </a:extLst>
              </p:cNvPr>
              <p:cNvSpPr/>
              <p:nvPr/>
            </p:nvSpPr>
            <p:spPr>
              <a:xfrm>
                <a:off x="9029423" y="3158435"/>
                <a:ext cx="653499" cy="50358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sp>
          <p:nvSpPr>
            <p:cNvPr id="14" name="Rectangle 13">
              <a:extLst>
                <a:ext uri="{FF2B5EF4-FFF2-40B4-BE49-F238E27FC236}">
                  <a16:creationId xmlns:a16="http://schemas.microsoft.com/office/drawing/2014/main" id="{7557224B-923B-4BFC-BA3B-BC433DF2E4EE}"/>
                </a:ext>
              </a:extLst>
            </p:cNvPr>
            <p:cNvSpPr/>
            <p:nvPr/>
          </p:nvSpPr>
          <p:spPr>
            <a:xfrm>
              <a:off x="6694832" y="4489143"/>
              <a:ext cx="1044437" cy="24067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sp>
        <p:nvSpPr>
          <p:cNvPr id="12" name="TextBox 11">
            <a:extLst>
              <a:ext uri="{FF2B5EF4-FFF2-40B4-BE49-F238E27FC236}">
                <a16:creationId xmlns:a16="http://schemas.microsoft.com/office/drawing/2014/main" id="{411E8622-7F65-4A42-BB4D-411862F46786}"/>
              </a:ext>
            </a:extLst>
          </p:cNvPr>
          <p:cNvSpPr txBox="1"/>
          <p:nvPr/>
        </p:nvSpPr>
        <p:spPr>
          <a:xfrm>
            <a:off x="4423612" y="5112472"/>
            <a:ext cx="7626743" cy="1538883"/>
          </a:xfrm>
          <a:prstGeom prst="rect">
            <a:avLst/>
          </a:prstGeom>
          <a:noFill/>
        </p:spPr>
        <p:txBody>
          <a:bodyPr wrap="square" lIns="0" tIns="0" rIns="0" bIns="0" rtlCol="0">
            <a:spAutoFit/>
          </a:bodyPr>
          <a:lstStyle/>
          <a:p>
            <a:r>
              <a:rPr lang="en-US" sz="2000" b="1">
                <a:gradFill>
                  <a:gsLst>
                    <a:gs pos="2917">
                      <a:srgbClr val="505050"/>
                    </a:gs>
                    <a:gs pos="30000">
                      <a:srgbClr val="505050"/>
                    </a:gs>
                  </a:gsLst>
                  <a:lin ang="5400000" scaled="0"/>
                </a:gradFill>
                <a:latin typeface="Segoe UI"/>
              </a:rPr>
              <a:t>Encoding Hint</a:t>
            </a:r>
            <a:endParaRPr lang="en-US" sz="2000"/>
          </a:p>
          <a:p>
            <a:pPr algn="l"/>
            <a:r>
              <a:rPr lang="en-US" sz="1600"/>
              <a:t>This property allows an encoding hint to be specified for the column. A numeric column may use either value-based encoding or hash-based encoding. Usually the server will automatically attempt detect which encoding to use, but re-encoding may occur later. This property allows hinting to the server that it should start with a different encoding type.</a:t>
            </a:r>
          </a:p>
        </p:txBody>
      </p:sp>
    </p:spTree>
    <p:extLst>
      <p:ext uri="{BB962C8B-B14F-4D97-AF65-F5344CB8AC3E}">
        <p14:creationId xmlns:p14="http://schemas.microsoft.com/office/powerpoint/2010/main" val="12678787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38961D6-F9C7-4D5D-8C3C-0A9B5C8C3D6E}"/>
              </a:ext>
            </a:extLst>
          </p:cNvPr>
          <p:cNvSpPr>
            <a:spLocks noGrp="1"/>
          </p:cNvSpPr>
          <p:nvPr>
            <p:ph type="title"/>
          </p:nvPr>
        </p:nvSpPr>
        <p:spPr>
          <a:xfrm>
            <a:off x="465897" y="633145"/>
            <a:ext cx="11530079" cy="410317"/>
          </a:xfrm>
        </p:spPr>
        <p:txBody>
          <a:bodyPr/>
          <a:lstStyle/>
          <a:p>
            <a:r>
              <a:rPr lang="en-IN"/>
              <a:t>The Evolution of BI</a:t>
            </a:r>
          </a:p>
        </p:txBody>
      </p:sp>
      <p:sp>
        <p:nvSpPr>
          <p:cNvPr id="46" name="Flowchart: Document 3" descr="Evolution of BI - 1st wave users, 2nd wave users and 3rd wave users">
            <a:extLst>
              <a:ext uri="{FF2B5EF4-FFF2-40B4-BE49-F238E27FC236}">
                <a16:creationId xmlns:a16="http://schemas.microsoft.com/office/drawing/2014/main" id="{63282440-BE13-451F-BBB4-AACFF64D76FA}"/>
              </a:ext>
            </a:extLst>
          </p:cNvPr>
          <p:cNvSpPr/>
          <p:nvPr/>
        </p:nvSpPr>
        <p:spPr bwMode="auto">
          <a:xfrm flipH="1" flipV="1">
            <a:off x="504126" y="2030542"/>
            <a:ext cx="11489537" cy="5021816"/>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1667 h 22237"/>
              <a:gd name="connsiteX1" fmla="*/ 21600 w 21600"/>
              <a:gd name="connsiteY1" fmla="*/ 1667 h 22237"/>
              <a:gd name="connsiteX2" fmla="*/ 21578 w 21600"/>
              <a:gd name="connsiteY2" fmla="*/ 1666 h 22237"/>
              <a:gd name="connsiteX3" fmla="*/ 0 w 21600"/>
              <a:gd name="connsiteY3" fmla="*/ 21839 h 22237"/>
              <a:gd name="connsiteX4" fmla="*/ 0 w 21600"/>
              <a:gd name="connsiteY4" fmla="*/ 1667 h 22237"/>
              <a:gd name="connsiteX0" fmla="*/ 0 w 21600"/>
              <a:gd name="connsiteY0" fmla="*/ 1708 h 22278"/>
              <a:gd name="connsiteX1" fmla="*/ 21600 w 21600"/>
              <a:gd name="connsiteY1" fmla="*/ 1708 h 22278"/>
              <a:gd name="connsiteX2" fmla="*/ 21578 w 21600"/>
              <a:gd name="connsiteY2" fmla="*/ 1661 h 22278"/>
              <a:gd name="connsiteX3" fmla="*/ 0 w 21600"/>
              <a:gd name="connsiteY3" fmla="*/ 21880 h 22278"/>
              <a:gd name="connsiteX4" fmla="*/ 0 w 21600"/>
              <a:gd name="connsiteY4" fmla="*/ 1708 h 22278"/>
              <a:gd name="connsiteX0" fmla="*/ 0 w 21600"/>
              <a:gd name="connsiteY0" fmla="*/ 1668 h 22238"/>
              <a:gd name="connsiteX1" fmla="*/ 21600 w 21600"/>
              <a:gd name="connsiteY1" fmla="*/ 1668 h 22238"/>
              <a:gd name="connsiteX2" fmla="*/ 21578 w 21600"/>
              <a:gd name="connsiteY2" fmla="*/ 1667 h 22238"/>
              <a:gd name="connsiteX3" fmla="*/ 0 w 21600"/>
              <a:gd name="connsiteY3" fmla="*/ 21840 h 22238"/>
              <a:gd name="connsiteX4" fmla="*/ 0 w 21600"/>
              <a:gd name="connsiteY4" fmla="*/ 1668 h 22238"/>
              <a:gd name="connsiteX0" fmla="*/ 0 w 21600"/>
              <a:gd name="connsiteY0" fmla="*/ 1668 h 22238"/>
              <a:gd name="connsiteX1" fmla="*/ 21600 w 21600"/>
              <a:gd name="connsiteY1" fmla="*/ 1668 h 22238"/>
              <a:gd name="connsiteX2" fmla="*/ 21588 w 21600"/>
              <a:gd name="connsiteY2" fmla="*/ 1667 h 22238"/>
              <a:gd name="connsiteX3" fmla="*/ 0 w 21600"/>
              <a:gd name="connsiteY3" fmla="*/ 21840 h 22238"/>
              <a:gd name="connsiteX4" fmla="*/ 0 w 21600"/>
              <a:gd name="connsiteY4" fmla="*/ 1668 h 22238"/>
              <a:gd name="connsiteX0" fmla="*/ 0 w 21607"/>
              <a:gd name="connsiteY0" fmla="*/ 1648 h 22219"/>
              <a:gd name="connsiteX1" fmla="*/ 21600 w 21607"/>
              <a:gd name="connsiteY1" fmla="*/ 1648 h 22219"/>
              <a:gd name="connsiteX2" fmla="*/ 21607 w 21607"/>
              <a:gd name="connsiteY2" fmla="*/ 1670 h 22219"/>
              <a:gd name="connsiteX3" fmla="*/ 0 w 21607"/>
              <a:gd name="connsiteY3" fmla="*/ 21820 h 22219"/>
              <a:gd name="connsiteX4" fmla="*/ 0 w 21607"/>
              <a:gd name="connsiteY4" fmla="*/ 1648 h 22219"/>
              <a:gd name="connsiteX0" fmla="*/ 0 w 21600"/>
              <a:gd name="connsiteY0" fmla="*/ 1648 h 22219"/>
              <a:gd name="connsiteX1" fmla="*/ 21600 w 21600"/>
              <a:gd name="connsiteY1" fmla="*/ 1648 h 22219"/>
              <a:gd name="connsiteX2" fmla="*/ 21597 w 21600"/>
              <a:gd name="connsiteY2" fmla="*/ 1670 h 22219"/>
              <a:gd name="connsiteX3" fmla="*/ 0 w 21600"/>
              <a:gd name="connsiteY3" fmla="*/ 21820 h 22219"/>
              <a:gd name="connsiteX4" fmla="*/ 0 w 21600"/>
              <a:gd name="connsiteY4" fmla="*/ 1648 h 22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2219">
                <a:moveTo>
                  <a:pt x="0" y="1648"/>
                </a:moveTo>
                <a:lnTo>
                  <a:pt x="21600" y="1648"/>
                </a:lnTo>
                <a:cubicBezTo>
                  <a:pt x="21600" y="7422"/>
                  <a:pt x="21597" y="-4104"/>
                  <a:pt x="21597" y="1670"/>
                </a:cubicBezTo>
                <a:cubicBezTo>
                  <a:pt x="10797" y="1670"/>
                  <a:pt x="10800" y="25570"/>
                  <a:pt x="0" y="21820"/>
                </a:cubicBezTo>
                <a:lnTo>
                  <a:pt x="0" y="1648"/>
                </a:lnTo>
                <a:close/>
              </a:path>
            </a:pathLst>
          </a:cu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47" name="Flowchart: Document 3">
            <a:extLst>
              <a:ext uri="{FF2B5EF4-FFF2-40B4-BE49-F238E27FC236}">
                <a16:creationId xmlns:a16="http://schemas.microsoft.com/office/drawing/2014/main" id="{AB51981D-45B3-4C36-9725-137D1DDD2A79}"/>
              </a:ext>
              <a:ext uri="{C183D7F6-B498-43B3-948B-1728B52AA6E4}">
                <adec:decorative xmlns:adec="http://schemas.microsoft.com/office/drawing/2017/decorative" val="1"/>
              </a:ext>
            </a:extLst>
          </p:cNvPr>
          <p:cNvSpPr/>
          <p:nvPr/>
        </p:nvSpPr>
        <p:spPr bwMode="auto">
          <a:xfrm flipH="1" flipV="1">
            <a:off x="504125" y="3157295"/>
            <a:ext cx="11489537" cy="3789155"/>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1667 h 22237"/>
              <a:gd name="connsiteX1" fmla="*/ 21600 w 21600"/>
              <a:gd name="connsiteY1" fmla="*/ 1667 h 22237"/>
              <a:gd name="connsiteX2" fmla="*/ 21578 w 21600"/>
              <a:gd name="connsiteY2" fmla="*/ 1666 h 22237"/>
              <a:gd name="connsiteX3" fmla="*/ 0 w 21600"/>
              <a:gd name="connsiteY3" fmla="*/ 21839 h 22237"/>
              <a:gd name="connsiteX4" fmla="*/ 0 w 21600"/>
              <a:gd name="connsiteY4" fmla="*/ 1667 h 22237"/>
              <a:gd name="connsiteX0" fmla="*/ 0 w 21600"/>
              <a:gd name="connsiteY0" fmla="*/ 1708 h 22278"/>
              <a:gd name="connsiteX1" fmla="*/ 21600 w 21600"/>
              <a:gd name="connsiteY1" fmla="*/ 1708 h 22278"/>
              <a:gd name="connsiteX2" fmla="*/ 21578 w 21600"/>
              <a:gd name="connsiteY2" fmla="*/ 1661 h 22278"/>
              <a:gd name="connsiteX3" fmla="*/ 0 w 21600"/>
              <a:gd name="connsiteY3" fmla="*/ 21880 h 22278"/>
              <a:gd name="connsiteX4" fmla="*/ 0 w 21600"/>
              <a:gd name="connsiteY4" fmla="*/ 1708 h 22278"/>
              <a:gd name="connsiteX0" fmla="*/ 0 w 21600"/>
              <a:gd name="connsiteY0" fmla="*/ 1668 h 22238"/>
              <a:gd name="connsiteX1" fmla="*/ 21600 w 21600"/>
              <a:gd name="connsiteY1" fmla="*/ 1668 h 22238"/>
              <a:gd name="connsiteX2" fmla="*/ 21578 w 21600"/>
              <a:gd name="connsiteY2" fmla="*/ 1667 h 22238"/>
              <a:gd name="connsiteX3" fmla="*/ 0 w 21600"/>
              <a:gd name="connsiteY3" fmla="*/ 21840 h 22238"/>
              <a:gd name="connsiteX4" fmla="*/ 0 w 21600"/>
              <a:gd name="connsiteY4" fmla="*/ 1668 h 22238"/>
              <a:gd name="connsiteX0" fmla="*/ 0 w 21600"/>
              <a:gd name="connsiteY0" fmla="*/ 1668 h 22238"/>
              <a:gd name="connsiteX1" fmla="*/ 21600 w 21600"/>
              <a:gd name="connsiteY1" fmla="*/ 1668 h 22238"/>
              <a:gd name="connsiteX2" fmla="*/ 21588 w 21600"/>
              <a:gd name="connsiteY2" fmla="*/ 1667 h 22238"/>
              <a:gd name="connsiteX3" fmla="*/ 0 w 21600"/>
              <a:gd name="connsiteY3" fmla="*/ 21840 h 22238"/>
              <a:gd name="connsiteX4" fmla="*/ 0 w 21600"/>
              <a:gd name="connsiteY4" fmla="*/ 1668 h 22238"/>
              <a:gd name="connsiteX0" fmla="*/ 0 w 21607"/>
              <a:gd name="connsiteY0" fmla="*/ 1648 h 22219"/>
              <a:gd name="connsiteX1" fmla="*/ 21600 w 21607"/>
              <a:gd name="connsiteY1" fmla="*/ 1648 h 22219"/>
              <a:gd name="connsiteX2" fmla="*/ 21607 w 21607"/>
              <a:gd name="connsiteY2" fmla="*/ 1670 h 22219"/>
              <a:gd name="connsiteX3" fmla="*/ 0 w 21607"/>
              <a:gd name="connsiteY3" fmla="*/ 21820 h 22219"/>
              <a:gd name="connsiteX4" fmla="*/ 0 w 21607"/>
              <a:gd name="connsiteY4" fmla="*/ 1648 h 22219"/>
              <a:gd name="connsiteX0" fmla="*/ 0 w 21600"/>
              <a:gd name="connsiteY0" fmla="*/ 1648 h 22219"/>
              <a:gd name="connsiteX1" fmla="*/ 21600 w 21600"/>
              <a:gd name="connsiteY1" fmla="*/ 1648 h 22219"/>
              <a:gd name="connsiteX2" fmla="*/ 21597 w 21600"/>
              <a:gd name="connsiteY2" fmla="*/ 1670 h 22219"/>
              <a:gd name="connsiteX3" fmla="*/ 0 w 21600"/>
              <a:gd name="connsiteY3" fmla="*/ 21820 h 22219"/>
              <a:gd name="connsiteX4" fmla="*/ 0 w 21600"/>
              <a:gd name="connsiteY4" fmla="*/ 1648 h 22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2219">
                <a:moveTo>
                  <a:pt x="0" y="1648"/>
                </a:moveTo>
                <a:lnTo>
                  <a:pt x="21600" y="1648"/>
                </a:lnTo>
                <a:cubicBezTo>
                  <a:pt x="21600" y="7422"/>
                  <a:pt x="21597" y="-4104"/>
                  <a:pt x="21597" y="1670"/>
                </a:cubicBezTo>
                <a:cubicBezTo>
                  <a:pt x="10797" y="1670"/>
                  <a:pt x="10800" y="25570"/>
                  <a:pt x="0" y="21820"/>
                </a:cubicBezTo>
                <a:lnTo>
                  <a:pt x="0" y="1648"/>
                </a:lnTo>
                <a:close/>
              </a:path>
            </a:pathLst>
          </a:cu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48" name="Flowchart: Document 3">
            <a:extLst>
              <a:ext uri="{FF2B5EF4-FFF2-40B4-BE49-F238E27FC236}">
                <a16:creationId xmlns:a16="http://schemas.microsoft.com/office/drawing/2014/main" id="{102EC9A7-4FB6-4447-9B87-67DCCFBB17B6}"/>
              </a:ext>
              <a:ext uri="{C183D7F6-B498-43B3-948B-1728B52AA6E4}">
                <adec:decorative xmlns:adec="http://schemas.microsoft.com/office/drawing/2017/decorative" val="1"/>
              </a:ext>
            </a:extLst>
          </p:cNvPr>
          <p:cNvSpPr/>
          <p:nvPr/>
        </p:nvSpPr>
        <p:spPr bwMode="auto">
          <a:xfrm flipH="1" flipV="1">
            <a:off x="504127" y="4649916"/>
            <a:ext cx="11489537" cy="2203776"/>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1667 h 22237"/>
              <a:gd name="connsiteX1" fmla="*/ 21600 w 21600"/>
              <a:gd name="connsiteY1" fmla="*/ 1667 h 22237"/>
              <a:gd name="connsiteX2" fmla="*/ 21578 w 21600"/>
              <a:gd name="connsiteY2" fmla="*/ 1666 h 22237"/>
              <a:gd name="connsiteX3" fmla="*/ 0 w 21600"/>
              <a:gd name="connsiteY3" fmla="*/ 21839 h 22237"/>
              <a:gd name="connsiteX4" fmla="*/ 0 w 21600"/>
              <a:gd name="connsiteY4" fmla="*/ 1667 h 22237"/>
              <a:gd name="connsiteX0" fmla="*/ 0 w 21600"/>
              <a:gd name="connsiteY0" fmla="*/ 1708 h 22278"/>
              <a:gd name="connsiteX1" fmla="*/ 21600 w 21600"/>
              <a:gd name="connsiteY1" fmla="*/ 1708 h 22278"/>
              <a:gd name="connsiteX2" fmla="*/ 21578 w 21600"/>
              <a:gd name="connsiteY2" fmla="*/ 1661 h 22278"/>
              <a:gd name="connsiteX3" fmla="*/ 0 w 21600"/>
              <a:gd name="connsiteY3" fmla="*/ 21880 h 22278"/>
              <a:gd name="connsiteX4" fmla="*/ 0 w 21600"/>
              <a:gd name="connsiteY4" fmla="*/ 1708 h 22278"/>
              <a:gd name="connsiteX0" fmla="*/ 0 w 21600"/>
              <a:gd name="connsiteY0" fmla="*/ 1668 h 22238"/>
              <a:gd name="connsiteX1" fmla="*/ 21600 w 21600"/>
              <a:gd name="connsiteY1" fmla="*/ 1668 h 22238"/>
              <a:gd name="connsiteX2" fmla="*/ 21578 w 21600"/>
              <a:gd name="connsiteY2" fmla="*/ 1667 h 22238"/>
              <a:gd name="connsiteX3" fmla="*/ 0 w 21600"/>
              <a:gd name="connsiteY3" fmla="*/ 21840 h 22238"/>
              <a:gd name="connsiteX4" fmla="*/ 0 w 21600"/>
              <a:gd name="connsiteY4" fmla="*/ 1668 h 22238"/>
              <a:gd name="connsiteX0" fmla="*/ 0 w 21600"/>
              <a:gd name="connsiteY0" fmla="*/ 1668 h 22238"/>
              <a:gd name="connsiteX1" fmla="*/ 21600 w 21600"/>
              <a:gd name="connsiteY1" fmla="*/ 1668 h 22238"/>
              <a:gd name="connsiteX2" fmla="*/ 21588 w 21600"/>
              <a:gd name="connsiteY2" fmla="*/ 1667 h 22238"/>
              <a:gd name="connsiteX3" fmla="*/ 0 w 21600"/>
              <a:gd name="connsiteY3" fmla="*/ 21840 h 22238"/>
              <a:gd name="connsiteX4" fmla="*/ 0 w 21600"/>
              <a:gd name="connsiteY4" fmla="*/ 1668 h 22238"/>
              <a:gd name="connsiteX0" fmla="*/ 0 w 21607"/>
              <a:gd name="connsiteY0" fmla="*/ 1648 h 22219"/>
              <a:gd name="connsiteX1" fmla="*/ 21600 w 21607"/>
              <a:gd name="connsiteY1" fmla="*/ 1648 h 22219"/>
              <a:gd name="connsiteX2" fmla="*/ 21607 w 21607"/>
              <a:gd name="connsiteY2" fmla="*/ 1670 h 22219"/>
              <a:gd name="connsiteX3" fmla="*/ 0 w 21607"/>
              <a:gd name="connsiteY3" fmla="*/ 21820 h 22219"/>
              <a:gd name="connsiteX4" fmla="*/ 0 w 21607"/>
              <a:gd name="connsiteY4" fmla="*/ 1648 h 22219"/>
              <a:gd name="connsiteX0" fmla="*/ 0 w 21600"/>
              <a:gd name="connsiteY0" fmla="*/ 1648 h 22219"/>
              <a:gd name="connsiteX1" fmla="*/ 21600 w 21600"/>
              <a:gd name="connsiteY1" fmla="*/ 1648 h 22219"/>
              <a:gd name="connsiteX2" fmla="*/ 21597 w 21600"/>
              <a:gd name="connsiteY2" fmla="*/ 1670 h 22219"/>
              <a:gd name="connsiteX3" fmla="*/ 0 w 21600"/>
              <a:gd name="connsiteY3" fmla="*/ 21820 h 22219"/>
              <a:gd name="connsiteX4" fmla="*/ 0 w 21600"/>
              <a:gd name="connsiteY4" fmla="*/ 1648 h 22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2219">
                <a:moveTo>
                  <a:pt x="0" y="1648"/>
                </a:moveTo>
                <a:lnTo>
                  <a:pt x="21600" y="1648"/>
                </a:lnTo>
                <a:cubicBezTo>
                  <a:pt x="21600" y="7422"/>
                  <a:pt x="21597" y="-4104"/>
                  <a:pt x="21597" y="1670"/>
                </a:cubicBezTo>
                <a:cubicBezTo>
                  <a:pt x="10797" y="1670"/>
                  <a:pt x="10800" y="25570"/>
                  <a:pt x="0" y="21820"/>
                </a:cubicBezTo>
                <a:lnTo>
                  <a:pt x="0" y="1648"/>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descr="Rectangle around the Evolution of BI waves">
            <a:extLst>
              <a:ext uri="{FF2B5EF4-FFF2-40B4-BE49-F238E27FC236}">
                <a16:creationId xmlns:a16="http://schemas.microsoft.com/office/drawing/2014/main" id="{3F323635-C93C-4C5E-B259-0B85F24840AA}"/>
              </a:ext>
            </a:extLst>
          </p:cNvPr>
          <p:cNvSpPr/>
          <p:nvPr/>
        </p:nvSpPr>
        <p:spPr bwMode="auto">
          <a:xfrm>
            <a:off x="441223" y="1216238"/>
            <a:ext cx="11552444" cy="5454062"/>
          </a:xfrm>
          <a:prstGeom prst="rect">
            <a:avLst/>
          </a:prstGeom>
          <a:noFill/>
          <a:ln w="3175">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123" name="Rectangle 122">
            <a:extLst>
              <a:ext uri="{FF2B5EF4-FFF2-40B4-BE49-F238E27FC236}">
                <a16:creationId xmlns:a16="http://schemas.microsoft.com/office/drawing/2014/main" id="{6746E46E-E55E-4FBE-BED3-C796C55A2760}"/>
              </a:ext>
            </a:extLst>
          </p:cNvPr>
          <p:cNvSpPr/>
          <p:nvPr/>
        </p:nvSpPr>
        <p:spPr bwMode="auto">
          <a:xfrm>
            <a:off x="1454756" y="5119187"/>
            <a:ext cx="1985289" cy="7875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50933" fontAlgn="base">
              <a:lnSpc>
                <a:spcPct val="90000"/>
              </a:lnSpc>
              <a:spcBef>
                <a:spcPct val="0"/>
              </a:spcBef>
              <a:spcAft>
                <a:spcPct val="0"/>
              </a:spcAft>
            </a:pPr>
            <a:r>
              <a:rPr lang="en-IN" sz="2448">
                <a:solidFill>
                  <a:srgbClr val="191919"/>
                </a:solidFill>
                <a:latin typeface="+mj-lt"/>
                <a:ea typeface="Segoe UI" pitchFamily="34" charset="0"/>
                <a:cs typeface="Segoe UI" pitchFamily="34" charset="0"/>
              </a:rPr>
              <a:t>1</a:t>
            </a:r>
            <a:r>
              <a:rPr lang="en-IN" sz="2448" baseline="30000">
                <a:solidFill>
                  <a:srgbClr val="191919"/>
                </a:solidFill>
                <a:latin typeface="+mj-lt"/>
                <a:ea typeface="Segoe UI" pitchFamily="34" charset="0"/>
                <a:cs typeface="Segoe UI" pitchFamily="34" charset="0"/>
              </a:rPr>
              <a:t>st</a:t>
            </a:r>
            <a:r>
              <a:rPr lang="en-IN" sz="2448">
                <a:solidFill>
                  <a:srgbClr val="191919"/>
                </a:solidFill>
                <a:latin typeface="+mj-lt"/>
                <a:ea typeface="Segoe UI" pitchFamily="34" charset="0"/>
                <a:cs typeface="Segoe UI" pitchFamily="34" charset="0"/>
              </a:rPr>
              <a:t> wave</a:t>
            </a:r>
            <a:br>
              <a:rPr lang="en-IN" sz="2448">
                <a:solidFill>
                  <a:srgbClr val="191919"/>
                </a:solidFill>
                <a:latin typeface="+mj-lt"/>
                <a:ea typeface="Segoe UI" pitchFamily="34" charset="0"/>
                <a:cs typeface="Segoe UI" pitchFamily="34" charset="0"/>
              </a:rPr>
            </a:br>
            <a:r>
              <a:rPr lang="en-IN" sz="2040">
                <a:solidFill>
                  <a:srgbClr val="191919"/>
                </a:solidFill>
                <a:ea typeface="Segoe UI" pitchFamily="34" charset="0"/>
                <a:cs typeface="Segoe UI" pitchFamily="34" charset="0"/>
              </a:rPr>
              <a:t>Corporate BI</a:t>
            </a:r>
            <a:endParaRPr lang="en-IN" sz="2448">
              <a:solidFill>
                <a:srgbClr val="191919"/>
              </a:solidFill>
              <a:ea typeface="Segoe UI" pitchFamily="34" charset="0"/>
              <a:cs typeface="Segoe UI" pitchFamily="34" charset="0"/>
            </a:endParaRPr>
          </a:p>
        </p:txBody>
      </p:sp>
      <p:grpSp>
        <p:nvGrpSpPr>
          <p:cNvPr id="13" name="Group 12" descr="IT to End user">
            <a:extLst>
              <a:ext uri="{FF2B5EF4-FFF2-40B4-BE49-F238E27FC236}">
                <a16:creationId xmlns:a16="http://schemas.microsoft.com/office/drawing/2014/main" id="{E8B62FCC-F60B-41C0-B505-602E9685E337}"/>
              </a:ext>
            </a:extLst>
          </p:cNvPr>
          <p:cNvGrpSpPr/>
          <p:nvPr/>
        </p:nvGrpSpPr>
        <p:grpSpPr>
          <a:xfrm>
            <a:off x="9786114" y="5106445"/>
            <a:ext cx="1689505" cy="813015"/>
            <a:chOff x="9595460" y="4940300"/>
            <a:chExt cx="1656740" cy="797248"/>
          </a:xfrm>
        </p:grpSpPr>
        <p:grpSp>
          <p:nvGrpSpPr>
            <p:cNvPr id="9" name="Group 8">
              <a:extLst>
                <a:ext uri="{FF2B5EF4-FFF2-40B4-BE49-F238E27FC236}">
                  <a16:creationId xmlns:a16="http://schemas.microsoft.com/office/drawing/2014/main" id="{FC6B2DFC-D67A-4654-B94D-9BEB9B0CA450}"/>
                </a:ext>
              </a:extLst>
            </p:cNvPr>
            <p:cNvGrpSpPr/>
            <p:nvPr/>
          </p:nvGrpSpPr>
          <p:grpSpPr>
            <a:xfrm>
              <a:off x="9981462" y="4940300"/>
              <a:ext cx="930254" cy="482600"/>
              <a:chOff x="9981462" y="4616450"/>
              <a:chExt cx="930254" cy="482600"/>
            </a:xfrm>
          </p:grpSpPr>
          <p:grpSp>
            <p:nvGrpSpPr>
              <p:cNvPr id="102" name="Graphic 902">
                <a:extLst>
                  <a:ext uri="{FF2B5EF4-FFF2-40B4-BE49-F238E27FC236}">
                    <a16:creationId xmlns:a16="http://schemas.microsoft.com/office/drawing/2014/main" id="{A1BBCE90-7CCC-45A2-A38E-D96BF6FB3FD0}"/>
                  </a:ext>
                </a:extLst>
              </p:cNvPr>
              <p:cNvGrpSpPr/>
              <p:nvPr/>
            </p:nvGrpSpPr>
            <p:grpSpPr>
              <a:xfrm>
                <a:off x="9981462" y="4622225"/>
                <a:ext cx="297602" cy="394850"/>
                <a:chOff x="6051644" y="3273519"/>
                <a:chExt cx="334327" cy="443579"/>
              </a:xfrm>
              <a:noFill/>
            </p:grpSpPr>
            <p:sp>
              <p:nvSpPr>
                <p:cNvPr id="117" name="Freeform: Shape 116">
                  <a:extLst>
                    <a:ext uri="{FF2B5EF4-FFF2-40B4-BE49-F238E27FC236}">
                      <a16:creationId xmlns:a16="http://schemas.microsoft.com/office/drawing/2014/main" id="{EBD49BD9-3530-49AA-B70E-CC332AEB7C08}"/>
                    </a:ext>
                  </a:extLst>
                </p:cNvPr>
                <p:cNvSpPr/>
                <p:nvPr/>
              </p:nvSpPr>
              <p:spPr>
                <a:xfrm>
                  <a:off x="6086315" y="3273519"/>
                  <a:ext cx="266509" cy="272224"/>
                </a:xfrm>
                <a:custGeom>
                  <a:avLst/>
                  <a:gdLst>
                    <a:gd name="connsiteX0" fmla="*/ 0 w 266509"/>
                    <a:gd name="connsiteY0" fmla="*/ 136112 h 272224"/>
                    <a:gd name="connsiteX1" fmla="*/ 133255 w 266509"/>
                    <a:gd name="connsiteY1" fmla="*/ 0 h 272224"/>
                    <a:gd name="connsiteX2" fmla="*/ 266510 w 266509"/>
                    <a:gd name="connsiteY2" fmla="*/ 136112 h 272224"/>
                    <a:gd name="connsiteX3" fmla="*/ 133255 w 266509"/>
                    <a:gd name="connsiteY3" fmla="*/ 272225 h 272224"/>
                    <a:gd name="connsiteX4" fmla="*/ 0 w 266509"/>
                    <a:gd name="connsiteY4" fmla="*/ 136112 h 272224"/>
                    <a:gd name="connsiteX5" fmla="*/ 0 w 266509"/>
                    <a:gd name="connsiteY5" fmla="*/ 136112 h 272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509" h="272224">
                      <a:moveTo>
                        <a:pt x="0" y="136112"/>
                      </a:moveTo>
                      <a:cubicBezTo>
                        <a:pt x="0" y="61532"/>
                        <a:pt x="58960" y="0"/>
                        <a:pt x="133255" y="0"/>
                      </a:cubicBezTo>
                      <a:cubicBezTo>
                        <a:pt x="206216" y="0"/>
                        <a:pt x="266510" y="61532"/>
                        <a:pt x="266510" y="136112"/>
                      </a:cubicBezTo>
                      <a:cubicBezTo>
                        <a:pt x="266510" y="212027"/>
                        <a:pt x="206312" y="272225"/>
                        <a:pt x="133255" y="272225"/>
                      </a:cubicBezTo>
                      <a:cubicBezTo>
                        <a:pt x="58865" y="272225"/>
                        <a:pt x="0" y="212027"/>
                        <a:pt x="0" y="136112"/>
                      </a:cubicBezTo>
                      <a:lnTo>
                        <a:pt x="0" y="136112"/>
                      </a:lnTo>
                      <a:close/>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118" name="Freeform: Shape 117">
                  <a:extLst>
                    <a:ext uri="{FF2B5EF4-FFF2-40B4-BE49-F238E27FC236}">
                      <a16:creationId xmlns:a16="http://schemas.microsoft.com/office/drawing/2014/main" id="{41F387C4-1CB7-4CB4-B9C8-939C007E71BF}"/>
                    </a:ext>
                  </a:extLst>
                </p:cNvPr>
                <p:cNvSpPr/>
                <p:nvPr/>
              </p:nvSpPr>
              <p:spPr>
                <a:xfrm>
                  <a:off x="6051644" y="3545648"/>
                  <a:ext cx="334327" cy="171450"/>
                </a:xfrm>
                <a:custGeom>
                  <a:avLst/>
                  <a:gdLst>
                    <a:gd name="connsiteX0" fmla="*/ 334328 w 334327"/>
                    <a:gd name="connsiteY0" fmla="*/ 171450 h 171450"/>
                    <a:gd name="connsiteX1" fmla="*/ 167830 w 334327"/>
                    <a:gd name="connsiteY1" fmla="*/ 0 h 171450"/>
                    <a:gd name="connsiteX2" fmla="*/ 0 w 334327"/>
                    <a:gd name="connsiteY2" fmla="*/ 171450 h 171450"/>
                  </a:gdLst>
                  <a:ahLst/>
                  <a:cxnLst>
                    <a:cxn ang="0">
                      <a:pos x="connsiteX0" y="connsiteY0"/>
                    </a:cxn>
                    <a:cxn ang="0">
                      <a:pos x="connsiteX1" y="connsiteY1"/>
                    </a:cxn>
                    <a:cxn ang="0">
                      <a:pos x="connsiteX2" y="connsiteY2"/>
                    </a:cxn>
                  </a:cxnLst>
                  <a:rect l="l" t="t" r="r" b="b"/>
                  <a:pathLst>
                    <a:path w="334327" h="171450">
                      <a:moveTo>
                        <a:pt x="334328" y="171450"/>
                      </a:moveTo>
                      <a:cubicBezTo>
                        <a:pt x="334328" y="77248"/>
                        <a:pt x="260033" y="0"/>
                        <a:pt x="167830" y="0"/>
                      </a:cubicBezTo>
                      <a:cubicBezTo>
                        <a:pt x="75629" y="0"/>
                        <a:pt x="0" y="77248"/>
                        <a:pt x="0" y="171450"/>
                      </a:cubicBezTo>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119" name="Freeform: Shape 118">
                  <a:extLst>
                    <a:ext uri="{FF2B5EF4-FFF2-40B4-BE49-F238E27FC236}">
                      <a16:creationId xmlns:a16="http://schemas.microsoft.com/office/drawing/2014/main" id="{DA452F12-5887-4A40-AD8F-C929CD09ECAE}"/>
                    </a:ext>
                  </a:extLst>
                </p:cNvPr>
                <p:cNvSpPr/>
                <p:nvPr/>
              </p:nvSpPr>
              <p:spPr>
                <a:xfrm>
                  <a:off x="6181470" y="3552221"/>
                  <a:ext cx="28955" cy="164877"/>
                </a:xfrm>
                <a:custGeom>
                  <a:avLst/>
                  <a:gdLst>
                    <a:gd name="connsiteX0" fmla="*/ 0 w 28955"/>
                    <a:gd name="connsiteY0" fmla="*/ 0 h 164877"/>
                    <a:gd name="connsiteX1" fmla="*/ 28956 w 28955"/>
                    <a:gd name="connsiteY1" fmla="*/ 41339 h 164877"/>
                    <a:gd name="connsiteX2" fmla="*/ 18574 w 28955"/>
                    <a:gd name="connsiteY2" fmla="*/ 164878 h 164877"/>
                  </a:gdLst>
                  <a:ahLst/>
                  <a:cxnLst>
                    <a:cxn ang="0">
                      <a:pos x="connsiteX0" y="connsiteY0"/>
                    </a:cxn>
                    <a:cxn ang="0">
                      <a:pos x="connsiteX1" y="connsiteY1"/>
                    </a:cxn>
                    <a:cxn ang="0">
                      <a:pos x="connsiteX2" y="connsiteY2"/>
                    </a:cxn>
                  </a:cxnLst>
                  <a:rect l="l" t="t" r="r" b="b"/>
                  <a:pathLst>
                    <a:path w="28955" h="164877">
                      <a:moveTo>
                        <a:pt x="0" y="0"/>
                      </a:moveTo>
                      <a:lnTo>
                        <a:pt x="28956" y="41339"/>
                      </a:lnTo>
                      <a:lnTo>
                        <a:pt x="18574" y="164878"/>
                      </a:lnTo>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120" name="Freeform: Shape 119">
                  <a:extLst>
                    <a:ext uri="{FF2B5EF4-FFF2-40B4-BE49-F238E27FC236}">
                      <a16:creationId xmlns:a16="http://schemas.microsoft.com/office/drawing/2014/main" id="{D1D71095-3CBD-407E-B715-2DCA59B09DD8}"/>
                    </a:ext>
                  </a:extLst>
                </p:cNvPr>
                <p:cNvSpPr/>
                <p:nvPr/>
              </p:nvSpPr>
              <p:spPr>
                <a:xfrm>
                  <a:off x="6224904" y="3552221"/>
                  <a:ext cx="28860" cy="164877"/>
                </a:xfrm>
                <a:custGeom>
                  <a:avLst/>
                  <a:gdLst>
                    <a:gd name="connsiteX0" fmla="*/ 28861 w 28860"/>
                    <a:gd name="connsiteY0" fmla="*/ 0 h 164877"/>
                    <a:gd name="connsiteX1" fmla="*/ 0 w 28860"/>
                    <a:gd name="connsiteY1" fmla="*/ 41339 h 164877"/>
                    <a:gd name="connsiteX2" fmla="*/ 10382 w 28860"/>
                    <a:gd name="connsiteY2" fmla="*/ 164878 h 164877"/>
                  </a:gdLst>
                  <a:ahLst/>
                  <a:cxnLst>
                    <a:cxn ang="0">
                      <a:pos x="connsiteX0" y="connsiteY0"/>
                    </a:cxn>
                    <a:cxn ang="0">
                      <a:pos x="connsiteX1" y="connsiteY1"/>
                    </a:cxn>
                    <a:cxn ang="0">
                      <a:pos x="connsiteX2" y="connsiteY2"/>
                    </a:cxn>
                  </a:cxnLst>
                  <a:rect l="l" t="t" r="r" b="b"/>
                  <a:pathLst>
                    <a:path w="28860" h="164877">
                      <a:moveTo>
                        <a:pt x="28861" y="0"/>
                      </a:moveTo>
                      <a:lnTo>
                        <a:pt x="0" y="41339"/>
                      </a:lnTo>
                      <a:lnTo>
                        <a:pt x="10382" y="164878"/>
                      </a:lnTo>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grpSp>
          <p:grpSp>
            <p:nvGrpSpPr>
              <p:cNvPr id="105" name="Group 104">
                <a:extLst>
                  <a:ext uri="{FF2B5EF4-FFF2-40B4-BE49-F238E27FC236}">
                    <a16:creationId xmlns:a16="http://schemas.microsoft.com/office/drawing/2014/main" id="{33130109-774D-45B4-BB5B-EF3BC97FE98A}"/>
                  </a:ext>
                </a:extLst>
              </p:cNvPr>
              <p:cNvGrpSpPr/>
              <p:nvPr/>
            </p:nvGrpSpPr>
            <p:grpSpPr>
              <a:xfrm>
                <a:off x="10487330" y="4616450"/>
                <a:ext cx="424386" cy="482600"/>
                <a:chOff x="2376380" y="4138812"/>
                <a:chExt cx="364315" cy="414290"/>
              </a:xfrm>
            </p:grpSpPr>
            <p:sp>
              <p:nvSpPr>
                <p:cNvPr id="106" name="Freeform: Shape 105">
                  <a:extLst>
                    <a:ext uri="{FF2B5EF4-FFF2-40B4-BE49-F238E27FC236}">
                      <a16:creationId xmlns:a16="http://schemas.microsoft.com/office/drawing/2014/main" id="{B48947C2-4424-4645-80FD-30248BD5BF3D}"/>
                    </a:ext>
                  </a:extLst>
                </p:cNvPr>
                <p:cNvSpPr/>
                <p:nvPr/>
              </p:nvSpPr>
              <p:spPr>
                <a:xfrm>
                  <a:off x="2376380" y="4138812"/>
                  <a:ext cx="273984" cy="363552"/>
                </a:xfrm>
                <a:custGeom>
                  <a:avLst/>
                  <a:gdLst>
                    <a:gd name="connsiteX0" fmla="*/ 104775 w 444912"/>
                    <a:gd name="connsiteY0" fmla="*/ 163163 h 590359"/>
                    <a:gd name="connsiteX1" fmla="*/ 270605 w 444912"/>
                    <a:gd name="connsiteY1" fmla="*/ 0 h 590359"/>
                    <a:gd name="connsiteX2" fmla="*/ 438626 w 444912"/>
                    <a:gd name="connsiteY2" fmla="*/ 163163 h 590359"/>
                    <a:gd name="connsiteX3" fmla="*/ 270605 w 444912"/>
                    <a:gd name="connsiteY3" fmla="*/ 326327 h 590359"/>
                    <a:gd name="connsiteX4" fmla="*/ 104775 w 444912"/>
                    <a:gd name="connsiteY4" fmla="*/ 163163 h 590359"/>
                    <a:gd name="connsiteX5" fmla="*/ 104775 w 444912"/>
                    <a:gd name="connsiteY5" fmla="*/ 163163 h 590359"/>
                    <a:gd name="connsiteX6" fmla="*/ 444913 w 444912"/>
                    <a:gd name="connsiteY6" fmla="*/ 391287 h 590359"/>
                    <a:gd name="connsiteX7" fmla="*/ 268415 w 444912"/>
                    <a:gd name="connsiteY7" fmla="*/ 326327 h 590359"/>
                    <a:gd name="connsiteX8" fmla="*/ 0 w 444912"/>
                    <a:gd name="connsiteY8" fmla="*/ 590360 h 590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4912" h="590359">
                      <a:moveTo>
                        <a:pt x="104775" y="163163"/>
                      </a:moveTo>
                      <a:cubicBezTo>
                        <a:pt x="104775" y="73057"/>
                        <a:pt x="178975" y="0"/>
                        <a:pt x="270605" y="0"/>
                      </a:cubicBezTo>
                      <a:cubicBezTo>
                        <a:pt x="362236" y="0"/>
                        <a:pt x="438626" y="72962"/>
                        <a:pt x="438626" y="163163"/>
                      </a:cubicBezTo>
                      <a:cubicBezTo>
                        <a:pt x="438626" y="253270"/>
                        <a:pt x="362236" y="326327"/>
                        <a:pt x="270605" y="326327"/>
                      </a:cubicBezTo>
                      <a:cubicBezTo>
                        <a:pt x="178975" y="326327"/>
                        <a:pt x="104775" y="253365"/>
                        <a:pt x="104775" y="163163"/>
                      </a:cubicBezTo>
                      <a:lnTo>
                        <a:pt x="104775" y="163163"/>
                      </a:lnTo>
                      <a:close/>
                      <a:moveTo>
                        <a:pt x="444913" y="391287"/>
                      </a:moveTo>
                      <a:cubicBezTo>
                        <a:pt x="397764" y="350806"/>
                        <a:pt x="336042" y="326327"/>
                        <a:pt x="268415" y="326327"/>
                      </a:cubicBezTo>
                      <a:cubicBezTo>
                        <a:pt x="120015" y="326327"/>
                        <a:pt x="0" y="444341"/>
                        <a:pt x="0" y="590360"/>
                      </a:cubicBezTo>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sz="1836"/>
                </a:p>
              </p:txBody>
            </p:sp>
            <p:sp>
              <p:nvSpPr>
                <p:cNvPr id="107" name="Freeform: Shape 106">
                  <a:extLst>
                    <a:ext uri="{FF2B5EF4-FFF2-40B4-BE49-F238E27FC236}">
                      <a16:creationId xmlns:a16="http://schemas.microsoft.com/office/drawing/2014/main" id="{DAF59AE0-561A-4838-9000-0084FD7CB79F}"/>
                    </a:ext>
                  </a:extLst>
                </p:cNvPr>
                <p:cNvSpPr/>
                <p:nvPr/>
              </p:nvSpPr>
              <p:spPr>
                <a:xfrm>
                  <a:off x="2569888" y="4382295"/>
                  <a:ext cx="170807" cy="170807"/>
                </a:xfrm>
                <a:custGeom>
                  <a:avLst/>
                  <a:gdLst>
                    <a:gd name="connsiteX0" fmla="*/ 277368 w 277368"/>
                    <a:gd name="connsiteY0" fmla="*/ 138684 h 277368"/>
                    <a:gd name="connsiteX1" fmla="*/ 138684 w 277368"/>
                    <a:gd name="connsiteY1" fmla="*/ 277368 h 277368"/>
                    <a:gd name="connsiteX2" fmla="*/ 0 w 277368"/>
                    <a:gd name="connsiteY2" fmla="*/ 138684 h 277368"/>
                    <a:gd name="connsiteX3" fmla="*/ 138684 w 277368"/>
                    <a:gd name="connsiteY3" fmla="*/ 0 h 277368"/>
                    <a:gd name="connsiteX4" fmla="*/ 277368 w 277368"/>
                    <a:gd name="connsiteY4" fmla="*/ 138684 h 277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 h="277368">
                      <a:moveTo>
                        <a:pt x="277368" y="138684"/>
                      </a:moveTo>
                      <a:cubicBezTo>
                        <a:pt x="277368" y="215277"/>
                        <a:pt x="215277" y="277368"/>
                        <a:pt x="138684" y="277368"/>
                      </a:cubicBezTo>
                      <a:cubicBezTo>
                        <a:pt x="62091" y="277368"/>
                        <a:pt x="0" y="215277"/>
                        <a:pt x="0" y="138684"/>
                      </a:cubicBezTo>
                      <a:cubicBezTo>
                        <a:pt x="0" y="62091"/>
                        <a:pt x="62091" y="0"/>
                        <a:pt x="138684" y="0"/>
                      </a:cubicBezTo>
                      <a:cubicBezTo>
                        <a:pt x="215277" y="0"/>
                        <a:pt x="277368" y="62091"/>
                        <a:pt x="277368" y="138684"/>
                      </a:cubicBezTo>
                      <a:close/>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sz="1836"/>
                </a:p>
              </p:txBody>
            </p:sp>
            <p:sp>
              <p:nvSpPr>
                <p:cNvPr id="108" name="Freeform 96" title="Icon of a gear with a wrench">
                  <a:extLst>
                    <a:ext uri="{FF2B5EF4-FFF2-40B4-BE49-F238E27FC236}">
                      <a16:creationId xmlns:a16="http://schemas.microsoft.com/office/drawing/2014/main" id="{D22179CE-872B-4C37-976B-FB5E1BB6F765}"/>
                    </a:ext>
                  </a:extLst>
                </p:cNvPr>
                <p:cNvSpPr>
                  <a:spLocks noChangeAspect="1" noEditPoints="1"/>
                </p:cNvSpPr>
                <p:nvPr/>
              </p:nvSpPr>
              <p:spPr bwMode="auto">
                <a:xfrm>
                  <a:off x="2598810" y="4415692"/>
                  <a:ext cx="112963" cy="10401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6350" cap="sq">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endParaRPr lang="en-US" sz="1836">
                    <a:gradFill>
                      <a:gsLst>
                        <a:gs pos="0">
                          <a:srgbClr val="505050"/>
                        </a:gs>
                        <a:gs pos="100000">
                          <a:srgbClr val="505050"/>
                        </a:gs>
                      </a:gsLst>
                    </a:gradFill>
                  </a:endParaRPr>
                </a:p>
              </p:txBody>
            </p:sp>
          </p:grpSp>
        </p:grpSp>
        <p:sp>
          <p:nvSpPr>
            <p:cNvPr id="122" name="Rectangle 121">
              <a:extLst>
                <a:ext uri="{FF2B5EF4-FFF2-40B4-BE49-F238E27FC236}">
                  <a16:creationId xmlns:a16="http://schemas.microsoft.com/office/drawing/2014/main" id="{514F61F3-E9E0-4743-A003-C49E9970A0EB}"/>
                </a:ext>
              </a:extLst>
            </p:cNvPr>
            <p:cNvSpPr/>
            <p:nvPr/>
          </p:nvSpPr>
          <p:spPr bwMode="auto">
            <a:xfrm>
              <a:off x="9595460" y="5473700"/>
              <a:ext cx="1656740" cy="2638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0933" fontAlgn="base">
                <a:lnSpc>
                  <a:spcPct val="90000"/>
                </a:lnSpc>
                <a:spcBef>
                  <a:spcPct val="0"/>
                </a:spcBef>
                <a:spcAft>
                  <a:spcPct val="0"/>
                </a:spcAft>
              </a:pPr>
              <a:r>
                <a:rPr lang="en-IN" sz="2040">
                  <a:solidFill>
                    <a:srgbClr val="191919"/>
                  </a:solidFill>
                  <a:latin typeface="+mj-lt"/>
                  <a:ea typeface="Segoe UI" pitchFamily="34" charset="0"/>
                  <a:cs typeface="Segoe UI" pitchFamily="34" charset="0"/>
                </a:rPr>
                <a:t>IT to end user</a:t>
              </a:r>
            </a:p>
          </p:txBody>
        </p:sp>
      </p:grpSp>
      <p:sp>
        <p:nvSpPr>
          <p:cNvPr id="124" name="Rectangle 123">
            <a:extLst>
              <a:ext uri="{FF2B5EF4-FFF2-40B4-BE49-F238E27FC236}">
                <a16:creationId xmlns:a16="http://schemas.microsoft.com/office/drawing/2014/main" id="{6E915FF2-04C6-4401-9CD0-CF3120CF674B}"/>
              </a:ext>
            </a:extLst>
          </p:cNvPr>
          <p:cNvSpPr/>
          <p:nvPr/>
        </p:nvSpPr>
        <p:spPr bwMode="auto">
          <a:xfrm>
            <a:off x="3180283" y="3558989"/>
            <a:ext cx="1769302" cy="7875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50933" fontAlgn="base">
              <a:lnSpc>
                <a:spcPct val="90000"/>
              </a:lnSpc>
              <a:spcBef>
                <a:spcPct val="0"/>
              </a:spcBef>
              <a:spcAft>
                <a:spcPct val="0"/>
              </a:spcAft>
            </a:pPr>
            <a:r>
              <a:rPr lang="en-IN" sz="2448">
                <a:solidFill>
                  <a:srgbClr val="191919"/>
                </a:solidFill>
                <a:latin typeface="+mj-lt"/>
                <a:ea typeface="Segoe UI" pitchFamily="34" charset="0"/>
                <a:cs typeface="Segoe UI" pitchFamily="34" charset="0"/>
              </a:rPr>
              <a:t>2</a:t>
            </a:r>
            <a:r>
              <a:rPr lang="en-IN" sz="2448" baseline="30000">
                <a:solidFill>
                  <a:srgbClr val="191919"/>
                </a:solidFill>
                <a:latin typeface="+mj-lt"/>
                <a:ea typeface="Segoe UI" pitchFamily="34" charset="0"/>
                <a:cs typeface="Segoe UI" pitchFamily="34" charset="0"/>
              </a:rPr>
              <a:t>nd</a:t>
            </a:r>
            <a:r>
              <a:rPr lang="en-IN" sz="2448">
                <a:solidFill>
                  <a:srgbClr val="191919"/>
                </a:solidFill>
                <a:latin typeface="+mj-lt"/>
                <a:ea typeface="Segoe UI" pitchFamily="34" charset="0"/>
                <a:cs typeface="Segoe UI" pitchFamily="34" charset="0"/>
              </a:rPr>
              <a:t> wave</a:t>
            </a:r>
            <a:br>
              <a:rPr lang="en-IN" sz="2448">
                <a:solidFill>
                  <a:srgbClr val="191919"/>
                </a:solidFill>
                <a:latin typeface="+mj-lt"/>
                <a:ea typeface="Segoe UI" pitchFamily="34" charset="0"/>
                <a:cs typeface="Segoe UI" pitchFamily="34" charset="0"/>
              </a:rPr>
            </a:br>
            <a:r>
              <a:rPr lang="en-IN" sz="2040">
                <a:solidFill>
                  <a:srgbClr val="191919"/>
                </a:solidFill>
                <a:ea typeface="Segoe UI" pitchFamily="34" charset="0"/>
                <a:cs typeface="Segoe UI" pitchFamily="34" charset="0"/>
              </a:rPr>
              <a:t>Self-service BI</a:t>
            </a:r>
            <a:endParaRPr lang="en-IN" sz="2448">
              <a:solidFill>
                <a:srgbClr val="191919"/>
              </a:solidFill>
              <a:ea typeface="Segoe UI" pitchFamily="34" charset="0"/>
              <a:cs typeface="Segoe UI" pitchFamily="34" charset="0"/>
            </a:endParaRPr>
          </a:p>
        </p:txBody>
      </p:sp>
      <p:grpSp>
        <p:nvGrpSpPr>
          <p:cNvPr id="19" name="Group 18" descr="Analyst to End user ">
            <a:extLst>
              <a:ext uri="{FF2B5EF4-FFF2-40B4-BE49-F238E27FC236}">
                <a16:creationId xmlns:a16="http://schemas.microsoft.com/office/drawing/2014/main" id="{0581A681-24EE-4E14-B20B-F5CA33B3DBCA}"/>
              </a:ext>
            </a:extLst>
          </p:cNvPr>
          <p:cNvGrpSpPr/>
          <p:nvPr/>
        </p:nvGrpSpPr>
        <p:grpSpPr>
          <a:xfrm>
            <a:off x="9449384" y="3562436"/>
            <a:ext cx="2362966" cy="780637"/>
            <a:chOff x="9265260" y="3492910"/>
            <a:chExt cx="2317140" cy="765498"/>
          </a:xfrm>
        </p:grpSpPr>
        <p:grpSp>
          <p:nvGrpSpPr>
            <p:cNvPr id="8" name="Group 7">
              <a:extLst>
                <a:ext uri="{FF2B5EF4-FFF2-40B4-BE49-F238E27FC236}">
                  <a16:creationId xmlns:a16="http://schemas.microsoft.com/office/drawing/2014/main" id="{D01A7CCA-B630-4948-8F58-9BC1A9DE684F}"/>
                </a:ext>
              </a:extLst>
            </p:cNvPr>
            <p:cNvGrpSpPr/>
            <p:nvPr/>
          </p:nvGrpSpPr>
          <p:grpSpPr>
            <a:xfrm>
              <a:off x="9957649" y="3492910"/>
              <a:ext cx="946409" cy="444500"/>
              <a:chOff x="9957649" y="3378200"/>
              <a:chExt cx="946409" cy="444500"/>
            </a:xfrm>
          </p:grpSpPr>
          <p:grpSp>
            <p:nvGrpSpPr>
              <p:cNvPr id="82" name="Graphic 902">
                <a:extLst>
                  <a:ext uri="{FF2B5EF4-FFF2-40B4-BE49-F238E27FC236}">
                    <a16:creationId xmlns:a16="http://schemas.microsoft.com/office/drawing/2014/main" id="{81F02D6F-319E-4F6D-BA07-FC4D73B94946}"/>
                  </a:ext>
                </a:extLst>
              </p:cNvPr>
              <p:cNvGrpSpPr/>
              <p:nvPr/>
            </p:nvGrpSpPr>
            <p:grpSpPr>
              <a:xfrm>
                <a:off x="9957649" y="3383973"/>
                <a:ext cx="297602" cy="394850"/>
                <a:chOff x="6051644" y="3273519"/>
                <a:chExt cx="334327" cy="443579"/>
              </a:xfrm>
              <a:noFill/>
            </p:grpSpPr>
            <p:sp>
              <p:nvSpPr>
                <p:cNvPr id="97" name="Freeform: Shape 96">
                  <a:extLst>
                    <a:ext uri="{FF2B5EF4-FFF2-40B4-BE49-F238E27FC236}">
                      <a16:creationId xmlns:a16="http://schemas.microsoft.com/office/drawing/2014/main" id="{47D3C6F7-9DE6-420D-AE47-52A28113AE3A}"/>
                    </a:ext>
                  </a:extLst>
                </p:cNvPr>
                <p:cNvSpPr/>
                <p:nvPr/>
              </p:nvSpPr>
              <p:spPr>
                <a:xfrm>
                  <a:off x="6086315" y="3273519"/>
                  <a:ext cx="266509" cy="272224"/>
                </a:xfrm>
                <a:custGeom>
                  <a:avLst/>
                  <a:gdLst>
                    <a:gd name="connsiteX0" fmla="*/ 0 w 266509"/>
                    <a:gd name="connsiteY0" fmla="*/ 136112 h 272224"/>
                    <a:gd name="connsiteX1" fmla="*/ 133255 w 266509"/>
                    <a:gd name="connsiteY1" fmla="*/ 0 h 272224"/>
                    <a:gd name="connsiteX2" fmla="*/ 266510 w 266509"/>
                    <a:gd name="connsiteY2" fmla="*/ 136112 h 272224"/>
                    <a:gd name="connsiteX3" fmla="*/ 133255 w 266509"/>
                    <a:gd name="connsiteY3" fmla="*/ 272225 h 272224"/>
                    <a:gd name="connsiteX4" fmla="*/ 0 w 266509"/>
                    <a:gd name="connsiteY4" fmla="*/ 136112 h 272224"/>
                    <a:gd name="connsiteX5" fmla="*/ 0 w 266509"/>
                    <a:gd name="connsiteY5" fmla="*/ 136112 h 272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509" h="272224">
                      <a:moveTo>
                        <a:pt x="0" y="136112"/>
                      </a:moveTo>
                      <a:cubicBezTo>
                        <a:pt x="0" y="61532"/>
                        <a:pt x="58960" y="0"/>
                        <a:pt x="133255" y="0"/>
                      </a:cubicBezTo>
                      <a:cubicBezTo>
                        <a:pt x="206216" y="0"/>
                        <a:pt x="266510" y="61532"/>
                        <a:pt x="266510" y="136112"/>
                      </a:cubicBezTo>
                      <a:cubicBezTo>
                        <a:pt x="266510" y="212027"/>
                        <a:pt x="206312" y="272225"/>
                        <a:pt x="133255" y="272225"/>
                      </a:cubicBezTo>
                      <a:cubicBezTo>
                        <a:pt x="58865" y="272225"/>
                        <a:pt x="0" y="212027"/>
                        <a:pt x="0" y="136112"/>
                      </a:cubicBezTo>
                      <a:lnTo>
                        <a:pt x="0" y="136112"/>
                      </a:lnTo>
                      <a:close/>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98" name="Freeform: Shape 97">
                  <a:extLst>
                    <a:ext uri="{FF2B5EF4-FFF2-40B4-BE49-F238E27FC236}">
                      <a16:creationId xmlns:a16="http://schemas.microsoft.com/office/drawing/2014/main" id="{31194C91-BE28-4510-9EBC-7F92E11DA554}"/>
                    </a:ext>
                  </a:extLst>
                </p:cNvPr>
                <p:cNvSpPr/>
                <p:nvPr/>
              </p:nvSpPr>
              <p:spPr>
                <a:xfrm>
                  <a:off x="6051644" y="3545648"/>
                  <a:ext cx="334327" cy="171450"/>
                </a:xfrm>
                <a:custGeom>
                  <a:avLst/>
                  <a:gdLst>
                    <a:gd name="connsiteX0" fmla="*/ 334328 w 334327"/>
                    <a:gd name="connsiteY0" fmla="*/ 171450 h 171450"/>
                    <a:gd name="connsiteX1" fmla="*/ 167830 w 334327"/>
                    <a:gd name="connsiteY1" fmla="*/ 0 h 171450"/>
                    <a:gd name="connsiteX2" fmla="*/ 0 w 334327"/>
                    <a:gd name="connsiteY2" fmla="*/ 171450 h 171450"/>
                  </a:gdLst>
                  <a:ahLst/>
                  <a:cxnLst>
                    <a:cxn ang="0">
                      <a:pos x="connsiteX0" y="connsiteY0"/>
                    </a:cxn>
                    <a:cxn ang="0">
                      <a:pos x="connsiteX1" y="connsiteY1"/>
                    </a:cxn>
                    <a:cxn ang="0">
                      <a:pos x="connsiteX2" y="connsiteY2"/>
                    </a:cxn>
                  </a:cxnLst>
                  <a:rect l="l" t="t" r="r" b="b"/>
                  <a:pathLst>
                    <a:path w="334327" h="171450">
                      <a:moveTo>
                        <a:pt x="334328" y="171450"/>
                      </a:moveTo>
                      <a:cubicBezTo>
                        <a:pt x="334328" y="77248"/>
                        <a:pt x="260033" y="0"/>
                        <a:pt x="167830" y="0"/>
                      </a:cubicBezTo>
                      <a:cubicBezTo>
                        <a:pt x="75629" y="0"/>
                        <a:pt x="0" y="77248"/>
                        <a:pt x="0" y="171450"/>
                      </a:cubicBezTo>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99" name="Freeform: Shape 98">
                  <a:extLst>
                    <a:ext uri="{FF2B5EF4-FFF2-40B4-BE49-F238E27FC236}">
                      <a16:creationId xmlns:a16="http://schemas.microsoft.com/office/drawing/2014/main" id="{8773598D-A748-4BD2-8D48-718D19FD0893}"/>
                    </a:ext>
                  </a:extLst>
                </p:cNvPr>
                <p:cNvSpPr/>
                <p:nvPr/>
              </p:nvSpPr>
              <p:spPr>
                <a:xfrm>
                  <a:off x="6181470" y="3552221"/>
                  <a:ext cx="28955" cy="164877"/>
                </a:xfrm>
                <a:custGeom>
                  <a:avLst/>
                  <a:gdLst>
                    <a:gd name="connsiteX0" fmla="*/ 0 w 28955"/>
                    <a:gd name="connsiteY0" fmla="*/ 0 h 164877"/>
                    <a:gd name="connsiteX1" fmla="*/ 28956 w 28955"/>
                    <a:gd name="connsiteY1" fmla="*/ 41339 h 164877"/>
                    <a:gd name="connsiteX2" fmla="*/ 18574 w 28955"/>
                    <a:gd name="connsiteY2" fmla="*/ 164878 h 164877"/>
                  </a:gdLst>
                  <a:ahLst/>
                  <a:cxnLst>
                    <a:cxn ang="0">
                      <a:pos x="connsiteX0" y="connsiteY0"/>
                    </a:cxn>
                    <a:cxn ang="0">
                      <a:pos x="connsiteX1" y="connsiteY1"/>
                    </a:cxn>
                    <a:cxn ang="0">
                      <a:pos x="connsiteX2" y="connsiteY2"/>
                    </a:cxn>
                  </a:cxnLst>
                  <a:rect l="l" t="t" r="r" b="b"/>
                  <a:pathLst>
                    <a:path w="28955" h="164877">
                      <a:moveTo>
                        <a:pt x="0" y="0"/>
                      </a:moveTo>
                      <a:lnTo>
                        <a:pt x="28956" y="41339"/>
                      </a:lnTo>
                      <a:lnTo>
                        <a:pt x="18574" y="164878"/>
                      </a:lnTo>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100" name="Freeform: Shape 99">
                  <a:extLst>
                    <a:ext uri="{FF2B5EF4-FFF2-40B4-BE49-F238E27FC236}">
                      <a16:creationId xmlns:a16="http://schemas.microsoft.com/office/drawing/2014/main" id="{22ADAAFD-0A89-4F20-9686-EEDB2CC1BD17}"/>
                    </a:ext>
                  </a:extLst>
                </p:cNvPr>
                <p:cNvSpPr/>
                <p:nvPr/>
              </p:nvSpPr>
              <p:spPr>
                <a:xfrm>
                  <a:off x="6224904" y="3552221"/>
                  <a:ext cx="28860" cy="164877"/>
                </a:xfrm>
                <a:custGeom>
                  <a:avLst/>
                  <a:gdLst>
                    <a:gd name="connsiteX0" fmla="*/ 28861 w 28860"/>
                    <a:gd name="connsiteY0" fmla="*/ 0 h 164877"/>
                    <a:gd name="connsiteX1" fmla="*/ 0 w 28860"/>
                    <a:gd name="connsiteY1" fmla="*/ 41339 h 164877"/>
                    <a:gd name="connsiteX2" fmla="*/ 10382 w 28860"/>
                    <a:gd name="connsiteY2" fmla="*/ 164878 h 164877"/>
                  </a:gdLst>
                  <a:ahLst/>
                  <a:cxnLst>
                    <a:cxn ang="0">
                      <a:pos x="connsiteX0" y="connsiteY0"/>
                    </a:cxn>
                    <a:cxn ang="0">
                      <a:pos x="connsiteX1" y="connsiteY1"/>
                    </a:cxn>
                    <a:cxn ang="0">
                      <a:pos x="connsiteX2" y="connsiteY2"/>
                    </a:cxn>
                  </a:cxnLst>
                  <a:rect l="l" t="t" r="r" b="b"/>
                  <a:pathLst>
                    <a:path w="28860" h="164877">
                      <a:moveTo>
                        <a:pt x="28861" y="0"/>
                      </a:moveTo>
                      <a:lnTo>
                        <a:pt x="0" y="41339"/>
                      </a:lnTo>
                      <a:lnTo>
                        <a:pt x="10382" y="164878"/>
                      </a:lnTo>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grpSp>
          <p:grpSp>
            <p:nvGrpSpPr>
              <p:cNvPr id="84" name="Group 83">
                <a:extLst>
                  <a:ext uri="{FF2B5EF4-FFF2-40B4-BE49-F238E27FC236}">
                    <a16:creationId xmlns:a16="http://schemas.microsoft.com/office/drawing/2014/main" id="{AD93DE40-D0B4-4C7E-B022-190489DFF1DE}"/>
                  </a:ext>
                </a:extLst>
              </p:cNvPr>
              <p:cNvGrpSpPr/>
              <p:nvPr/>
            </p:nvGrpSpPr>
            <p:grpSpPr>
              <a:xfrm>
                <a:off x="10513176" y="3378200"/>
                <a:ext cx="390882" cy="444500"/>
                <a:chOff x="1873963" y="4138812"/>
                <a:chExt cx="312668" cy="355558"/>
              </a:xfrm>
            </p:grpSpPr>
            <p:sp>
              <p:nvSpPr>
                <p:cNvPr id="89" name="Freeform: Shape 88">
                  <a:extLst>
                    <a:ext uri="{FF2B5EF4-FFF2-40B4-BE49-F238E27FC236}">
                      <a16:creationId xmlns:a16="http://schemas.microsoft.com/office/drawing/2014/main" id="{AD83F2B9-CEB1-437E-B387-283E6A7E28C8}"/>
                    </a:ext>
                  </a:extLst>
                </p:cNvPr>
                <p:cNvSpPr/>
                <p:nvPr/>
              </p:nvSpPr>
              <p:spPr>
                <a:xfrm>
                  <a:off x="1873963" y="4138812"/>
                  <a:ext cx="235142" cy="312013"/>
                </a:xfrm>
                <a:custGeom>
                  <a:avLst/>
                  <a:gdLst>
                    <a:gd name="connsiteX0" fmla="*/ 104775 w 444912"/>
                    <a:gd name="connsiteY0" fmla="*/ 163163 h 590359"/>
                    <a:gd name="connsiteX1" fmla="*/ 270605 w 444912"/>
                    <a:gd name="connsiteY1" fmla="*/ 0 h 590359"/>
                    <a:gd name="connsiteX2" fmla="*/ 438626 w 444912"/>
                    <a:gd name="connsiteY2" fmla="*/ 163163 h 590359"/>
                    <a:gd name="connsiteX3" fmla="*/ 270605 w 444912"/>
                    <a:gd name="connsiteY3" fmla="*/ 326327 h 590359"/>
                    <a:gd name="connsiteX4" fmla="*/ 104775 w 444912"/>
                    <a:gd name="connsiteY4" fmla="*/ 163163 h 590359"/>
                    <a:gd name="connsiteX5" fmla="*/ 104775 w 444912"/>
                    <a:gd name="connsiteY5" fmla="*/ 163163 h 590359"/>
                    <a:gd name="connsiteX6" fmla="*/ 444913 w 444912"/>
                    <a:gd name="connsiteY6" fmla="*/ 391287 h 590359"/>
                    <a:gd name="connsiteX7" fmla="*/ 268415 w 444912"/>
                    <a:gd name="connsiteY7" fmla="*/ 326327 h 590359"/>
                    <a:gd name="connsiteX8" fmla="*/ 0 w 444912"/>
                    <a:gd name="connsiteY8" fmla="*/ 590360 h 590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4912" h="590359">
                      <a:moveTo>
                        <a:pt x="104775" y="163163"/>
                      </a:moveTo>
                      <a:cubicBezTo>
                        <a:pt x="104775" y="73057"/>
                        <a:pt x="178975" y="0"/>
                        <a:pt x="270605" y="0"/>
                      </a:cubicBezTo>
                      <a:cubicBezTo>
                        <a:pt x="362236" y="0"/>
                        <a:pt x="438626" y="72962"/>
                        <a:pt x="438626" y="163163"/>
                      </a:cubicBezTo>
                      <a:cubicBezTo>
                        <a:pt x="438626" y="253270"/>
                        <a:pt x="362236" y="326327"/>
                        <a:pt x="270605" y="326327"/>
                      </a:cubicBezTo>
                      <a:cubicBezTo>
                        <a:pt x="178975" y="326327"/>
                        <a:pt x="104775" y="253365"/>
                        <a:pt x="104775" y="163163"/>
                      </a:cubicBezTo>
                      <a:lnTo>
                        <a:pt x="104775" y="163163"/>
                      </a:lnTo>
                      <a:close/>
                      <a:moveTo>
                        <a:pt x="444913" y="391287"/>
                      </a:moveTo>
                      <a:cubicBezTo>
                        <a:pt x="397764" y="350806"/>
                        <a:pt x="336042" y="326327"/>
                        <a:pt x="268415" y="326327"/>
                      </a:cubicBezTo>
                      <a:cubicBezTo>
                        <a:pt x="120015" y="326327"/>
                        <a:pt x="0" y="444341"/>
                        <a:pt x="0" y="590360"/>
                      </a:cubicBezTo>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sz="1836"/>
                </a:p>
              </p:txBody>
            </p:sp>
            <p:sp>
              <p:nvSpPr>
                <p:cNvPr id="90" name="Freeform: Shape 89">
                  <a:extLst>
                    <a:ext uri="{FF2B5EF4-FFF2-40B4-BE49-F238E27FC236}">
                      <a16:creationId xmlns:a16="http://schemas.microsoft.com/office/drawing/2014/main" id="{DE143292-1452-4279-B5C7-13C409F093FC}"/>
                    </a:ext>
                  </a:extLst>
                </p:cNvPr>
                <p:cNvSpPr/>
                <p:nvPr/>
              </p:nvSpPr>
              <p:spPr>
                <a:xfrm>
                  <a:off x="2040038" y="4347777"/>
                  <a:ext cx="146593" cy="146593"/>
                </a:xfrm>
                <a:custGeom>
                  <a:avLst/>
                  <a:gdLst>
                    <a:gd name="connsiteX0" fmla="*/ 277368 w 277368"/>
                    <a:gd name="connsiteY0" fmla="*/ 138684 h 277368"/>
                    <a:gd name="connsiteX1" fmla="*/ 138684 w 277368"/>
                    <a:gd name="connsiteY1" fmla="*/ 277368 h 277368"/>
                    <a:gd name="connsiteX2" fmla="*/ 0 w 277368"/>
                    <a:gd name="connsiteY2" fmla="*/ 138684 h 277368"/>
                    <a:gd name="connsiteX3" fmla="*/ 138684 w 277368"/>
                    <a:gd name="connsiteY3" fmla="*/ 0 h 277368"/>
                    <a:gd name="connsiteX4" fmla="*/ 277368 w 277368"/>
                    <a:gd name="connsiteY4" fmla="*/ 138684 h 277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 h="277368">
                      <a:moveTo>
                        <a:pt x="277368" y="138684"/>
                      </a:moveTo>
                      <a:cubicBezTo>
                        <a:pt x="277368" y="215277"/>
                        <a:pt x="215277" y="277368"/>
                        <a:pt x="138684" y="277368"/>
                      </a:cubicBezTo>
                      <a:cubicBezTo>
                        <a:pt x="62091" y="277368"/>
                        <a:pt x="0" y="215277"/>
                        <a:pt x="0" y="138684"/>
                      </a:cubicBezTo>
                      <a:cubicBezTo>
                        <a:pt x="0" y="62091"/>
                        <a:pt x="62091" y="0"/>
                        <a:pt x="138684" y="0"/>
                      </a:cubicBezTo>
                      <a:cubicBezTo>
                        <a:pt x="215277" y="0"/>
                        <a:pt x="277368" y="62091"/>
                        <a:pt x="277368" y="138684"/>
                      </a:cubicBezTo>
                      <a:close/>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sz="1836"/>
                </a:p>
              </p:txBody>
            </p:sp>
            <p:sp>
              <p:nvSpPr>
                <p:cNvPr id="91" name="speedometer_2" title="Icon of a spedometer showing fast speed">
                  <a:extLst>
                    <a:ext uri="{FF2B5EF4-FFF2-40B4-BE49-F238E27FC236}">
                      <a16:creationId xmlns:a16="http://schemas.microsoft.com/office/drawing/2014/main" id="{950E5378-81BF-4333-84CD-6D2452635528}"/>
                    </a:ext>
                  </a:extLst>
                </p:cNvPr>
                <p:cNvSpPr>
                  <a:spLocks noChangeAspect="1" noEditPoints="1"/>
                </p:cNvSpPr>
                <p:nvPr/>
              </p:nvSpPr>
              <p:spPr bwMode="auto">
                <a:xfrm>
                  <a:off x="2063956" y="4371696"/>
                  <a:ext cx="98756" cy="9875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6350" cap="sq">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endParaRPr lang="en-US" sz="1836"/>
                </a:p>
              </p:txBody>
            </p:sp>
          </p:grpSp>
        </p:grpSp>
        <p:sp>
          <p:nvSpPr>
            <p:cNvPr id="121" name="Rectangle 120">
              <a:extLst>
                <a:ext uri="{FF2B5EF4-FFF2-40B4-BE49-F238E27FC236}">
                  <a16:creationId xmlns:a16="http://schemas.microsoft.com/office/drawing/2014/main" id="{5AD88089-46EF-444A-BA3B-9C189EFFE39F}"/>
                </a:ext>
              </a:extLst>
            </p:cNvPr>
            <p:cNvSpPr/>
            <p:nvPr/>
          </p:nvSpPr>
          <p:spPr bwMode="auto">
            <a:xfrm>
              <a:off x="9265260" y="3969160"/>
              <a:ext cx="2317140" cy="2892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0933" fontAlgn="base">
                <a:lnSpc>
                  <a:spcPct val="90000"/>
                </a:lnSpc>
                <a:spcBef>
                  <a:spcPct val="0"/>
                </a:spcBef>
                <a:spcAft>
                  <a:spcPct val="0"/>
                </a:spcAft>
              </a:pPr>
              <a:r>
                <a:rPr lang="en-IN" sz="2040">
                  <a:solidFill>
                    <a:srgbClr val="191919"/>
                  </a:solidFill>
                  <a:latin typeface="+mj-lt"/>
                  <a:ea typeface="Segoe UI" pitchFamily="34" charset="0"/>
                  <a:cs typeface="Segoe UI" pitchFamily="34" charset="0"/>
                </a:rPr>
                <a:t>Analyst to end user</a:t>
              </a:r>
            </a:p>
          </p:txBody>
        </p:sp>
      </p:grpSp>
      <p:sp>
        <p:nvSpPr>
          <p:cNvPr id="125" name="Rectangle 124">
            <a:extLst>
              <a:ext uri="{FF2B5EF4-FFF2-40B4-BE49-F238E27FC236}">
                <a16:creationId xmlns:a16="http://schemas.microsoft.com/office/drawing/2014/main" id="{2DC3CCE0-62B5-4D91-B9B9-9620DF28A9A8}"/>
              </a:ext>
            </a:extLst>
          </p:cNvPr>
          <p:cNvSpPr/>
          <p:nvPr/>
        </p:nvSpPr>
        <p:spPr bwMode="auto">
          <a:xfrm>
            <a:off x="5274933" y="2282880"/>
            <a:ext cx="1985289" cy="7875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50933" fontAlgn="base">
              <a:lnSpc>
                <a:spcPct val="90000"/>
              </a:lnSpc>
              <a:spcBef>
                <a:spcPct val="0"/>
              </a:spcBef>
              <a:spcAft>
                <a:spcPct val="0"/>
              </a:spcAft>
            </a:pPr>
            <a:r>
              <a:rPr lang="da-DK" sz="2448">
                <a:solidFill>
                  <a:srgbClr val="191919"/>
                </a:solidFill>
                <a:latin typeface="+mj-lt"/>
                <a:ea typeface="Segoe UI" pitchFamily="34" charset="0"/>
                <a:cs typeface="Segoe UI" pitchFamily="34" charset="0"/>
              </a:rPr>
              <a:t>3</a:t>
            </a:r>
            <a:r>
              <a:rPr lang="da-DK" sz="2448" baseline="30000">
                <a:solidFill>
                  <a:srgbClr val="191919"/>
                </a:solidFill>
                <a:latin typeface="+mj-lt"/>
                <a:ea typeface="Segoe UI" pitchFamily="34" charset="0"/>
                <a:cs typeface="Segoe UI" pitchFamily="34" charset="0"/>
              </a:rPr>
              <a:t>rd</a:t>
            </a:r>
            <a:r>
              <a:rPr lang="da-DK" sz="2448">
                <a:solidFill>
                  <a:srgbClr val="191919"/>
                </a:solidFill>
                <a:latin typeface="+mj-lt"/>
                <a:ea typeface="Segoe UI" pitchFamily="34" charset="0"/>
                <a:cs typeface="Segoe UI" pitchFamily="34" charset="0"/>
              </a:rPr>
              <a:t> wave</a:t>
            </a:r>
            <a:br>
              <a:rPr lang="da-DK" sz="2448">
                <a:solidFill>
                  <a:srgbClr val="191919"/>
                </a:solidFill>
                <a:latin typeface="+mj-lt"/>
                <a:ea typeface="Segoe UI" pitchFamily="34" charset="0"/>
                <a:cs typeface="Segoe UI" pitchFamily="34" charset="0"/>
              </a:rPr>
            </a:br>
            <a:r>
              <a:rPr lang="da-DK" sz="2040">
                <a:solidFill>
                  <a:srgbClr val="191919"/>
                </a:solidFill>
                <a:ea typeface="Segoe UI" pitchFamily="34" charset="0"/>
                <a:cs typeface="Segoe UI" pitchFamily="34" charset="0"/>
              </a:rPr>
              <a:t>End user BI</a:t>
            </a:r>
            <a:endParaRPr lang="da-DK" sz="2448">
              <a:solidFill>
                <a:srgbClr val="191919"/>
              </a:solidFill>
              <a:ea typeface="Segoe UI" pitchFamily="34" charset="0"/>
              <a:cs typeface="Segoe UI" pitchFamily="34" charset="0"/>
            </a:endParaRPr>
          </a:p>
        </p:txBody>
      </p:sp>
      <p:grpSp>
        <p:nvGrpSpPr>
          <p:cNvPr id="11" name="Group 10" descr="Everyone ">
            <a:extLst>
              <a:ext uri="{FF2B5EF4-FFF2-40B4-BE49-F238E27FC236}">
                <a16:creationId xmlns:a16="http://schemas.microsoft.com/office/drawing/2014/main" id="{FCF5C694-AF66-4C6A-B00A-795C348782C3}"/>
              </a:ext>
            </a:extLst>
          </p:cNvPr>
          <p:cNvGrpSpPr/>
          <p:nvPr/>
        </p:nvGrpSpPr>
        <p:grpSpPr>
          <a:xfrm>
            <a:off x="9582376" y="2244236"/>
            <a:ext cx="2094831" cy="864820"/>
            <a:chOff x="9395674" y="2514600"/>
            <a:chExt cx="2054204" cy="848048"/>
          </a:xfrm>
        </p:grpSpPr>
        <p:grpSp>
          <p:nvGrpSpPr>
            <p:cNvPr id="7" name="Group 6">
              <a:extLst>
                <a:ext uri="{FF2B5EF4-FFF2-40B4-BE49-F238E27FC236}">
                  <a16:creationId xmlns:a16="http://schemas.microsoft.com/office/drawing/2014/main" id="{49CE9DC1-6719-44AC-8913-06FAF9B7F95C}"/>
                </a:ext>
              </a:extLst>
            </p:cNvPr>
            <p:cNvGrpSpPr/>
            <p:nvPr/>
          </p:nvGrpSpPr>
          <p:grpSpPr>
            <a:xfrm>
              <a:off x="9395674" y="2514600"/>
              <a:ext cx="2054204" cy="482600"/>
              <a:chOff x="9179774" y="2162175"/>
              <a:chExt cx="2054204" cy="482600"/>
            </a:xfrm>
          </p:grpSpPr>
          <p:grpSp>
            <p:nvGrpSpPr>
              <p:cNvPr id="49" name="Graphic 902">
                <a:extLst>
                  <a:ext uri="{FF2B5EF4-FFF2-40B4-BE49-F238E27FC236}">
                    <a16:creationId xmlns:a16="http://schemas.microsoft.com/office/drawing/2014/main" id="{2A571E99-3EFE-4B9F-81A5-14DAB8A2B7DF}"/>
                  </a:ext>
                </a:extLst>
              </p:cNvPr>
              <p:cNvGrpSpPr/>
              <p:nvPr/>
            </p:nvGrpSpPr>
            <p:grpSpPr>
              <a:xfrm>
                <a:off x="9179774" y="2206050"/>
                <a:ext cx="297602" cy="394850"/>
                <a:chOff x="6051644" y="3273519"/>
                <a:chExt cx="334327" cy="443579"/>
              </a:xfrm>
              <a:noFill/>
            </p:grpSpPr>
            <p:sp>
              <p:nvSpPr>
                <p:cNvPr id="50" name="Freeform: Shape 49">
                  <a:extLst>
                    <a:ext uri="{FF2B5EF4-FFF2-40B4-BE49-F238E27FC236}">
                      <a16:creationId xmlns:a16="http://schemas.microsoft.com/office/drawing/2014/main" id="{62853A6B-D4EB-48A0-8BE1-6DBA20E4FB65}"/>
                    </a:ext>
                  </a:extLst>
                </p:cNvPr>
                <p:cNvSpPr/>
                <p:nvPr/>
              </p:nvSpPr>
              <p:spPr>
                <a:xfrm>
                  <a:off x="6086315" y="3273519"/>
                  <a:ext cx="266509" cy="272224"/>
                </a:xfrm>
                <a:custGeom>
                  <a:avLst/>
                  <a:gdLst>
                    <a:gd name="connsiteX0" fmla="*/ 0 w 266509"/>
                    <a:gd name="connsiteY0" fmla="*/ 136112 h 272224"/>
                    <a:gd name="connsiteX1" fmla="*/ 133255 w 266509"/>
                    <a:gd name="connsiteY1" fmla="*/ 0 h 272224"/>
                    <a:gd name="connsiteX2" fmla="*/ 266510 w 266509"/>
                    <a:gd name="connsiteY2" fmla="*/ 136112 h 272224"/>
                    <a:gd name="connsiteX3" fmla="*/ 133255 w 266509"/>
                    <a:gd name="connsiteY3" fmla="*/ 272225 h 272224"/>
                    <a:gd name="connsiteX4" fmla="*/ 0 w 266509"/>
                    <a:gd name="connsiteY4" fmla="*/ 136112 h 272224"/>
                    <a:gd name="connsiteX5" fmla="*/ 0 w 266509"/>
                    <a:gd name="connsiteY5" fmla="*/ 136112 h 272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509" h="272224">
                      <a:moveTo>
                        <a:pt x="0" y="136112"/>
                      </a:moveTo>
                      <a:cubicBezTo>
                        <a:pt x="0" y="61532"/>
                        <a:pt x="58960" y="0"/>
                        <a:pt x="133255" y="0"/>
                      </a:cubicBezTo>
                      <a:cubicBezTo>
                        <a:pt x="206216" y="0"/>
                        <a:pt x="266510" y="61532"/>
                        <a:pt x="266510" y="136112"/>
                      </a:cubicBezTo>
                      <a:cubicBezTo>
                        <a:pt x="266510" y="212027"/>
                        <a:pt x="206312" y="272225"/>
                        <a:pt x="133255" y="272225"/>
                      </a:cubicBezTo>
                      <a:cubicBezTo>
                        <a:pt x="58865" y="272225"/>
                        <a:pt x="0" y="212027"/>
                        <a:pt x="0" y="136112"/>
                      </a:cubicBezTo>
                      <a:lnTo>
                        <a:pt x="0" y="136112"/>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51" name="Freeform: Shape 50">
                  <a:extLst>
                    <a:ext uri="{FF2B5EF4-FFF2-40B4-BE49-F238E27FC236}">
                      <a16:creationId xmlns:a16="http://schemas.microsoft.com/office/drawing/2014/main" id="{6112DA4A-FF37-44A8-B930-15C74FC1FB76}"/>
                    </a:ext>
                  </a:extLst>
                </p:cNvPr>
                <p:cNvSpPr/>
                <p:nvPr/>
              </p:nvSpPr>
              <p:spPr>
                <a:xfrm>
                  <a:off x="6051644" y="3545648"/>
                  <a:ext cx="334327" cy="171450"/>
                </a:xfrm>
                <a:custGeom>
                  <a:avLst/>
                  <a:gdLst>
                    <a:gd name="connsiteX0" fmla="*/ 334328 w 334327"/>
                    <a:gd name="connsiteY0" fmla="*/ 171450 h 171450"/>
                    <a:gd name="connsiteX1" fmla="*/ 167830 w 334327"/>
                    <a:gd name="connsiteY1" fmla="*/ 0 h 171450"/>
                    <a:gd name="connsiteX2" fmla="*/ 0 w 334327"/>
                    <a:gd name="connsiteY2" fmla="*/ 171450 h 171450"/>
                  </a:gdLst>
                  <a:ahLst/>
                  <a:cxnLst>
                    <a:cxn ang="0">
                      <a:pos x="connsiteX0" y="connsiteY0"/>
                    </a:cxn>
                    <a:cxn ang="0">
                      <a:pos x="connsiteX1" y="connsiteY1"/>
                    </a:cxn>
                    <a:cxn ang="0">
                      <a:pos x="connsiteX2" y="connsiteY2"/>
                    </a:cxn>
                  </a:cxnLst>
                  <a:rect l="l" t="t" r="r" b="b"/>
                  <a:pathLst>
                    <a:path w="334327" h="171450">
                      <a:moveTo>
                        <a:pt x="334328" y="171450"/>
                      </a:moveTo>
                      <a:cubicBezTo>
                        <a:pt x="334328" y="77248"/>
                        <a:pt x="260033" y="0"/>
                        <a:pt x="167830" y="0"/>
                      </a:cubicBezTo>
                      <a:cubicBezTo>
                        <a:pt x="75629" y="0"/>
                        <a:pt x="0" y="77248"/>
                        <a:pt x="0" y="17145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52" name="Freeform: Shape 51">
                  <a:extLst>
                    <a:ext uri="{FF2B5EF4-FFF2-40B4-BE49-F238E27FC236}">
                      <a16:creationId xmlns:a16="http://schemas.microsoft.com/office/drawing/2014/main" id="{2B692AAF-BB25-45EB-AADB-D4E37A023548}"/>
                    </a:ext>
                  </a:extLst>
                </p:cNvPr>
                <p:cNvSpPr/>
                <p:nvPr/>
              </p:nvSpPr>
              <p:spPr>
                <a:xfrm>
                  <a:off x="6181470" y="3552221"/>
                  <a:ext cx="28955" cy="164877"/>
                </a:xfrm>
                <a:custGeom>
                  <a:avLst/>
                  <a:gdLst>
                    <a:gd name="connsiteX0" fmla="*/ 0 w 28955"/>
                    <a:gd name="connsiteY0" fmla="*/ 0 h 164877"/>
                    <a:gd name="connsiteX1" fmla="*/ 28956 w 28955"/>
                    <a:gd name="connsiteY1" fmla="*/ 41339 h 164877"/>
                    <a:gd name="connsiteX2" fmla="*/ 18574 w 28955"/>
                    <a:gd name="connsiteY2" fmla="*/ 164878 h 164877"/>
                  </a:gdLst>
                  <a:ahLst/>
                  <a:cxnLst>
                    <a:cxn ang="0">
                      <a:pos x="connsiteX0" y="connsiteY0"/>
                    </a:cxn>
                    <a:cxn ang="0">
                      <a:pos x="connsiteX1" y="connsiteY1"/>
                    </a:cxn>
                    <a:cxn ang="0">
                      <a:pos x="connsiteX2" y="connsiteY2"/>
                    </a:cxn>
                  </a:cxnLst>
                  <a:rect l="l" t="t" r="r" b="b"/>
                  <a:pathLst>
                    <a:path w="28955" h="164877">
                      <a:moveTo>
                        <a:pt x="0" y="0"/>
                      </a:moveTo>
                      <a:lnTo>
                        <a:pt x="28956" y="41339"/>
                      </a:lnTo>
                      <a:lnTo>
                        <a:pt x="18574" y="164878"/>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53" name="Freeform: Shape 52">
                  <a:extLst>
                    <a:ext uri="{FF2B5EF4-FFF2-40B4-BE49-F238E27FC236}">
                      <a16:creationId xmlns:a16="http://schemas.microsoft.com/office/drawing/2014/main" id="{77BE686E-F053-4461-A390-8113A4391DFC}"/>
                    </a:ext>
                  </a:extLst>
                </p:cNvPr>
                <p:cNvSpPr/>
                <p:nvPr/>
              </p:nvSpPr>
              <p:spPr>
                <a:xfrm>
                  <a:off x="6224904" y="3552221"/>
                  <a:ext cx="28860" cy="164877"/>
                </a:xfrm>
                <a:custGeom>
                  <a:avLst/>
                  <a:gdLst>
                    <a:gd name="connsiteX0" fmla="*/ 28861 w 28860"/>
                    <a:gd name="connsiteY0" fmla="*/ 0 h 164877"/>
                    <a:gd name="connsiteX1" fmla="*/ 0 w 28860"/>
                    <a:gd name="connsiteY1" fmla="*/ 41339 h 164877"/>
                    <a:gd name="connsiteX2" fmla="*/ 10382 w 28860"/>
                    <a:gd name="connsiteY2" fmla="*/ 164878 h 164877"/>
                  </a:gdLst>
                  <a:ahLst/>
                  <a:cxnLst>
                    <a:cxn ang="0">
                      <a:pos x="connsiteX0" y="connsiteY0"/>
                    </a:cxn>
                    <a:cxn ang="0">
                      <a:pos x="connsiteX1" y="connsiteY1"/>
                    </a:cxn>
                    <a:cxn ang="0">
                      <a:pos x="connsiteX2" y="connsiteY2"/>
                    </a:cxn>
                  </a:cxnLst>
                  <a:rect l="l" t="t" r="r" b="b"/>
                  <a:pathLst>
                    <a:path w="28860" h="164877">
                      <a:moveTo>
                        <a:pt x="28861" y="0"/>
                      </a:moveTo>
                      <a:lnTo>
                        <a:pt x="0" y="41339"/>
                      </a:lnTo>
                      <a:lnTo>
                        <a:pt x="10382" y="164878"/>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grpSp>
          <p:grpSp>
            <p:nvGrpSpPr>
              <p:cNvPr id="54" name="Graphic 967">
                <a:extLst>
                  <a:ext uri="{FF2B5EF4-FFF2-40B4-BE49-F238E27FC236}">
                    <a16:creationId xmlns:a16="http://schemas.microsoft.com/office/drawing/2014/main" id="{A915F406-5998-41B8-BE0F-E639B43F9C6B}"/>
                  </a:ext>
                </a:extLst>
              </p:cNvPr>
              <p:cNvGrpSpPr/>
              <p:nvPr/>
            </p:nvGrpSpPr>
            <p:grpSpPr>
              <a:xfrm>
                <a:off x="9598810" y="2209800"/>
                <a:ext cx="577032" cy="387350"/>
                <a:chOff x="6065931" y="3397439"/>
                <a:chExt cx="302799" cy="203263"/>
              </a:xfrm>
              <a:noFill/>
            </p:grpSpPr>
            <p:sp>
              <p:nvSpPr>
                <p:cNvPr id="55" name="Freeform: Shape 54">
                  <a:extLst>
                    <a:ext uri="{FF2B5EF4-FFF2-40B4-BE49-F238E27FC236}">
                      <a16:creationId xmlns:a16="http://schemas.microsoft.com/office/drawing/2014/main" id="{A6ABD994-D993-45B1-B2A7-96C08D304714}"/>
                    </a:ext>
                  </a:extLst>
                </p:cNvPr>
                <p:cNvSpPr/>
                <p:nvPr/>
              </p:nvSpPr>
              <p:spPr>
                <a:xfrm>
                  <a:off x="6204139" y="3424490"/>
                  <a:ext cx="164591" cy="121443"/>
                </a:xfrm>
                <a:custGeom>
                  <a:avLst/>
                  <a:gdLst>
                    <a:gd name="connsiteX0" fmla="*/ 10954 w 164591"/>
                    <a:gd name="connsiteY0" fmla="*/ 121444 h 121443"/>
                    <a:gd name="connsiteX1" fmla="*/ 164592 w 164591"/>
                    <a:gd name="connsiteY1" fmla="*/ 121444 h 121443"/>
                    <a:gd name="connsiteX2" fmla="*/ 164592 w 164591"/>
                    <a:gd name="connsiteY2" fmla="*/ 0 h 121443"/>
                    <a:gd name="connsiteX3" fmla="*/ 0 w 164591"/>
                    <a:gd name="connsiteY3" fmla="*/ 0 h 121443"/>
                  </a:gdLst>
                  <a:ahLst/>
                  <a:cxnLst>
                    <a:cxn ang="0">
                      <a:pos x="connsiteX0" y="connsiteY0"/>
                    </a:cxn>
                    <a:cxn ang="0">
                      <a:pos x="connsiteX1" y="connsiteY1"/>
                    </a:cxn>
                    <a:cxn ang="0">
                      <a:pos x="connsiteX2" y="connsiteY2"/>
                    </a:cxn>
                    <a:cxn ang="0">
                      <a:pos x="connsiteX3" y="connsiteY3"/>
                    </a:cxn>
                  </a:cxnLst>
                  <a:rect l="l" t="t" r="r" b="b"/>
                  <a:pathLst>
                    <a:path w="164591" h="121443">
                      <a:moveTo>
                        <a:pt x="10954" y="121444"/>
                      </a:moveTo>
                      <a:lnTo>
                        <a:pt x="164592" y="121444"/>
                      </a:lnTo>
                      <a:lnTo>
                        <a:pt x="164592" y="0"/>
                      </a:lnTo>
                      <a:lnTo>
                        <a:pt x="0"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56" name="Freeform: Shape 55">
                  <a:extLst>
                    <a:ext uri="{FF2B5EF4-FFF2-40B4-BE49-F238E27FC236}">
                      <a16:creationId xmlns:a16="http://schemas.microsoft.com/office/drawing/2014/main" id="{859978B0-138F-4C96-9ACF-C2DE7688F4C3}"/>
                    </a:ext>
                  </a:extLst>
                </p:cNvPr>
                <p:cNvSpPr/>
                <p:nvPr/>
              </p:nvSpPr>
              <p:spPr>
                <a:xfrm>
                  <a:off x="6262337" y="3545934"/>
                  <a:ext cx="9525" cy="23145"/>
                </a:xfrm>
                <a:custGeom>
                  <a:avLst/>
                  <a:gdLst>
                    <a:gd name="connsiteX0" fmla="*/ 0 w 9525"/>
                    <a:gd name="connsiteY0" fmla="*/ 0 h 23145"/>
                    <a:gd name="connsiteX1" fmla="*/ 0 w 9525"/>
                    <a:gd name="connsiteY1" fmla="*/ 23146 h 23145"/>
                  </a:gdLst>
                  <a:ahLst/>
                  <a:cxnLst>
                    <a:cxn ang="0">
                      <a:pos x="connsiteX0" y="connsiteY0"/>
                    </a:cxn>
                    <a:cxn ang="0">
                      <a:pos x="connsiteX1" y="connsiteY1"/>
                    </a:cxn>
                  </a:cxnLst>
                  <a:rect l="l" t="t" r="r" b="b"/>
                  <a:pathLst>
                    <a:path w="9525" h="23145">
                      <a:moveTo>
                        <a:pt x="0" y="0"/>
                      </a:moveTo>
                      <a:lnTo>
                        <a:pt x="0" y="23146"/>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57" name="Freeform: Shape 56">
                  <a:extLst>
                    <a:ext uri="{FF2B5EF4-FFF2-40B4-BE49-F238E27FC236}">
                      <a16:creationId xmlns:a16="http://schemas.microsoft.com/office/drawing/2014/main" id="{3F9C9630-CB9A-4A5E-AAD6-55CAA12033CB}"/>
                    </a:ext>
                  </a:extLst>
                </p:cNvPr>
                <p:cNvSpPr/>
                <p:nvPr/>
              </p:nvSpPr>
              <p:spPr>
                <a:xfrm>
                  <a:off x="6235762" y="3569366"/>
                  <a:ext cx="53149" cy="9525"/>
                </a:xfrm>
                <a:custGeom>
                  <a:avLst/>
                  <a:gdLst>
                    <a:gd name="connsiteX0" fmla="*/ 0 w 53149"/>
                    <a:gd name="connsiteY0" fmla="*/ 0 h 9525"/>
                    <a:gd name="connsiteX1" fmla="*/ 53150 w 53149"/>
                    <a:gd name="connsiteY1" fmla="*/ 0 h 9525"/>
                  </a:gdLst>
                  <a:ahLst/>
                  <a:cxnLst>
                    <a:cxn ang="0">
                      <a:pos x="connsiteX0" y="connsiteY0"/>
                    </a:cxn>
                    <a:cxn ang="0">
                      <a:pos x="connsiteX1" y="connsiteY1"/>
                    </a:cxn>
                  </a:cxnLst>
                  <a:rect l="l" t="t" r="r" b="b"/>
                  <a:pathLst>
                    <a:path w="53149" h="9525">
                      <a:moveTo>
                        <a:pt x="0" y="0"/>
                      </a:moveTo>
                      <a:lnTo>
                        <a:pt x="53150"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58" name="Freeform: Shape 57">
                  <a:extLst>
                    <a:ext uri="{FF2B5EF4-FFF2-40B4-BE49-F238E27FC236}">
                      <a16:creationId xmlns:a16="http://schemas.microsoft.com/office/drawing/2014/main" id="{7B6A2CAD-4EFC-4780-855A-F65BE77E0442}"/>
                    </a:ext>
                  </a:extLst>
                </p:cNvPr>
                <p:cNvSpPr/>
                <p:nvPr/>
              </p:nvSpPr>
              <p:spPr>
                <a:xfrm>
                  <a:off x="6091077" y="3397439"/>
                  <a:ext cx="120967" cy="114300"/>
                </a:xfrm>
                <a:custGeom>
                  <a:avLst/>
                  <a:gdLst>
                    <a:gd name="connsiteX0" fmla="*/ 0 w 120967"/>
                    <a:gd name="connsiteY0" fmla="*/ 57150 h 114300"/>
                    <a:gd name="connsiteX1" fmla="*/ 60484 w 120967"/>
                    <a:gd name="connsiteY1" fmla="*/ 0 h 114300"/>
                    <a:gd name="connsiteX2" fmla="*/ 120968 w 120967"/>
                    <a:gd name="connsiteY2" fmla="*/ 57150 h 114300"/>
                    <a:gd name="connsiteX3" fmla="*/ 60484 w 120967"/>
                    <a:gd name="connsiteY3" fmla="*/ 114300 h 114300"/>
                    <a:gd name="connsiteX4" fmla="*/ 0 w 120967"/>
                    <a:gd name="connsiteY4" fmla="*/ 57150 h 114300"/>
                    <a:gd name="connsiteX5" fmla="*/ 0 w 120967"/>
                    <a:gd name="connsiteY5" fmla="*/ 57150 h 114300"/>
                    <a:gd name="connsiteX6" fmla="*/ 0 w 120967"/>
                    <a:gd name="connsiteY6" fmla="*/ 57150 h 114300"/>
                    <a:gd name="connsiteX7" fmla="*/ 0 w 120967"/>
                    <a:gd name="connsiteY7" fmla="*/ 5715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0967" h="114300">
                      <a:moveTo>
                        <a:pt x="0" y="57150"/>
                      </a:moveTo>
                      <a:cubicBezTo>
                        <a:pt x="0" y="25432"/>
                        <a:pt x="27051" y="0"/>
                        <a:pt x="60484" y="0"/>
                      </a:cubicBezTo>
                      <a:cubicBezTo>
                        <a:pt x="93917" y="0"/>
                        <a:pt x="120968" y="25432"/>
                        <a:pt x="120968" y="57150"/>
                      </a:cubicBezTo>
                      <a:cubicBezTo>
                        <a:pt x="120968" y="88868"/>
                        <a:pt x="93917" y="114300"/>
                        <a:pt x="60484" y="114300"/>
                      </a:cubicBezTo>
                      <a:cubicBezTo>
                        <a:pt x="26956" y="114300"/>
                        <a:pt x="0" y="88868"/>
                        <a:pt x="0" y="57150"/>
                      </a:cubicBezTo>
                      <a:lnTo>
                        <a:pt x="0" y="57150"/>
                      </a:lnTo>
                      <a:lnTo>
                        <a:pt x="0" y="57150"/>
                      </a:lnTo>
                      <a:lnTo>
                        <a:pt x="0" y="57150"/>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59" name="Freeform: Shape 58">
                  <a:extLst>
                    <a:ext uri="{FF2B5EF4-FFF2-40B4-BE49-F238E27FC236}">
                      <a16:creationId xmlns:a16="http://schemas.microsoft.com/office/drawing/2014/main" id="{21205D0A-9725-423A-B30C-90C5798290C6}"/>
                    </a:ext>
                  </a:extLst>
                </p:cNvPr>
                <p:cNvSpPr/>
                <p:nvPr/>
              </p:nvSpPr>
              <p:spPr>
                <a:xfrm>
                  <a:off x="6065931" y="3511740"/>
                  <a:ext cx="164687" cy="88963"/>
                </a:xfrm>
                <a:custGeom>
                  <a:avLst/>
                  <a:gdLst>
                    <a:gd name="connsiteX0" fmla="*/ 164687 w 164687"/>
                    <a:gd name="connsiteY0" fmla="*/ 88964 h 88963"/>
                    <a:gd name="connsiteX1" fmla="*/ 83630 w 164687"/>
                    <a:gd name="connsiteY1" fmla="*/ 0 h 88963"/>
                    <a:gd name="connsiteX2" fmla="*/ 0 w 164687"/>
                    <a:gd name="connsiteY2" fmla="*/ 88964 h 88963"/>
                  </a:gdLst>
                  <a:ahLst/>
                  <a:cxnLst>
                    <a:cxn ang="0">
                      <a:pos x="connsiteX0" y="connsiteY0"/>
                    </a:cxn>
                    <a:cxn ang="0">
                      <a:pos x="connsiteX1" y="connsiteY1"/>
                    </a:cxn>
                    <a:cxn ang="0">
                      <a:pos x="connsiteX2" y="connsiteY2"/>
                    </a:cxn>
                  </a:cxnLst>
                  <a:rect l="l" t="t" r="r" b="b"/>
                  <a:pathLst>
                    <a:path w="164687" h="88963">
                      <a:moveTo>
                        <a:pt x="164687" y="88964"/>
                      </a:moveTo>
                      <a:cubicBezTo>
                        <a:pt x="164687" y="41910"/>
                        <a:pt x="128683" y="0"/>
                        <a:pt x="83630" y="0"/>
                      </a:cubicBezTo>
                      <a:cubicBezTo>
                        <a:pt x="36005" y="0"/>
                        <a:pt x="0" y="41243"/>
                        <a:pt x="0" y="88964"/>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grpSp>
          <p:grpSp>
            <p:nvGrpSpPr>
              <p:cNvPr id="60" name="Group 59">
                <a:extLst>
                  <a:ext uri="{FF2B5EF4-FFF2-40B4-BE49-F238E27FC236}">
                    <a16:creationId xmlns:a16="http://schemas.microsoft.com/office/drawing/2014/main" id="{FE93D63A-5FD8-4D3C-B0FF-82301C93C0CB}"/>
                  </a:ext>
                </a:extLst>
              </p:cNvPr>
              <p:cNvGrpSpPr/>
              <p:nvPr/>
            </p:nvGrpSpPr>
            <p:grpSpPr>
              <a:xfrm>
                <a:off x="10297276" y="2181225"/>
                <a:ext cx="390882" cy="444500"/>
                <a:chOff x="1873963" y="4138812"/>
                <a:chExt cx="312668" cy="355558"/>
              </a:xfrm>
            </p:grpSpPr>
            <p:sp>
              <p:nvSpPr>
                <p:cNvPr id="61" name="Freeform: Shape 60">
                  <a:extLst>
                    <a:ext uri="{FF2B5EF4-FFF2-40B4-BE49-F238E27FC236}">
                      <a16:creationId xmlns:a16="http://schemas.microsoft.com/office/drawing/2014/main" id="{26B2CBF2-8C59-40D2-87DB-E94623D2C4FE}"/>
                    </a:ext>
                  </a:extLst>
                </p:cNvPr>
                <p:cNvSpPr/>
                <p:nvPr/>
              </p:nvSpPr>
              <p:spPr>
                <a:xfrm>
                  <a:off x="1873963" y="4138812"/>
                  <a:ext cx="235142" cy="312013"/>
                </a:xfrm>
                <a:custGeom>
                  <a:avLst/>
                  <a:gdLst>
                    <a:gd name="connsiteX0" fmla="*/ 104775 w 444912"/>
                    <a:gd name="connsiteY0" fmla="*/ 163163 h 590359"/>
                    <a:gd name="connsiteX1" fmla="*/ 270605 w 444912"/>
                    <a:gd name="connsiteY1" fmla="*/ 0 h 590359"/>
                    <a:gd name="connsiteX2" fmla="*/ 438626 w 444912"/>
                    <a:gd name="connsiteY2" fmla="*/ 163163 h 590359"/>
                    <a:gd name="connsiteX3" fmla="*/ 270605 w 444912"/>
                    <a:gd name="connsiteY3" fmla="*/ 326327 h 590359"/>
                    <a:gd name="connsiteX4" fmla="*/ 104775 w 444912"/>
                    <a:gd name="connsiteY4" fmla="*/ 163163 h 590359"/>
                    <a:gd name="connsiteX5" fmla="*/ 104775 w 444912"/>
                    <a:gd name="connsiteY5" fmla="*/ 163163 h 590359"/>
                    <a:gd name="connsiteX6" fmla="*/ 444913 w 444912"/>
                    <a:gd name="connsiteY6" fmla="*/ 391287 h 590359"/>
                    <a:gd name="connsiteX7" fmla="*/ 268415 w 444912"/>
                    <a:gd name="connsiteY7" fmla="*/ 326327 h 590359"/>
                    <a:gd name="connsiteX8" fmla="*/ 0 w 444912"/>
                    <a:gd name="connsiteY8" fmla="*/ 590360 h 590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4912" h="590359">
                      <a:moveTo>
                        <a:pt x="104775" y="163163"/>
                      </a:moveTo>
                      <a:cubicBezTo>
                        <a:pt x="104775" y="73057"/>
                        <a:pt x="178975" y="0"/>
                        <a:pt x="270605" y="0"/>
                      </a:cubicBezTo>
                      <a:cubicBezTo>
                        <a:pt x="362236" y="0"/>
                        <a:pt x="438626" y="72962"/>
                        <a:pt x="438626" y="163163"/>
                      </a:cubicBezTo>
                      <a:cubicBezTo>
                        <a:pt x="438626" y="253270"/>
                        <a:pt x="362236" y="326327"/>
                        <a:pt x="270605" y="326327"/>
                      </a:cubicBezTo>
                      <a:cubicBezTo>
                        <a:pt x="178975" y="326327"/>
                        <a:pt x="104775" y="253365"/>
                        <a:pt x="104775" y="163163"/>
                      </a:cubicBezTo>
                      <a:lnTo>
                        <a:pt x="104775" y="163163"/>
                      </a:lnTo>
                      <a:close/>
                      <a:moveTo>
                        <a:pt x="444913" y="391287"/>
                      </a:moveTo>
                      <a:cubicBezTo>
                        <a:pt x="397764" y="350806"/>
                        <a:pt x="336042" y="326327"/>
                        <a:pt x="268415" y="326327"/>
                      </a:cubicBezTo>
                      <a:cubicBezTo>
                        <a:pt x="120015" y="326327"/>
                        <a:pt x="0" y="444341"/>
                        <a:pt x="0" y="59036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sz="1836"/>
                </a:p>
              </p:txBody>
            </p:sp>
            <p:sp>
              <p:nvSpPr>
                <p:cNvPr id="75" name="Freeform: Shape 74">
                  <a:extLst>
                    <a:ext uri="{FF2B5EF4-FFF2-40B4-BE49-F238E27FC236}">
                      <a16:creationId xmlns:a16="http://schemas.microsoft.com/office/drawing/2014/main" id="{CAC3D33C-A88E-4FE2-B433-A13B1CA6D2AD}"/>
                    </a:ext>
                  </a:extLst>
                </p:cNvPr>
                <p:cNvSpPr/>
                <p:nvPr/>
              </p:nvSpPr>
              <p:spPr>
                <a:xfrm>
                  <a:off x="2040038" y="4347777"/>
                  <a:ext cx="146593" cy="146593"/>
                </a:xfrm>
                <a:custGeom>
                  <a:avLst/>
                  <a:gdLst>
                    <a:gd name="connsiteX0" fmla="*/ 277368 w 277368"/>
                    <a:gd name="connsiteY0" fmla="*/ 138684 h 277368"/>
                    <a:gd name="connsiteX1" fmla="*/ 138684 w 277368"/>
                    <a:gd name="connsiteY1" fmla="*/ 277368 h 277368"/>
                    <a:gd name="connsiteX2" fmla="*/ 0 w 277368"/>
                    <a:gd name="connsiteY2" fmla="*/ 138684 h 277368"/>
                    <a:gd name="connsiteX3" fmla="*/ 138684 w 277368"/>
                    <a:gd name="connsiteY3" fmla="*/ 0 h 277368"/>
                    <a:gd name="connsiteX4" fmla="*/ 277368 w 277368"/>
                    <a:gd name="connsiteY4" fmla="*/ 138684 h 277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 h="277368">
                      <a:moveTo>
                        <a:pt x="277368" y="138684"/>
                      </a:moveTo>
                      <a:cubicBezTo>
                        <a:pt x="277368" y="215277"/>
                        <a:pt x="215277" y="277368"/>
                        <a:pt x="138684" y="277368"/>
                      </a:cubicBezTo>
                      <a:cubicBezTo>
                        <a:pt x="62091" y="277368"/>
                        <a:pt x="0" y="215277"/>
                        <a:pt x="0" y="138684"/>
                      </a:cubicBezTo>
                      <a:cubicBezTo>
                        <a:pt x="0" y="62091"/>
                        <a:pt x="62091" y="0"/>
                        <a:pt x="138684" y="0"/>
                      </a:cubicBezTo>
                      <a:cubicBezTo>
                        <a:pt x="215277" y="0"/>
                        <a:pt x="277368" y="62091"/>
                        <a:pt x="277368" y="138684"/>
                      </a:cubicBez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sz="1836"/>
                </a:p>
              </p:txBody>
            </p:sp>
            <p:sp>
              <p:nvSpPr>
                <p:cNvPr id="76" name="speedometer_2" title="Icon of a spedometer showing fast speed">
                  <a:extLst>
                    <a:ext uri="{FF2B5EF4-FFF2-40B4-BE49-F238E27FC236}">
                      <a16:creationId xmlns:a16="http://schemas.microsoft.com/office/drawing/2014/main" id="{DBD42F73-A266-4E81-A569-ABD74EC0A182}"/>
                    </a:ext>
                  </a:extLst>
                </p:cNvPr>
                <p:cNvSpPr>
                  <a:spLocks noChangeAspect="1" noEditPoints="1"/>
                </p:cNvSpPr>
                <p:nvPr/>
              </p:nvSpPr>
              <p:spPr bwMode="auto">
                <a:xfrm>
                  <a:off x="2063956" y="4371696"/>
                  <a:ext cx="98756" cy="9875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63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endParaRPr lang="en-US" sz="1836"/>
                </a:p>
              </p:txBody>
            </p:sp>
          </p:grpSp>
          <p:grpSp>
            <p:nvGrpSpPr>
              <p:cNvPr id="77" name="Group 76">
                <a:extLst>
                  <a:ext uri="{FF2B5EF4-FFF2-40B4-BE49-F238E27FC236}">
                    <a16:creationId xmlns:a16="http://schemas.microsoft.com/office/drawing/2014/main" id="{0438CD5A-8E9A-4EF3-BDE9-F50E93A56BD1}"/>
                  </a:ext>
                </a:extLst>
              </p:cNvPr>
              <p:cNvGrpSpPr/>
              <p:nvPr/>
            </p:nvGrpSpPr>
            <p:grpSpPr>
              <a:xfrm>
                <a:off x="10809592" y="2162175"/>
                <a:ext cx="424386" cy="482600"/>
                <a:chOff x="2376380" y="4138812"/>
                <a:chExt cx="364315" cy="414290"/>
              </a:xfrm>
            </p:grpSpPr>
            <p:sp>
              <p:nvSpPr>
                <p:cNvPr id="78" name="Freeform: Shape 77">
                  <a:extLst>
                    <a:ext uri="{FF2B5EF4-FFF2-40B4-BE49-F238E27FC236}">
                      <a16:creationId xmlns:a16="http://schemas.microsoft.com/office/drawing/2014/main" id="{A844B3DA-968C-4B96-96F9-2348D2CA4C54}"/>
                    </a:ext>
                  </a:extLst>
                </p:cNvPr>
                <p:cNvSpPr/>
                <p:nvPr/>
              </p:nvSpPr>
              <p:spPr>
                <a:xfrm>
                  <a:off x="2376380" y="4138812"/>
                  <a:ext cx="273984" cy="363552"/>
                </a:xfrm>
                <a:custGeom>
                  <a:avLst/>
                  <a:gdLst>
                    <a:gd name="connsiteX0" fmla="*/ 104775 w 444912"/>
                    <a:gd name="connsiteY0" fmla="*/ 163163 h 590359"/>
                    <a:gd name="connsiteX1" fmla="*/ 270605 w 444912"/>
                    <a:gd name="connsiteY1" fmla="*/ 0 h 590359"/>
                    <a:gd name="connsiteX2" fmla="*/ 438626 w 444912"/>
                    <a:gd name="connsiteY2" fmla="*/ 163163 h 590359"/>
                    <a:gd name="connsiteX3" fmla="*/ 270605 w 444912"/>
                    <a:gd name="connsiteY3" fmla="*/ 326327 h 590359"/>
                    <a:gd name="connsiteX4" fmla="*/ 104775 w 444912"/>
                    <a:gd name="connsiteY4" fmla="*/ 163163 h 590359"/>
                    <a:gd name="connsiteX5" fmla="*/ 104775 w 444912"/>
                    <a:gd name="connsiteY5" fmla="*/ 163163 h 590359"/>
                    <a:gd name="connsiteX6" fmla="*/ 444913 w 444912"/>
                    <a:gd name="connsiteY6" fmla="*/ 391287 h 590359"/>
                    <a:gd name="connsiteX7" fmla="*/ 268415 w 444912"/>
                    <a:gd name="connsiteY7" fmla="*/ 326327 h 590359"/>
                    <a:gd name="connsiteX8" fmla="*/ 0 w 444912"/>
                    <a:gd name="connsiteY8" fmla="*/ 590360 h 590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4912" h="590359">
                      <a:moveTo>
                        <a:pt x="104775" y="163163"/>
                      </a:moveTo>
                      <a:cubicBezTo>
                        <a:pt x="104775" y="73057"/>
                        <a:pt x="178975" y="0"/>
                        <a:pt x="270605" y="0"/>
                      </a:cubicBezTo>
                      <a:cubicBezTo>
                        <a:pt x="362236" y="0"/>
                        <a:pt x="438626" y="72962"/>
                        <a:pt x="438626" y="163163"/>
                      </a:cubicBezTo>
                      <a:cubicBezTo>
                        <a:pt x="438626" y="253270"/>
                        <a:pt x="362236" y="326327"/>
                        <a:pt x="270605" y="326327"/>
                      </a:cubicBezTo>
                      <a:cubicBezTo>
                        <a:pt x="178975" y="326327"/>
                        <a:pt x="104775" y="253365"/>
                        <a:pt x="104775" y="163163"/>
                      </a:cubicBezTo>
                      <a:lnTo>
                        <a:pt x="104775" y="163163"/>
                      </a:lnTo>
                      <a:close/>
                      <a:moveTo>
                        <a:pt x="444913" y="391287"/>
                      </a:moveTo>
                      <a:cubicBezTo>
                        <a:pt x="397764" y="350806"/>
                        <a:pt x="336042" y="326327"/>
                        <a:pt x="268415" y="326327"/>
                      </a:cubicBezTo>
                      <a:cubicBezTo>
                        <a:pt x="120015" y="326327"/>
                        <a:pt x="0" y="444341"/>
                        <a:pt x="0" y="59036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sz="1836"/>
                </a:p>
              </p:txBody>
            </p:sp>
            <p:sp>
              <p:nvSpPr>
                <p:cNvPr id="79" name="Freeform: Shape 78">
                  <a:extLst>
                    <a:ext uri="{FF2B5EF4-FFF2-40B4-BE49-F238E27FC236}">
                      <a16:creationId xmlns:a16="http://schemas.microsoft.com/office/drawing/2014/main" id="{EC0AB2B1-B71F-49DE-88AC-467A25FBEF18}"/>
                    </a:ext>
                  </a:extLst>
                </p:cNvPr>
                <p:cNvSpPr/>
                <p:nvPr/>
              </p:nvSpPr>
              <p:spPr>
                <a:xfrm>
                  <a:off x="2569888" y="4382295"/>
                  <a:ext cx="170807" cy="170807"/>
                </a:xfrm>
                <a:custGeom>
                  <a:avLst/>
                  <a:gdLst>
                    <a:gd name="connsiteX0" fmla="*/ 277368 w 277368"/>
                    <a:gd name="connsiteY0" fmla="*/ 138684 h 277368"/>
                    <a:gd name="connsiteX1" fmla="*/ 138684 w 277368"/>
                    <a:gd name="connsiteY1" fmla="*/ 277368 h 277368"/>
                    <a:gd name="connsiteX2" fmla="*/ 0 w 277368"/>
                    <a:gd name="connsiteY2" fmla="*/ 138684 h 277368"/>
                    <a:gd name="connsiteX3" fmla="*/ 138684 w 277368"/>
                    <a:gd name="connsiteY3" fmla="*/ 0 h 277368"/>
                    <a:gd name="connsiteX4" fmla="*/ 277368 w 277368"/>
                    <a:gd name="connsiteY4" fmla="*/ 138684 h 277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 h="277368">
                      <a:moveTo>
                        <a:pt x="277368" y="138684"/>
                      </a:moveTo>
                      <a:cubicBezTo>
                        <a:pt x="277368" y="215277"/>
                        <a:pt x="215277" y="277368"/>
                        <a:pt x="138684" y="277368"/>
                      </a:cubicBezTo>
                      <a:cubicBezTo>
                        <a:pt x="62091" y="277368"/>
                        <a:pt x="0" y="215277"/>
                        <a:pt x="0" y="138684"/>
                      </a:cubicBezTo>
                      <a:cubicBezTo>
                        <a:pt x="0" y="62091"/>
                        <a:pt x="62091" y="0"/>
                        <a:pt x="138684" y="0"/>
                      </a:cubicBezTo>
                      <a:cubicBezTo>
                        <a:pt x="215277" y="0"/>
                        <a:pt x="277368" y="62091"/>
                        <a:pt x="277368" y="138684"/>
                      </a:cubicBez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sz="1836"/>
                </a:p>
              </p:txBody>
            </p:sp>
            <p:sp>
              <p:nvSpPr>
                <p:cNvPr id="80" name="Freeform 96" title="Icon of a gear with a wrench">
                  <a:extLst>
                    <a:ext uri="{FF2B5EF4-FFF2-40B4-BE49-F238E27FC236}">
                      <a16:creationId xmlns:a16="http://schemas.microsoft.com/office/drawing/2014/main" id="{FABC21A8-5F42-47AB-9A2A-75E05E27BC2E}"/>
                    </a:ext>
                  </a:extLst>
                </p:cNvPr>
                <p:cNvSpPr>
                  <a:spLocks noChangeAspect="1" noEditPoints="1"/>
                </p:cNvSpPr>
                <p:nvPr/>
              </p:nvSpPr>
              <p:spPr bwMode="auto">
                <a:xfrm>
                  <a:off x="2598810" y="4415692"/>
                  <a:ext cx="112963" cy="10401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63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endParaRPr lang="en-US" sz="1836">
                    <a:gradFill>
                      <a:gsLst>
                        <a:gs pos="0">
                          <a:srgbClr val="505050"/>
                        </a:gs>
                        <a:gs pos="100000">
                          <a:srgbClr val="505050"/>
                        </a:gs>
                      </a:gsLst>
                    </a:gradFill>
                  </a:endParaRPr>
                </a:p>
              </p:txBody>
            </p:sp>
          </p:grpSp>
        </p:grpSp>
        <p:sp>
          <p:nvSpPr>
            <p:cNvPr id="10" name="Rectangle 9">
              <a:extLst>
                <a:ext uri="{FF2B5EF4-FFF2-40B4-BE49-F238E27FC236}">
                  <a16:creationId xmlns:a16="http://schemas.microsoft.com/office/drawing/2014/main" id="{2FD7DD48-3186-4C72-8141-AD8DF829D3CF}"/>
                </a:ext>
              </a:extLst>
            </p:cNvPr>
            <p:cNvSpPr/>
            <p:nvPr/>
          </p:nvSpPr>
          <p:spPr bwMode="auto">
            <a:xfrm>
              <a:off x="9678010" y="3048000"/>
              <a:ext cx="1491640" cy="3146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0933" fontAlgn="base">
                <a:lnSpc>
                  <a:spcPct val="90000"/>
                </a:lnSpc>
                <a:spcBef>
                  <a:spcPct val="0"/>
                </a:spcBef>
                <a:spcAft>
                  <a:spcPct val="0"/>
                </a:spcAft>
              </a:pPr>
              <a:r>
                <a:rPr lang="en-IN" sz="2040">
                  <a:solidFill>
                    <a:schemeClr val="bg1"/>
                  </a:solidFill>
                  <a:latin typeface="+mj-lt"/>
                  <a:ea typeface="Segoe UI" pitchFamily="34" charset="0"/>
                  <a:cs typeface="Segoe UI" pitchFamily="34" charset="0"/>
                </a:rPr>
                <a:t>Everyone</a:t>
              </a:r>
            </a:p>
          </p:txBody>
        </p:sp>
      </p:grpSp>
      <p:grpSp>
        <p:nvGrpSpPr>
          <p:cNvPr id="5" name="Group 4">
            <a:extLst>
              <a:ext uri="{FF2B5EF4-FFF2-40B4-BE49-F238E27FC236}">
                <a16:creationId xmlns:a16="http://schemas.microsoft.com/office/drawing/2014/main" id="{D30EDFF1-D088-49AF-B2FE-B2904AD2D493}"/>
              </a:ext>
              <a:ext uri="{C183D7F6-B498-43B3-948B-1728B52AA6E4}">
                <adec:decorative xmlns:adec="http://schemas.microsoft.com/office/drawing/2017/decorative" val="1"/>
              </a:ext>
            </a:extLst>
          </p:cNvPr>
          <p:cNvGrpSpPr/>
          <p:nvPr/>
        </p:nvGrpSpPr>
        <p:grpSpPr>
          <a:xfrm>
            <a:off x="5091387" y="3863178"/>
            <a:ext cx="4357997" cy="184926"/>
            <a:chOff x="4991781" y="3787820"/>
            <a:chExt cx="4273479" cy="181340"/>
          </a:xfrm>
        </p:grpSpPr>
        <p:cxnSp>
          <p:nvCxnSpPr>
            <p:cNvPr id="126" name="Straight Connector 125">
              <a:extLst>
                <a:ext uri="{FF2B5EF4-FFF2-40B4-BE49-F238E27FC236}">
                  <a16:creationId xmlns:a16="http://schemas.microsoft.com/office/drawing/2014/main" id="{D05788A5-33BF-430E-B56C-12A61E4553F2}"/>
                </a:ext>
              </a:extLst>
            </p:cNvPr>
            <p:cNvCxnSpPr>
              <a:cxnSpLocks/>
            </p:cNvCxnSpPr>
            <p:nvPr/>
          </p:nvCxnSpPr>
          <p:spPr>
            <a:xfrm>
              <a:off x="5063613" y="3875659"/>
              <a:ext cx="4201647" cy="0"/>
            </a:xfrm>
            <a:prstGeom prst="line">
              <a:avLst/>
            </a:prstGeom>
            <a:ln w="19050">
              <a:solidFill>
                <a:srgbClr val="191919"/>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63" name="Oval 62">
              <a:extLst>
                <a:ext uri="{FF2B5EF4-FFF2-40B4-BE49-F238E27FC236}">
                  <a16:creationId xmlns:a16="http://schemas.microsoft.com/office/drawing/2014/main" id="{73FC846F-4DC0-47E6-B232-F5DDD99C414E}"/>
                </a:ext>
              </a:extLst>
            </p:cNvPr>
            <p:cNvSpPr/>
            <p:nvPr/>
          </p:nvSpPr>
          <p:spPr bwMode="auto">
            <a:xfrm>
              <a:off x="4991781" y="3787820"/>
              <a:ext cx="181338" cy="181340"/>
            </a:xfrm>
            <a:prstGeom prst="ellipse">
              <a:avLst/>
            </a:prstGeom>
            <a:solidFill>
              <a:srgbClr val="F2C811"/>
            </a:solidFill>
            <a:ln w="190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IN" sz="2448"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6" name="Group 5">
            <a:extLst>
              <a:ext uri="{FF2B5EF4-FFF2-40B4-BE49-F238E27FC236}">
                <a16:creationId xmlns:a16="http://schemas.microsoft.com/office/drawing/2014/main" id="{CA74C6E3-81C0-4BC0-95A1-063B91620899}"/>
              </a:ext>
              <a:ext uri="{C183D7F6-B498-43B3-948B-1728B52AA6E4}">
                <adec:decorative xmlns:adec="http://schemas.microsoft.com/office/drawing/2017/decorative" val="1"/>
              </a:ext>
            </a:extLst>
          </p:cNvPr>
          <p:cNvGrpSpPr/>
          <p:nvPr/>
        </p:nvGrpSpPr>
        <p:grpSpPr>
          <a:xfrm>
            <a:off x="3199971" y="5417138"/>
            <a:ext cx="6249412" cy="184926"/>
            <a:chOff x="3137047" y="5311642"/>
            <a:chExt cx="6128213" cy="181340"/>
          </a:xfrm>
        </p:grpSpPr>
        <p:cxnSp>
          <p:nvCxnSpPr>
            <p:cNvPr id="127" name="Straight Connector 126">
              <a:extLst>
                <a:ext uri="{FF2B5EF4-FFF2-40B4-BE49-F238E27FC236}">
                  <a16:creationId xmlns:a16="http://schemas.microsoft.com/office/drawing/2014/main" id="{B0694304-9E8D-4BE6-99E6-9CB7188BB2C8}"/>
                </a:ext>
              </a:extLst>
            </p:cNvPr>
            <p:cNvCxnSpPr>
              <a:cxnSpLocks/>
            </p:cNvCxnSpPr>
            <p:nvPr/>
          </p:nvCxnSpPr>
          <p:spPr>
            <a:xfrm>
              <a:off x="3185652" y="5405599"/>
              <a:ext cx="6079608" cy="0"/>
            </a:xfrm>
            <a:prstGeom prst="line">
              <a:avLst/>
            </a:prstGeom>
            <a:ln w="19050">
              <a:solidFill>
                <a:srgbClr val="191919"/>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64" name="Oval 63">
              <a:extLst>
                <a:ext uri="{FF2B5EF4-FFF2-40B4-BE49-F238E27FC236}">
                  <a16:creationId xmlns:a16="http://schemas.microsoft.com/office/drawing/2014/main" id="{506BC444-8A8C-46E5-BB7F-EC20415DC01B}"/>
                </a:ext>
              </a:extLst>
            </p:cNvPr>
            <p:cNvSpPr/>
            <p:nvPr/>
          </p:nvSpPr>
          <p:spPr bwMode="auto">
            <a:xfrm>
              <a:off x="3137047" y="5311642"/>
              <a:ext cx="181338" cy="181340"/>
            </a:xfrm>
            <a:prstGeom prst="ellipse">
              <a:avLst/>
            </a:prstGeom>
            <a:solidFill>
              <a:srgbClr val="F2C811"/>
            </a:solidFill>
            <a:ln w="190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IN" sz="2448"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 name="Group 3">
            <a:extLst>
              <a:ext uri="{FF2B5EF4-FFF2-40B4-BE49-F238E27FC236}">
                <a16:creationId xmlns:a16="http://schemas.microsoft.com/office/drawing/2014/main" id="{7FCC52B8-E3D2-4994-A84F-222D33F5EF32}"/>
              </a:ext>
              <a:ext uri="{C183D7F6-B498-43B3-948B-1728B52AA6E4}">
                <adec:decorative xmlns:adec="http://schemas.microsoft.com/office/drawing/2017/decorative" val="1"/>
              </a:ext>
            </a:extLst>
          </p:cNvPr>
          <p:cNvGrpSpPr/>
          <p:nvPr/>
        </p:nvGrpSpPr>
        <p:grpSpPr>
          <a:xfrm>
            <a:off x="6800473" y="2554335"/>
            <a:ext cx="2619959" cy="184926"/>
            <a:chOff x="6667721" y="2504359"/>
            <a:chExt cx="2569148" cy="181340"/>
          </a:xfrm>
        </p:grpSpPr>
        <p:cxnSp>
          <p:nvCxnSpPr>
            <p:cNvPr id="15" name="Straight Connector 14">
              <a:extLst>
                <a:ext uri="{FF2B5EF4-FFF2-40B4-BE49-F238E27FC236}">
                  <a16:creationId xmlns:a16="http://schemas.microsoft.com/office/drawing/2014/main" id="{2CDCF080-F18F-4CA1-A7AC-005F6903B673}"/>
                </a:ext>
              </a:extLst>
            </p:cNvPr>
            <p:cNvCxnSpPr>
              <a:cxnSpLocks/>
            </p:cNvCxnSpPr>
            <p:nvPr/>
          </p:nvCxnSpPr>
          <p:spPr>
            <a:xfrm>
              <a:off x="6774426" y="2609387"/>
              <a:ext cx="1280549" cy="0"/>
            </a:xfrm>
            <a:prstGeom prst="line">
              <a:avLst/>
            </a:prstGeom>
            <a:ln w="19050">
              <a:solidFill>
                <a:srgbClr val="191919"/>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 name="Oval 1">
              <a:extLst>
                <a:ext uri="{FF2B5EF4-FFF2-40B4-BE49-F238E27FC236}">
                  <a16:creationId xmlns:a16="http://schemas.microsoft.com/office/drawing/2014/main" id="{F0BCFFEE-12B1-41F5-AA2F-096DB9EA029A}"/>
                </a:ext>
              </a:extLst>
            </p:cNvPr>
            <p:cNvSpPr/>
            <p:nvPr/>
          </p:nvSpPr>
          <p:spPr bwMode="auto">
            <a:xfrm>
              <a:off x="6667721" y="2504359"/>
              <a:ext cx="181338" cy="181340"/>
            </a:xfrm>
            <a:prstGeom prst="ellipse">
              <a:avLst/>
            </a:prstGeom>
            <a:solidFill>
              <a:srgbClr val="F2C811"/>
            </a:solidFill>
            <a:ln w="190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IN" sz="2448" err="1">
                <a:gradFill>
                  <a:gsLst>
                    <a:gs pos="0">
                      <a:srgbClr val="FFFFFF"/>
                    </a:gs>
                    <a:gs pos="100000">
                      <a:srgbClr val="FFFFFF"/>
                    </a:gs>
                  </a:gsLst>
                  <a:lin ang="5400000" scaled="0"/>
                </a:gradFill>
                <a:ea typeface="Segoe UI" pitchFamily="34" charset="0"/>
                <a:cs typeface="Segoe UI" pitchFamily="34" charset="0"/>
              </a:endParaRPr>
            </a:p>
          </p:txBody>
        </p:sp>
        <p:cxnSp>
          <p:nvCxnSpPr>
            <p:cNvPr id="66" name="Straight Connector 65">
              <a:extLst>
                <a:ext uri="{FF2B5EF4-FFF2-40B4-BE49-F238E27FC236}">
                  <a16:creationId xmlns:a16="http://schemas.microsoft.com/office/drawing/2014/main" id="{D241C965-6DDD-440D-953A-8C94C672F83A}"/>
                </a:ext>
              </a:extLst>
            </p:cNvPr>
            <p:cNvCxnSpPr>
              <a:cxnSpLocks/>
            </p:cNvCxnSpPr>
            <p:nvPr/>
          </p:nvCxnSpPr>
          <p:spPr>
            <a:xfrm>
              <a:off x="8032750" y="2609387"/>
              <a:ext cx="1204119" cy="0"/>
            </a:xfrm>
            <a:prstGeom prst="line">
              <a:avLst/>
            </a:prstGeom>
            <a:ln w="19050">
              <a:solidFill>
                <a:schemeClr val="accent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387562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wipe(left)">
                                      <p:cBhvr>
                                        <p:cTn id="7" dur="500"/>
                                        <p:tgtEl>
                                          <p:spTgt spid="48"/>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wipe(down)">
                                      <p:cBhvr>
                                        <p:cTn id="11" dur="500"/>
                                        <p:tgtEl>
                                          <p:spTgt spid="13"/>
                                        </p:tgtEl>
                                      </p:cBhvr>
                                    </p:animEffect>
                                  </p:childTnLst>
                                </p:cTn>
                              </p:par>
                            </p:childTnLst>
                          </p:cTn>
                        </p:par>
                        <p:par>
                          <p:cTn id="12" fill="hold">
                            <p:stCondLst>
                              <p:cond delay="1000"/>
                            </p:stCondLst>
                            <p:childTnLst>
                              <p:par>
                                <p:cTn id="13" presetID="22" presetClass="entr" presetSubtype="2"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wipe(right)">
                                      <p:cBhvr>
                                        <p:cTn id="15" dur="500"/>
                                        <p:tgtEl>
                                          <p:spTgt spid="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23"/>
                                        </p:tgtEl>
                                        <p:attrNameLst>
                                          <p:attrName>style.visibility</p:attrName>
                                        </p:attrNameLst>
                                      </p:cBhvr>
                                      <p:to>
                                        <p:strVal val="visible"/>
                                      </p:to>
                                    </p:set>
                                    <p:animEffect transition="in" filter="fade">
                                      <p:cBhvr>
                                        <p:cTn id="19" dur="500"/>
                                        <p:tgtEl>
                                          <p:spTgt spid="123"/>
                                        </p:tgtEl>
                                      </p:cBhvr>
                                    </p:animEffect>
                                  </p:childTnLst>
                                </p:cTn>
                              </p:par>
                            </p:childTnLst>
                          </p:cTn>
                        </p:par>
                        <p:par>
                          <p:cTn id="20" fill="hold">
                            <p:stCondLst>
                              <p:cond delay="2000"/>
                            </p:stCondLst>
                            <p:childTnLst>
                              <p:par>
                                <p:cTn id="21" presetID="22" presetClass="entr" presetSubtype="8" fill="hold" grpId="0" nodeType="afterEffect">
                                  <p:stCondLst>
                                    <p:cond delay="0"/>
                                  </p:stCondLst>
                                  <p:childTnLst>
                                    <p:set>
                                      <p:cBhvr>
                                        <p:cTn id="22" dur="1" fill="hold">
                                          <p:stCondLst>
                                            <p:cond delay="0"/>
                                          </p:stCondLst>
                                        </p:cTn>
                                        <p:tgtEl>
                                          <p:spTgt spid="47"/>
                                        </p:tgtEl>
                                        <p:attrNameLst>
                                          <p:attrName>style.visibility</p:attrName>
                                        </p:attrNameLst>
                                      </p:cBhvr>
                                      <p:to>
                                        <p:strVal val="visible"/>
                                      </p:to>
                                    </p:set>
                                    <p:animEffect transition="in" filter="wipe(left)">
                                      <p:cBhvr>
                                        <p:cTn id="23" dur="500"/>
                                        <p:tgtEl>
                                          <p:spTgt spid="47"/>
                                        </p:tgtEl>
                                      </p:cBhvr>
                                    </p:animEffect>
                                  </p:childTnLst>
                                </p:cTn>
                              </p:par>
                            </p:childTnLst>
                          </p:cTn>
                        </p:par>
                        <p:par>
                          <p:cTn id="24" fill="hold">
                            <p:stCondLst>
                              <p:cond delay="2500"/>
                            </p:stCondLst>
                            <p:childTnLst>
                              <p:par>
                                <p:cTn id="25" presetID="22" presetClass="entr" presetSubtype="4" fill="hold" nodeType="after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wipe(down)">
                                      <p:cBhvr>
                                        <p:cTn id="27" dur="500"/>
                                        <p:tgtEl>
                                          <p:spTgt spid="19"/>
                                        </p:tgtEl>
                                      </p:cBhvr>
                                    </p:animEffect>
                                  </p:childTnLst>
                                </p:cTn>
                              </p:par>
                            </p:childTnLst>
                          </p:cTn>
                        </p:par>
                        <p:par>
                          <p:cTn id="28" fill="hold">
                            <p:stCondLst>
                              <p:cond delay="3000"/>
                            </p:stCondLst>
                            <p:childTnLst>
                              <p:par>
                                <p:cTn id="29" presetID="22" presetClass="entr" presetSubtype="2" fill="hold" nodeType="afterEffect">
                                  <p:stCondLst>
                                    <p:cond delay="0"/>
                                  </p:stCondLst>
                                  <p:childTnLst>
                                    <p:set>
                                      <p:cBhvr>
                                        <p:cTn id="30" dur="1" fill="hold">
                                          <p:stCondLst>
                                            <p:cond delay="0"/>
                                          </p:stCondLst>
                                        </p:cTn>
                                        <p:tgtEl>
                                          <p:spTgt spid="5"/>
                                        </p:tgtEl>
                                        <p:attrNameLst>
                                          <p:attrName>style.visibility</p:attrName>
                                        </p:attrNameLst>
                                      </p:cBhvr>
                                      <p:to>
                                        <p:strVal val="visible"/>
                                      </p:to>
                                    </p:set>
                                    <p:animEffect transition="in" filter="wipe(right)">
                                      <p:cBhvr>
                                        <p:cTn id="31" dur="500"/>
                                        <p:tgtEl>
                                          <p:spTgt spid="5"/>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124"/>
                                        </p:tgtEl>
                                        <p:attrNameLst>
                                          <p:attrName>style.visibility</p:attrName>
                                        </p:attrNameLst>
                                      </p:cBhvr>
                                      <p:to>
                                        <p:strVal val="visible"/>
                                      </p:to>
                                    </p:set>
                                    <p:animEffect transition="in" filter="fade">
                                      <p:cBhvr>
                                        <p:cTn id="35" dur="500"/>
                                        <p:tgtEl>
                                          <p:spTgt spid="124"/>
                                        </p:tgtEl>
                                      </p:cBhvr>
                                    </p:animEffect>
                                  </p:childTnLst>
                                </p:cTn>
                              </p:par>
                            </p:childTnLst>
                          </p:cTn>
                        </p:par>
                        <p:par>
                          <p:cTn id="36" fill="hold">
                            <p:stCondLst>
                              <p:cond delay="4000"/>
                            </p:stCondLst>
                            <p:childTnLst>
                              <p:par>
                                <p:cTn id="37" presetID="22" presetClass="entr" presetSubtype="8" fill="hold" grpId="0" nodeType="afterEffect">
                                  <p:stCondLst>
                                    <p:cond delay="0"/>
                                  </p:stCondLst>
                                  <p:childTnLst>
                                    <p:set>
                                      <p:cBhvr>
                                        <p:cTn id="38" dur="1" fill="hold">
                                          <p:stCondLst>
                                            <p:cond delay="0"/>
                                          </p:stCondLst>
                                        </p:cTn>
                                        <p:tgtEl>
                                          <p:spTgt spid="46"/>
                                        </p:tgtEl>
                                        <p:attrNameLst>
                                          <p:attrName>style.visibility</p:attrName>
                                        </p:attrNameLst>
                                      </p:cBhvr>
                                      <p:to>
                                        <p:strVal val="visible"/>
                                      </p:to>
                                    </p:set>
                                    <p:animEffect transition="in" filter="wipe(left)">
                                      <p:cBhvr>
                                        <p:cTn id="39" dur="500"/>
                                        <p:tgtEl>
                                          <p:spTgt spid="46"/>
                                        </p:tgtEl>
                                      </p:cBhvr>
                                    </p:animEffect>
                                  </p:childTnLst>
                                </p:cTn>
                              </p:par>
                            </p:childTnLst>
                          </p:cTn>
                        </p:par>
                        <p:par>
                          <p:cTn id="40" fill="hold">
                            <p:stCondLst>
                              <p:cond delay="4500"/>
                            </p:stCondLst>
                            <p:childTnLst>
                              <p:par>
                                <p:cTn id="41" presetID="22" presetClass="entr" presetSubtype="4" fill="hold" nodeType="afterEffect">
                                  <p:stCondLst>
                                    <p:cond delay="0"/>
                                  </p:stCondLst>
                                  <p:childTnLst>
                                    <p:set>
                                      <p:cBhvr>
                                        <p:cTn id="42" dur="1" fill="hold">
                                          <p:stCondLst>
                                            <p:cond delay="0"/>
                                          </p:stCondLst>
                                        </p:cTn>
                                        <p:tgtEl>
                                          <p:spTgt spid="11"/>
                                        </p:tgtEl>
                                        <p:attrNameLst>
                                          <p:attrName>style.visibility</p:attrName>
                                        </p:attrNameLst>
                                      </p:cBhvr>
                                      <p:to>
                                        <p:strVal val="visible"/>
                                      </p:to>
                                    </p:set>
                                    <p:animEffect transition="in" filter="wipe(down)">
                                      <p:cBhvr>
                                        <p:cTn id="43" dur="500"/>
                                        <p:tgtEl>
                                          <p:spTgt spid="11"/>
                                        </p:tgtEl>
                                      </p:cBhvr>
                                    </p:animEffect>
                                  </p:childTnLst>
                                </p:cTn>
                              </p:par>
                            </p:childTnLst>
                          </p:cTn>
                        </p:par>
                        <p:par>
                          <p:cTn id="44" fill="hold">
                            <p:stCondLst>
                              <p:cond delay="5000"/>
                            </p:stCondLst>
                            <p:childTnLst>
                              <p:par>
                                <p:cTn id="45" presetID="22" presetClass="entr" presetSubtype="2" fill="hold" nodeType="afterEffect">
                                  <p:stCondLst>
                                    <p:cond delay="0"/>
                                  </p:stCondLst>
                                  <p:childTnLst>
                                    <p:set>
                                      <p:cBhvr>
                                        <p:cTn id="46" dur="1" fill="hold">
                                          <p:stCondLst>
                                            <p:cond delay="0"/>
                                          </p:stCondLst>
                                        </p:cTn>
                                        <p:tgtEl>
                                          <p:spTgt spid="4"/>
                                        </p:tgtEl>
                                        <p:attrNameLst>
                                          <p:attrName>style.visibility</p:attrName>
                                        </p:attrNameLst>
                                      </p:cBhvr>
                                      <p:to>
                                        <p:strVal val="visible"/>
                                      </p:to>
                                    </p:set>
                                    <p:animEffect transition="in" filter="wipe(right)">
                                      <p:cBhvr>
                                        <p:cTn id="47" dur="500"/>
                                        <p:tgtEl>
                                          <p:spTgt spid="4"/>
                                        </p:tgtEl>
                                      </p:cBhvr>
                                    </p:animEffect>
                                  </p:childTnLst>
                                </p:cTn>
                              </p:par>
                            </p:childTnLst>
                          </p:cTn>
                        </p:par>
                        <p:par>
                          <p:cTn id="48" fill="hold">
                            <p:stCondLst>
                              <p:cond delay="5500"/>
                            </p:stCondLst>
                            <p:childTnLst>
                              <p:par>
                                <p:cTn id="49" presetID="10" presetClass="entr" presetSubtype="0" fill="hold" grpId="0" nodeType="afterEffect">
                                  <p:stCondLst>
                                    <p:cond delay="0"/>
                                  </p:stCondLst>
                                  <p:childTnLst>
                                    <p:set>
                                      <p:cBhvr>
                                        <p:cTn id="50" dur="1" fill="hold">
                                          <p:stCondLst>
                                            <p:cond delay="0"/>
                                          </p:stCondLst>
                                        </p:cTn>
                                        <p:tgtEl>
                                          <p:spTgt spid="125"/>
                                        </p:tgtEl>
                                        <p:attrNameLst>
                                          <p:attrName>style.visibility</p:attrName>
                                        </p:attrNameLst>
                                      </p:cBhvr>
                                      <p:to>
                                        <p:strVal val="visible"/>
                                      </p:to>
                                    </p:set>
                                    <p:animEffect transition="in" filter="fade">
                                      <p:cBhvr>
                                        <p:cTn id="51" dur="500"/>
                                        <p:tgtEl>
                                          <p:spTgt spid="1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47" grpId="0" animBg="1"/>
      <p:bldP spid="48" grpId="0" animBg="1"/>
      <p:bldP spid="123" grpId="0"/>
      <p:bldP spid="124" grpId="0"/>
      <p:bldP spid="125"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Pro Tip: Caution with Providing an Encoding Hint</a:t>
            </a:r>
            <a:endParaRPr lang="en-US"/>
          </a:p>
        </p:txBody>
      </p:sp>
      <p:sp>
        <p:nvSpPr>
          <p:cNvPr id="7" name="TextBox 6">
            <a:extLst>
              <a:ext uri="{FF2B5EF4-FFF2-40B4-BE49-F238E27FC236}">
                <a16:creationId xmlns:a16="http://schemas.microsoft.com/office/drawing/2014/main" id="{94B7EF59-1F05-43EA-BA14-C193D840177A}"/>
              </a:ext>
            </a:extLst>
          </p:cNvPr>
          <p:cNvSpPr txBox="1"/>
          <p:nvPr/>
        </p:nvSpPr>
        <p:spPr>
          <a:xfrm>
            <a:off x="391204" y="1683521"/>
            <a:ext cx="1735055" cy="461665"/>
          </a:xfrm>
          <a:prstGeom prst="rect">
            <a:avLst/>
          </a:prstGeom>
          <a:noFill/>
        </p:spPr>
        <p:txBody>
          <a:bodyPr wrap="square" rtlCol="0">
            <a:spAutoFit/>
          </a:bodyPr>
          <a:lstStyle/>
          <a:p>
            <a:r>
              <a:rPr lang="en-US" sz="2400" b="1">
                <a:gradFill>
                  <a:gsLst>
                    <a:gs pos="2917">
                      <a:srgbClr val="505050"/>
                    </a:gs>
                    <a:gs pos="30000">
                      <a:srgbClr val="505050"/>
                    </a:gs>
                  </a:gsLst>
                  <a:lin ang="5400000" scaled="0"/>
                </a:gradFill>
                <a:latin typeface="Segoe UI"/>
              </a:rPr>
              <a:t>Before</a:t>
            </a:r>
          </a:p>
        </p:txBody>
      </p:sp>
      <p:sp>
        <p:nvSpPr>
          <p:cNvPr id="8" name="TextBox 7">
            <a:extLst>
              <a:ext uri="{FF2B5EF4-FFF2-40B4-BE49-F238E27FC236}">
                <a16:creationId xmlns:a16="http://schemas.microsoft.com/office/drawing/2014/main" id="{7CDD533A-B589-4349-BD1C-AE087F0DD04B}"/>
              </a:ext>
            </a:extLst>
          </p:cNvPr>
          <p:cNvSpPr txBox="1"/>
          <p:nvPr/>
        </p:nvSpPr>
        <p:spPr>
          <a:xfrm>
            <a:off x="6633725" y="1735120"/>
            <a:ext cx="1735055" cy="461665"/>
          </a:xfrm>
          <a:prstGeom prst="rect">
            <a:avLst/>
          </a:prstGeom>
          <a:noFill/>
        </p:spPr>
        <p:txBody>
          <a:bodyPr wrap="square" rtlCol="0">
            <a:spAutoFit/>
          </a:bodyPr>
          <a:lstStyle/>
          <a:p>
            <a:r>
              <a:rPr lang="en-US" sz="2400" b="1">
                <a:gradFill>
                  <a:gsLst>
                    <a:gs pos="2917">
                      <a:srgbClr val="505050"/>
                    </a:gs>
                    <a:gs pos="30000">
                      <a:srgbClr val="505050"/>
                    </a:gs>
                  </a:gsLst>
                  <a:lin ang="5400000" scaled="0"/>
                </a:gradFill>
                <a:latin typeface="Segoe UI"/>
              </a:rPr>
              <a:t>After</a:t>
            </a:r>
          </a:p>
        </p:txBody>
      </p:sp>
      <p:pic>
        <p:nvPicPr>
          <p:cNvPr id="9" name="Picture 8">
            <a:extLst>
              <a:ext uri="{FF2B5EF4-FFF2-40B4-BE49-F238E27FC236}">
                <a16:creationId xmlns:a16="http://schemas.microsoft.com/office/drawing/2014/main" id="{4B5EED8D-8814-408F-9D2B-AFE2F7B3482F}"/>
              </a:ext>
            </a:extLst>
          </p:cNvPr>
          <p:cNvPicPr>
            <a:picLocks noChangeAspect="1"/>
          </p:cNvPicPr>
          <p:nvPr/>
        </p:nvPicPr>
        <p:blipFill>
          <a:blip r:embed="rId2"/>
          <a:stretch>
            <a:fillRect/>
          </a:stretch>
        </p:blipFill>
        <p:spPr>
          <a:xfrm>
            <a:off x="6633725" y="2111804"/>
            <a:ext cx="5129318" cy="2661805"/>
          </a:xfrm>
          <a:prstGeom prst="rect">
            <a:avLst/>
          </a:prstGeom>
        </p:spPr>
      </p:pic>
      <p:pic>
        <p:nvPicPr>
          <p:cNvPr id="10" name="Picture 9">
            <a:extLst>
              <a:ext uri="{FF2B5EF4-FFF2-40B4-BE49-F238E27FC236}">
                <a16:creationId xmlns:a16="http://schemas.microsoft.com/office/drawing/2014/main" id="{ACFADA7E-5924-4243-A074-50217BD1C219}"/>
              </a:ext>
            </a:extLst>
          </p:cNvPr>
          <p:cNvPicPr>
            <a:picLocks noChangeAspect="1"/>
          </p:cNvPicPr>
          <p:nvPr/>
        </p:nvPicPr>
        <p:blipFill>
          <a:blip r:embed="rId3"/>
          <a:stretch>
            <a:fillRect/>
          </a:stretch>
        </p:blipFill>
        <p:spPr>
          <a:xfrm>
            <a:off x="407519" y="2089350"/>
            <a:ext cx="5197321" cy="2632661"/>
          </a:xfrm>
          <a:prstGeom prst="rect">
            <a:avLst/>
          </a:prstGeom>
        </p:spPr>
      </p:pic>
      <p:cxnSp>
        <p:nvCxnSpPr>
          <p:cNvPr id="11" name="Straight Connector 10">
            <a:extLst>
              <a:ext uri="{FF2B5EF4-FFF2-40B4-BE49-F238E27FC236}">
                <a16:creationId xmlns:a16="http://schemas.microsoft.com/office/drawing/2014/main" id="{8C325835-5CC7-4A42-A69A-F55D63792D04}"/>
              </a:ext>
            </a:extLst>
          </p:cNvPr>
          <p:cNvCxnSpPr>
            <a:cxnSpLocks/>
          </p:cNvCxnSpPr>
          <p:nvPr/>
        </p:nvCxnSpPr>
        <p:spPr>
          <a:xfrm>
            <a:off x="6218237" y="1580921"/>
            <a:ext cx="0" cy="3832683"/>
          </a:xfrm>
          <a:prstGeom prst="line">
            <a:avLst/>
          </a:prstGeom>
          <a:ln w="952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C2EE2A7F-06F5-48A1-90BA-5F22EC648CA2}"/>
              </a:ext>
            </a:extLst>
          </p:cNvPr>
          <p:cNvSpPr/>
          <p:nvPr/>
        </p:nvSpPr>
        <p:spPr>
          <a:xfrm>
            <a:off x="474649" y="3207701"/>
            <a:ext cx="5130189" cy="23127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4" name="Rectangle 13">
            <a:extLst>
              <a:ext uri="{FF2B5EF4-FFF2-40B4-BE49-F238E27FC236}">
                <a16:creationId xmlns:a16="http://schemas.microsoft.com/office/drawing/2014/main" id="{57D8399F-3D0F-4917-8D29-1A4F4E5CA7A6}"/>
              </a:ext>
            </a:extLst>
          </p:cNvPr>
          <p:cNvSpPr/>
          <p:nvPr/>
        </p:nvSpPr>
        <p:spPr>
          <a:xfrm>
            <a:off x="6721778" y="2688779"/>
            <a:ext cx="5130189" cy="23127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6" name="TextBox 15">
            <a:extLst>
              <a:ext uri="{FF2B5EF4-FFF2-40B4-BE49-F238E27FC236}">
                <a16:creationId xmlns:a16="http://schemas.microsoft.com/office/drawing/2014/main" id="{E2E9D87D-47D7-4FBF-99F2-855AEF53F9AE}"/>
              </a:ext>
            </a:extLst>
          </p:cNvPr>
          <p:cNvSpPr txBox="1"/>
          <p:nvPr/>
        </p:nvSpPr>
        <p:spPr>
          <a:xfrm>
            <a:off x="1523585" y="4773609"/>
            <a:ext cx="2965188" cy="738664"/>
          </a:xfrm>
          <a:prstGeom prst="rect">
            <a:avLst/>
          </a:prstGeom>
          <a:noFill/>
        </p:spPr>
        <p:txBody>
          <a:bodyPr wrap="square" rtlCol="0">
            <a:spAutoFit/>
          </a:bodyPr>
          <a:lstStyle/>
          <a:p>
            <a:pPr algn="ctr"/>
            <a:r>
              <a:rPr lang="en-US" sz="2400" b="1">
                <a:gradFill>
                  <a:gsLst>
                    <a:gs pos="2917">
                      <a:srgbClr val="505050"/>
                    </a:gs>
                    <a:gs pos="30000">
                      <a:srgbClr val="505050"/>
                    </a:gs>
                  </a:gsLst>
                  <a:lin ang="5400000" scaled="0"/>
                </a:gradFill>
                <a:latin typeface="Segoe UI"/>
              </a:rPr>
              <a:t>Data Size:</a:t>
            </a:r>
          </a:p>
          <a:p>
            <a:pPr algn="ctr"/>
            <a:r>
              <a:rPr lang="en-US">
                <a:gradFill>
                  <a:gsLst>
                    <a:gs pos="2917">
                      <a:srgbClr val="505050"/>
                    </a:gs>
                    <a:gs pos="30000">
                      <a:srgbClr val="505050"/>
                    </a:gs>
                  </a:gsLst>
                  <a:lin ang="5400000" scaled="0"/>
                </a:gradFill>
                <a:latin typeface="Segoe UI"/>
              </a:rPr>
              <a:t>731,292,704</a:t>
            </a:r>
          </a:p>
        </p:txBody>
      </p:sp>
      <p:sp>
        <p:nvSpPr>
          <p:cNvPr id="17" name="TextBox 16">
            <a:extLst>
              <a:ext uri="{FF2B5EF4-FFF2-40B4-BE49-F238E27FC236}">
                <a16:creationId xmlns:a16="http://schemas.microsoft.com/office/drawing/2014/main" id="{E7F33890-BFEC-44B5-8D18-771A8530918D}"/>
              </a:ext>
            </a:extLst>
          </p:cNvPr>
          <p:cNvSpPr txBox="1"/>
          <p:nvPr/>
        </p:nvSpPr>
        <p:spPr>
          <a:xfrm>
            <a:off x="7947702" y="4780961"/>
            <a:ext cx="2965188" cy="738664"/>
          </a:xfrm>
          <a:prstGeom prst="rect">
            <a:avLst/>
          </a:prstGeom>
          <a:noFill/>
        </p:spPr>
        <p:txBody>
          <a:bodyPr wrap="square" rtlCol="0">
            <a:spAutoFit/>
          </a:bodyPr>
          <a:lstStyle/>
          <a:p>
            <a:pPr algn="ctr"/>
            <a:r>
              <a:rPr lang="en-US" sz="2400" b="1">
                <a:gradFill>
                  <a:gsLst>
                    <a:gs pos="2917">
                      <a:srgbClr val="505050"/>
                    </a:gs>
                    <a:gs pos="30000">
                      <a:srgbClr val="505050"/>
                    </a:gs>
                  </a:gsLst>
                  <a:lin ang="5400000" scaled="0"/>
                </a:gradFill>
                <a:latin typeface="Segoe UI"/>
              </a:rPr>
              <a:t>Data Size:</a:t>
            </a:r>
          </a:p>
          <a:p>
            <a:pPr algn="ctr"/>
            <a:r>
              <a:rPr lang="en-US">
                <a:gradFill>
                  <a:gsLst>
                    <a:gs pos="2917">
                      <a:srgbClr val="505050"/>
                    </a:gs>
                    <a:gs pos="30000">
                      <a:srgbClr val="505050"/>
                    </a:gs>
                  </a:gsLst>
                  <a:lin ang="5400000" scaled="0"/>
                </a:gradFill>
                <a:latin typeface="Segoe UI"/>
              </a:rPr>
              <a:t>2,074,027,368</a:t>
            </a:r>
          </a:p>
        </p:txBody>
      </p:sp>
    </p:spTree>
    <p:extLst>
      <p:ext uri="{BB962C8B-B14F-4D97-AF65-F5344CB8AC3E}">
        <p14:creationId xmlns:p14="http://schemas.microsoft.com/office/powerpoint/2010/main" val="152316209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356D553-2394-4869-8034-60FB6148BA3A}"/>
              </a:ext>
            </a:extLst>
          </p:cNvPr>
          <p:cNvSpPr>
            <a:spLocks noGrp="1"/>
          </p:cNvSpPr>
          <p:nvPr>
            <p:ph idx="1"/>
          </p:nvPr>
        </p:nvSpPr>
        <p:spPr>
          <a:xfrm>
            <a:off x="565454" y="1631427"/>
            <a:ext cx="11305566" cy="4663563"/>
          </a:xfrm>
        </p:spPr>
        <p:txBody>
          <a:bodyPr>
            <a:normAutofit/>
          </a:bodyPr>
          <a:lstStyle/>
          <a:p>
            <a:pPr marL="466251" indent="-466251">
              <a:buFont typeface="+mj-lt"/>
              <a:buAutoNum type="arabicPeriod"/>
            </a:pPr>
            <a:r>
              <a:rPr lang="en-US" sz="2448">
                <a:gradFill>
                  <a:gsLst>
                    <a:gs pos="2917">
                      <a:srgbClr val="505050"/>
                    </a:gs>
                    <a:gs pos="30000">
                      <a:srgbClr val="505050"/>
                    </a:gs>
                  </a:gsLst>
                  <a:lin ang="5400000" scaled="0"/>
                </a:gradFill>
                <a:latin typeface="Segoe UI"/>
                <a:cs typeface="+mn-cs"/>
              </a:rPr>
              <a:t>High-cardinality: </a:t>
            </a:r>
            <a:r>
              <a:rPr lang="en-US" sz="2448" b="1">
                <a:gradFill>
                  <a:gsLst>
                    <a:gs pos="2917">
                      <a:srgbClr val="505050"/>
                    </a:gs>
                    <a:gs pos="30000">
                      <a:srgbClr val="505050"/>
                    </a:gs>
                  </a:gsLst>
                  <a:lin ang="5400000" scaled="0"/>
                </a:gradFill>
                <a:latin typeface="Segoe UI"/>
                <a:cs typeface="+mn-cs"/>
              </a:rPr>
              <a:t>columns with values that are very uncommon or unique.</a:t>
            </a:r>
          </a:p>
          <a:p>
            <a:pPr lvl="2"/>
            <a:r>
              <a:rPr lang="en-US" sz="1800" err="1">
                <a:gradFill>
                  <a:gsLst>
                    <a:gs pos="2917">
                      <a:srgbClr val="505050"/>
                    </a:gs>
                    <a:gs pos="30000">
                      <a:srgbClr val="505050"/>
                    </a:gs>
                  </a:gsLst>
                  <a:lin ang="5400000" scaled="0"/>
                </a:gradFill>
                <a:latin typeface="Segoe UI"/>
              </a:rPr>
              <a:t>DateTime</a:t>
            </a:r>
            <a:endParaRPr lang="en-US" sz="1800">
              <a:gradFill>
                <a:gsLst>
                  <a:gs pos="2917">
                    <a:srgbClr val="505050"/>
                  </a:gs>
                  <a:gs pos="30000">
                    <a:srgbClr val="505050"/>
                  </a:gs>
                </a:gsLst>
                <a:lin ang="5400000" scaled="0"/>
              </a:gradFill>
              <a:latin typeface="Segoe UI"/>
            </a:endParaRPr>
          </a:p>
          <a:p>
            <a:pPr lvl="2"/>
            <a:r>
              <a:rPr lang="en-US" sz="1800">
                <a:gradFill>
                  <a:gsLst>
                    <a:gs pos="2917">
                      <a:srgbClr val="505050"/>
                    </a:gs>
                    <a:gs pos="30000">
                      <a:srgbClr val="505050"/>
                    </a:gs>
                  </a:gsLst>
                  <a:lin ang="5400000" scaled="0"/>
                </a:gradFill>
                <a:latin typeface="Segoe UI"/>
              </a:rPr>
              <a:t>Unique IDs (Not Needed For Relationships)</a:t>
            </a:r>
          </a:p>
          <a:p>
            <a:pPr lvl="2"/>
            <a:r>
              <a:rPr lang="en-US" sz="1800">
                <a:gradFill>
                  <a:gsLst>
                    <a:gs pos="2917">
                      <a:srgbClr val="505050"/>
                    </a:gs>
                    <a:gs pos="30000">
                      <a:srgbClr val="505050"/>
                    </a:gs>
                  </a:gsLst>
                  <a:lin ang="5400000" scaled="0"/>
                </a:gradFill>
                <a:latin typeface="Segoe UI"/>
              </a:rPr>
              <a:t>Text (Freeform Fields)</a:t>
            </a:r>
          </a:p>
          <a:p>
            <a:pPr lvl="2"/>
            <a:r>
              <a:rPr lang="en-US" sz="1800">
                <a:gradFill>
                  <a:gsLst>
                    <a:gs pos="2917">
                      <a:srgbClr val="505050"/>
                    </a:gs>
                    <a:gs pos="30000">
                      <a:srgbClr val="505050"/>
                    </a:gs>
                  </a:gsLst>
                  <a:lin ang="5400000" scaled="0"/>
                </a:gradFill>
                <a:latin typeface="Segoe UI"/>
              </a:rPr>
              <a:t>Numbers (Floating Point Precision)</a:t>
            </a:r>
          </a:p>
          <a:p>
            <a:pPr marL="466252" lvl="2" indent="0">
              <a:buNone/>
            </a:pPr>
            <a:endParaRPr lang="en-US" sz="1800">
              <a:gradFill>
                <a:gsLst>
                  <a:gs pos="2917">
                    <a:srgbClr val="505050"/>
                  </a:gs>
                  <a:gs pos="30000">
                    <a:srgbClr val="505050"/>
                  </a:gs>
                </a:gsLst>
                <a:lin ang="5400000" scaled="0"/>
              </a:gradFill>
              <a:latin typeface="Segoe UI"/>
            </a:endParaRPr>
          </a:p>
          <a:p>
            <a:pPr marL="466251" indent="-466251">
              <a:buFont typeface="+mj-lt"/>
              <a:buAutoNum type="arabicPeriod"/>
            </a:pPr>
            <a:r>
              <a:rPr lang="en-US" sz="2448">
                <a:gradFill>
                  <a:gsLst>
                    <a:gs pos="2917">
                      <a:srgbClr val="505050"/>
                    </a:gs>
                    <a:gs pos="30000">
                      <a:srgbClr val="505050"/>
                    </a:gs>
                  </a:gsLst>
                  <a:lin ang="5400000" scaled="0"/>
                </a:gradFill>
                <a:latin typeface="Segoe UI"/>
                <a:cs typeface="+mn-cs"/>
              </a:rPr>
              <a:t>Low-cardinality: </a:t>
            </a:r>
            <a:r>
              <a:rPr lang="en-US" sz="2448" b="1">
                <a:gradFill>
                  <a:gsLst>
                    <a:gs pos="2917">
                      <a:srgbClr val="505050"/>
                    </a:gs>
                    <a:gs pos="30000">
                      <a:srgbClr val="505050"/>
                    </a:gs>
                  </a:gsLst>
                  <a:lin ang="5400000" scaled="0"/>
                </a:gradFill>
                <a:latin typeface="Segoe UI"/>
                <a:cs typeface="+mn-cs"/>
              </a:rPr>
              <a:t>columns with relatively few unique values.</a:t>
            </a:r>
          </a:p>
          <a:p>
            <a:pPr lvl="2"/>
            <a:r>
              <a:rPr lang="en-US" sz="1800">
                <a:gradFill>
                  <a:gsLst>
                    <a:gs pos="2917">
                      <a:srgbClr val="505050"/>
                    </a:gs>
                    <a:gs pos="30000">
                      <a:srgbClr val="505050"/>
                    </a:gs>
                  </a:gsLst>
                  <a:lin ang="5400000" scaled="0"/>
                </a:gradFill>
                <a:latin typeface="Segoe UI"/>
              </a:rPr>
              <a:t>Date (365 Days a Year)</a:t>
            </a:r>
          </a:p>
          <a:p>
            <a:pPr lvl="2"/>
            <a:r>
              <a:rPr lang="en-US" sz="1800">
                <a:gradFill>
                  <a:gsLst>
                    <a:gs pos="2917">
                      <a:srgbClr val="505050"/>
                    </a:gs>
                    <a:gs pos="30000">
                      <a:srgbClr val="505050"/>
                    </a:gs>
                  </a:gsLst>
                  <a:lin ang="5400000" scaled="0"/>
                </a:gradFill>
                <a:latin typeface="Segoe UI"/>
              </a:rPr>
              <a:t>Time (86,400 Seconds)</a:t>
            </a:r>
          </a:p>
          <a:p>
            <a:pPr lvl="2"/>
            <a:r>
              <a:rPr lang="en-US" sz="1800">
                <a:gradFill>
                  <a:gsLst>
                    <a:gs pos="2917">
                      <a:srgbClr val="505050"/>
                    </a:gs>
                    <a:gs pos="30000">
                      <a:srgbClr val="505050"/>
                    </a:gs>
                  </a:gsLst>
                  <a:lin ang="5400000" scaled="0"/>
                </a:gradFill>
                <a:latin typeface="Segoe UI"/>
              </a:rPr>
              <a:t>True / False</a:t>
            </a:r>
          </a:p>
          <a:p>
            <a:pPr lvl="2"/>
            <a:r>
              <a:rPr lang="en-US" sz="1800">
                <a:gradFill>
                  <a:gsLst>
                    <a:gs pos="2917">
                      <a:srgbClr val="505050"/>
                    </a:gs>
                    <a:gs pos="30000">
                      <a:srgbClr val="505050"/>
                    </a:gs>
                  </a:gsLst>
                  <a:lin ang="5400000" scaled="0"/>
                </a:gradFill>
                <a:latin typeface="Segoe UI"/>
              </a:rPr>
              <a:t>Currency (4 Digits after Decimal)</a:t>
            </a:r>
          </a:p>
        </p:txBody>
      </p:sp>
      <p:cxnSp>
        <p:nvCxnSpPr>
          <p:cNvPr id="7" name="Straight Connector 6">
            <a:extLst>
              <a:ext uri="{FF2B5EF4-FFF2-40B4-BE49-F238E27FC236}">
                <a16:creationId xmlns:a16="http://schemas.microsoft.com/office/drawing/2014/main" id="{953FC734-FB31-41AE-81CA-D177FC0B7BA8}"/>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0B15093A-C0E9-45AA-B025-BA6275F04A5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Cardinality</a:t>
            </a:r>
          </a:p>
        </p:txBody>
      </p:sp>
    </p:spTree>
    <p:extLst>
      <p:ext uri="{BB962C8B-B14F-4D97-AF65-F5344CB8AC3E}">
        <p14:creationId xmlns:p14="http://schemas.microsoft.com/office/powerpoint/2010/main" val="64077827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B44ECF0-39C2-4F75-A562-B06921ED7203}"/>
              </a:ext>
            </a:extLst>
          </p:cNvPr>
          <p:cNvSpPr txBox="1"/>
          <p:nvPr/>
        </p:nvSpPr>
        <p:spPr>
          <a:xfrm>
            <a:off x="8534064" y="4124271"/>
            <a:ext cx="3020121" cy="374798"/>
          </a:xfrm>
          <a:prstGeom prst="rect">
            <a:avLst/>
          </a:prstGeom>
          <a:noFill/>
        </p:spPr>
        <p:txBody>
          <a:bodyPr wrap="none" rtlCol="0">
            <a:spAutoFit/>
          </a:bodyPr>
          <a:lstStyle/>
          <a:p>
            <a:r>
              <a:rPr lang="en-US" sz="1836"/>
              <a:t>Get data ◀▶ Processing </a:t>
            </a:r>
          </a:p>
        </p:txBody>
      </p:sp>
      <p:graphicFrame>
        <p:nvGraphicFramePr>
          <p:cNvPr id="6" name="Diagram 5">
            <a:extLst>
              <a:ext uri="{FF2B5EF4-FFF2-40B4-BE49-F238E27FC236}">
                <a16:creationId xmlns:a16="http://schemas.microsoft.com/office/drawing/2014/main" id="{5E2BB216-AABA-4887-96A3-E3938AD1A51F}"/>
              </a:ext>
            </a:extLst>
          </p:cNvPr>
          <p:cNvGraphicFramePr/>
          <p:nvPr/>
        </p:nvGraphicFramePr>
        <p:xfrm>
          <a:off x="855767" y="1631428"/>
          <a:ext cx="10724940" cy="73594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1" name="Rectangle 10">
            <a:extLst>
              <a:ext uri="{FF2B5EF4-FFF2-40B4-BE49-F238E27FC236}">
                <a16:creationId xmlns:a16="http://schemas.microsoft.com/office/drawing/2014/main" id="{E4DE004C-00CE-4F3C-82DE-428606706B78}"/>
              </a:ext>
            </a:extLst>
          </p:cNvPr>
          <p:cNvSpPr/>
          <p:nvPr/>
        </p:nvSpPr>
        <p:spPr>
          <a:xfrm>
            <a:off x="3157385" y="2492920"/>
            <a:ext cx="905701" cy="600811"/>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latin typeface="Segoe UI" panose="020B0502040204020203" pitchFamily="34" charset="0"/>
                <a:cs typeface="Segoe UI" panose="020B0502040204020203" pitchFamily="34" charset="0"/>
              </a:rPr>
              <a:t>Compressed</a:t>
            </a:r>
          </a:p>
          <a:p>
            <a:pPr algn="ctr"/>
            <a:r>
              <a:rPr lang="en-US" sz="1020">
                <a:latin typeface="Segoe UI" panose="020B0502040204020203" pitchFamily="34" charset="0"/>
                <a:cs typeface="Segoe UI" panose="020B0502040204020203" pitchFamily="34" charset="0"/>
              </a:rPr>
              <a:t>Segment</a:t>
            </a:r>
          </a:p>
        </p:txBody>
      </p:sp>
      <p:cxnSp>
        <p:nvCxnSpPr>
          <p:cNvPr id="13" name="Straight Connector 12">
            <a:extLst>
              <a:ext uri="{FF2B5EF4-FFF2-40B4-BE49-F238E27FC236}">
                <a16:creationId xmlns:a16="http://schemas.microsoft.com/office/drawing/2014/main" id="{A3CABC45-661D-476F-B926-10A8F546FB2F}"/>
              </a:ext>
            </a:extLst>
          </p:cNvPr>
          <p:cNvCxnSpPr>
            <a:cxnSpLocks/>
          </p:cNvCxnSpPr>
          <p:nvPr/>
        </p:nvCxnSpPr>
        <p:spPr>
          <a:xfrm>
            <a:off x="9873923" y="1452709"/>
            <a:ext cx="0" cy="2591561"/>
          </a:xfrm>
          <a:prstGeom prst="line">
            <a:avLst/>
          </a:prstGeom>
          <a:ln w="38100"/>
        </p:spPr>
        <p:style>
          <a:lnRef idx="1">
            <a:schemeClr val="dk1"/>
          </a:lnRef>
          <a:fillRef idx="0">
            <a:schemeClr val="dk1"/>
          </a:fillRef>
          <a:effectRef idx="0">
            <a:schemeClr val="dk1"/>
          </a:effectRef>
          <a:fontRef idx="minor">
            <a:schemeClr val="tx1"/>
          </a:fontRef>
        </p:style>
      </p:cxnSp>
      <p:sp>
        <p:nvSpPr>
          <p:cNvPr id="14" name="Rectangle 13">
            <a:extLst>
              <a:ext uri="{FF2B5EF4-FFF2-40B4-BE49-F238E27FC236}">
                <a16:creationId xmlns:a16="http://schemas.microsoft.com/office/drawing/2014/main" id="{274F51F9-B709-4F7F-A9FC-7936CE0C4A9E}"/>
              </a:ext>
            </a:extLst>
          </p:cNvPr>
          <p:cNvSpPr/>
          <p:nvPr/>
        </p:nvSpPr>
        <p:spPr>
          <a:xfrm>
            <a:off x="5429111" y="2492920"/>
            <a:ext cx="905701" cy="600811"/>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latin typeface="Segoe UI" panose="020B0502040204020203" pitchFamily="34" charset="0"/>
                <a:cs typeface="Segoe UI" panose="020B0502040204020203" pitchFamily="34" charset="0"/>
              </a:rPr>
              <a:t>Compressed</a:t>
            </a:r>
          </a:p>
          <a:p>
            <a:pPr algn="ctr"/>
            <a:r>
              <a:rPr lang="en-US" sz="1020">
                <a:latin typeface="Segoe UI" panose="020B0502040204020203" pitchFamily="34" charset="0"/>
                <a:cs typeface="Segoe UI" panose="020B0502040204020203" pitchFamily="34" charset="0"/>
              </a:rPr>
              <a:t>Segment</a:t>
            </a:r>
          </a:p>
        </p:txBody>
      </p:sp>
      <p:sp>
        <p:nvSpPr>
          <p:cNvPr id="16" name="Rectangle 15">
            <a:extLst>
              <a:ext uri="{FF2B5EF4-FFF2-40B4-BE49-F238E27FC236}">
                <a16:creationId xmlns:a16="http://schemas.microsoft.com/office/drawing/2014/main" id="{198AAED0-C065-4FFB-8C76-4C9FF7F38C70}"/>
              </a:ext>
            </a:extLst>
          </p:cNvPr>
          <p:cNvSpPr/>
          <p:nvPr/>
        </p:nvSpPr>
        <p:spPr>
          <a:xfrm>
            <a:off x="9972561" y="1631428"/>
            <a:ext cx="1608139" cy="2205965"/>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a:latin typeface="Segoe UI" panose="020B0502040204020203" pitchFamily="34" charset="0"/>
                <a:cs typeface="Segoe UI" panose="020B0502040204020203" pitchFamily="34" charset="0"/>
              </a:rPr>
              <a:t>Data Model</a:t>
            </a:r>
          </a:p>
          <a:p>
            <a:pPr algn="ctr"/>
            <a:r>
              <a:rPr lang="en-US" sz="1122">
                <a:latin typeface="Segoe UI" panose="020B0502040204020203" pitchFamily="34" charset="0"/>
                <a:cs typeface="Segoe UI" panose="020B0502040204020203" pitchFamily="34" charset="0"/>
              </a:rPr>
              <a:t>(Hierarchies,</a:t>
            </a:r>
          </a:p>
          <a:p>
            <a:pPr algn="ctr"/>
            <a:r>
              <a:rPr lang="en-US" sz="1122">
                <a:latin typeface="Segoe UI" panose="020B0502040204020203" pitchFamily="34" charset="0"/>
                <a:cs typeface="Segoe UI" panose="020B0502040204020203" pitchFamily="34" charset="0"/>
              </a:rPr>
              <a:t>Calculated Columns,</a:t>
            </a:r>
          </a:p>
          <a:p>
            <a:pPr algn="ctr"/>
            <a:r>
              <a:rPr lang="en-US" sz="1122">
                <a:latin typeface="Segoe UI" panose="020B0502040204020203" pitchFamily="34" charset="0"/>
                <a:cs typeface="Segoe UI" panose="020B0502040204020203" pitchFamily="34" charset="0"/>
              </a:rPr>
              <a:t>Relationships)</a:t>
            </a:r>
          </a:p>
        </p:txBody>
      </p:sp>
      <p:sp>
        <p:nvSpPr>
          <p:cNvPr id="17" name="Rectangle 16">
            <a:extLst>
              <a:ext uri="{FF2B5EF4-FFF2-40B4-BE49-F238E27FC236}">
                <a16:creationId xmlns:a16="http://schemas.microsoft.com/office/drawing/2014/main" id="{11158FA2-252F-45EC-9929-3FD38D771D7A}"/>
              </a:ext>
            </a:extLst>
          </p:cNvPr>
          <p:cNvSpPr/>
          <p:nvPr/>
        </p:nvSpPr>
        <p:spPr>
          <a:xfrm>
            <a:off x="9340372" y="1698997"/>
            <a:ext cx="484233" cy="6008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0" name="Rectangle 19">
            <a:extLst>
              <a:ext uri="{FF2B5EF4-FFF2-40B4-BE49-F238E27FC236}">
                <a16:creationId xmlns:a16="http://schemas.microsoft.com/office/drawing/2014/main" id="{1288A6CF-523D-4230-9107-1655031E0E90}"/>
              </a:ext>
            </a:extLst>
          </p:cNvPr>
          <p:cNvSpPr/>
          <p:nvPr/>
        </p:nvSpPr>
        <p:spPr>
          <a:xfrm>
            <a:off x="7493100" y="3236581"/>
            <a:ext cx="905701" cy="600811"/>
          </a:xfrm>
          <a:prstGeom prst="rect">
            <a:avLst/>
          </a:prstGeom>
          <a:solidFill>
            <a:srgbClr val="FFC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solidFill>
                  <a:schemeClr val="tx1"/>
                </a:solidFill>
                <a:latin typeface="Segoe UI" panose="020B0502040204020203" pitchFamily="34" charset="0"/>
                <a:cs typeface="Segoe UI" panose="020B0502040204020203" pitchFamily="34" charset="0"/>
              </a:rPr>
              <a:t>Compressed</a:t>
            </a:r>
          </a:p>
          <a:p>
            <a:pPr algn="ctr"/>
            <a:r>
              <a:rPr lang="en-US" sz="1020">
                <a:solidFill>
                  <a:schemeClr val="tx1"/>
                </a:solidFill>
                <a:latin typeface="Segoe UI" panose="020B0502040204020203" pitchFamily="34" charset="0"/>
                <a:cs typeface="Segoe UI" panose="020B0502040204020203" pitchFamily="34" charset="0"/>
              </a:rPr>
              <a:t>Segment</a:t>
            </a:r>
          </a:p>
        </p:txBody>
      </p:sp>
      <p:sp>
        <p:nvSpPr>
          <p:cNvPr id="21" name="Rectangle 20">
            <a:extLst>
              <a:ext uri="{FF2B5EF4-FFF2-40B4-BE49-F238E27FC236}">
                <a16:creationId xmlns:a16="http://schemas.microsoft.com/office/drawing/2014/main" id="{28C9F9B8-A48E-40ED-A2CE-36F02F3D5752}"/>
              </a:ext>
            </a:extLst>
          </p:cNvPr>
          <p:cNvSpPr/>
          <p:nvPr/>
        </p:nvSpPr>
        <p:spPr>
          <a:xfrm>
            <a:off x="6551530" y="3236581"/>
            <a:ext cx="905701" cy="600811"/>
          </a:xfrm>
          <a:prstGeom prst="rect">
            <a:avLst/>
          </a:prstGeom>
          <a:solidFill>
            <a:srgbClr val="FFC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solidFill>
                  <a:schemeClr val="tx1"/>
                </a:solidFill>
                <a:latin typeface="Segoe UI" panose="020B0502040204020203" pitchFamily="34" charset="0"/>
                <a:cs typeface="Segoe UI" panose="020B0502040204020203" pitchFamily="34" charset="0"/>
              </a:rPr>
              <a:t>Compressed</a:t>
            </a:r>
          </a:p>
          <a:p>
            <a:pPr algn="ctr"/>
            <a:r>
              <a:rPr lang="en-US" sz="1020">
                <a:solidFill>
                  <a:schemeClr val="tx1"/>
                </a:solidFill>
                <a:latin typeface="Segoe UI" panose="020B0502040204020203" pitchFamily="34" charset="0"/>
                <a:cs typeface="Segoe UI" panose="020B0502040204020203" pitchFamily="34" charset="0"/>
              </a:rPr>
              <a:t>Segment</a:t>
            </a:r>
          </a:p>
        </p:txBody>
      </p:sp>
      <p:sp>
        <p:nvSpPr>
          <p:cNvPr id="22" name="Rectangle 21">
            <a:extLst>
              <a:ext uri="{FF2B5EF4-FFF2-40B4-BE49-F238E27FC236}">
                <a16:creationId xmlns:a16="http://schemas.microsoft.com/office/drawing/2014/main" id="{36D608D4-5B76-475E-98F9-4440F059A011}"/>
              </a:ext>
            </a:extLst>
          </p:cNvPr>
          <p:cNvSpPr/>
          <p:nvPr/>
        </p:nvSpPr>
        <p:spPr>
          <a:xfrm>
            <a:off x="8434671" y="3236581"/>
            <a:ext cx="905701" cy="600811"/>
          </a:xfrm>
          <a:prstGeom prst="rect">
            <a:avLst/>
          </a:prstGeom>
          <a:solidFill>
            <a:srgbClr val="FFC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solidFill>
                  <a:schemeClr val="tx1"/>
                </a:solidFill>
                <a:latin typeface="Segoe UI" panose="020B0502040204020203" pitchFamily="34" charset="0"/>
                <a:cs typeface="Segoe UI" panose="020B0502040204020203" pitchFamily="34" charset="0"/>
              </a:rPr>
              <a:t>Compressed</a:t>
            </a:r>
          </a:p>
          <a:p>
            <a:pPr algn="ctr"/>
            <a:r>
              <a:rPr lang="en-US" sz="1020">
                <a:solidFill>
                  <a:schemeClr val="tx1"/>
                </a:solidFill>
                <a:latin typeface="Segoe UI" panose="020B0502040204020203" pitchFamily="34" charset="0"/>
                <a:cs typeface="Segoe UI" panose="020B0502040204020203" pitchFamily="34" charset="0"/>
              </a:rPr>
              <a:t>Segment</a:t>
            </a:r>
          </a:p>
        </p:txBody>
      </p:sp>
      <p:sp>
        <p:nvSpPr>
          <p:cNvPr id="27" name="Arrow: Right 26">
            <a:extLst>
              <a:ext uri="{FF2B5EF4-FFF2-40B4-BE49-F238E27FC236}">
                <a16:creationId xmlns:a16="http://schemas.microsoft.com/office/drawing/2014/main" id="{04E83303-F642-4226-96D8-7D15EE7B3440}"/>
              </a:ext>
            </a:extLst>
          </p:cNvPr>
          <p:cNvSpPr/>
          <p:nvPr/>
        </p:nvSpPr>
        <p:spPr>
          <a:xfrm>
            <a:off x="9376241" y="3373175"/>
            <a:ext cx="832448" cy="327622"/>
          </a:xfrm>
          <a:prstGeom prst="rightArrow">
            <a:avLst/>
          </a:prstGeom>
          <a:solidFill>
            <a:srgbClr val="FFC000"/>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836"/>
          </a:p>
        </p:txBody>
      </p:sp>
      <p:sp>
        <p:nvSpPr>
          <p:cNvPr id="28" name="Rectangle 27">
            <a:extLst>
              <a:ext uri="{FF2B5EF4-FFF2-40B4-BE49-F238E27FC236}">
                <a16:creationId xmlns:a16="http://schemas.microsoft.com/office/drawing/2014/main" id="{DABCF569-03BA-4F6A-BF90-D6BD9FF35D91}"/>
              </a:ext>
            </a:extLst>
          </p:cNvPr>
          <p:cNvSpPr/>
          <p:nvPr/>
        </p:nvSpPr>
        <p:spPr>
          <a:xfrm>
            <a:off x="7700836" y="2492920"/>
            <a:ext cx="905701" cy="600811"/>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latin typeface="Segoe UI" panose="020B0502040204020203" pitchFamily="34" charset="0"/>
                <a:cs typeface="Segoe UI" panose="020B0502040204020203" pitchFamily="34" charset="0"/>
              </a:rPr>
              <a:t>…</a:t>
            </a:r>
          </a:p>
        </p:txBody>
      </p:sp>
      <p:sp>
        <p:nvSpPr>
          <p:cNvPr id="29" name="TextBox 28">
            <a:extLst>
              <a:ext uri="{FF2B5EF4-FFF2-40B4-BE49-F238E27FC236}">
                <a16:creationId xmlns:a16="http://schemas.microsoft.com/office/drawing/2014/main" id="{3A1F6330-0962-4220-B2C9-255E8685ED55}"/>
              </a:ext>
            </a:extLst>
          </p:cNvPr>
          <p:cNvSpPr txBox="1"/>
          <p:nvPr/>
        </p:nvSpPr>
        <p:spPr>
          <a:xfrm>
            <a:off x="270141" y="1811060"/>
            <a:ext cx="636309" cy="382308"/>
          </a:xfrm>
          <a:prstGeom prst="rect">
            <a:avLst/>
          </a:prstGeom>
          <a:noFill/>
        </p:spPr>
        <p:txBody>
          <a:bodyPr wrap="none" rtlCol="0">
            <a:spAutoFit/>
          </a:bodyPr>
          <a:lstStyle/>
          <a:p>
            <a:r>
              <a:rPr lang="en-US" sz="1836">
                <a:latin typeface="Segoe UI" panose="020B0502040204020203" pitchFamily="34" charset="0"/>
                <a:cs typeface="Segoe UI" panose="020B0502040204020203" pitchFamily="34" charset="0"/>
              </a:rPr>
              <a:t>CPU</a:t>
            </a:r>
          </a:p>
        </p:txBody>
      </p:sp>
      <p:sp>
        <p:nvSpPr>
          <p:cNvPr id="30" name="TextBox 29">
            <a:extLst>
              <a:ext uri="{FF2B5EF4-FFF2-40B4-BE49-F238E27FC236}">
                <a16:creationId xmlns:a16="http://schemas.microsoft.com/office/drawing/2014/main" id="{A2E05464-53E9-4C84-89FF-740AC503D437}"/>
              </a:ext>
            </a:extLst>
          </p:cNvPr>
          <p:cNvSpPr txBox="1"/>
          <p:nvPr/>
        </p:nvSpPr>
        <p:spPr>
          <a:xfrm>
            <a:off x="2026972" y="2617778"/>
            <a:ext cx="1194141" cy="382308"/>
          </a:xfrm>
          <a:prstGeom prst="rect">
            <a:avLst/>
          </a:prstGeom>
          <a:noFill/>
        </p:spPr>
        <p:txBody>
          <a:bodyPr wrap="none" rtlCol="0">
            <a:spAutoFit/>
          </a:bodyPr>
          <a:lstStyle/>
          <a:p>
            <a:r>
              <a:rPr lang="en-US" sz="1836">
                <a:latin typeface="Segoe UI" panose="020B0502040204020203" pitchFamily="34" charset="0"/>
                <a:cs typeface="Segoe UI" panose="020B0502040204020203" pitchFamily="34" charset="0"/>
              </a:rPr>
              <a:t>MEMORY</a:t>
            </a:r>
          </a:p>
        </p:txBody>
      </p:sp>
      <p:sp>
        <p:nvSpPr>
          <p:cNvPr id="31" name="TextBox 30">
            <a:extLst>
              <a:ext uri="{FF2B5EF4-FFF2-40B4-BE49-F238E27FC236}">
                <a16:creationId xmlns:a16="http://schemas.microsoft.com/office/drawing/2014/main" id="{25599D24-74EB-441F-89E4-6EFB9428C8BC}"/>
              </a:ext>
            </a:extLst>
          </p:cNvPr>
          <p:cNvSpPr txBox="1"/>
          <p:nvPr/>
        </p:nvSpPr>
        <p:spPr>
          <a:xfrm>
            <a:off x="5889658" y="3377344"/>
            <a:ext cx="636309" cy="382308"/>
          </a:xfrm>
          <a:prstGeom prst="rect">
            <a:avLst/>
          </a:prstGeom>
          <a:noFill/>
        </p:spPr>
        <p:txBody>
          <a:bodyPr wrap="none" rtlCol="0">
            <a:spAutoFit/>
          </a:bodyPr>
          <a:lstStyle/>
          <a:p>
            <a:r>
              <a:rPr lang="en-US" sz="1836">
                <a:latin typeface="Segoe UI" panose="020B0502040204020203" pitchFamily="34" charset="0"/>
                <a:cs typeface="Segoe UI" panose="020B0502040204020203" pitchFamily="34" charset="0"/>
              </a:rPr>
              <a:t>CPU</a:t>
            </a:r>
          </a:p>
        </p:txBody>
      </p:sp>
      <p:cxnSp>
        <p:nvCxnSpPr>
          <p:cNvPr id="33" name="Straight Connector 32">
            <a:extLst>
              <a:ext uri="{FF2B5EF4-FFF2-40B4-BE49-F238E27FC236}">
                <a16:creationId xmlns:a16="http://schemas.microsoft.com/office/drawing/2014/main" id="{BBC6091F-F2A5-4C25-A249-4ADA256F5FE3}"/>
              </a:ext>
            </a:extLst>
          </p:cNvPr>
          <p:cNvCxnSpPr>
            <a:cxnSpLocks/>
          </p:cNvCxnSpPr>
          <p:nvPr/>
        </p:nvCxnSpPr>
        <p:spPr>
          <a:xfrm>
            <a:off x="855768" y="3173812"/>
            <a:ext cx="8883645" cy="0"/>
          </a:xfrm>
          <a:prstGeom prst="line">
            <a:avLst/>
          </a:prstGeom>
        </p:spPr>
        <p:style>
          <a:lnRef idx="1">
            <a:schemeClr val="dk1"/>
          </a:lnRef>
          <a:fillRef idx="0">
            <a:schemeClr val="dk1"/>
          </a:fillRef>
          <a:effectRef idx="0">
            <a:schemeClr val="dk1"/>
          </a:effectRef>
          <a:fontRef idx="minor">
            <a:schemeClr val="tx1"/>
          </a:fontRef>
        </p:style>
      </p:cxnSp>
      <p:pic>
        <p:nvPicPr>
          <p:cNvPr id="8" name="Picture 7" descr="A picture containing drawing, light&#10;&#10;Description automatically generated">
            <a:extLst>
              <a:ext uri="{FF2B5EF4-FFF2-40B4-BE49-F238E27FC236}">
                <a16:creationId xmlns:a16="http://schemas.microsoft.com/office/drawing/2014/main" id="{85F4BFF3-1B69-4F76-A37B-8F13473AA90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109577" y="1606180"/>
            <a:ext cx="495790" cy="495790"/>
          </a:xfrm>
          <a:prstGeom prst="rect">
            <a:avLst/>
          </a:prstGeom>
        </p:spPr>
      </p:pic>
      <p:cxnSp>
        <p:nvCxnSpPr>
          <p:cNvPr id="25" name="Straight Connector 24">
            <a:extLst>
              <a:ext uri="{FF2B5EF4-FFF2-40B4-BE49-F238E27FC236}">
                <a16:creationId xmlns:a16="http://schemas.microsoft.com/office/drawing/2014/main" id="{1BFB196B-E0D6-457F-B501-BDB1D4F7F872}"/>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6" name="Title 1">
            <a:extLst>
              <a:ext uri="{FF2B5EF4-FFF2-40B4-BE49-F238E27FC236}">
                <a16:creationId xmlns:a16="http://schemas.microsoft.com/office/drawing/2014/main" id="{E429F37C-581F-48A0-843A-3DF36132C6A0}"/>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Processing</a:t>
            </a:r>
            <a:endParaRPr lang="en-US" sz="4080" spc="0">
              <a:solidFill>
                <a:srgbClr val="FFC000"/>
              </a:solidFill>
            </a:endParaRPr>
          </a:p>
        </p:txBody>
      </p:sp>
    </p:spTree>
    <p:extLst>
      <p:ext uri="{BB962C8B-B14F-4D97-AF65-F5344CB8AC3E}">
        <p14:creationId xmlns:p14="http://schemas.microsoft.com/office/powerpoint/2010/main" val="2270547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fill="hold" nodeType="withEffect">
                                  <p:stCondLst>
                                    <p:cond delay="0"/>
                                  </p:stCondLst>
                                  <p:childTnLst>
                                    <p:animRot by="21600000">
                                      <p:cBhvr>
                                        <p:cTn id="6" dur="30000" fill="hold"/>
                                        <p:tgtEl>
                                          <p:spTgt spid="8"/>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018F955-A657-41BA-ACD4-9BF462F38431}"/>
              </a:ext>
            </a:extLst>
          </p:cNvPr>
          <p:cNvSpPr>
            <a:spLocks noGrp="1"/>
          </p:cNvSpPr>
          <p:nvPr>
            <p:ph type="body" sz="quarter" idx="10"/>
          </p:nvPr>
        </p:nvSpPr>
        <p:spPr>
          <a:xfrm>
            <a:off x="599302" y="1562030"/>
            <a:ext cx="11237870" cy="4746492"/>
          </a:xfrm>
        </p:spPr>
        <p:txBody>
          <a:bodyPr vert="horz" wrap="square" lIns="0" tIns="0" rIns="0" bIns="0" rtlCol="0" anchor="t">
            <a:spAutoFit/>
          </a:bodyPr>
          <a:lstStyle/>
          <a:p>
            <a:pPr marL="0" indent="0">
              <a:buNone/>
            </a:pPr>
            <a:r>
              <a:rPr lang="en-US" sz="2850">
                <a:cs typeface="Segoe UI"/>
              </a:rPr>
              <a:t>Considerations</a:t>
            </a:r>
          </a:p>
          <a:p>
            <a:pPr marL="466043" lvl="1" indent="-233022"/>
            <a:r>
              <a:rPr lang="en-US" sz="2000"/>
              <a:t>How much source data, </a:t>
            </a:r>
            <a:r>
              <a:rPr lang="en-US" sz="2000" b="1">
                <a:gradFill>
                  <a:gsLst>
                    <a:gs pos="2917">
                      <a:srgbClr val="505050"/>
                    </a:gs>
                    <a:gs pos="30000">
                      <a:srgbClr val="505050"/>
                    </a:gs>
                  </a:gsLst>
                  <a:lin ang="5400000" scaled="0"/>
                </a:gradFill>
                <a:latin typeface="Segoe UI"/>
              </a:rPr>
              <a:t>necessary columns</a:t>
            </a:r>
            <a:r>
              <a:rPr lang="en-US" sz="2000"/>
              <a:t>, </a:t>
            </a:r>
            <a:r>
              <a:rPr lang="en-US" sz="2000" b="1">
                <a:gradFill>
                  <a:gsLst>
                    <a:gs pos="2917">
                      <a:srgbClr val="505050"/>
                    </a:gs>
                    <a:gs pos="30000">
                      <a:srgbClr val="505050"/>
                    </a:gs>
                  </a:gsLst>
                  <a:lin ang="5400000" scaled="0"/>
                </a:gradFill>
                <a:latin typeface="Segoe UI"/>
              </a:rPr>
              <a:t>necessary rows</a:t>
            </a:r>
            <a:r>
              <a:rPr lang="en-US" sz="2000"/>
              <a:t>, </a:t>
            </a:r>
            <a:r>
              <a:rPr lang="en-US" sz="2000" b="1">
                <a:gradFill>
                  <a:gsLst>
                    <a:gs pos="2917">
                      <a:srgbClr val="505050"/>
                    </a:gs>
                    <a:gs pos="30000">
                      <a:srgbClr val="505050"/>
                    </a:gs>
                  </a:gsLst>
                  <a:lin ang="5400000" scaled="0"/>
                </a:gradFill>
                <a:latin typeface="Segoe UI"/>
              </a:rPr>
              <a:t>overall column cardinality</a:t>
            </a:r>
            <a:r>
              <a:rPr lang="en-US" sz="2000"/>
              <a:t>? (Rule of thumb is 5x-10x compression rate)</a:t>
            </a:r>
            <a:endParaRPr lang="en-US" sz="2000">
              <a:cs typeface="Segoe UI"/>
            </a:endParaRPr>
          </a:p>
          <a:p>
            <a:pPr marL="466043" lvl="1" indent="-233022"/>
            <a:r>
              <a:rPr lang="en-US" sz="2000"/>
              <a:t>Overall </a:t>
            </a:r>
            <a:r>
              <a:rPr lang="en-US" sz="2000" b="1">
                <a:gradFill>
                  <a:gsLst>
                    <a:gs pos="2917">
                      <a:srgbClr val="505050"/>
                    </a:gs>
                    <a:gs pos="30000">
                      <a:srgbClr val="505050"/>
                    </a:gs>
                  </a:gsLst>
                  <a:lin ang="5400000" scaled="0"/>
                </a:gradFill>
                <a:latin typeface="Segoe UI"/>
              </a:rPr>
              <a:t>data freshness</a:t>
            </a:r>
            <a:r>
              <a:rPr lang="en-US" sz="2000" b="1"/>
              <a:t> </a:t>
            </a:r>
            <a:r>
              <a:rPr lang="en-US" sz="2000"/>
              <a:t>in combination with the source system? (Refresh requirements)</a:t>
            </a:r>
            <a:endParaRPr lang="en-US" sz="2000">
              <a:cs typeface="Segoe UI"/>
            </a:endParaRPr>
          </a:p>
          <a:p>
            <a:pPr marL="466043" lvl="1" indent="-233022"/>
            <a:r>
              <a:rPr lang="en-US" sz="2000"/>
              <a:t>For </a:t>
            </a:r>
            <a:r>
              <a:rPr lang="en-US" sz="2000" b="1">
                <a:gradFill>
                  <a:gsLst>
                    <a:gs pos="2917">
                      <a:srgbClr val="505050"/>
                    </a:gs>
                    <a:gs pos="30000">
                      <a:srgbClr val="505050"/>
                    </a:gs>
                  </a:gsLst>
                  <a:lin ang="5400000" scaled="0"/>
                </a:gradFill>
                <a:latin typeface="Segoe UI"/>
              </a:rPr>
              <a:t>big data</a:t>
            </a:r>
            <a:r>
              <a:rPr lang="en-US" sz="2000" b="1"/>
              <a:t> </a:t>
            </a:r>
            <a:r>
              <a:rPr lang="en-US" sz="2000"/>
              <a:t>will a mixed mode architecture suffice? (Composite models or Aggregations)</a:t>
            </a:r>
            <a:endParaRPr lang="en-US" sz="2000">
              <a:cs typeface="Segoe UI"/>
            </a:endParaRPr>
          </a:p>
          <a:p>
            <a:pPr marL="466043" lvl="1" indent="-233022"/>
            <a:r>
              <a:rPr lang="en-US" sz="2000" b="1">
                <a:gradFill>
                  <a:gsLst>
                    <a:gs pos="2917">
                      <a:srgbClr val="505050"/>
                    </a:gs>
                    <a:gs pos="30000">
                      <a:srgbClr val="505050"/>
                    </a:gs>
                  </a:gsLst>
                  <a:lin ang="5400000" scaled="0"/>
                </a:gradFill>
                <a:latin typeface="Segoe UI"/>
              </a:rPr>
              <a:t>DirectQuery</a:t>
            </a:r>
            <a:r>
              <a:rPr lang="en-US" sz="2000"/>
              <a:t> development limitations? (Functions and/or features)</a:t>
            </a:r>
            <a:endParaRPr lang="en-US" sz="2000">
              <a:cs typeface="Segoe UI"/>
            </a:endParaRPr>
          </a:p>
          <a:p>
            <a:pPr marL="233022" lvl="1" indent="0">
              <a:buNone/>
            </a:pPr>
            <a:endParaRPr lang="en-US" sz="2040">
              <a:cs typeface="Segoe UI"/>
            </a:endParaRPr>
          </a:p>
          <a:p>
            <a:pPr marL="0" lvl="1" indent="0">
              <a:buNone/>
            </a:pPr>
            <a:r>
              <a:rPr lang="en-US" sz="2850">
                <a:cs typeface="Segoe UI"/>
              </a:rPr>
              <a:t>Premium Considerations</a:t>
            </a:r>
          </a:p>
          <a:p>
            <a:pPr marL="466043" lvl="1" indent="-233022"/>
            <a:r>
              <a:rPr lang="en-US" sz="2000"/>
              <a:t>Will my dataset </a:t>
            </a:r>
            <a:r>
              <a:rPr lang="en-US" sz="2000" b="1">
                <a:gradFill>
                  <a:gsLst>
                    <a:gs pos="2917">
                      <a:srgbClr val="505050"/>
                    </a:gs>
                    <a:gs pos="30000">
                      <a:srgbClr val="505050"/>
                    </a:gs>
                  </a:gsLst>
                  <a:lin ang="5400000" scaled="0"/>
                </a:gradFill>
                <a:latin typeface="Segoe UI"/>
              </a:rPr>
              <a:t>exceed</a:t>
            </a:r>
            <a:r>
              <a:rPr lang="en-US" sz="2000"/>
              <a:t> 1GB of compressed memory? (Premium, Large datasets)</a:t>
            </a:r>
            <a:endParaRPr lang="en-US" sz="2000">
              <a:cs typeface="Segoe UI"/>
            </a:endParaRPr>
          </a:p>
          <a:p>
            <a:pPr marL="466043" lvl="1" indent="-233022"/>
            <a:r>
              <a:rPr lang="en-US" sz="2000" b="1">
                <a:gradFill>
                  <a:gsLst>
                    <a:gs pos="2917">
                      <a:srgbClr val="505050"/>
                    </a:gs>
                    <a:gs pos="30000">
                      <a:srgbClr val="505050"/>
                    </a:gs>
                  </a:gsLst>
                  <a:lin ang="5400000" scaled="0"/>
                </a:gradFill>
                <a:latin typeface="Segoe UI"/>
              </a:rPr>
              <a:t>Near real-time</a:t>
            </a:r>
            <a:r>
              <a:rPr lang="en-US" sz="2000"/>
              <a:t> requirement? (Automatic page refresh, increased refresh rates)</a:t>
            </a:r>
            <a:endParaRPr lang="en-US" sz="2000">
              <a:cs typeface="Segoe UI"/>
            </a:endParaRPr>
          </a:p>
          <a:p>
            <a:pPr marL="466043" lvl="1" indent="-233022"/>
            <a:r>
              <a:rPr lang="en-US" sz="2000"/>
              <a:t>Are there </a:t>
            </a:r>
            <a:r>
              <a:rPr lang="en-US" sz="2000" b="1">
                <a:gradFill>
                  <a:gsLst>
                    <a:gs pos="2917">
                      <a:srgbClr val="505050"/>
                    </a:gs>
                    <a:gs pos="30000">
                      <a:srgbClr val="505050"/>
                    </a:gs>
                  </a:gsLst>
                  <a:lin ang="5400000" scaled="0"/>
                </a:gradFill>
                <a:latin typeface="Segoe UI"/>
              </a:rPr>
              <a:t>regulatory</a:t>
            </a:r>
            <a:r>
              <a:rPr lang="en-US" sz="2000"/>
              <a:t> and/or </a:t>
            </a:r>
            <a:r>
              <a:rPr lang="en-US" sz="2000" b="1">
                <a:gradFill>
                  <a:gsLst>
                    <a:gs pos="2917">
                      <a:srgbClr val="505050"/>
                    </a:gs>
                    <a:gs pos="30000">
                      <a:srgbClr val="505050"/>
                    </a:gs>
                  </a:gsLst>
                  <a:lin ang="5400000" scaled="0"/>
                </a:gradFill>
                <a:latin typeface="Segoe UI"/>
              </a:rPr>
              <a:t>data sovereignty</a:t>
            </a:r>
            <a:r>
              <a:rPr lang="en-US" sz="2000"/>
              <a:t> requirements? (Multi geo)</a:t>
            </a:r>
            <a:endParaRPr lang="en-US" sz="2000">
              <a:cs typeface="Segoe UI"/>
            </a:endParaRPr>
          </a:p>
          <a:p>
            <a:pPr marL="466043" lvl="1" indent="-233022"/>
            <a:endParaRPr lang="en-US" sz="2040">
              <a:cs typeface="Segoe UI"/>
            </a:endParaRPr>
          </a:p>
        </p:txBody>
      </p:sp>
      <p:cxnSp>
        <p:nvCxnSpPr>
          <p:cNvPr id="5" name="Straight Connector 4">
            <a:extLst>
              <a:ext uri="{FF2B5EF4-FFF2-40B4-BE49-F238E27FC236}">
                <a16:creationId xmlns:a16="http://schemas.microsoft.com/office/drawing/2014/main" id="{4B0A5943-2108-430C-8542-CA375526DF9B}"/>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Title 1">
            <a:extLst>
              <a:ext uri="{FF2B5EF4-FFF2-40B4-BE49-F238E27FC236}">
                <a16:creationId xmlns:a16="http://schemas.microsoft.com/office/drawing/2014/main" id="{F5DFE4EA-E91F-4445-ACE9-8791A6332F18}"/>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Efficient Resource Usage</a:t>
            </a:r>
          </a:p>
        </p:txBody>
      </p:sp>
    </p:spTree>
    <p:extLst>
      <p:ext uri="{BB962C8B-B14F-4D97-AF65-F5344CB8AC3E}">
        <p14:creationId xmlns:p14="http://schemas.microsoft.com/office/powerpoint/2010/main" val="368905041"/>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2159753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6109" y="2404960"/>
            <a:ext cx="11237870" cy="2215991"/>
          </a:xfrm>
        </p:spPr>
        <p:txBody>
          <a:bodyPr/>
          <a:lstStyle/>
          <a:p>
            <a:r>
              <a:rPr lang="en-US" sz="3600">
                <a:ea typeface="Times New Roman" panose="02020603050405020304" pitchFamily="18" charset="0"/>
                <a:cs typeface="Segoe UI"/>
              </a:rPr>
              <a:t>Usability considerations:</a:t>
            </a:r>
            <a:br>
              <a:rPr lang="en-US" sz="3600">
                <a:ea typeface="Times New Roman" panose="02020603050405020304" pitchFamily="18" charset="0"/>
                <a:cs typeface="Segoe UI"/>
              </a:rPr>
            </a:br>
            <a:r>
              <a:rPr lang="en-US" sz="3600">
                <a:latin typeface="+mn-lt"/>
                <a:cs typeface="Segoe UI"/>
              </a:rPr>
              <a:t>Date tables</a:t>
            </a:r>
            <a:br>
              <a:rPr lang="en-US" sz="3600">
                <a:latin typeface="+mn-lt"/>
                <a:cs typeface="Segoe UI"/>
              </a:rPr>
            </a:br>
            <a:r>
              <a:rPr lang="en-US" sz="3600">
                <a:latin typeface="+mn-lt"/>
                <a:ea typeface="Times New Roman" panose="02020603050405020304" pitchFamily="18" charset="0"/>
                <a:cs typeface="Segoe UI"/>
              </a:rPr>
              <a:t>Extreme dates</a:t>
            </a:r>
            <a:br>
              <a:rPr lang="en-US" sz="3600">
                <a:latin typeface="+mn-lt"/>
                <a:ea typeface="Times New Roman" panose="02020603050405020304" pitchFamily="18" charset="0"/>
                <a:cs typeface="Segoe UI"/>
              </a:rPr>
            </a:br>
            <a:r>
              <a:rPr lang="en-US" sz="3600">
                <a:latin typeface="+mn-lt"/>
                <a:ea typeface="Times New Roman" panose="02020603050405020304" pitchFamily="18" charset="0"/>
                <a:cs typeface="Segoe UI"/>
              </a:rPr>
              <a:t>Measuring cardinality</a:t>
            </a:r>
            <a:endParaRPr lang="en-US" sz="3600">
              <a:cs typeface="Segoe UI"/>
            </a:endParaRPr>
          </a:p>
        </p:txBody>
      </p:sp>
    </p:spTree>
    <p:extLst>
      <p:ext uri="{BB962C8B-B14F-4D97-AF65-F5344CB8AC3E}">
        <p14:creationId xmlns:p14="http://schemas.microsoft.com/office/powerpoint/2010/main" val="828245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extLst>
              <p:ext uri="{D42A27DB-BD31-4B8C-83A1-F6EECF244321}">
                <p14:modId xmlns:p14="http://schemas.microsoft.com/office/powerpoint/2010/main" val="2437455905"/>
              </p:ext>
            </p:extLst>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err="1"/>
                        <a:t>OrderDate</a:t>
                      </a:r>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ShipDate</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ReceivedDate</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CreatedDate</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r>
                        <a:rPr lang="en-US" sz="1900"/>
                        <a:t>ModifiedDate</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extLst>
              <p:ext uri="{D42A27DB-BD31-4B8C-83A1-F6EECF244321}">
                <p14:modId xmlns:p14="http://schemas.microsoft.com/office/powerpoint/2010/main" val="1380550427"/>
              </p:ext>
            </p:extLst>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LocalDateTable_fe934</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Auto Date Time</a:t>
            </a:r>
            <a:endParaRPr lang="en-US" sz="4080" spc="0">
              <a:solidFill>
                <a:srgbClr val="FFC000"/>
              </a:solidFill>
            </a:endParaRP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extLst>
              <p:ext uri="{D42A27DB-BD31-4B8C-83A1-F6EECF244321}">
                <p14:modId xmlns:p14="http://schemas.microsoft.com/office/powerpoint/2010/main" val="1367558548"/>
              </p:ext>
            </p:extLst>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lang="en-US" sz="1000"/>
                        <a:t>LocalDateTable_655bb</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extLst>
              <p:ext uri="{D42A27DB-BD31-4B8C-83A1-F6EECF244321}">
                <p14:modId xmlns:p14="http://schemas.microsoft.com/office/powerpoint/2010/main" val="3944267496"/>
              </p:ext>
            </p:extLst>
          </p:nvPr>
        </p:nvGraphicFramePr>
        <p:xfrm>
          <a:off x="5507695" y="5274988"/>
          <a:ext cx="1550004" cy="132709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56071">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lang="en-US" sz="1000"/>
                        <a:t>LocalDateTable_9f303</a:t>
                      </a:r>
                    </a:p>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extLst>
              <p:ext uri="{D42A27DB-BD31-4B8C-83A1-F6EECF244321}">
                <p14:modId xmlns:p14="http://schemas.microsoft.com/office/powerpoint/2010/main" val="1875978134"/>
              </p:ext>
            </p:extLst>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lang="en-US" sz="1000"/>
                        <a:t>LocalDateTable_c432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14" name="Table 13">
            <a:extLst>
              <a:ext uri="{FF2B5EF4-FFF2-40B4-BE49-F238E27FC236}">
                <a16:creationId xmlns:a16="http://schemas.microsoft.com/office/drawing/2014/main" id="{80D24E41-6274-4E10-9874-557FA4AC1449}"/>
              </a:ext>
            </a:extLst>
          </p:cNvPr>
          <p:cNvGraphicFramePr>
            <a:graphicFrameLocks noGrp="1"/>
          </p:cNvGraphicFramePr>
          <p:nvPr>
            <p:extLst>
              <p:ext uri="{D42A27DB-BD31-4B8C-83A1-F6EECF244321}">
                <p14:modId xmlns:p14="http://schemas.microsoft.com/office/powerpoint/2010/main" val="3065266138"/>
              </p:ext>
            </p:extLst>
          </p:nvPr>
        </p:nvGraphicFramePr>
        <p:xfrm>
          <a:off x="8054256" y="1378237"/>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LocalDateTable_7bf72</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50" name="Straight Arrow Connector 49">
            <a:extLst>
              <a:ext uri="{FF2B5EF4-FFF2-40B4-BE49-F238E27FC236}">
                <a16:creationId xmlns:a16="http://schemas.microsoft.com/office/drawing/2014/main" id="{5CDFAB84-1541-4EE9-BF04-213E61BC4EF7}"/>
              </a:ext>
            </a:extLst>
          </p:cNvPr>
          <p:cNvCxnSpPr>
            <a:endCxn id="5" idx="0"/>
          </p:cNvCxnSpPr>
          <p:nvPr/>
        </p:nvCxnSpPr>
        <p:spPr>
          <a:xfrm flipH="1">
            <a:off x="8829177" y="2673041"/>
            <a:ext cx="180" cy="36135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7"/>
            <a:ext cx="3586393" cy="4678311"/>
          </a:xfrm>
        </p:spPr>
        <p:txBody>
          <a:bodyPr vert="horz" wrap="square" lIns="91428" tIns="45714" rIns="91428" bIns="45714" rtlCol="0" anchor="t">
            <a:normAutofit lnSpcReduction="10000"/>
          </a:bodyPr>
          <a:lstStyle/>
          <a:p>
            <a:pPr marL="466043" indent="-466043">
              <a:buFont typeface="+mj-lt"/>
              <a:buAutoNum type="arabicPeriod"/>
            </a:pPr>
            <a:r>
              <a:rPr lang="en-US" sz="2400" b="1">
                <a:gradFill>
                  <a:gsLst>
                    <a:gs pos="2917">
                      <a:srgbClr val="505050"/>
                    </a:gs>
                    <a:gs pos="30000">
                      <a:srgbClr val="505050"/>
                    </a:gs>
                  </a:gsLst>
                  <a:lin ang="5400000" scaled="0"/>
                </a:gradFill>
                <a:latin typeface="Segoe UI"/>
              </a:rPr>
              <a:t>Advantages</a:t>
            </a:r>
            <a:endParaRPr lang="en-US" sz="2400"/>
          </a:p>
          <a:p>
            <a:pPr marL="699065" lvl="1" indent="-233022"/>
            <a:r>
              <a:rPr lang="en-US" sz="1800">
                <a:gradFill>
                  <a:gsLst>
                    <a:gs pos="2917">
                      <a:srgbClr val="505050"/>
                    </a:gs>
                    <a:gs pos="30000">
                      <a:srgbClr val="505050"/>
                    </a:gs>
                  </a:gsLst>
                  <a:lin ang="5400000" scaled="0"/>
                </a:gradFill>
                <a:latin typeface="Segoe UI"/>
                <a:cs typeface="Segoe UI"/>
              </a:rPr>
              <a:t>Automatic hierarchy</a:t>
            </a:r>
          </a:p>
          <a:p>
            <a:pPr marL="699065" lvl="1" indent="-233022"/>
            <a:r>
              <a:rPr lang="en-US" sz="1800">
                <a:gradFill>
                  <a:gsLst>
                    <a:gs pos="2917">
                      <a:srgbClr val="505050"/>
                    </a:gs>
                    <a:gs pos="30000">
                      <a:srgbClr val="505050"/>
                    </a:gs>
                  </a:gsLst>
                  <a:lin ang="5400000" scaled="0"/>
                </a:gradFill>
                <a:latin typeface="Segoe UI"/>
                <a:cs typeface="Segoe UI"/>
              </a:rPr>
              <a:t>Drag and drop</a:t>
            </a:r>
          </a:p>
          <a:p>
            <a:pPr marL="699065" lvl="1" indent="-233022"/>
            <a:r>
              <a:rPr lang="en-US" sz="1800">
                <a:gradFill>
                  <a:gsLst>
                    <a:gs pos="2917">
                      <a:srgbClr val="505050"/>
                    </a:gs>
                    <a:gs pos="30000">
                      <a:srgbClr val="505050"/>
                    </a:gs>
                  </a:gsLst>
                  <a:lin ang="5400000" scaled="0"/>
                </a:gradFill>
                <a:latin typeface="Segoe UI"/>
                <a:cs typeface="Segoe UI"/>
              </a:rPr>
              <a:t>Quick measures</a:t>
            </a:r>
          </a:p>
          <a:p>
            <a:pPr marL="699065" lvl="1" indent="-233022"/>
            <a:r>
              <a:rPr lang="en-US" sz="1800">
                <a:gradFill>
                  <a:gsLst>
                    <a:gs pos="2917">
                      <a:srgbClr val="505050"/>
                    </a:gs>
                    <a:gs pos="30000">
                      <a:srgbClr val="505050"/>
                    </a:gs>
                  </a:gsLst>
                  <a:lin ang="5400000" scaled="0"/>
                </a:gradFill>
                <a:latin typeface="Segoe UI"/>
                <a:cs typeface="Segoe UI"/>
              </a:rPr>
              <a:t>Default setting is on</a:t>
            </a:r>
          </a:p>
          <a:p>
            <a:pPr marL="699065" lvl="1" indent="-233022"/>
            <a:endParaRPr lang="en-US" sz="1800">
              <a:gradFill>
                <a:gsLst>
                  <a:gs pos="2917">
                    <a:srgbClr val="505050"/>
                  </a:gs>
                  <a:gs pos="30000">
                    <a:srgbClr val="505050"/>
                  </a:gs>
                </a:gsLst>
                <a:lin ang="5400000" scaled="0"/>
              </a:gradFill>
              <a:latin typeface="Segoe UI"/>
              <a:cs typeface="Segoe UI"/>
            </a:endParaRPr>
          </a:p>
          <a:p>
            <a:pPr marL="699065" lvl="1" indent="-233022"/>
            <a:endParaRPr lang="en-US" sz="1800">
              <a:gradFill>
                <a:gsLst>
                  <a:gs pos="2917">
                    <a:srgbClr val="505050"/>
                  </a:gs>
                  <a:gs pos="30000">
                    <a:srgbClr val="505050"/>
                  </a:gs>
                </a:gsLst>
                <a:lin ang="5400000" scaled="0"/>
              </a:gradFill>
              <a:latin typeface="Segoe UI"/>
              <a:cs typeface="Segoe UI"/>
            </a:endParaRPr>
          </a:p>
          <a:p>
            <a:pPr marL="466043" indent="-466043">
              <a:buFont typeface="+mj-lt"/>
              <a:buAutoNum type="arabicPeriod"/>
            </a:pPr>
            <a:r>
              <a:rPr lang="en-US" sz="2400" b="1">
                <a:gradFill>
                  <a:gsLst>
                    <a:gs pos="2917">
                      <a:srgbClr val="505050"/>
                    </a:gs>
                    <a:gs pos="30000">
                      <a:srgbClr val="505050"/>
                    </a:gs>
                  </a:gsLst>
                  <a:lin ang="5400000" scaled="0"/>
                </a:gradFill>
                <a:latin typeface="Segoe UI"/>
              </a:rPr>
              <a:t>Disadvantages</a:t>
            </a:r>
            <a:endParaRPr lang="en-US" sz="2400" b="1">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No customization</a:t>
            </a:r>
          </a:p>
          <a:p>
            <a:pPr marL="699065" lvl="1" indent="-233022"/>
            <a:r>
              <a:rPr lang="en-US" sz="1800">
                <a:gradFill>
                  <a:gsLst>
                    <a:gs pos="2917">
                      <a:srgbClr val="505050"/>
                    </a:gs>
                    <a:gs pos="30000">
                      <a:srgbClr val="505050"/>
                    </a:gs>
                  </a:gsLst>
                  <a:lin ang="5400000" scaled="0"/>
                </a:gradFill>
                <a:latin typeface="Segoe UI"/>
                <a:cs typeface="Segoe UI"/>
              </a:rPr>
              <a:t>New table for every date/datetime valu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Can increase the size of your model</a:t>
            </a:r>
          </a:p>
          <a:p>
            <a:pPr marL="699065" lvl="1" indent="-233022">
              <a:spcBef>
                <a:spcPts val="509"/>
              </a:spcBef>
            </a:pPr>
            <a:r>
              <a:rPr lang="en-US" sz="1800" u="sng">
                <a:gradFill>
                  <a:gsLst>
                    <a:gs pos="2917">
                      <a:srgbClr val="505050"/>
                    </a:gs>
                    <a:gs pos="30000">
                      <a:srgbClr val="505050"/>
                    </a:gs>
                  </a:gsLst>
                  <a:lin ang="5400000" scaled="0"/>
                </a:gradFill>
                <a:latin typeface="Segoe UI"/>
                <a:cs typeface="Segoe UI"/>
              </a:rPr>
              <a:t>Default setting is on</a:t>
            </a:r>
          </a:p>
        </p:txBody>
      </p:sp>
    </p:spTree>
    <p:extLst>
      <p:ext uri="{BB962C8B-B14F-4D97-AF65-F5344CB8AC3E}">
        <p14:creationId xmlns:p14="http://schemas.microsoft.com/office/powerpoint/2010/main" val="337683770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mportance of the Date table</a:t>
            </a:r>
            <a:endParaRPr lang="en-US" sz="4080" spc="0">
              <a:solidFill>
                <a:srgbClr val="FFC000"/>
              </a:solidFill>
            </a:endParaRP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nvGraphicFramePr>
        <p:xfrm>
          <a:off x="5507695"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14" name="Table 13">
            <a:extLst>
              <a:ext uri="{FF2B5EF4-FFF2-40B4-BE49-F238E27FC236}">
                <a16:creationId xmlns:a16="http://schemas.microsoft.com/office/drawing/2014/main" id="{80D24E41-6274-4E10-9874-557FA4AC1449}"/>
              </a:ext>
            </a:extLst>
          </p:cNvPr>
          <p:cNvGraphicFramePr>
            <a:graphicFrameLocks noGrp="1"/>
          </p:cNvGraphicFramePr>
          <p:nvPr/>
        </p:nvGraphicFramePr>
        <p:xfrm>
          <a:off x="8054256" y="1378237"/>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Calendar</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50" name="Straight Arrow Connector 49">
            <a:extLst>
              <a:ext uri="{FF2B5EF4-FFF2-40B4-BE49-F238E27FC236}">
                <a16:creationId xmlns:a16="http://schemas.microsoft.com/office/drawing/2014/main" id="{5CDFAB84-1541-4EE9-BF04-213E61BC4EF7}"/>
              </a:ext>
            </a:extLst>
          </p:cNvPr>
          <p:cNvCxnSpPr>
            <a:endCxn id="5" idx="0"/>
          </p:cNvCxnSpPr>
          <p:nvPr/>
        </p:nvCxnSpPr>
        <p:spPr>
          <a:xfrm flipH="1">
            <a:off x="8829177" y="2673041"/>
            <a:ext cx="180" cy="36135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7"/>
            <a:ext cx="3586393" cy="4678311"/>
          </a:xfrm>
        </p:spPr>
        <p:txBody>
          <a:bodyPr vert="horz" wrap="square" lIns="91428" tIns="45714" rIns="91428" bIns="45714" rtlCol="0" anchor="t">
            <a:normAutofit/>
          </a:bodyPr>
          <a:lstStyle/>
          <a:p>
            <a:pPr marL="466043" indent="-466043">
              <a:buFont typeface="+mj-lt"/>
              <a:buAutoNum type="arabicPeriod"/>
            </a:pPr>
            <a:r>
              <a:rPr lang="en-US" sz="2400" b="1">
                <a:gradFill>
                  <a:gsLst>
                    <a:gs pos="2917">
                      <a:srgbClr val="505050"/>
                    </a:gs>
                    <a:gs pos="30000">
                      <a:srgbClr val="505050"/>
                    </a:gs>
                  </a:gsLst>
                  <a:lin ang="5400000" scaled="0"/>
                </a:gradFill>
                <a:latin typeface="Segoe UI"/>
              </a:rPr>
              <a:t>Advantages</a:t>
            </a:r>
            <a:endParaRPr lang="en-US" sz="2400"/>
          </a:p>
          <a:p>
            <a:pPr marL="699065" lvl="1" indent="-233022"/>
            <a:r>
              <a:rPr lang="en-US" sz="1800">
                <a:gradFill>
                  <a:gsLst>
                    <a:gs pos="2917">
                      <a:srgbClr val="505050"/>
                    </a:gs>
                    <a:gs pos="30000">
                      <a:srgbClr val="505050"/>
                    </a:gs>
                  </a:gsLst>
                  <a:lin ang="5400000" scaled="0"/>
                </a:gradFill>
                <a:latin typeface="Segoe UI"/>
                <a:cs typeface="Segoe UI"/>
              </a:rPr>
              <a:t>Time intelligence functions</a:t>
            </a:r>
            <a:endParaRPr lang="en-US" sz="1800">
              <a:gradFill>
                <a:gsLst>
                  <a:gs pos="2917">
                    <a:srgbClr val="505050"/>
                  </a:gs>
                  <a:gs pos="30000">
                    <a:srgbClr val="505050"/>
                  </a:gs>
                </a:gsLst>
                <a:lin ang="5400000" scaled="0"/>
              </a:gradFill>
              <a:latin typeface="Segoe UI"/>
            </a:endParaRP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Customizabl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Organization</a:t>
            </a:r>
            <a:endParaRPr lang="en-US"/>
          </a:p>
          <a:p>
            <a:pPr marL="699065" lvl="1" indent="-233022"/>
            <a:endParaRPr lang="en-US" sz="1800">
              <a:gradFill>
                <a:gsLst>
                  <a:gs pos="2917">
                    <a:srgbClr val="505050"/>
                  </a:gs>
                  <a:gs pos="30000">
                    <a:srgbClr val="505050"/>
                  </a:gs>
                </a:gsLst>
                <a:lin ang="5400000" scaled="0"/>
              </a:gradFill>
              <a:latin typeface="Segoe UI"/>
              <a:cs typeface="Segoe UI"/>
            </a:endParaRPr>
          </a:p>
          <a:p>
            <a:pPr marL="466043" indent="-466043">
              <a:buFont typeface="+mj-lt"/>
              <a:buAutoNum type="arabicPeriod"/>
            </a:pPr>
            <a:r>
              <a:rPr lang="en-US" sz="2400" b="1">
                <a:gradFill>
                  <a:gsLst>
                    <a:gs pos="2917">
                      <a:srgbClr val="505050"/>
                    </a:gs>
                    <a:gs pos="30000">
                      <a:srgbClr val="505050"/>
                    </a:gs>
                  </a:gsLst>
                  <a:lin ang="5400000" scaled="0"/>
                </a:gradFill>
                <a:latin typeface="Segoe UI"/>
              </a:rPr>
              <a:t>Disadvantages</a:t>
            </a:r>
            <a:endParaRPr lang="en-US" sz="2400" b="1">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You must create and manage it</a:t>
            </a:r>
            <a:endParaRPr lang="en-US" sz="1800">
              <a:gradFill>
                <a:gsLst>
                  <a:gs pos="2917">
                    <a:srgbClr val="505050"/>
                  </a:gs>
                  <a:gs pos="30000">
                    <a:srgbClr val="505050"/>
                  </a:gs>
                </a:gsLst>
                <a:lin ang="5400000" scaled="0"/>
              </a:gradFill>
              <a:latin typeface="Segoe UI"/>
              <a:cs typeface="Segoe UI"/>
            </a:endParaRP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Business unit calendars may not always be aligned or consistent</a:t>
            </a:r>
          </a:p>
        </p:txBody>
      </p:sp>
    </p:spTree>
    <p:extLst>
      <p:ext uri="{BB962C8B-B14F-4D97-AF65-F5344CB8AC3E}">
        <p14:creationId xmlns:p14="http://schemas.microsoft.com/office/powerpoint/2010/main" val="28252514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953FC734-FB31-41AE-81CA-D177FC0B7BA8}"/>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0B15093A-C0E9-45AA-B025-BA6275F04A5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Pro Tip: </a:t>
            </a:r>
            <a:r>
              <a:rPr lang="en-US" sz="4080" spc="0" err="1">
                <a:solidFill>
                  <a:srgbClr val="FFC000"/>
                </a:solidFill>
              </a:rPr>
              <a:t>DateTime</a:t>
            </a:r>
            <a:endParaRPr lang="en-US" sz="4080" spc="0">
              <a:solidFill>
                <a:srgbClr val="FFC000"/>
              </a:solidFill>
            </a:endParaRPr>
          </a:p>
        </p:txBody>
      </p:sp>
      <p:graphicFrame>
        <p:nvGraphicFramePr>
          <p:cNvPr id="8" name="Content Placeholder 2">
            <a:extLst>
              <a:ext uri="{FF2B5EF4-FFF2-40B4-BE49-F238E27FC236}">
                <a16:creationId xmlns:a16="http://schemas.microsoft.com/office/drawing/2014/main" id="{2AB2CFBA-6F73-4648-8A40-141E55444C00}"/>
              </a:ext>
            </a:extLst>
          </p:cNvPr>
          <p:cNvGraphicFramePr>
            <a:graphicFrameLocks noGrp="1"/>
          </p:cNvGraphicFramePr>
          <p:nvPr>
            <p:ph idx="1"/>
            <p:extLst>
              <p:ext uri="{D42A27DB-BD31-4B8C-83A1-F6EECF244321}">
                <p14:modId xmlns:p14="http://schemas.microsoft.com/office/powerpoint/2010/main" val="3650559293"/>
              </p:ext>
            </p:extLst>
          </p:nvPr>
        </p:nvGraphicFramePr>
        <p:xfrm>
          <a:off x="720035" y="1669774"/>
          <a:ext cx="10986051" cy="448379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76887827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953FC734-FB31-41AE-81CA-D177FC0B7BA8}"/>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0B15093A-C0E9-45AA-B025-BA6275F04A5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Avoid Extreme Future Dates</a:t>
            </a:r>
          </a:p>
        </p:txBody>
      </p:sp>
      <p:graphicFrame>
        <p:nvGraphicFramePr>
          <p:cNvPr id="10" name="Table 4">
            <a:extLst>
              <a:ext uri="{FF2B5EF4-FFF2-40B4-BE49-F238E27FC236}">
                <a16:creationId xmlns:a16="http://schemas.microsoft.com/office/drawing/2014/main" id="{0B3B61E2-5391-42D0-85D7-070CF485D8D7}"/>
              </a:ext>
            </a:extLst>
          </p:cNvPr>
          <p:cNvGraphicFramePr>
            <a:graphicFrameLocks noGrp="1"/>
          </p:cNvGraphicFramePr>
          <p:nvPr>
            <p:extLst>
              <p:ext uri="{D42A27DB-BD31-4B8C-83A1-F6EECF244321}">
                <p14:modId xmlns:p14="http://schemas.microsoft.com/office/powerpoint/2010/main" val="4093776008"/>
              </p:ext>
            </p:extLst>
          </p:nvPr>
        </p:nvGraphicFramePr>
        <p:xfrm>
          <a:off x="746538" y="1649249"/>
          <a:ext cx="10966984" cy="2271378"/>
        </p:xfrm>
        <a:graphic>
          <a:graphicData uri="http://schemas.openxmlformats.org/drawingml/2006/table">
            <a:tbl>
              <a:tblPr firstRow="1" bandRow="1">
                <a:tableStyleId>{9D7B26C5-4107-4FEC-AEDC-1716B250A1EF}</a:tableStyleId>
              </a:tblPr>
              <a:tblGrid>
                <a:gridCol w="1837496">
                  <a:extLst>
                    <a:ext uri="{9D8B030D-6E8A-4147-A177-3AD203B41FA5}">
                      <a16:colId xmlns:a16="http://schemas.microsoft.com/office/drawing/2014/main" val="1512514897"/>
                    </a:ext>
                  </a:extLst>
                </a:gridCol>
                <a:gridCol w="1536962">
                  <a:extLst>
                    <a:ext uri="{9D8B030D-6E8A-4147-A177-3AD203B41FA5}">
                      <a16:colId xmlns:a16="http://schemas.microsoft.com/office/drawing/2014/main" val="1420267389"/>
                    </a:ext>
                  </a:extLst>
                </a:gridCol>
                <a:gridCol w="1421306">
                  <a:extLst>
                    <a:ext uri="{9D8B030D-6E8A-4147-A177-3AD203B41FA5}">
                      <a16:colId xmlns:a16="http://schemas.microsoft.com/office/drawing/2014/main" val="554447733"/>
                    </a:ext>
                  </a:extLst>
                </a:gridCol>
                <a:gridCol w="1228743">
                  <a:extLst>
                    <a:ext uri="{9D8B030D-6E8A-4147-A177-3AD203B41FA5}">
                      <a16:colId xmlns:a16="http://schemas.microsoft.com/office/drawing/2014/main" val="569540080"/>
                    </a:ext>
                  </a:extLst>
                </a:gridCol>
                <a:gridCol w="1809051">
                  <a:extLst>
                    <a:ext uri="{9D8B030D-6E8A-4147-A177-3AD203B41FA5}">
                      <a16:colId xmlns:a16="http://schemas.microsoft.com/office/drawing/2014/main" val="3580864083"/>
                    </a:ext>
                  </a:extLst>
                </a:gridCol>
                <a:gridCol w="1566713">
                  <a:extLst>
                    <a:ext uri="{9D8B030D-6E8A-4147-A177-3AD203B41FA5}">
                      <a16:colId xmlns:a16="http://schemas.microsoft.com/office/drawing/2014/main" val="485717687"/>
                    </a:ext>
                  </a:extLst>
                </a:gridCol>
                <a:gridCol w="1566713">
                  <a:extLst>
                    <a:ext uri="{9D8B030D-6E8A-4147-A177-3AD203B41FA5}">
                      <a16:colId xmlns:a16="http://schemas.microsoft.com/office/drawing/2014/main" val="4004796440"/>
                    </a:ext>
                  </a:extLst>
                </a:gridCol>
              </a:tblGrid>
              <a:tr h="378563">
                <a:tc>
                  <a:txBody>
                    <a:bodyPr/>
                    <a:lstStyle/>
                    <a:p>
                      <a:r>
                        <a:rPr lang="en-US" sz="1600" err="1"/>
                        <a:t>CustomerSK</a:t>
                      </a:r>
                      <a:endParaRPr lang="en-US" sz="1600"/>
                    </a:p>
                  </a:txBody>
                  <a:tcPr marL="93248" marR="93248" marT="46624" marB="46624"/>
                </a:tc>
                <a:tc>
                  <a:txBody>
                    <a:bodyPr/>
                    <a:lstStyle/>
                    <a:p>
                      <a:r>
                        <a:rPr lang="en-US" sz="1600" err="1"/>
                        <a:t>CustomerAK</a:t>
                      </a:r>
                      <a:endParaRPr lang="en-US" sz="1600"/>
                    </a:p>
                  </a:txBody>
                  <a:tcPr marL="93248" marR="93248" marT="46624" marB="46624"/>
                </a:tc>
                <a:tc>
                  <a:txBody>
                    <a:bodyPr/>
                    <a:lstStyle/>
                    <a:p>
                      <a:r>
                        <a:rPr lang="en-US" sz="1600"/>
                        <a:t>FirstName</a:t>
                      </a:r>
                    </a:p>
                  </a:txBody>
                  <a:tcPr marL="93248" marR="93248" marT="46624" marB="46624"/>
                </a:tc>
                <a:tc>
                  <a:txBody>
                    <a:bodyPr/>
                    <a:lstStyle/>
                    <a:p>
                      <a:r>
                        <a:rPr lang="en-US" sz="1600" err="1"/>
                        <a:t>LastName</a:t>
                      </a:r>
                      <a:endParaRPr lang="en-US" sz="1600"/>
                    </a:p>
                  </a:txBody>
                  <a:tcPr marL="93248" marR="93248" marT="46624" marB="46624"/>
                </a:tc>
                <a:tc>
                  <a:txBody>
                    <a:bodyPr/>
                    <a:lstStyle/>
                    <a:p>
                      <a:r>
                        <a:rPr lang="en-US" sz="1600" err="1"/>
                        <a:t>MaritalStatus</a:t>
                      </a:r>
                      <a:endParaRPr lang="en-US" sz="1600"/>
                    </a:p>
                  </a:txBody>
                  <a:tcPr marL="93248" marR="93248" marT="46624" marB="46624"/>
                </a:tc>
                <a:tc>
                  <a:txBody>
                    <a:bodyPr/>
                    <a:lstStyle/>
                    <a:p>
                      <a:r>
                        <a:rPr lang="en-US" sz="1600"/>
                        <a:t>StartDate</a:t>
                      </a:r>
                    </a:p>
                  </a:txBody>
                  <a:tcPr marL="93248" marR="93248" marT="46624" marB="46624"/>
                </a:tc>
                <a:tc>
                  <a:txBody>
                    <a:bodyPr/>
                    <a:lstStyle/>
                    <a:p>
                      <a:r>
                        <a:rPr lang="en-US" sz="1600" err="1"/>
                        <a:t>EndDate</a:t>
                      </a:r>
                      <a:endParaRPr lang="en-US" sz="1600"/>
                    </a:p>
                  </a:txBody>
                  <a:tcPr marL="93248" marR="93248" marT="46624" marB="46624"/>
                </a:tc>
                <a:extLst>
                  <a:ext uri="{0D108BD9-81ED-4DB2-BD59-A6C34878D82A}">
                    <a16:rowId xmlns:a16="http://schemas.microsoft.com/office/drawing/2014/main" val="1604450054"/>
                  </a:ext>
                </a:extLst>
              </a:tr>
              <a:tr h="378563">
                <a:tc>
                  <a:txBody>
                    <a:bodyPr/>
                    <a:lstStyle/>
                    <a:p>
                      <a:r>
                        <a:rPr lang="en-US" sz="1600"/>
                        <a:t>1</a:t>
                      </a:r>
                    </a:p>
                  </a:txBody>
                  <a:tcPr marL="93248" marR="93248" marT="46624" marB="46624"/>
                </a:tc>
                <a:tc>
                  <a:txBody>
                    <a:bodyPr/>
                    <a:lstStyle/>
                    <a:p>
                      <a:r>
                        <a:rPr lang="en-US" sz="1600"/>
                        <a:t>5437</a:t>
                      </a:r>
                    </a:p>
                  </a:txBody>
                  <a:tcPr marL="93248" marR="93248" marT="46624" marB="46624"/>
                </a:tc>
                <a:tc>
                  <a:txBody>
                    <a:bodyPr/>
                    <a:lstStyle/>
                    <a:p>
                      <a:r>
                        <a:rPr lang="en-US" sz="1600"/>
                        <a:t>Patrick</a:t>
                      </a:r>
                    </a:p>
                  </a:txBody>
                  <a:tcPr marL="93248" marR="93248" marT="46624" marB="46624"/>
                </a:tc>
                <a:tc>
                  <a:txBody>
                    <a:bodyPr/>
                    <a:lstStyle/>
                    <a:p>
                      <a:r>
                        <a:rPr lang="en-US" sz="1600"/>
                        <a:t>LeBlanc</a:t>
                      </a:r>
                    </a:p>
                  </a:txBody>
                  <a:tcPr marL="93248" marR="93248" marT="46624" marB="46624"/>
                </a:tc>
                <a:tc>
                  <a:txBody>
                    <a:bodyPr/>
                    <a:lstStyle/>
                    <a:p>
                      <a:r>
                        <a:rPr lang="en-US" sz="1600"/>
                        <a:t>S</a:t>
                      </a:r>
                    </a:p>
                  </a:txBody>
                  <a:tcPr marL="93248" marR="93248" marT="46624" marB="46624"/>
                </a:tc>
                <a:tc>
                  <a:txBody>
                    <a:bodyPr/>
                    <a:lstStyle/>
                    <a:p>
                      <a:r>
                        <a:rPr lang="en-US" sz="1600"/>
                        <a:t>1/1/1990</a:t>
                      </a:r>
                    </a:p>
                  </a:txBody>
                  <a:tcPr marL="93248" marR="93248" marT="46624" marB="46624"/>
                </a:tc>
                <a:tc>
                  <a:txBody>
                    <a:bodyPr/>
                    <a:lstStyle/>
                    <a:p>
                      <a:r>
                        <a:rPr lang="en-US" sz="1600"/>
                        <a:t>6/28/1997</a:t>
                      </a:r>
                    </a:p>
                  </a:txBody>
                  <a:tcPr marL="93248" marR="93248" marT="46624" marB="46624"/>
                </a:tc>
                <a:extLst>
                  <a:ext uri="{0D108BD9-81ED-4DB2-BD59-A6C34878D82A}">
                    <a16:rowId xmlns:a16="http://schemas.microsoft.com/office/drawing/2014/main" val="4171234557"/>
                  </a:ext>
                </a:extLst>
              </a:tr>
              <a:tr h="378563">
                <a:tc>
                  <a:txBody>
                    <a:bodyPr/>
                    <a:lstStyle/>
                    <a:p>
                      <a:r>
                        <a:rPr lang="en-US" sz="1600"/>
                        <a:t>2</a:t>
                      </a:r>
                    </a:p>
                  </a:txBody>
                  <a:tcPr marL="93248" marR="93248" marT="46624" marB="46624"/>
                </a:tc>
                <a:tc>
                  <a:txBody>
                    <a:bodyPr/>
                    <a:lstStyle/>
                    <a:p>
                      <a:r>
                        <a:rPr lang="en-US" sz="1600"/>
                        <a:t>5956</a:t>
                      </a:r>
                    </a:p>
                  </a:txBody>
                  <a:tcPr marL="93248" marR="93248" marT="46624" marB="46624"/>
                </a:tc>
                <a:tc>
                  <a:txBody>
                    <a:bodyPr/>
                    <a:lstStyle/>
                    <a:p>
                      <a:r>
                        <a:rPr lang="en-US" sz="1600"/>
                        <a:t>John</a:t>
                      </a:r>
                    </a:p>
                  </a:txBody>
                  <a:tcPr marL="93248" marR="93248" marT="46624" marB="46624"/>
                </a:tc>
                <a:tc>
                  <a:txBody>
                    <a:bodyPr/>
                    <a:lstStyle/>
                    <a:p>
                      <a:r>
                        <a:rPr lang="en-US" sz="1600"/>
                        <a:t>Doe</a:t>
                      </a:r>
                    </a:p>
                  </a:txBody>
                  <a:tcPr marL="93248" marR="93248" marT="46624" marB="46624"/>
                </a:tc>
                <a:tc>
                  <a:txBody>
                    <a:bodyPr/>
                    <a:lstStyle/>
                    <a:p>
                      <a:r>
                        <a:rPr lang="en-US" sz="1600" b="0">
                          <a:solidFill>
                            <a:schemeClr val="tx1"/>
                          </a:solidFill>
                        </a:rPr>
                        <a:t>M</a:t>
                      </a:r>
                    </a:p>
                  </a:txBody>
                  <a:tcPr marL="93248" marR="93248" marT="46624" marB="46624"/>
                </a:tc>
                <a:tc>
                  <a:txBody>
                    <a:bodyPr/>
                    <a:lstStyle/>
                    <a:p>
                      <a:r>
                        <a:rPr lang="en-US" sz="1600"/>
                        <a:t>2/8/2000</a:t>
                      </a:r>
                    </a:p>
                  </a:txBody>
                  <a:tcPr marL="93248" marR="93248" marT="46624" marB="46624"/>
                </a:tc>
                <a:tc>
                  <a:txBody>
                    <a:bodyPr/>
                    <a:lstStyle/>
                    <a:p>
                      <a:r>
                        <a:rPr lang="en-US" sz="1600" b="1">
                          <a:solidFill>
                            <a:srgbClr val="FF0000"/>
                          </a:solidFill>
                        </a:rPr>
                        <a:t>12/31/9999</a:t>
                      </a:r>
                    </a:p>
                  </a:txBody>
                  <a:tcPr marL="93248" marR="93248" marT="46624" marB="46624"/>
                </a:tc>
                <a:extLst>
                  <a:ext uri="{0D108BD9-81ED-4DB2-BD59-A6C34878D82A}">
                    <a16:rowId xmlns:a16="http://schemas.microsoft.com/office/drawing/2014/main" val="3265830502"/>
                  </a:ext>
                </a:extLst>
              </a:tr>
              <a:tr h="378563">
                <a:tc>
                  <a:txBody>
                    <a:bodyPr/>
                    <a:lstStyle/>
                    <a:p>
                      <a:r>
                        <a:rPr lang="en-US" sz="1600"/>
                        <a:t>3</a:t>
                      </a:r>
                    </a:p>
                  </a:txBody>
                  <a:tcPr marL="93248" marR="93248" marT="46624" marB="46624"/>
                </a:tc>
                <a:tc>
                  <a:txBody>
                    <a:bodyPr/>
                    <a:lstStyle/>
                    <a:p>
                      <a:r>
                        <a:rPr lang="en-US" sz="1600"/>
                        <a:t>8953</a:t>
                      </a:r>
                    </a:p>
                  </a:txBody>
                  <a:tcPr marL="93248" marR="93248" marT="46624" marB="46624"/>
                </a:tc>
                <a:tc>
                  <a:txBody>
                    <a:bodyPr/>
                    <a:lstStyle/>
                    <a:p>
                      <a:r>
                        <a:rPr lang="en-US" sz="1600"/>
                        <a:t>Jane</a:t>
                      </a:r>
                    </a:p>
                  </a:txBody>
                  <a:tcPr marL="93248" marR="93248" marT="46624" marB="46624"/>
                </a:tc>
                <a:tc>
                  <a:txBody>
                    <a:bodyPr/>
                    <a:lstStyle/>
                    <a:p>
                      <a:r>
                        <a:rPr lang="en-US" sz="1600"/>
                        <a:t>Phillips</a:t>
                      </a:r>
                    </a:p>
                  </a:txBody>
                  <a:tcPr marL="93248" marR="93248" marT="46624" marB="46624"/>
                </a:tc>
                <a:tc>
                  <a:txBody>
                    <a:bodyPr/>
                    <a:lstStyle/>
                    <a:p>
                      <a:r>
                        <a:rPr lang="en-US" sz="1600"/>
                        <a:t>S</a:t>
                      </a:r>
                    </a:p>
                  </a:txBody>
                  <a:tcPr marL="93248" marR="93248" marT="46624" marB="46624"/>
                </a:tc>
                <a:tc>
                  <a:txBody>
                    <a:bodyPr/>
                    <a:lstStyle/>
                    <a:p>
                      <a:r>
                        <a:rPr lang="en-US" sz="1600"/>
                        <a:t>2/1/1991</a:t>
                      </a:r>
                    </a:p>
                  </a:txBody>
                  <a:tcPr marL="93248" marR="93248" marT="46624" marB="46624"/>
                </a:tc>
                <a:tc>
                  <a:txBody>
                    <a:bodyPr/>
                    <a:lstStyle/>
                    <a:p>
                      <a:r>
                        <a:rPr lang="en-US" sz="1600"/>
                        <a:t>7/21/2000</a:t>
                      </a:r>
                    </a:p>
                  </a:txBody>
                  <a:tcPr marL="93248" marR="93248" marT="46624" marB="46624"/>
                </a:tc>
                <a:extLst>
                  <a:ext uri="{0D108BD9-81ED-4DB2-BD59-A6C34878D82A}">
                    <a16:rowId xmlns:a16="http://schemas.microsoft.com/office/drawing/2014/main" val="2827751645"/>
                  </a:ext>
                </a:extLst>
              </a:tr>
              <a:tr h="378563">
                <a:tc>
                  <a:txBody>
                    <a:bodyPr/>
                    <a:lstStyle/>
                    <a:p>
                      <a:r>
                        <a:rPr lang="en-US" sz="1600"/>
                        <a:t>4</a:t>
                      </a:r>
                    </a:p>
                  </a:txBody>
                  <a:tcPr marL="93248" marR="93248" marT="46624" marB="46624"/>
                </a:tc>
                <a:tc>
                  <a:txBody>
                    <a:bodyPr/>
                    <a:lstStyle/>
                    <a:p>
                      <a:r>
                        <a:rPr lang="en-US" sz="1600"/>
                        <a:t>5437</a:t>
                      </a:r>
                    </a:p>
                  </a:txBody>
                  <a:tcPr marL="93248" marR="93248" marT="46624" marB="46624"/>
                </a:tc>
                <a:tc>
                  <a:txBody>
                    <a:bodyPr/>
                    <a:lstStyle/>
                    <a:p>
                      <a:r>
                        <a:rPr lang="en-US" sz="1600"/>
                        <a:t>Patrick</a:t>
                      </a:r>
                    </a:p>
                  </a:txBody>
                  <a:tcPr marL="93248" marR="93248" marT="46624" marB="46624"/>
                </a:tc>
                <a:tc>
                  <a:txBody>
                    <a:bodyPr/>
                    <a:lstStyle/>
                    <a:p>
                      <a:r>
                        <a:rPr lang="en-US" sz="1600"/>
                        <a:t>LeBlanc</a:t>
                      </a:r>
                    </a:p>
                  </a:txBody>
                  <a:tcPr marL="93248" marR="93248" marT="46624" marB="46624"/>
                </a:tc>
                <a:tc>
                  <a:txBody>
                    <a:bodyPr/>
                    <a:lstStyle/>
                    <a:p>
                      <a:r>
                        <a:rPr lang="en-US" sz="1600" b="0">
                          <a:solidFill>
                            <a:schemeClr val="tx1"/>
                          </a:solidFill>
                        </a:rPr>
                        <a:t>M</a:t>
                      </a:r>
                    </a:p>
                  </a:txBody>
                  <a:tcPr marL="93248" marR="93248" marT="46624" marB="46624"/>
                </a:tc>
                <a:tc>
                  <a:txBody>
                    <a:bodyPr/>
                    <a:lstStyle/>
                    <a:p>
                      <a:r>
                        <a:rPr lang="en-US" sz="1600"/>
                        <a:t>6/28/1997</a:t>
                      </a:r>
                    </a:p>
                  </a:txBody>
                  <a:tcPr marL="93248" marR="93248" marT="46624" marB="46624"/>
                </a:tc>
                <a:tc>
                  <a:txBody>
                    <a:bodyPr/>
                    <a:lstStyle/>
                    <a:p>
                      <a:r>
                        <a:rPr lang="en-US" sz="1600" b="1">
                          <a:solidFill>
                            <a:srgbClr val="FF0000"/>
                          </a:solidFill>
                        </a:rPr>
                        <a:t>12/31/9999</a:t>
                      </a:r>
                    </a:p>
                  </a:txBody>
                  <a:tcPr marL="93248" marR="93248" marT="46624" marB="46624"/>
                </a:tc>
                <a:extLst>
                  <a:ext uri="{0D108BD9-81ED-4DB2-BD59-A6C34878D82A}">
                    <a16:rowId xmlns:a16="http://schemas.microsoft.com/office/drawing/2014/main" val="1749965609"/>
                  </a:ext>
                </a:extLst>
              </a:tr>
              <a:tr h="378563">
                <a:tc>
                  <a:txBody>
                    <a:bodyPr/>
                    <a:lstStyle/>
                    <a:p>
                      <a:r>
                        <a:rPr lang="en-US" sz="1600"/>
                        <a:t>5</a:t>
                      </a:r>
                    </a:p>
                  </a:txBody>
                  <a:tcPr marL="93248" marR="93248" marT="46624" marB="46624"/>
                </a:tc>
                <a:tc>
                  <a:txBody>
                    <a:bodyPr/>
                    <a:lstStyle/>
                    <a:p>
                      <a:r>
                        <a:rPr lang="en-US" sz="1600"/>
                        <a:t>8953</a:t>
                      </a:r>
                    </a:p>
                  </a:txBody>
                  <a:tcPr marL="93248" marR="93248" marT="46624" marB="46624"/>
                </a:tc>
                <a:tc>
                  <a:txBody>
                    <a:bodyPr/>
                    <a:lstStyle/>
                    <a:p>
                      <a:r>
                        <a:rPr lang="en-US" sz="1600"/>
                        <a:t>Jane</a:t>
                      </a:r>
                    </a:p>
                  </a:txBody>
                  <a:tcPr marL="93248" marR="93248" marT="46624" marB="46624"/>
                </a:tc>
                <a:tc>
                  <a:txBody>
                    <a:bodyPr/>
                    <a:lstStyle/>
                    <a:p>
                      <a:r>
                        <a:rPr lang="en-US" sz="1600"/>
                        <a:t>Phillips</a:t>
                      </a:r>
                    </a:p>
                  </a:txBody>
                  <a:tcPr marL="93248" marR="93248" marT="46624" marB="46624"/>
                </a:tc>
                <a:tc>
                  <a:txBody>
                    <a:bodyPr/>
                    <a:lstStyle/>
                    <a:p>
                      <a:r>
                        <a:rPr lang="en-US" sz="1600" b="0">
                          <a:solidFill>
                            <a:schemeClr val="tx1"/>
                          </a:solidFill>
                        </a:rPr>
                        <a:t>M</a:t>
                      </a:r>
                    </a:p>
                  </a:txBody>
                  <a:tcPr marL="93248" marR="93248" marT="46624" marB="46624"/>
                </a:tc>
                <a:tc>
                  <a:txBody>
                    <a:bodyPr/>
                    <a:lstStyle/>
                    <a:p>
                      <a:r>
                        <a:rPr lang="en-US" sz="1600"/>
                        <a:t>7/21/2000</a:t>
                      </a:r>
                    </a:p>
                  </a:txBody>
                  <a:tcPr marL="93248" marR="93248" marT="46624" marB="46624"/>
                </a:tc>
                <a:tc>
                  <a:txBody>
                    <a:bodyPr/>
                    <a:lstStyle/>
                    <a:p>
                      <a:r>
                        <a:rPr lang="en-US" sz="1600" b="1">
                          <a:solidFill>
                            <a:srgbClr val="FF0000"/>
                          </a:solidFill>
                        </a:rPr>
                        <a:t>12/31/9999</a:t>
                      </a:r>
                    </a:p>
                  </a:txBody>
                  <a:tcPr marL="93248" marR="93248" marT="46624" marB="46624"/>
                </a:tc>
                <a:extLst>
                  <a:ext uri="{0D108BD9-81ED-4DB2-BD59-A6C34878D82A}">
                    <a16:rowId xmlns:a16="http://schemas.microsoft.com/office/drawing/2014/main" val="1609569251"/>
                  </a:ext>
                </a:extLst>
              </a:tr>
            </a:tbl>
          </a:graphicData>
        </a:graphic>
      </p:graphicFrame>
      <p:sp>
        <p:nvSpPr>
          <p:cNvPr id="11" name="Content Placeholder 2">
            <a:extLst>
              <a:ext uri="{FF2B5EF4-FFF2-40B4-BE49-F238E27FC236}">
                <a16:creationId xmlns:a16="http://schemas.microsoft.com/office/drawing/2014/main" id="{74AB6C32-99B4-439F-8442-5112A03A6AEB}"/>
              </a:ext>
            </a:extLst>
          </p:cNvPr>
          <p:cNvSpPr>
            <a:spLocks noGrp="1"/>
          </p:cNvSpPr>
          <p:nvPr>
            <p:ph idx="1"/>
          </p:nvPr>
        </p:nvSpPr>
        <p:spPr>
          <a:xfrm>
            <a:off x="734045" y="4278772"/>
            <a:ext cx="10968384" cy="1905575"/>
          </a:xfrm>
        </p:spPr>
        <p:txBody>
          <a:bodyPr vert="horz" wrap="square" lIns="0" tIns="0" rIns="0" bIns="0" rtlCol="0" anchor="t">
            <a:normAutofit fontScale="77500" lnSpcReduction="20000"/>
          </a:bodyPr>
          <a:lstStyle/>
          <a:p>
            <a:pPr marL="0" indent="0">
              <a:buNone/>
            </a:pPr>
            <a:r>
              <a:rPr lang="en-US" sz="2800" b="1">
                <a:gradFill>
                  <a:gsLst>
                    <a:gs pos="2917">
                      <a:srgbClr val="505050"/>
                    </a:gs>
                    <a:gs pos="30000">
                      <a:srgbClr val="505050"/>
                    </a:gs>
                  </a:gsLst>
                  <a:lin ang="5400000" scaled="0"/>
                </a:gradFill>
                <a:latin typeface="Segoe UI"/>
                <a:cs typeface="+mn-cs"/>
              </a:rPr>
              <a:t>CALENDARAUTO()</a:t>
            </a:r>
          </a:p>
          <a:p>
            <a:pPr marL="0" indent="0">
              <a:buNone/>
            </a:pPr>
            <a:r>
              <a:rPr lang="en-US" sz="2040">
                <a:solidFill>
                  <a:schemeClr val="tx1">
                    <a:lumMod val="50000"/>
                    <a:lumOff val="50000"/>
                  </a:schemeClr>
                </a:solidFill>
                <a:latin typeface="Segoe UI" panose="020B0502040204020203" pitchFamily="34" charset="0"/>
                <a:cs typeface="+mn-cs"/>
              </a:rPr>
              <a:t>Returns a table with a single column named "Date" that contains a contiguous set of dates. The range of dates is calculated automatically based on data in the model.</a:t>
            </a:r>
          </a:p>
          <a:p>
            <a:pPr marL="0" indent="0">
              <a:buNone/>
            </a:pPr>
            <a:endParaRPr lang="en-US" sz="2040">
              <a:solidFill>
                <a:schemeClr val="tx1">
                  <a:lumMod val="50000"/>
                  <a:lumOff val="50000"/>
                </a:schemeClr>
              </a:solidFill>
              <a:latin typeface="Segoe UI" panose="020B0502040204020203" pitchFamily="34" charset="0"/>
              <a:cs typeface="+mn-cs"/>
            </a:endParaRPr>
          </a:p>
          <a:p>
            <a:pPr marL="0" indent="0">
              <a:buNone/>
            </a:pPr>
            <a:r>
              <a:rPr lang="en-US" sz="2040">
                <a:solidFill>
                  <a:schemeClr val="tx1">
                    <a:lumMod val="50000"/>
                    <a:lumOff val="50000"/>
                  </a:schemeClr>
                </a:solidFill>
                <a:latin typeface="Segoe UI" panose="020B0502040204020203" pitchFamily="34" charset="0"/>
                <a:cs typeface="+mn-cs"/>
              </a:rPr>
              <a:t>The date range is calculated as follows:</a:t>
            </a:r>
          </a:p>
          <a:p>
            <a:pPr marL="342866" lvl="1" indent="-342866"/>
            <a:r>
              <a:rPr lang="en-US" sz="2100">
                <a:solidFill>
                  <a:schemeClr val="tx1">
                    <a:lumMod val="50000"/>
                    <a:lumOff val="50000"/>
                  </a:schemeClr>
                </a:solidFill>
                <a:latin typeface="Segoe UI" panose="020B0502040204020203" pitchFamily="34" charset="0"/>
              </a:rPr>
              <a:t>The </a:t>
            </a:r>
            <a:r>
              <a:rPr lang="en-US" sz="2100" b="1">
                <a:gradFill>
                  <a:gsLst>
                    <a:gs pos="2917">
                      <a:srgbClr val="505050"/>
                    </a:gs>
                    <a:gs pos="30000">
                      <a:srgbClr val="505050"/>
                    </a:gs>
                  </a:gsLst>
                  <a:lin ang="5400000" scaled="0"/>
                </a:gradFill>
                <a:latin typeface="Segoe UI"/>
              </a:rPr>
              <a:t>earliest</a:t>
            </a:r>
            <a:r>
              <a:rPr lang="en-US" sz="2100">
                <a:solidFill>
                  <a:schemeClr val="tx1">
                    <a:lumMod val="50000"/>
                    <a:lumOff val="50000"/>
                  </a:schemeClr>
                </a:solidFill>
                <a:latin typeface="Segoe UI" panose="020B0502040204020203" pitchFamily="34" charset="0"/>
              </a:rPr>
              <a:t> date in the model which is not in a calculated column or calculated table is taken as the </a:t>
            </a:r>
            <a:r>
              <a:rPr lang="en-US" sz="2100" err="1">
                <a:solidFill>
                  <a:schemeClr val="tx1">
                    <a:lumMod val="50000"/>
                    <a:lumOff val="50000"/>
                  </a:schemeClr>
                </a:solidFill>
                <a:latin typeface="Segoe UI" panose="020B0502040204020203" pitchFamily="34" charset="0"/>
              </a:rPr>
              <a:t>MinDate</a:t>
            </a:r>
            <a:r>
              <a:rPr lang="en-US" sz="2100">
                <a:solidFill>
                  <a:schemeClr val="tx1">
                    <a:lumMod val="50000"/>
                    <a:lumOff val="50000"/>
                  </a:schemeClr>
                </a:solidFill>
                <a:latin typeface="Segoe UI" panose="020B0502040204020203" pitchFamily="34" charset="0"/>
              </a:rPr>
              <a:t>.</a:t>
            </a:r>
          </a:p>
          <a:p>
            <a:pPr marL="342866" lvl="1" indent="-342866"/>
            <a:r>
              <a:rPr lang="en-US" sz="2100">
                <a:solidFill>
                  <a:schemeClr val="tx1">
                    <a:lumMod val="50000"/>
                    <a:lumOff val="50000"/>
                  </a:schemeClr>
                </a:solidFill>
                <a:latin typeface="Segoe UI" panose="020B0502040204020203" pitchFamily="34" charset="0"/>
              </a:rPr>
              <a:t>The </a:t>
            </a:r>
            <a:r>
              <a:rPr lang="en-US" sz="2100" b="1">
                <a:gradFill>
                  <a:gsLst>
                    <a:gs pos="2917">
                      <a:srgbClr val="505050"/>
                    </a:gs>
                    <a:gs pos="30000">
                      <a:srgbClr val="505050"/>
                    </a:gs>
                  </a:gsLst>
                  <a:lin ang="5400000" scaled="0"/>
                </a:gradFill>
                <a:latin typeface="Segoe UI"/>
              </a:rPr>
              <a:t>latest</a:t>
            </a:r>
            <a:r>
              <a:rPr lang="en-US" sz="2100">
                <a:solidFill>
                  <a:schemeClr val="tx1">
                    <a:lumMod val="50000"/>
                    <a:lumOff val="50000"/>
                  </a:schemeClr>
                </a:solidFill>
                <a:latin typeface="Segoe UI" panose="020B0502040204020203" pitchFamily="34" charset="0"/>
              </a:rPr>
              <a:t> date in the model which is not in a calculated column or calculated table is taken as the </a:t>
            </a:r>
            <a:r>
              <a:rPr lang="en-US" sz="2100" err="1">
                <a:solidFill>
                  <a:schemeClr val="tx1">
                    <a:lumMod val="50000"/>
                    <a:lumOff val="50000"/>
                  </a:schemeClr>
                </a:solidFill>
                <a:latin typeface="Segoe UI" panose="020B0502040204020203" pitchFamily="34" charset="0"/>
              </a:rPr>
              <a:t>MaxDate</a:t>
            </a:r>
            <a:r>
              <a:rPr lang="en-US" sz="2100">
                <a:solidFill>
                  <a:schemeClr val="tx1">
                    <a:lumMod val="50000"/>
                    <a:lumOff val="50000"/>
                  </a:schemeClr>
                </a:solidFill>
                <a:latin typeface="Segoe UI" panose="020B0502040204020203" pitchFamily="34" charset="0"/>
              </a:rPr>
              <a:t>.</a:t>
            </a:r>
          </a:p>
          <a:p>
            <a:pPr marL="0" indent="0">
              <a:buNone/>
            </a:pPr>
            <a:endParaRPr lang="en-US" sz="2040">
              <a:solidFill>
                <a:schemeClr val="tx1">
                  <a:lumMod val="50000"/>
                  <a:lumOff val="50000"/>
                </a:schemeClr>
              </a:solidFill>
              <a:latin typeface="Segoe UI" panose="020B0502040204020203" pitchFamily="34" charset="0"/>
              <a:cs typeface="+mn-cs"/>
            </a:endParaRPr>
          </a:p>
        </p:txBody>
      </p:sp>
    </p:spTree>
    <p:extLst>
      <p:ext uri="{BB962C8B-B14F-4D97-AF65-F5344CB8AC3E}">
        <p14:creationId xmlns:p14="http://schemas.microsoft.com/office/powerpoint/2010/main" val="15450436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4F5A4E61-0CCC-FA46-8F24-79E885FC6C55}"/>
              </a:ext>
              <a:ext uri="{C183D7F6-B498-43B3-948B-1728B52AA6E4}">
                <adec:decorative xmlns:adec="http://schemas.microsoft.com/office/drawing/2017/decorative" val="1"/>
              </a:ext>
            </a:extLst>
          </p:cNvPr>
          <p:cNvGrpSpPr/>
          <p:nvPr/>
        </p:nvGrpSpPr>
        <p:grpSpPr>
          <a:xfrm>
            <a:off x="4287604" y="944"/>
            <a:ext cx="8145276" cy="6991648"/>
            <a:chOff x="4246229" y="7238718"/>
            <a:chExt cx="7988442" cy="6857027"/>
          </a:xfrm>
        </p:grpSpPr>
        <p:sp>
          <p:nvSpPr>
            <p:cNvPr id="20" name="Rectangle 19">
              <a:extLst>
                <a:ext uri="{FF2B5EF4-FFF2-40B4-BE49-F238E27FC236}">
                  <a16:creationId xmlns:a16="http://schemas.microsoft.com/office/drawing/2014/main" id="{82B8C435-F13A-F24C-A7FD-B9A1EDC88997}"/>
                </a:ext>
                <a:ext uri="{C183D7F6-B498-43B3-948B-1728B52AA6E4}">
                  <adec:decorative xmlns:adec="http://schemas.microsoft.com/office/drawing/2017/decorative" val="1"/>
                </a:ext>
              </a:extLst>
            </p:cNvPr>
            <p:cNvSpPr/>
            <p:nvPr/>
          </p:nvSpPr>
          <p:spPr bwMode="auto">
            <a:xfrm>
              <a:off x="4246229" y="7238718"/>
              <a:ext cx="7988442" cy="6857027"/>
            </a:xfrm>
            <a:prstGeom prst="rect">
              <a:avLst/>
            </a:prstGeom>
            <a:pattFill prst="lgGrid">
              <a:fgClr>
                <a:schemeClr val="tx1"/>
              </a:fgClr>
              <a:bgClr>
                <a:schemeClr val="bg1"/>
              </a:bgClr>
            </a:pattFill>
            <a:ln w="53975" cap="sq">
              <a:noFill/>
              <a:prstDash val="solid"/>
              <a:miter lim="800000"/>
              <a:headEnd/>
              <a:tailEnd/>
            </a:ln>
          </p:spPr>
          <p:txBody>
            <a:bodyPr vert="horz" wrap="square" lIns="93222" tIns="46610" rIns="93222" bIns="46610" numCol="1" rtlCol="0" anchor="t" anchorCtr="0" compatLnSpc="1">
              <a:prstTxWarp prst="textNoShape">
                <a:avLst/>
              </a:prstTxWarp>
            </a:bodyPr>
            <a:lstStyle/>
            <a:p>
              <a:pPr defTabSz="932146">
                <a:defRPr/>
              </a:pPr>
              <a:endParaRPr lang="en-US" sz="1836">
                <a:gradFill>
                  <a:gsLst>
                    <a:gs pos="0">
                      <a:srgbClr val="505050"/>
                    </a:gs>
                    <a:gs pos="100000">
                      <a:srgbClr val="505050"/>
                    </a:gs>
                  </a:gsLst>
                </a:gradFill>
                <a:latin typeface="Segoe UI"/>
              </a:endParaRPr>
            </a:p>
          </p:txBody>
        </p:sp>
        <p:sp>
          <p:nvSpPr>
            <p:cNvPr id="21" name="Rectangle 20">
              <a:extLst>
                <a:ext uri="{FF2B5EF4-FFF2-40B4-BE49-F238E27FC236}">
                  <a16:creationId xmlns:a16="http://schemas.microsoft.com/office/drawing/2014/main" id="{5E042A88-75F2-CA4C-9ADA-8559C83D70E7}"/>
                </a:ext>
                <a:ext uri="{C183D7F6-B498-43B3-948B-1728B52AA6E4}">
                  <adec:decorative xmlns:adec="http://schemas.microsoft.com/office/drawing/2017/decorative" val="1"/>
                </a:ext>
              </a:extLst>
            </p:cNvPr>
            <p:cNvSpPr/>
            <p:nvPr/>
          </p:nvSpPr>
          <p:spPr bwMode="auto">
            <a:xfrm>
              <a:off x="4246229" y="7238718"/>
              <a:ext cx="7988442" cy="6857027"/>
            </a:xfrm>
            <a:prstGeom prst="rect">
              <a:avLst/>
            </a:prstGeom>
            <a:gradFill flip="none" rotWithShape="1">
              <a:gsLst>
                <a:gs pos="0">
                  <a:schemeClr val="bg1">
                    <a:alpha val="78000"/>
                  </a:schemeClr>
                </a:gs>
                <a:gs pos="100000">
                  <a:schemeClr val="bg1"/>
                </a:gs>
              </a:gsLst>
              <a:lin ang="10800000" scaled="1"/>
              <a:tileRect/>
            </a:gradFill>
            <a:ln w="53975" cap="sq">
              <a:noFill/>
              <a:prstDash val="solid"/>
              <a:miter lim="800000"/>
              <a:headEnd/>
              <a:tailEnd/>
            </a:ln>
          </p:spPr>
          <p:txBody>
            <a:bodyPr vert="horz" wrap="square" lIns="93222" tIns="46610" rIns="93222" bIns="46610" numCol="1" rtlCol="0" anchor="t" anchorCtr="0" compatLnSpc="1">
              <a:prstTxWarp prst="textNoShape">
                <a:avLst/>
              </a:prstTxWarp>
            </a:bodyPr>
            <a:lstStyle/>
            <a:p>
              <a:pPr defTabSz="932146">
                <a:defRPr/>
              </a:pPr>
              <a:endParaRPr lang="en-US" sz="1836">
                <a:gradFill>
                  <a:gsLst>
                    <a:gs pos="0">
                      <a:srgbClr val="505050"/>
                    </a:gs>
                    <a:gs pos="100000">
                      <a:srgbClr val="505050"/>
                    </a:gs>
                  </a:gsLst>
                </a:gradFill>
                <a:latin typeface="Segoe UI"/>
              </a:endParaRPr>
            </a:p>
          </p:txBody>
        </p:sp>
      </p:grpSp>
      <p:graphicFrame>
        <p:nvGraphicFramePr>
          <p:cNvPr id="12" name="Chart 11">
            <a:extLst>
              <a:ext uri="{FF2B5EF4-FFF2-40B4-BE49-F238E27FC236}">
                <a16:creationId xmlns:a16="http://schemas.microsoft.com/office/drawing/2014/main" id="{30A8C13F-58D0-8941-953A-717821D33361}"/>
              </a:ext>
            </a:extLst>
          </p:cNvPr>
          <p:cNvGraphicFramePr/>
          <p:nvPr>
            <p:extLst>
              <p:ext uri="{D42A27DB-BD31-4B8C-83A1-F6EECF244321}">
                <p14:modId xmlns:p14="http://schemas.microsoft.com/office/powerpoint/2010/main" val="3756874060"/>
              </p:ext>
            </p:extLst>
          </p:nvPr>
        </p:nvGraphicFramePr>
        <p:xfrm>
          <a:off x="5043463" y="-737201"/>
          <a:ext cx="7615656" cy="7741689"/>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8C526C0C-3F09-4340-888C-D1FE2866EF06}"/>
              </a:ext>
            </a:extLst>
          </p:cNvPr>
          <p:cNvSpPr>
            <a:spLocks noGrp="1"/>
          </p:cNvSpPr>
          <p:nvPr>
            <p:ph type="title" idx="4294967295"/>
          </p:nvPr>
        </p:nvSpPr>
        <p:spPr>
          <a:xfrm>
            <a:off x="922608" y="865063"/>
            <a:ext cx="7035003" cy="1130134"/>
          </a:xfrm>
        </p:spPr>
        <p:txBody>
          <a:bodyPr/>
          <a:lstStyle/>
          <a:p>
            <a:r>
              <a:rPr lang="en-US"/>
              <a:t>Power BI </a:t>
            </a:r>
            <a:br>
              <a:rPr lang="en-US"/>
            </a:br>
            <a:r>
              <a:rPr lang="en-US"/>
              <a:t>monthly active usage</a:t>
            </a:r>
          </a:p>
        </p:txBody>
      </p:sp>
      <p:sp>
        <p:nvSpPr>
          <p:cNvPr id="27" name="TextBox 26">
            <a:extLst>
              <a:ext uri="{FF2B5EF4-FFF2-40B4-BE49-F238E27FC236}">
                <a16:creationId xmlns:a16="http://schemas.microsoft.com/office/drawing/2014/main" id="{8E8EFAEB-585A-2341-A23E-D09178128FAC}"/>
              </a:ext>
            </a:extLst>
          </p:cNvPr>
          <p:cNvSpPr txBox="1"/>
          <p:nvPr/>
        </p:nvSpPr>
        <p:spPr>
          <a:xfrm>
            <a:off x="893640" y="4469900"/>
            <a:ext cx="3261131" cy="1408774"/>
          </a:xfrm>
          <a:prstGeom prst="rect">
            <a:avLst/>
          </a:prstGeom>
          <a:noFill/>
        </p:spPr>
        <p:txBody>
          <a:bodyPr wrap="none" lIns="0" tIns="0" rIns="0" bIns="0" rtlCol="0">
            <a:spAutoFit/>
          </a:bodyPr>
          <a:lstStyle/>
          <a:p>
            <a:pPr defTabSz="932146">
              <a:defRPr/>
            </a:pPr>
            <a:r>
              <a:rPr lang="en-US" sz="4896" spc="-50">
                <a:ln w="3175">
                  <a:noFill/>
                </a:ln>
                <a:solidFill>
                  <a:srgbClr val="F2C811"/>
                </a:solidFill>
                <a:latin typeface="Segoe UI Semibold"/>
                <a:cs typeface="Segoe UI" pitchFamily="34" charset="0"/>
              </a:rPr>
              <a:t>300k+</a:t>
            </a:r>
            <a:br>
              <a:rPr lang="en-US" sz="5506" spc="-50">
                <a:ln w="3175">
                  <a:noFill/>
                </a:ln>
                <a:gradFill flip="none" rotWithShape="1">
                  <a:gsLst>
                    <a:gs pos="0">
                      <a:srgbClr val="50E6FF"/>
                    </a:gs>
                    <a:gs pos="100000">
                      <a:srgbClr val="0078D4"/>
                    </a:gs>
                  </a:gsLst>
                  <a:lin ang="18900000" scaled="1"/>
                  <a:tileRect/>
                </a:gradFill>
                <a:latin typeface="Segoe UI Semibold"/>
                <a:cs typeface="Segoe UI" pitchFamily="34" charset="0"/>
              </a:rPr>
            </a:br>
            <a:r>
              <a:rPr lang="en-US" sz="4080">
                <a:solidFill>
                  <a:srgbClr val="000000"/>
                </a:solidFill>
                <a:latin typeface="Segoe UI"/>
              </a:rPr>
              <a:t>Organizations</a:t>
            </a:r>
          </a:p>
        </p:txBody>
      </p:sp>
      <p:sp>
        <p:nvSpPr>
          <p:cNvPr id="3" name="Freeform 2" descr="Upward pointing arrow">
            <a:extLst>
              <a:ext uri="{FF2B5EF4-FFF2-40B4-BE49-F238E27FC236}">
                <a16:creationId xmlns:a16="http://schemas.microsoft.com/office/drawing/2014/main" id="{76B2A0B7-509C-3B47-836F-A4B72E7EF7A7}"/>
              </a:ext>
            </a:extLst>
          </p:cNvPr>
          <p:cNvSpPr/>
          <p:nvPr/>
        </p:nvSpPr>
        <p:spPr bwMode="auto">
          <a:xfrm>
            <a:off x="5839842" y="470742"/>
            <a:ext cx="5674024" cy="5656703"/>
          </a:xfrm>
          <a:custGeom>
            <a:avLst/>
            <a:gdLst>
              <a:gd name="connsiteX0" fmla="*/ 0 w 5706836"/>
              <a:gd name="connsiteY0" fmla="*/ 4049486 h 4049486"/>
              <a:gd name="connsiteX1" fmla="*/ 3567793 w 5706836"/>
              <a:gd name="connsiteY1" fmla="*/ 2898321 h 4049486"/>
              <a:gd name="connsiteX2" fmla="*/ 5706836 w 5706836"/>
              <a:gd name="connsiteY2" fmla="*/ 0 h 4049486"/>
              <a:gd name="connsiteX0" fmla="*/ 0 w 5706836"/>
              <a:gd name="connsiteY0" fmla="*/ 4049486 h 4049486"/>
              <a:gd name="connsiteX1" fmla="*/ 3579277 w 5706836"/>
              <a:gd name="connsiteY1" fmla="*/ 2814046 h 4049486"/>
              <a:gd name="connsiteX2" fmla="*/ 5706836 w 5706836"/>
              <a:gd name="connsiteY2" fmla="*/ 0 h 4049486"/>
              <a:gd name="connsiteX0" fmla="*/ 0 w 5649414"/>
              <a:gd name="connsiteY0" fmla="*/ 4165365 h 4165365"/>
              <a:gd name="connsiteX1" fmla="*/ 3521855 w 5649414"/>
              <a:gd name="connsiteY1" fmla="*/ 2814046 h 4165365"/>
              <a:gd name="connsiteX2" fmla="*/ 5649414 w 5649414"/>
              <a:gd name="connsiteY2" fmla="*/ 0 h 4165365"/>
              <a:gd name="connsiteX0" fmla="*/ 0 w 5649414"/>
              <a:gd name="connsiteY0" fmla="*/ 4165365 h 4165365"/>
              <a:gd name="connsiteX1" fmla="*/ 3371542 w 5649414"/>
              <a:gd name="connsiteY1" fmla="*/ 2701102 h 4165365"/>
              <a:gd name="connsiteX2" fmla="*/ 5649414 w 5649414"/>
              <a:gd name="connsiteY2" fmla="*/ 0 h 4165365"/>
              <a:gd name="connsiteX0" fmla="*/ 0 w 5758732"/>
              <a:gd name="connsiteY0" fmla="*/ 4086305 h 4086305"/>
              <a:gd name="connsiteX1" fmla="*/ 3480860 w 5758732"/>
              <a:gd name="connsiteY1" fmla="*/ 2701102 h 4086305"/>
              <a:gd name="connsiteX2" fmla="*/ 5758732 w 5758732"/>
              <a:gd name="connsiteY2" fmla="*/ 0 h 4086305"/>
              <a:gd name="connsiteX0" fmla="*/ 0 w 5758732"/>
              <a:gd name="connsiteY0" fmla="*/ 4086305 h 4086305"/>
              <a:gd name="connsiteX1" fmla="*/ 3480860 w 5758732"/>
              <a:gd name="connsiteY1" fmla="*/ 2723690 h 4086305"/>
              <a:gd name="connsiteX2" fmla="*/ 5758732 w 5758732"/>
              <a:gd name="connsiteY2" fmla="*/ 0 h 4086305"/>
              <a:gd name="connsiteX0" fmla="*/ 0 w 5950038"/>
              <a:gd name="connsiteY0" fmla="*/ 4007245 h 4007245"/>
              <a:gd name="connsiteX1" fmla="*/ 3480860 w 5950038"/>
              <a:gd name="connsiteY1" fmla="*/ 2644630 h 4007245"/>
              <a:gd name="connsiteX2" fmla="*/ 5950038 w 5950038"/>
              <a:gd name="connsiteY2" fmla="*/ 0 h 4007245"/>
              <a:gd name="connsiteX0" fmla="*/ 0 w 5950038"/>
              <a:gd name="connsiteY0" fmla="*/ 4007245 h 4007245"/>
              <a:gd name="connsiteX1" fmla="*/ 3480860 w 5950038"/>
              <a:gd name="connsiteY1" fmla="*/ 2644630 h 4007245"/>
              <a:gd name="connsiteX2" fmla="*/ 5950038 w 5950038"/>
              <a:gd name="connsiteY2" fmla="*/ 0 h 4007245"/>
              <a:gd name="connsiteX0" fmla="*/ 0 w 5950038"/>
              <a:gd name="connsiteY0" fmla="*/ 4007245 h 4007245"/>
              <a:gd name="connsiteX1" fmla="*/ 3480860 w 5950038"/>
              <a:gd name="connsiteY1" fmla="*/ 2644630 h 4007245"/>
              <a:gd name="connsiteX2" fmla="*/ 5950038 w 5950038"/>
              <a:gd name="connsiteY2" fmla="*/ 0 h 4007245"/>
              <a:gd name="connsiteX0" fmla="*/ 0 w 5950038"/>
              <a:gd name="connsiteY0" fmla="*/ 3984656 h 3984656"/>
              <a:gd name="connsiteX1" fmla="*/ 3480860 w 5950038"/>
              <a:gd name="connsiteY1" fmla="*/ 2622041 h 3984656"/>
              <a:gd name="connsiteX2" fmla="*/ 5950038 w 5950038"/>
              <a:gd name="connsiteY2" fmla="*/ 0 h 3984656"/>
              <a:gd name="connsiteX0" fmla="*/ 0 w 5950038"/>
              <a:gd name="connsiteY0" fmla="*/ 3984656 h 3984656"/>
              <a:gd name="connsiteX1" fmla="*/ 3412537 w 5950038"/>
              <a:gd name="connsiteY1" fmla="*/ 2667218 h 3984656"/>
              <a:gd name="connsiteX2" fmla="*/ 5950038 w 5950038"/>
              <a:gd name="connsiteY2" fmla="*/ 0 h 3984656"/>
              <a:gd name="connsiteX0" fmla="*/ 0 w 6018362"/>
              <a:gd name="connsiteY0" fmla="*/ 3962067 h 3962067"/>
              <a:gd name="connsiteX1" fmla="*/ 3480861 w 6018362"/>
              <a:gd name="connsiteY1" fmla="*/ 2667218 h 3962067"/>
              <a:gd name="connsiteX2" fmla="*/ 6018362 w 6018362"/>
              <a:gd name="connsiteY2" fmla="*/ 0 h 3962067"/>
              <a:gd name="connsiteX0" fmla="*/ 0 w 6086685"/>
              <a:gd name="connsiteY0" fmla="*/ 3928184 h 3928184"/>
              <a:gd name="connsiteX1" fmla="*/ 3549184 w 6086685"/>
              <a:gd name="connsiteY1" fmla="*/ 2667218 h 3928184"/>
              <a:gd name="connsiteX2" fmla="*/ 6086685 w 6086685"/>
              <a:gd name="connsiteY2" fmla="*/ 0 h 3928184"/>
            </a:gdLst>
            <a:ahLst/>
            <a:cxnLst>
              <a:cxn ang="0">
                <a:pos x="connsiteX0" y="connsiteY0"/>
              </a:cxn>
              <a:cxn ang="0">
                <a:pos x="connsiteX1" y="connsiteY1"/>
              </a:cxn>
              <a:cxn ang="0">
                <a:pos x="connsiteX2" y="connsiteY2"/>
              </a:cxn>
            </a:cxnLst>
            <a:rect l="l" t="t" r="r" b="b"/>
            <a:pathLst>
              <a:path w="6086685" h="3928184">
                <a:moveTo>
                  <a:pt x="0" y="3928184"/>
                </a:moveTo>
                <a:cubicBezTo>
                  <a:pt x="1308327" y="3690058"/>
                  <a:pt x="2598045" y="3342132"/>
                  <a:pt x="3549184" y="2667218"/>
                </a:cubicBezTo>
                <a:cubicBezTo>
                  <a:pt x="4500323" y="1992304"/>
                  <a:pt x="5260432" y="1179468"/>
                  <a:pt x="6086685" y="0"/>
                </a:cubicBezTo>
              </a:path>
            </a:pathLst>
          </a:custGeom>
          <a:noFill/>
          <a:ln w="123825">
            <a:solidFill>
              <a:srgbClr val="FFC000"/>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291">
              <a:defRPr/>
            </a:pPr>
            <a:endParaRPr lang="en-US">
              <a:solidFill>
                <a:srgbClr val="FFFFFF"/>
              </a:solidFill>
              <a:latin typeface="Segoe UI"/>
            </a:endParaRPr>
          </a:p>
        </p:txBody>
      </p:sp>
      <p:sp>
        <p:nvSpPr>
          <p:cNvPr id="4" name="TextBox 3">
            <a:extLst>
              <a:ext uri="{FF2B5EF4-FFF2-40B4-BE49-F238E27FC236}">
                <a16:creationId xmlns:a16="http://schemas.microsoft.com/office/drawing/2014/main" id="{2BA66311-60F0-7F41-AFFC-679A90C63D53}"/>
              </a:ext>
            </a:extLst>
          </p:cNvPr>
          <p:cNvSpPr txBox="1"/>
          <p:nvPr/>
        </p:nvSpPr>
        <p:spPr>
          <a:xfrm>
            <a:off x="922607" y="2644084"/>
            <a:ext cx="4003918" cy="1408774"/>
          </a:xfrm>
          <a:prstGeom prst="rect">
            <a:avLst/>
          </a:prstGeom>
          <a:noFill/>
        </p:spPr>
        <p:txBody>
          <a:bodyPr wrap="square" lIns="0" tIns="0" rIns="0" bIns="0" rtlCol="0">
            <a:spAutoFit/>
          </a:bodyPr>
          <a:lstStyle/>
          <a:p>
            <a:pPr defTabSz="932504">
              <a:defRPr/>
            </a:pPr>
            <a:r>
              <a:rPr lang="en-US" sz="4896" spc="-50">
                <a:ln w="3175">
                  <a:noFill/>
                </a:ln>
                <a:solidFill>
                  <a:srgbClr val="F2C811"/>
                </a:solidFill>
                <a:latin typeface="Segoe UI Semibold"/>
                <a:cs typeface="Segoe UI" pitchFamily="34" charset="0"/>
              </a:rPr>
              <a:t>6 years </a:t>
            </a:r>
            <a:br>
              <a:rPr lang="en-US" sz="5506" spc="-50">
                <a:ln w="3175">
                  <a:noFill/>
                </a:ln>
                <a:gradFill flip="none" rotWithShape="1">
                  <a:gsLst>
                    <a:gs pos="0">
                      <a:srgbClr val="50E6FF"/>
                    </a:gs>
                    <a:gs pos="100000">
                      <a:srgbClr val="0078D4"/>
                    </a:gs>
                  </a:gsLst>
                  <a:lin ang="18900000" scaled="1"/>
                  <a:tileRect/>
                </a:gradFill>
                <a:latin typeface="Segoe UI Semibold"/>
                <a:cs typeface="Segoe UI" pitchFamily="34" charset="0"/>
              </a:rPr>
            </a:br>
            <a:r>
              <a:rPr lang="en-US" sz="4080">
                <a:solidFill>
                  <a:srgbClr val="000000"/>
                </a:solidFill>
                <a:latin typeface="Segoe UI"/>
              </a:rPr>
              <a:t>of rapid growth</a:t>
            </a:r>
          </a:p>
        </p:txBody>
      </p:sp>
    </p:spTree>
    <p:extLst>
      <p:ext uri="{BB962C8B-B14F-4D97-AF65-F5344CB8AC3E}">
        <p14:creationId xmlns:p14="http://schemas.microsoft.com/office/powerpoint/2010/main" val="42063706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par>
                                <p:cTn id="8" presetID="10" presetClass="entr" presetSubtype="0" accel="50000" decel="5000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1000"/>
                                        <p:tgtEl>
                                          <p:spTgt spid="3"/>
                                        </p:tgtEl>
                                      </p:cBhvr>
                                    </p:animEffect>
                                  </p:childTnLst>
                                </p:cTn>
                              </p:par>
                              <p:par>
                                <p:cTn id="11" presetID="42" presetClass="path" presetSubtype="0" accel="50000" decel="50000" fill="hold" grpId="1" nodeType="withEffect">
                                  <p:stCondLst>
                                    <p:cond delay="0"/>
                                  </p:stCondLst>
                                  <p:childTnLst>
                                    <p:animMotion origin="layout" path="M 4.79167E-6 1.48148E-6 L -0.0129 0.03426 " pathEditMode="relative" rAng="0" ptsTypes="AA">
                                      <p:cBhvr>
                                        <p:cTn id="12" dur="1000" spd="-100000" fill="hold"/>
                                        <p:tgtEl>
                                          <p:spTgt spid="3"/>
                                        </p:tgtEl>
                                        <p:attrNameLst>
                                          <p:attrName>ppt_x</p:attrName>
                                          <p:attrName>ppt_y</p:attrName>
                                        </p:attrNameLst>
                                      </p:cBhvr>
                                      <p:rCtr x="-651" y="1713"/>
                                    </p:animMotion>
                                  </p:childTnLst>
                                </p:cTn>
                              </p:par>
                              <p:par>
                                <p:cTn id="13" presetID="10" presetClass="entr" presetSubtype="0" fill="hold" grpId="0" nodeType="with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750"/>
                                        <p:tgtEl>
                                          <p:spTgt spid="4"/>
                                        </p:tgtEl>
                                      </p:cBhvr>
                                    </p:animEffect>
                                  </p:childTnLst>
                                </p:cTn>
                              </p:par>
                              <p:par>
                                <p:cTn id="16" presetID="42" presetClass="path" presetSubtype="0" decel="100000" fill="hold" grpId="1" nodeType="withEffect">
                                  <p:stCondLst>
                                    <p:cond delay="0"/>
                                  </p:stCondLst>
                                  <p:childTnLst>
                                    <p:animMotion origin="layout" path="M 3.95833E-6 -3.7037E-7 L 3.95833E-6 0.03773 " pathEditMode="relative" rAng="0" ptsTypes="AA">
                                      <p:cBhvr>
                                        <p:cTn id="17" dur="750" spd="-100000" fill="hold"/>
                                        <p:tgtEl>
                                          <p:spTgt spid="4"/>
                                        </p:tgtEl>
                                        <p:attrNameLst>
                                          <p:attrName>ppt_x</p:attrName>
                                          <p:attrName>ppt_y</p:attrName>
                                        </p:attrNameLst>
                                      </p:cBhvr>
                                      <p:rCtr x="0" y="1875"/>
                                    </p:animMotion>
                                  </p:childTnLst>
                                </p:cTn>
                              </p:par>
                              <p:par>
                                <p:cTn id="18" presetID="10" presetClass="entr" presetSubtype="0" fill="hold" grpId="0" nodeType="withEffect">
                                  <p:stCondLst>
                                    <p:cond delay="200"/>
                                  </p:stCondLst>
                                  <p:childTnLst>
                                    <p:set>
                                      <p:cBhvr>
                                        <p:cTn id="19" dur="1" fill="hold">
                                          <p:stCondLst>
                                            <p:cond delay="0"/>
                                          </p:stCondLst>
                                        </p:cTn>
                                        <p:tgtEl>
                                          <p:spTgt spid="27"/>
                                        </p:tgtEl>
                                        <p:attrNameLst>
                                          <p:attrName>style.visibility</p:attrName>
                                        </p:attrNameLst>
                                      </p:cBhvr>
                                      <p:to>
                                        <p:strVal val="visible"/>
                                      </p:to>
                                    </p:set>
                                    <p:animEffect transition="in" filter="fade">
                                      <p:cBhvr>
                                        <p:cTn id="20" dur="750"/>
                                        <p:tgtEl>
                                          <p:spTgt spid="27"/>
                                        </p:tgtEl>
                                      </p:cBhvr>
                                    </p:animEffect>
                                  </p:childTnLst>
                                </p:cTn>
                              </p:par>
                              <p:par>
                                <p:cTn id="21" presetID="42" presetClass="path" presetSubtype="0" decel="100000" fill="hold" grpId="1" nodeType="withEffect">
                                  <p:stCondLst>
                                    <p:cond delay="200"/>
                                  </p:stCondLst>
                                  <p:childTnLst>
                                    <p:animMotion origin="layout" path="M -6.25E-7 -1.48148E-6 L -6.25E-7 0.03773 " pathEditMode="relative" rAng="0" ptsTypes="AA">
                                      <p:cBhvr>
                                        <p:cTn id="22" dur="750" spd="-100000" fill="hold"/>
                                        <p:tgtEl>
                                          <p:spTgt spid="27"/>
                                        </p:tgtEl>
                                        <p:attrNameLst>
                                          <p:attrName>ppt_x</p:attrName>
                                          <p:attrName>ppt_y</p:attrName>
                                        </p:attrNameLst>
                                      </p:cBhvr>
                                      <p:rCtr x="0" y="1875"/>
                                    </p:animMotion>
                                  </p:childTnLst>
                                </p:cTn>
                              </p:par>
                              <p:par>
                                <p:cTn id="23" presetID="22" presetClass="entr" presetSubtype="4"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wipe(down)">
                                      <p:cBhvr>
                                        <p:cTn id="25" dur="1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2" grpId="0">
        <p:bldAsOne/>
      </p:bldGraphic>
      <p:bldP spid="2" grpId="0"/>
      <p:bldP spid="27" grpId="0"/>
      <p:bldP spid="27" grpId="1"/>
      <p:bldP spid="3" grpId="0" animBg="1"/>
      <p:bldP spid="3" grpId="1" animBg="1"/>
      <p:bldP spid="4" grpId="0"/>
      <p:bldP spid="4" grpId="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2747736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9302" y="2307272"/>
            <a:ext cx="11237870" cy="2246256"/>
          </a:xfrm>
        </p:spPr>
        <p:txBody>
          <a:bodyPr/>
          <a:lstStyle/>
          <a:p>
            <a:r>
              <a:rPr lang="en-US" sz="3649">
                <a:ea typeface="Times New Roman" panose="02020603050405020304" pitchFamily="18" charset="0"/>
                <a:cs typeface="Segoe UI"/>
              </a:rPr>
              <a:t>Model considerations:</a:t>
            </a:r>
            <a:br>
              <a:rPr lang="en-US" sz="3649">
                <a:ea typeface="Times New Roman" panose="02020603050405020304" pitchFamily="18" charset="0"/>
                <a:cs typeface="Segoe UI"/>
              </a:rPr>
            </a:br>
            <a:r>
              <a:rPr lang="en-US" sz="3649">
                <a:latin typeface="+mn-lt"/>
                <a:ea typeface="Times New Roman" panose="02020603050405020304" pitchFamily="18" charset="0"/>
                <a:cs typeface="Segoe UI"/>
              </a:rPr>
              <a:t>Vertipaq Analyzer</a:t>
            </a:r>
            <a:br>
              <a:rPr lang="en-US" sz="3649">
                <a:latin typeface="+mn-lt"/>
                <a:ea typeface="Times New Roman" panose="02020603050405020304" pitchFamily="18" charset="0"/>
                <a:cs typeface="Segoe UI"/>
              </a:rPr>
            </a:br>
            <a:r>
              <a:rPr lang="en-US" sz="3649">
                <a:latin typeface="+mn-lt"/>
                <a:ea typeface="Times New Roman" panose="02020603050405020304" pitchFamily="18" charset="0"/>
                <a:cs typeface="Segoe UI"/>
              </a:rPr>
              <a:t>High Cardinality Columns</a:t>
            </a:r>
            <a:br>
              <a:rPr lang="en-US" sz="3649">
                <a:latin typeface="+mn-lt"/>
                <a:ea typeface="Times New Roman" panose="02020603050405020304" pitchFamily="18" charset="0"/>
                <a:cs typeface="Segoe UI"/>
              </a:rPr>
            </a:br>
            <a:r>
              <a:rPr lang="en-US" sz="3649">
                <a:latin typeface="+mn-lt"/>
                <a:ea typeface="Times New Roman" panose="02020603050405020304" pitchFamily="18" charset="0"/>
                <a:cs typeface="Segoe UI"/>
              </a:rPr>
              <a:t>Relationships</a:t>
            </a:r>
            <a:endParaRPr lang="en-US" sz="4399">
              <a:cs typeface="Segoe UI"/>
            </a:endParaRPr>
          </a:p>
        </p:txBody>
      </p:sp>
    </p:spTree>
    <p:extLst>
      <p:ext uri="{BB962C8B-B14F-4D97-AF65-F5344CB8AC3E}">
        <p14:creationId xmlns:p14="http://schemas.microsoft.com/office/powerpoint/2010/main" val="3840406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DAX Studio</a:t>
            </a:r>
            <a:endParaRPr lang="en-US">
              <a:gradFill>
                <a:gsLst>
                  <a:gs pos="1250">
                    <a:srgbClr val="000000"/>
                  </a:gs>
                  <a:gs pos="100000">
                    <a:srgbClr val="000000"/>
                  </a:gs>
                </a:gsLst>
                <a:lin ang="5400000" scaled="0"/>
              </a:gradFill>
            </a:endParaRPr>
          </a:p>
        </p:txBody>
      </p:sp>
      <p:pic>
        <p:nvPicPr>
          <p:cNvPr id="6" name="Picture 5">
            <a:extLst>
              <a:ext uri="{FF2B5EF4-FFF2-40B4-BE49-F238E27FC236}">
                <a16:creationId xmlns:a16="http://schemas.microsoft.com/office/drawing/2014/main" id="{4C66E6F6-63BA-4A31-959D-66B8D18E8064}"/>
              </a:ext>
            </a:extLst>
          </p:cNvPr>
          <p:cNvPicPr>
            <a:picLocks noChangeAspect="1"/>
          </p:cNvPicPr>
          <p:nvPr/>
        </p:nvPicPr>
        <p:blipFill>
          <a:blip r:embed="rId2"/>
          <a:stretch>
            <a:fillRect/>
          </a:stretch>
        </p:blipFill>
        <p:spPr>
          <a:xfrm>
            <a:off x="5114565" y="1415609"/>
            <a:ext cx="6906855" cy="5282732"/>
          </a:xfrm>
          <a:prstGeom prst="rect">
            <a:avLst/>
          </a:prstGeom>
          <a:ln>
            <a:solidFill>
              <a:schemeClr val="tx1">
                <a:lumMod val="50000"/>
                <a:lumOff val="50000"/>
              </a:schemeClr>
            </a:solidFill>
          </a:ln>
        </p:spPr>
      </p:pic>
      <p:sp>
        <p:nvSpPr>
          <p:cNvPr id="7" name="TextBox 6">
            <a:extLst>
              <a:ext uri="{FF2B5EF4-FFF2-40B4-BE49-F238E27FC236}">
                <a16:creationId xmlns:a16="http://schemas.microsoft.com/office/drawing/2014/main" id="{BDB864D8-7651-4D9F-B2D7-EC87B1FADD4A}"/>
              </a:ext>
            </a:extLst>
          </p:cNvPr>
          <p:cNvSpPr txBox="1"/>
          <p:nvPr/>
        </p:nvSpPr>
        <p:spPr>
          <a:xfrm>
            <a:off x="413468" y="1415609"/>
            <a:ext cx="4253947" cy="4308872"/>
          </a:xfrm>
          <a:prstGeom prst="rect">
            <a:avLst/>
          </a:prstGeom>
          <a:noFill/>
        </p:spPr>
        <p:txBody>
          <a:bodyPr wrap="square" lIns="0" tIns="0" rIns="0" bIns="0" rtlCol="0">
            <a:spAutoFit/>
          </a:bodyPr>
          <a:lstStyle/>
          <a:p>
            <a:pPr algn="l"/>
            <a:r>
              <a:rPr lang="en-US" sz="2000" b="1">
                <a:gradFill>
                  <a:gsLst>
                    <a:gs pos="2917">
                      <a:srgbClr val="505050"/>
                    </a:gs>
                    <a:gs pos="30000">
                      <a:srgbClr val="505050"/>
                    </a:gs>
                  </a:gsLst>
                  <a:lin ang="5400000" scaled="0"/>
                </a:gradFill>
              </a:rPr>
              <a:t>DAX Studio </a:t>
            </a:r>
            <a:r>
              <a:rPr lang="en-US" sz="2000" b="0" i="0">
                <a:solidFill>
                  <a:srgbClr val="24292F"/>
                </a:solidFill>
                <a:effectLst/>
              </a:rPr>
              <a:t>is a tool to write, execute, and analyze DAX queries in Power BI Desktop, Power Pivot for Excel, and Analysis Services Tabular. </a:t>
            </a:r>
          </a:p>
          <a:p>
            <a:pPr algn="l"/>
            <a:endParaRPr lang="en-US" sz="2000">
              <a:solidFill>
                <a:srgbClr val="24292F"/>
              </a:solidFill>
            </a:endParaRPr>
          </a:p>
          <a:p>
            <a:pPr algn="l"/>
            <a:r>
              <a:rPr lang="en-US" sz="2000" b="0" i="0">
                <a:solidFill>
                  <a:srgbClr val="24292F"/>
                </a:solidFill>
                <a:effectLst/>
              </a:rPr>
              <a:t>It includes an Object Browser, query editing and execution, formula and measure editing, syntax highlighting and formatting, integrated tracing, query execution breakdowns and viewing model metrics.</a:t>
            </a:r>
          </a:p>
          <a:p>
            <a:pPr algn="l"/>
            <a:endParaRPr lang="en-US" sz="2000" b="0" i="0">
              <a:solidFill>
                <a:srgbClr val="24292F"/>
              </a:solidFill>
              <a:effectLst/>
            </a:endParaRPr>
          </a:p>
          <a:p>
            <a:pPr algn="l"/>
            <a:r>
              <a:rPr lang="en-US" sz="2000" b="0" i="0">
                <a:solidFill>
                  <a:srgbClr val="24292F"/>
                </a:solidFill>
                <a:effectLst/>
              </a:rPr>
              <a:t>Website: </a:t>
            </a:r>
            <a:r>
              <a:rPr lang="en-US" sz="2000" b="0" i="0" u="none" strike="noStrike">
                <a:solidFill>
                  <a:srgbClr val="24292F"/>
                </a:solidFill>
                <a:effectLst/>
                <a:hlinkClick r:id="rId3"/>
              </a:rPr>
              <a:t>https://daxstudio.org/</a:t>
            </a:r>
            <a:endParaRPr lang="en-US" sz="2000" b="0" i="0">
              <a:solidFill>
                <a:srgbClr val="24292F"/>
              </a:solidFill>
              <a:effectLst/>
            </a:endParaRPr>
          </a:p>
          <a:p>
            <a:pPr algn="l"/>
            <a:endParaRPr lang="en-US" sz="2000"/>
          </a:p>
        </p:txBody>
      </p:sp>
    </p:spTree>
    <p:extLst>
      <p:ext uri="{BB962C8B-B14F-4D97-AF65-F5344CB8AC3E}">
        <p14:creationId xmlns:p14="http://schemas.microsoft.com/office/powerpoint/2010/main" val="150057675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Vertipaq Analyzer</a:t>
            </a:r>
            <a:endParaRPr lang="en-US" sz="4080" spc="0">
              <a:solidFill>
                <a:srgbClr val="FFC000"/>
              </a:solidFill>
            </a:endParaRPr>
          </a:p>
        </p:txBody>
      </p: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7"/>
            <a:ext cx="3547050" cy="4678311"/>
          </a:xfrm>
        </p:spPr>
        <p:txBody>
          <a:bodyPr vert="horz" wrap="square" lIns="91428" tIns="45714" rIns="91428" bIns="45714" rtlCol="0" anchor="t">
            <a:normAutofit/>
          </a:bodyPr>
          <a:lstStyle/>
          <a:p>
            <a:pPr marL="466043" indent="-466043">
              <a:buFont typeface="+mj-lt"/>
              <a:buAutoNum type="arabicPeriod"/>
            </a:pPr>
            <a:r>
              <a:rPr lang="en-US" sz="2400" b="1">
                <a:gradFill>
                  <a:gsLst>
                    <a:gs pos="2917">
                      <a:srgbClr val="505050"/>
                    </a:gs>
                    <a:gs pos="30000">
                      <a:srgbClr val="505050"/>
                    </a:gs>
                  </a:gsLst>
                  <a:lin ang="5400000" scaled="0"/>
                </a:gradFill>
                <a:latin typeface="Segoe UI"/>
              </a:rPr>
              <a:t>Available in:</a:t>
            </a:r>
          </a:p>
          <a:p>
            <a:pPr marL="699065" lvl="1" indent="-233022"/>
            <a:r>
              <a:rPr lang="en-US" sz="1800">
                <a:gradFill>
                  <a:gsLst>
                    <a:gs pos="2917">
                      <a:srgbClr val="505050"/>
                    </a:gs>
                    <a:gs pos="30000">
                      <a:srgbClr val="505050"/>
                    </a:gs>
                  </a:gsLst>
                  <a:lin ang="5400000" scaled="0"/>
                </a:gradFill>
                <a:latin typeface="Segoe UI"/>
              </a:rPr>
              <a:t>DAX Studio</a:t>
            </a:r>
          </a:p>
          <a:p>
            <a:pPr marL="699065" lvl="1" indent="-233022"/>
            <a:r>
              <a:rPr lang="en-US" sz="1800">
                <a:gradFill>
                  <a:gsLst>
                    <a:gs pos="2917">
                      <a:srgbClr val="505050"/>
                    </a:gs>
                    <a:gs pos="30000">
                      <a:srgbClr val="505050"/>
                    </a:gs>
                  </a:gsLst>
                  <a:lin ang="5400000" scaled="0"/>
                </a:gradFill>
                <a:latin typeface="Segoe UI"/>
              </a:rPr>
              <a:t>Excel</a:t>
            </a:r>
          </a:p>
          <a:p>
            <a:pPr marL="699065" lvl="1" indent="-233022"/>
            <a:r>
              <a:rPr lang="en-US" sz="1800">
                <a:gradFill>
                  <a:gsLst>
                    <a:gs pos="2917">
                      <a:srgbClr val="505050"/>
                    </a:gs>
                    <a:gs pos="30000">
                      <a:srgbClr val="505050"/>
                    </a:gs>
                  </a:gsLst>
                  <a:lin ang="5400000" scaled="0"/>
                </a:gradFill>
                <a:latin typeface="Segoe UI"/>
              </a:rPr>
              <a:t>Tabular Editor</a:t>
            </a:r>
          </a:p>
          <a:p>
            <a:pPr marL="699065" lvl="1" indent="-233022"/>
            <a:endParaRPr lang="en-US" sz="1800">
              <a:gradFill>
                <a:gsLst>
                  <a:gs pos="2917">
                    <a:srgbClr val="505050"/>
                  </a:gs>
                  <a:gs pos="30000">
                    <a:srgbClr val="505050"/>
                  </a:gs>
                </a:gsLst>
                <a:lin ang="5400000" scaled="0"/>
              </a:gradFill>
              <a:latin typeface="Segoe UI"/>
              <a:cs typeface="Segoe UI"/>
            </a:endParaRPr>
          </a:p>
          <a:p>
            <a:pPr marL="466043" indent="-466043">
              <a:buFont typeface="+mj-lt"/>
              <a:buAutoNum type="arabicPeriod"/>
            </a:pPr>
            <a:r>
              <a:rPr lang="en-US" sz="2400" b="1">
                <a:gradFill>
                  <a:gsLst>
                    <a:gs pos="2917">
                      <a:srgbClr val="505050"/>
                    </a:gs>
                    <a:gs pos="30000">
                      <a:srgbClr val="505050"/>
                    </a:gs>
                  </a:gsLst>
                  <a:lin ang="5400000" scaled="0"/>
                </a:gradFill>
                <a:latin typeface="Segoe UI"/>
              </a:rPr>
              <a:t>Great for:</a:t>
            </a:r>
            <a:endParaRPr lang="en-US" sz="2400" b="1">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Optimizing Model Size</a:t>
            </a:r>
          </a:p>
          <a:p>
            <a:pPr marL="699065" lvl="1" indent="-233022"/>
            <a:r>
              <a:rPr lang="en-US" sz="1800">
                <a:gradFill>
                  <a:gsLst>
                    <a:gs pos="2917">
                      <a:srgbClr val="505050"/>
                    </a:gs>
                    <a:gs pos="30000">
                      <a:srgbClr val="505050"/>
                    </a:gs>
                  </a:gsLst>
                  <a:lin ang="5400000" scaled="0"/>
                </a:gradFill>
                <a:latin typeface="Segoe UI"/>
                <a:cs typeface="Segoe UI"/>
              </a:rPr>
              <a:t>Analyze Model</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Identifying High Cardinality Columns</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Model Siz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Memory Usag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Encoding</a:t>
            </a:r>
          </a:p>
        </p:txBody>
      </p:sp>
      <p:grpSp>
        <p:nvGrpSpPr>
          <p:cNvPr id="2" name="Group 1">
            <a:extLst>
              <a:ext uri="{FF2B5EF4-FFF2-40B4-BE49-F238E27FC236}">
                <a16:creationId xmlns:a16="http://schemas.microsoft.com/office/drawing/2014/main" id="{395E36DF-9B8E-4B1D-BBBE-6E3424071EE4}"/>
              </a:ext>
            </a:extLst>
          </p:cNvPr>
          <p:cNvGrpSpPr/>
          <p:nvPr/>
        </p:nvGrpSpPr>
        <p:grpSpPr>
          <a:xfrm>
            <a:off x="4535424" y="1631427"/>
            <a:ext cx="7899288" cy="4670917"/>
            <a:chOff x="4535424" y="1398832"/>
            <a:chExt cx="7899288" cy="4670917"/>
          </a:xfrm>
        </p:grpSpPr>
        <p:pic>
          <p:nvPicPr>
            <p:cNvPr id="1026" name="Picture 2">
              <a:extLst>
                <a:ext uri="{FF2B5EF4-FFF2-40B4-BE49-F238E27FC236}">
                  <a16:creationId xmlns:a16="http://schemas.microsoft.com/office/drawing/2014/main" id="{9D4DD5E3-3A54-447F-90AA-E8495AAD7DC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36475"/>
            <a:stretch/>
          </p:blipFill>
          <p:spPr bwMode="auto">
            <a:xfrm>
              <a:off x="4535424" y="1398832"/>
              <a:ext cx="7899288" cy="2571750"/>
            </a:xfrm>
            <a:prstGeom prst="rect">
              <a:avLst/>
            </a:prstGeom>
            <a:noFill/>
            <a:ln>
              <a:solidFill>
                <a:schemeClr val="tx1">
                  <a:lumMod val="50000"/>
                  <a:lumOff val="50000"/>
                </a:schemeClr>
              </a:solidFill>
            </a:ln>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07012CDD-F77D-4506-90DA-D4A35B2567E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79763" y="3812324"/>
              <a:ext cx="7315200" cy="2257425"/>
            </a:xfrm>
            <a:prstGeom prst="rect">
              <a:avLst/>
            </a:prstGeom>
            <a:noFill/>
            <a:ln>
              <a:solidFill>
                <a:schemeClr val="tx1">
                  <a:lumMod val="50000"/>
                  <a:lumOff val="50000"/>
                </a:schemeClr>
              </a:solidFill>
            </a:ln>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39036651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High Cardinality Columns</a:t>
            </a:r>
            <a:endParaRPr lang="en-US" sz="4080" spc="0">
              <a:solidFill>
                <a:srgbClr val="FFC000"/>
              </a:solidFill>
            </a:endParaRPr>
          </a:p>
        </p:txBody>
      </p: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8"/>
            <a:ext cx="4579662" cy="2572928"/>
          </a:xfrm>
        </p:spPr>
        <p:txBody>
          <a:bodyPr vert="horz" wrap="square" lIns="91428" tIns="45714" rIns="91428" bIns="45714" rtlCol="0" anchor="t">
            <a:normAutofit/>
          </a:bodyPr>
          <a:lstStyle/>
          <a:p>
            <a:pPr marL="466043" indent="-466043">
              <a:buFont typeface="+mj-lt"/>
              <a:buAutoNum type="arabicPeriod"/>
            </a:pPr>
            <a:r>
              <a:rPr lang="en-US" sz="2400">
                <a:gradFill>
                  <a:gsLst>
                    <a:gs pos="2917">
                      <a:srgbClr val="505050"/>
                    </a:gs>
                    <a:gs pos="30000">
                      <a:srgbClr val="505050"/>
                    </a:gs>
                  </a:gsLst>
                  <a:lin ang="5400000" scaled="0"/>
                </a:gradFill>
                <a:latin typeface="Segoe UI"/>
              </a:rPr>
              <a:t>Slow Down Refresh</a:t>
            </a:r>
          </a:p>
          <a:p>
            <a:pPr marL="466043" indent="-466043">
              <a:buFont typeface="+mj-lt"/>
              <a:buAutoNum type="arabicPeriod"/>
            </a:pPr>
            <a:r>
              <a:rPr lang="en-US" sz="2400">
                <a:gradFill>
                  <a:gsLst>
                    <a:gs pos="2917">
                      <a:srgbClr val="505050"/>
                    </a:gs>
                    <a:gs pos="30000">
                      <a:srgbClr val="505050"/>
                    </a:gs>
                  </a:gsLst>
                  <a:lin ang="5400000" scaled="0"/>
                </a:gradFill>
                <a:latin typeface="Segoe UI"/>
              </a:rPr>
              <a:t>Consume Memory</a:t>
            </a:r>
          </a:p>
          <a:p>
            <a:pPr marL="466043" indent="-466043">
              <a:buFont typeface="+mj-lt"/>
              <a:buAutoNum type="arabicPeriod"/>
            </a:pPr>
            <a:r>
              <a:rPr lang="en-US" sz="2400">
                <a:gradFill>
                  <a:gsLst>
                    <a:gs pos="2917">
                      <a:srgbClr val="505050"/>
                    </a:gs>
                    <a:gs pos="30000">
                      <a:srgbClr val="505050"/>
                    </a:gs>
                  </a:gsLst>
                  <a:lin ang="5400000" scaled="0"/>
                </a:gradFill>
                <a:latin typeface="Segoe UI"/>
              </a:rPr>
              <a:t>Increase Size of Model</a:t>
            </a:r>
            <a:endParaRPr lang="en-US" sz="1800">
              <a:gradFill>
                <a:gsLst>
                  <a:gs pos="2917">
                    <a:srgbClr val="505050"/>
                  </a:gs>
                  <a:gs pos="30000">
                    <a:srgbClr val="505050"/>
                  </a:gs>
                </a:gsLst>
                <a:lin ang="5400000" scaled="0"/>
              </a:gradFill>
              <a:latin typeface="Segoe UI"/>
            </a:endParaRPr>
          </a:p>
          <a:p>
            <a:pPr marL="699065" lvl="1" indent="-233022"/>
            <a:endParaRPr lang="en-US" sz="1800">
              <a:gradFill>
                <a:gsLst>
                  <a:gs pos="2917">
                    <a:srgbClr val="505050"/>
                  </a:gs>
                  <a:gs pos="30000">
                    <a:srgbClr val="505050"/>
                  </a:gs>
                </a:gsLst>
                <a:lin ang="5400000" scaled="0"/>
              </a:gradFill>
              <a:latin typeface="Segoe UI"/>
              <a:cs typeface="Segoe UI"/>
            </a:endParaRPr>
          </a:p>
        </p:txBody>
      </p:sp>
      <p:pic>
        <p:nvPicPr>
          <p:cNvPr id="5" name="Picture 4">
            <a:extLst>
              <a:ext uri="{FF2B5EF4-FFF2-40B4-BE49-F238E27FC236}">
                <a16:creationId xmlns:a16="http://schemas.microsoft.com/office/drawing/2014/main" id="{6B0E153C-D396-411A-8867-D58EA0933F1E}"/>
              </a:ext>
            </a:extLst>
          </p:cNvPr>
          <p:cNvPicPr>
            <a:picLocks noChangeAspect="1"/>
          </p:cNvPicPr>
          <p:nvPr/>
        </p:nvPicPr>
        <p:blipFill>
          <a:blip r:embed="rId3"/>
          <a:stretch>
            <a:fillRect/>
          </a:stretch>
        </p:blipFill>
        <p:spPr>
          <a:xfrm>
            <a:off x="1737193" y="3180294"/>
            <a:ext cx="8754697" cy="2619741"/>
          </a:xfrm>
          <a:prstGeom prst="rect">
            <a:avLst/>
          </a:prstGeom>
        </p:spPr>
      </p:pic>
      <p:sp>
        <p:nvSpPr>
          <p:cNvPr id="6" name="Rectangle 5">
            <a:extLst>
              <a:ext uri="{FF2B5EF4-FFF2-40B4-BE49-F238E27FC236}">
                <a16:creationId xmlns:a16="http://schemas.microsoft.com/office/drawing/2014/main" id="{DF69F015-8CE5-4366-86AB-8CE8086EFF1A}"/>
              </a:ext>
            </a:extLst>
          </p:cNvPr>
          <p:cNvSpPr/>
          <p:nvPr/>
        </p:nvSpPr>
        <p:spPr bwMode="auto">
          <a:xfrm>
            <a:off x="1649691" y="3573624"/>
            <a:ext cx="3948676" cy="885254"/>
          </a:xfrm>
          <a:prstGeom prst="rect">
            <a:avLst/>
          </a:prstGeom>
          <a:noFill/>
          <a:ln w="571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Rectangle 1">
            <a:extLst>
              <a:ext uri="{FF2B5EF4-FFF2-40B4-BE49-F238E27FC236}">
                <a16:creationId xmlns:a16="http://schemas.microsoft.com/office/drawing/2014/main" id="{8EE97EF5-38AA-4A3B-8CE7-97EAA8F80FCF}"/>
              </a:ext>
            </a:extLst>
          </p:cNvPr>
          <p:cNvSpPr/>
          <p:nvPr/>
        </p:nvSpPr>
        <p:spPr bwMode="auto">
          <a:xfrm>
            <a:off x="7409789" y="3604910"/>
            <a:ext cx="661191" cy="885254"/>
          </a:xfrm>
          <a:prstGeom prst="rect">
            <a:avLst/>
          </a:prstGeom>
          <a:noFill/>
          <a:ln w="571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41101203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Relationships</a:t>
            </a:r>
            <a:endParaRPr lang="en-US" sz="4080" spc="0">
              <a:solidFill>
                <a:srgbClr val="FFC000"/>
              </a:solidFill>
            </a:endParaRPr>
          </a:p>
        </p:txBody>
      </p: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7"/>
            <a:ext cx="3586393" cy="4678311"/>
          </a:xfrm>
        </p:spPr>
        <p:txBody>
          <a:bodyPr vert="horz" wrap="square" lIns="91428" tIns="45714" rIns="91428" bIns="45714" rtlCol="0" anchor="t">
            <a:normAutofit/>
          </a:bodyPr>
          <a:lstStyle/>
          <a:p>
            <a:pPr marL="466043" indent="-466043">
              <a:buFont typeface="+mj-lt"/>
              <a:buAutoNum type="arabicPeriod"/>
            </a:pPr>
            <a:r>
              <a:rPr lang="en-US" sz="2400" b="1">
                <a:gradFill>
                  <a:gsLst>
                    <a:gs pos="2917">
                      <a:srgbClr val="505050"/>
                    </a:gs>
                    <a:gs pos="30000">
                      <a:srgbClr val="505050"/>
                    </a:gs>
                  </a:gsLst>
                  <a:lin ang="5400000" scaled="0"/>
                </a:gradFill>
                <a:latin typeface="Segoe UI"/>
              </a:rPr>
              <a:t>Disadvantages:</a:t>
            </a:r>
          </a:p>
          <a:p>
            <a:pPr marL="699065" lvl="1" indent="-233022"/>
            <a:r>
              <a:rPr lang="en-US" sz="1800">
                <a:gradFill>
                  <a:gsLst>
                    <a:gs pos="2917">
                      <a:srgbClr val="505050"/>
                    </a:gs>
                    <a:gs pos="30000">
                      <a:srgbClr val="505050"/>
                    </a:gs>
                  </a:gsLst>
                  <a:lin ang="5400000" scaled="0"/>
                </a:gradFill>
                <a:latin typeface="Segoe UI"/>
              </a:rPr>
              <a:t>Only one column</a:t>
            </a:r>
          </a:p>
          <a:p>
            <a:pPr marL="699065" lvl="1" indent="-233022"/>
            <a:r>
              <a:rPr lang="en-US" sz="1800">
                <a:gradFill>
                  <a:gsLst>
                    <a:gs pos="2917">
                      <a:srgbClr val="505050"/>
                    </a:gs>
                    <a:gs pos="30000">
                      <a:srgbClr val="505050"/>
                    </a:gs>
                  </a:gsLst>
                  <a:lin ang="5400000" scaled="0"/>
                </a:gradFill>
                <a:latin typeface="Segoe UI"/>
              </a:rPr>
              <a:t>Can be costly</a:t>
            </a:r>
          </a:p>
          <a:p>
            <a:pPr marL="699065" lvl="1" indent="-233022"/>
            <a:r>
              <a:rPr lang="en-US" sz="1800">
                <a:gradFill>
                  <a:gsLst>
                    <a:gs pos="2917">
                      <a:srgbClr val="505050"/>
                    </a:gs>
                    <a:gs pos="30000">
                      <a:srgbClr val="505050"/>
                    </a:gs>
                  </a:gsLst>
                  <a:lin ang="5400000" scaled="0"/>
                </a:gradFill>
                <a:latin typeface="Segoe UI"/>
              </a:rPr>
              <a:t>Be careful with</a:t>
            </a:r>
          </a:p>
          <a:p>
            <a:pPr marL="903051" lvl="2" indent="-233022"/>
            <a:r>
              <a:rPr lang="en-US" sz="1392">
                <a:gradFill>
                  <a:gsLst>
                    <a:gs pos="2917">
                      <a:srgbClr val="505050"/>
                    </a:gs>
                    <a:gs pos="30000">
                      <a:srgbClr val="505050"/>
                    </a:gs>
                  </a:gsLst>
                  <a:lin ang="5400000" scaled="0"/>
                </a:gradFill>
                <a:latin typeface="Segoe UI"/>
              </a:rPr>
              <a:t>Many-to-many</a:t>
            </a:r>
          </a:p>
          <a:p>
            <a:pPr marL="903051" lvl="2" indent="-233022"/>
            <a:r>
              <a:rPr lang="en-US" sz="1392">
                <a:gradFill>
                  <a:gsLst>
                    <a:gs pos="2917">
                      <a:srgbClr val="505050"/>
                    </a:gs>
                    <a:gs pos="30000">
                      <a:srgbClr val="505050"/>
                    </a:gs>
                  </a:gsLst>
                  <a:lin ang="5400000" scaled="0"/>
                </a:gradFill>
                <a:latin typeface="Segoe UI"/>
              </a:rPr>
              <a:t>Bi-directional</a:t>
            </a:r>
          </a:p>
          <a:p>
            <a:pPr marL="699065" lvl="1" indent="-233022"/>
            <a:endParaRPr lang="en-US" sz="1800">
              <a:gradFill>
                <a:gsLst>
                  <a:gs pos="2917">
                    <a:srgbClr val="505050"/>
                  </a:gs>
                  <a:gs pos="30000">
                    <a:srgbClr val="505050"/>
                  </a:gs>
                </a:gsLst>
                <a:lin ang="5400000" scaled="0"/>
              </a:gradFill>
              <a:latin typeface="Segoe UI"/>
              <a:cs typeface="Segoe UI"/>
            </a:endParaRPr>
          </a:p>
          <a:p>
            <a:pPr marL="466043" indent="-466043">
              <a:buFont typeface="+mj-lt"/>
              <a:buAutoNum type="arabicPeriod"/>
            </a:pPr>
            <a:r>
              <a:rPr lang="en-US" sz="2400" b="1">
                <a:gradFill>
                  <a:gsLst>
                    <a:gs pos="2917">
                      <a:srgbClr val="505050"/>
                    </a:gs>
                    <a:gs pos="30000">
                      <a:srgbClr val="505050"/>
                    </a:gs>
                  </a:gsLst>
                  <a:lin ang="5400000" scaled="0"/>
                </a:gradFill>
                <a:latin typeface="Segoe UI"/>
              </a:rPr>
              <a:t>Advantages:</a:t>
            </a:r>
            <a:endParaRPr lang="en-US" sz="2400" b="1">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cs typeface="Segoe UI"/>
              </a:rPr>
              <a:t>Filtering</a:t>
            </a:r>
          </a:p>
          <a:p>
            <a:pPr marL="699065" lvl="1" indent="-233022"/>
            <a:r>
              <a:rPr lang="en-US" sz="1800">
                <a:gradFill>
                  <a:gsLst>
                    <a:gs pos="2917">
                      <a:srgbClr val="505050"/>
                    </a:gs>
                    <a:gs pos="30000">
                      <a:srgbClr val="505050"/>
                    </a:gs>
                  </a:gsLst>
                  <a:lin ang="5400000" scaled="0"/>
                </a:gradFill>
                <a:latin typeface="Segoe UI"/>
                <a:cs typeface="Segoe UI"/>
              </a:rPr>
              <a:t>Aggregating</a:t>
            </a:r>
          </a:p>
          <a:p>
            <a:pPr marL="699065" lvl="1" indent="-233022"/>
            <a:r>
              <a:rPr lang="en-US" sz="1800">
                <a:gradFill>
                  <a:gsLst>
                    <a:gs pos="2917">
                      <a:srgbClr val="505050"/>
                    </a:gs>
                    <a:gs pos="30000">
                      <a:srgbClr val="505050"/>
                    </a:gs>
                  </a:gsLst>
                  <a:lin ang="5400000" scaled="0"/>
                </a:gradFill>
                <a:latin typeface="Segoe UI"/>
                <a:cs typeface="Segoe UI"/>
              </a:rPr>
              <a:t>Simpler DAX</a:t>
            </a:r>
          </a:p>
        </p:txBody>
      </p:sp>
      <p:pic>
        <p:nvPicPr>
          <p:cNvPr id="3" name="Picture 2">
            <a:extLst>
              <a:ext uri="{FF2B5EF4-FFF2-40B4-BE49-F238E27FC236}">
                <a16:creationId xmlns:a16="http://schemas.microsoft.com/office/drawing/2014/main" id="{3979EFD7-90AE-4D17-BA20-6AAA975737EA}"/>
              </a:ext>
            </a:extLst>
          </p:cNvPr>
          <p:cNvPicPr>
            <a:picLocks noChangeAspect="1"/>
          </p:cNvPicPr>
          <p:nvPr/>
        </p:nvPicPr>
        <p:blipFill>
          <a:blip r:embed="rId3"/>
          <a:stretch>
            <a:fillRect/>
          </a:stretch>
        </p:blipFill>
        <p:spPr>
          <a:xfrm>
            <a:off x="3861535" y="1383054"/>
            <a:ext cx="7575266" cy="5175056"/>
          </a:xfrm>
          <a:prstGeom prst="rect">
            <a:avLst/>
          </a:prstGeom>
        </p:spPr>
      </p:pic>
    </p:spTree>
    <p:extLst>
      <p:ext uri="{BB962C8B-B14F-4D97-AF65-F5344CB8AC3E}">
        <p14:creationId xmlns:p14="http://schemas.microsoft.com/office/powerpoint/2010/main" val="97473498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8509" y="1333139"/>
            <a:ext cx="11237870" cy="320182"/>
          </a:xfrm>
        </p:spPr>
        <p:txBody>
          <a:bodyPr/>
          <a:lstStyle/>
          <a:p>
            <a:r>
              <a:rPr lang="en-US" sz="2040" b="1"/>
              <a:t>Only refresh days/months/years according to your policy.</a:t>
            </a:r>
          </a:p>
        </p:txBody>
      </p:sp>
      <p:sp>
        <p:nvSpPr>
          <p:cNvPr id="4" name="Rectangle 3">
            <a:extLst>
              <a:ext uri="{FF2B5EF4-FFF2-40B4-BE49-F238E27FC236}">
                <a16:creationId xmlns:a16="http://schemas.microsoft.com/office/drawing/2014/main" id="{12910BC8-BC1C-478B-A5A6-94942C9B29FD}"/>
              </a:ext>
            </a:extLst>
          </p:cNvPr>
          <p:cNvSpPr/>
          <p:nvPr/>
        </p:nvSpPr>
        <p:spPr bwMode="auto">
          <a:xfrm>
            <a:off x="1688878"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Feb 20</a:t>
            </a:r>
          </a:p>
        </p:txBody>
      </p:sp>
      <p:sp>
        <p:nvSpPr>
          <p:cNvPr id="8" name="Rectangle 7">
            <a:extLst>
              <a:ext uri="{FF2B5EF4-FFF2-40B4-BE49-F238E27FC236}">
                <a16:creationId xmlns:a16="http://schemas.microsoft.com/office/drawing/2014/main" id="{E6A7713C-303C-450F-B42D-AFA1B5DAB9E0}"/>
              </a:ext>
            </a:extLst>
          </p:cNvPr>
          <p:cNvSpPr/>
          <p:nvPr/>
        </p:nvSpPr>
        <p:spPr bwMode="auto">
          <a:xfrm>
            <a:off x="2651455"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Mar 20</a:t>
            </a:r>
          </a:p>
        </p:txBody>
      </p:sp>
      <p:sp>
        <p:nvSpPr>
          <p:cNvPr id="9" name="Rectangle 8">
            <a:extLst>
              <a:ext uri="{FF2B5EF4-FFF2-40B4-BE49-F238E27FC236}">
                <a16:creationId xmlns:a16="http://schemas.microsoft.com/office/drawing/2014/main" id="{B4047B63-B786-4881-8BAD-003EA0731B13}"/>
              </a:ext>
            </a:extLst>
          </p:cNvPr>
          <p:cNvSpPr/>
          <p:nvPr/>
        </p:nvSpPr>
        <p:spPr bwMode="auto">
          <a:xfrm>
            <a:off x="7464342"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Aug 20</a:t>
            </a:r>
          </a:p>
        </p:txBody>
      </p:sp>
      <p:sp>
        <p:nvSpPr>
          <p:cNvPr id="11" name="Rectangle 10">
            <a:extLst>
              <a:ext uri="{FF2B5EF4-FFF2-40B4-BE49-F238E27FC236}">
                <a16:creationId xmlns:a16="http://schemas.microsoft.com/office/drawing/2014/main" id="{E969054C-873E-41F4-8C42-C2E7BE569222}"/>
              </a:ext>
            </a:extLst>
          </p:cNvPr>
          <p:cNvSpPr/>
          <p:nvPr/>
        </p:nvSpPr>
        <p:spPr bwMode="auto">
          <a:xfrm>
            <a:off x="11314646"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Dec 20</a:t>
            </a:r>
          </a:p>
        </p:txBody>
      </p:sp>
      <p:sp>
        <p:nvSpPr>
          <p:cNvPr id="12" name="Rectangle 11">
            <a:extLst>
              <a:ext uri="{FF2B5EF4-FFF2-40B4-BE49-F238E27FC236}">
                <a16:creationId xmlns:a16="http://schemas.microsoft.com/office/drawing/2014/main" id="{0FD08329-C1EB-472F-AFC4-B4DAEF680C85}"/>
              </a:ext>
            </a:extLst>
          </p:cNvPr>
          <p:cNvSpPr/>
          <p:nvPr/>
        </p:nvSpPr>
        <p:spPr bwMode="auto">
          <a:xfrm>
            <a:off x="9389497"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Oct 20</a:t>
            </a:r>
          </a:p>
        </p:txBody>
      </p:sp>
      <p:sp>
        <p:nvSpPr>
          <p:cNvPr id="14" name="Rectangle 13">
            <a:extLst>
              <a:ext uri="{FF2B5EF4-FFF2-40B4-BE49-F238E27FC236}">
                <a16:creationId xmlns:a16="http://schemas.microsoft.com/office/drawing/2014/main" id="{3ACFBC65-4878-4169-9EFA-C4518CB6123E}"/>
              </a:ext>
            </a:extLst>
          </p:cNvPr>
          <p:cNvSpPr/>
          <p:nvPr/>
        </p:nvSpPr>
        <p:spPr bwMode="auto">
          <a:xfrm>
            <a:off x="5539187"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Jun 20</a:t>
            </a:r>
          </a:p>
        </p:txBody>
      </p:sp>
      <p:sp>
        <p:nvSpPr>
          <p:cNvPr id="16" name="Rectangle 15">
            <a:extLst>
              <a:ext uri="{FF2B5EF4-FFF2-40B4-BE49-F238E27FC236}">
                <a16:creationId xmlns:a16="http://schemas.microsoft.com/office/drawing/2014/main" id="{4ACBFE87-DC3C-47B1-9A1E-3ECC38A6228A}"/>
              </a:ext>
            </a:extLst>
          </p:cNvPr>
          <p:cNvSpPr/>
          <p:nvPr/>
        </p:nvSpPr>
        <p:spPr bwMode="auto">
          <a:xfrm>
            <a:off x="726300"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Jan 20</a:t>
            </a:r>
          </a:p>
        </p:txBody>
      </p:sp>
      <p:sp>
        <p:nvSpPr>
          <p:cNvPr id="17" name="Rectangle 16">
            <a:extLst>
              <a:ext uri="{FF2B5EF4-FFF2-40B4-BE49-F238E27FC236}">
                <a16:creationId xmlns:a16="http://schemas.microsoft.com/office/drawing/2014/main" id="{456CD14E-65F8-426F-BCAD-5EB6F5FC68EF}"/>
              </a:ext>
            </a:extLst>
          </p:cNvPr>
          <p:cNvSpPr/>
          <p:nvPr/>
        </p:nvSpPr>
        <p:spPr bwMode="auto">
          <a:xfrm>
            <a:off x="3614032"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Apr 20</a:t>
            </a:r>
          </a:p>
        </p:txBody>
      </p:sp>
      <p:sp>
        <p:nvSpPr>
          <p:cNvPr id="18" name="Rectangle 17">
            <a:extLst>
              <a:ext uri="{FF2B5EF4-FFF2-40B4-BE49-F238E27FC236}">
                <a16:creationId xmlns:a16="http://schemas.microsoft.com/office/drawing/2014/main" id="{4DF9E9A1-1077-47D5-A120-FA5681147381}"/>
              </a:ext>
            </a:extLst>
          </p:cNvPr>
          <p:cNvSpPr/>
          <p:nvPr/>
        </p:nvSpPr>
        <p:spPr bwMode="auto">
          <a:xfrm>
            <a:off x="4576610"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May 20</a:t>
            </a:r>
          </a:p>
        </p:txBody>
      </p:sp>
      <p:sp>
        <p:nvSpPr>
          <p:cNvPr id="19" name="Rectangle 18">
            <a:extLst>
              <a:ext uri="{FF2B5EF4-FFF2-40B4-BE49-F238E27FC236}">
                <a16:creationId xmlns:a16="http://schemas.microsoft.com/office/drawing/2014/main" id="{CB7E4837-D2D0-456F-83D9-A21E370F114F}"/>
              </a:ext>
            </a:extLst>
          </p:cNvPr>
          <p:cNvSpPr/>
          <p:nvPr/>
        </p:nvSpPr>
        <p:spPr bwMode="auto">
          <a:xfrm>
            <a:off x="6501765"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Jul 20</a:t>
            </a:r>
          </a:p>
        </p:txBody>
      </p:sp>
      <p:sp>
        <p:nvSpPr>
          <p:cNvPr id="20" name="Rectangle 19">
            <a:extLst>
              <a:ext uri="{FF2B5EF4-FFF2-40B4-BE49-F238E27FC236}">
                <a16:creationId xmlns:a16="http://schemas.microsoft.com/office/drawing/2014/main" id="{28B0206F-16DD-42E5-9EDE-8D67619F8CD0}"/>
              </a:ext>
            </a:extLst>
          </p:cNvPr>
          <p:cNvSpPr/>
          <p:nvPr/>
        </p:nvSpPr>
        <p:spPr bwMode="auto">
          <a:xfrm>
            <a:off x="8426919"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Sep 20</a:t>
            </a:r>
          </a:p>
        </p:txBody>
      </p:sp>
      <p:sp>
        <p:nvSpPr>
          <p:cNvPr id="21" name="Rectangle 20">
            <a:extLst>
              <a:ext uri="{FF2B5EF4-FFF2-40B4-BE49-F238E27FC236}">
                <a16:creationId xmlns:a16="http://schemas.microsoft.com/office/drawing/2014/main" id="{A7EF029F-D8A9-44B7-9E0E-8DF3E0314497}"/>
              </a:ext>
            </a:extLst>
          </p:cNvPr>
          <p:cNvSpPr/>
          <p:nvPr/>
        </p:nvSpPr>
        <p:spPr bwMode="auto">
          <a:xfrm>
            <a:off x="10352074"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Nov 20</a:t>
            </a:r>
          </a:p>
        </p:txBody>
      </p:sp>
      <p:sp>
        <p:nvSpPr>
          <p:cNvPr id="22" name="Rectangle 21">
            <a:extLst>
              <a:ext uri="{FF2B5EF4-FFF2-40B4-BE49-F238E27FC236}">
                <a16:creationId xmlns:a16="http://schemas.microsoft.com/office/drawing/2014/main" id="{3DDEBFC7-DCDC-4BA4-AFF9-4D3C7C26A8CD}"/>
              </a:ext>
            </a:extLst>
          </p:cNvPr>
          <p:cNvSpPr/>
          <p:nvPr/>
        </p:nvSpPr>
        <p:spPr bwMode="auto">
          <a:xfrm>
            <a:off x="7464342"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Aug 19</a:t>
            </a:r>
          </a:p>
        </p:txBody>
      </p:sp>
      <p:sp>
        <p:nvSpPr>
          <p:cNvPr id="23" name="Rectangle 22">
            <a:extLst>
              <a:ext uri="{FF2B5EF4-FFF2-40B4-BE49-F238E27FC236}">
                <a16:creationId xmlns:a16="http://schemas.microsoft.com/office/drawing/2014/main" id="{066A36F1-8314-43B5-96A9-D240E4AAB09C}"/>
              </a:ext>
            </a:extLst>
          </p:cNvPr>
          <p:cNvSpPr/>
          <p:nvPr/>
        </p:nvSpPr>
        <p:spPr bwMode="auto">
          <a:xfrm>
            <a:off x="11314646"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Dec 19</a:t>
            </a:r>
          </a:p>
        </p:txBody>
      </p:sp>
      <p:sp>
        <p:nvSpPr>
          <p:cNvPr id="24" name="Rectangle 23">
            <a:extLst>
              <a:ext uri="{FF2B5EF4-FFF2-40B4-BE49-F238E27FC236}">
                <a16:creationId xmlns:a16="http://schemas.microsoft.com/office/drawing/2014/main" id="{89A18383-7DF3-4D66-A797-A64955253F80}"/>
              </a:ext>
            </a:extLst>
          </p:cNvPr>
          <p:cNvSpPr/>
          <p:nvPr/>
        </p:nvSpPr>
        <p:spPr bwMode="auto">
          <a:xfrm>
            <a:off x="9389497"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Oct 19</a:t>
            </a:r>
          </a:p>
        </p:txBody>
      </p:sp>
      <p:sp>
        <p:nvSpPr>
          <p:cNvPr id="25" name="Rectangle 24">
            <a:extLst>
              <a:ext uri="{FF2B5EF4-FFF2-40B4-BE49-F238E27FC236}">
                <a16:creationId xmlns:a16="http://schemas.microsoft.com/office/drawing/2014/main" id="{DEB33088-5B82-4C45-8D69-1FDC1FFDEAC2}"/>
              </a:ext>
            </a:extLst>
          </p:cNvPr>
          <p:cNvSpPr/>
          <p:nvPr/>
        </p:nvSpPr>
        <p:spPr bwMode="auto">
          <a:xfrm>
            <a:off x="6501765"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Jul 19</a:t>
            </a:r>
          </a:p>
        </p:txBody>
      </p:sp>
      <p:sp>
        <p:nvSpPr>
          <p:cNvPr id="26" name="Rectangle 25">
            <a:extLst>
              <a:ext uri="{FF2B5EF4-FFF2-40B4-BE49-F238E27FC236}">
                <a16:creationId xmlns:a16="http://schemas.microsoft.com/office/drawing/2014/main" id="{85FA0B76-46FF-4BFE-A588-D6938CB7BAA1}"/>
              </a:ext>
            </a:extLst>
          </p:cNvPr>
          <p:cNvSpPr/>
          <p:nvPr/>
        </p:nvSpPr>
        <p:spPr bwMode="auto">
          <a:xfrm>
            <a:off x="8426919"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Sep 19</a:t>
            </a:r>
          </a:p>
        </p:txBody>
      </p:sp>
      <p:sp>
        <p:nvSpPr>
          <p:cNvPr id="27" name="Rectangle 26">
            <a:extLst>
              <a:ext uri="{FF2B5EF4-FFF2-40B4-BE49-F238E27FC236}">
                <a16:creationId xmlns:a16="http://schemas.microsoft.com/office/drawing/2014/main" id="{A8CCC140-BB1F-4EC7-8B4D-E06EAA6827A4}"/>
              </a:ext>
            </a:extLst>
          </p:cNvPr>
          <p:cNvSpPr/>
          <p:nvPr/>
        </p:nvSpPr>
        <p:spPr bwMode="auto">
          <a:xfrm>
            <a:off x="10352074"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Nov 19</a:t>
            </a:r>
          </a:p>
        </p:txBody>
      </p:sp>
      <p:sp>
        <p:nvSpPr>
          <p:cNvPr id="28" name="Rectangle 27">
            <a:extLst>
              <a:ext uri="{FF2B5EF4-FFF2-40B4-BE49-F238E27FC236}">
                <a16:creationId xmlns:a16="http://schemas.microsoft.com/office/drawing/2014/main" id="{D6F01651-DBD3-4199-B015-4DA4F1305C03}"/>
              </a:ext>
            </a:extLst>
          </p:cNvPr>
          <p:cNvSpPr/>
          <p:nvPr/>
        </p:nvSpPr>
        <p:spPr bwMode="auto">
          <a:xfrm>
            <a:off x="1688878"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Feb 21</a:t>
            </a:r>
          </a:p>
        </p:txBody>
      </p:sp>
      <p:sp>
        <p:nvSpPr>
          <p:cNvPr id="29" name="Rectangle 28">
            <a:extLst>
              <a:ext uri="{FF2B5EF4-FFF2-40B4-BE49-F238E27FC236}">
                <a16:creationId xmlns:a16="http://schemas.microsoft.com/office/drawing/2014/main" id="{7F1E015C-F22A-4D84-A7D4-361BFB58F9CC}"/>
              </a:ext>
            </a:extLst>
          </p:cNvPr>
          <p:cNvSpPr/>
          <p:nvPr/>
        </p:nvSpPr>
        <p:spPr bwMode="auto">
          <a:xfrm>
            <a:off x="2651455"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Mar 21</a:t>
            </a:r>
          </a:p>
        </p:txBody>
      </p:sp>
      <p:sp>
        <p:nvSpPr>
          <p:cNvPr id="31" name="Rectangle 30">
            <a:extLst>
              <a:ext uri="{FF2B5EF4-FFF2-40B4-BE49-F238E27FC236}">
                <a16:creationId xmlns:a16="http://schemas.microsoft.com/office/drawing/2014/main" id="{F73BEEDE-6324-414A-8C98-1B5423F801E3}"/>
              </a:ext>
            </a:extLst>
          </p:cNvPr>
          <p:cNvSpPr/>
          <p:nvPr/>
        </p:nvSpPr>
        <p:spPr bwMode="auto">
          <a:xfrm>
            <a:off x="726300"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Jan 21</a:t>
            </a:r>
          </a:p>
        </p:txBody>
      </p:sp>
      <p:sp>
        <p:nvSpPr>
          <p:cNvPr id="32" name="Rectangle 31">
            <a:extLst>
              <a:ext uri="{FF2B5EF4-FFF2-40B4-BE49-F238E27FC236}">
                <a16:creationId xmlns:a16="http://schemas.microsoft.com/office/drawing/2014/main" id="{EF1FA7CC-001D-41AB-BD49-065562666198}"/>
              </a:ext>
            </a:extLst>
          </p:cNvPr>
          <p:cNvSpPr/>
          <p:nvPr/>
        </p:nvSpPr>
        <p:spPr bwMode="auto">
          <a:xfrm>
            <a:off x="3614032" y="456645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b="1">
                <a:solidFill>
                  <a:srgbClr val="000000"/>
                </a:solidFill>
                <a:latin typeface="Segoe UI"/>
                <a:ea typeface="Segoe UI" pitchFamily="34" charset="0"/>
                <a:cs typeface="Segoe UI" pitchFamily="34" charset="0"/>
              </a:rPr>
              <a:t>Apr 21</a:t>
            </a:r>
          </a:p>
        </p:txBody>
      </p:sp>
      <p:cxnSp>
        <p:nvCxnSpPr>
          <p:cNvPr id="5" name="Straight Connector 4">
            <a:extLst>
              <a:ext uri="{FF2B5EF4-FFF2-40B4-BE49-F238E27FC236}">
                <a16:creationId xmlns:a16="http://schemas.microsoft.com/office/drawing/2014/main" id="{EF376EE0-8F56-47F7-9947-013E9819E549}"/>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 name="Title 1">
            <a:extLst>
              <a:ext uri="{FF2B5EF4-FFF2-40B4-BE49-F238E27FC236}">
                <a16:creationId xmlns:a16="http://schemas.microsoft.com/office/drawing/2014/main" id="{5F268E6E-F594-4D30-9927-A9338D451A4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ncremental Refresh</a:t>
            </a:r>
            <a:endParaRPr lang="en-US" sz="4080" spc="0">
              <a:solidFill>
                <a:srgbClr val="FFC000"/>
              </a:solidFill>
            </a:endParaRPr>
          </a:p>
        </p:txBody>
      </p:sp>
    </p:spTree>
    <p:extLst>
      <p:ext uri="{BB962C8B-B14F-4D97-AF65-F5344CB8AC3E}">
        <p14:creationId xmlns:p14="http://schemas.microsoft.com/office/powerpoint/2010/main" val="2294182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8509" y="1333139"/>
            <a:ext cx="11237870" cy="1088591"/>
          </a:xfrm>
        </p:spPr>
        <p:txBody>
          <a:bodyPr/>
          <a:lstStyle/>
          <a:p>
            <a:r>
              <a:rPr lang="en-US" sz="2040" b="1"/>
              <a:t>Only refresh days/months/years where the data has changed.</a:t>
            </a:r>
          </a:p>
          <a:p>
            <a:endParaRPr lang="en-US" sz="2040" b="1"/>
          </a:p>
          <a:p>
            <a:r>
              <a:rPr lang="en-US" sz="2040" b="1"/>
              <a:t>Assume there are updates and deletes.</a:t>
            </a:r>
          </a:p>
        </p:txBody>
      </p:sp>
      <p:sp>
        <p:nvSpPr>
          <p:cNvPr id="4" name="Rectangle 3">
            <a:extLst>
              <a:ext uri="{FF2B5EF4-FFF2-40B4-BE49-F238E27FC236}">
                <a16:creationId xmlns:a16="http://schemas.microsoft.com/office/drawing/2014/main" id="{12910BC8-BC1C-478B-A5A6-94942C9B29FD}"/>
              </a:ext>
            </a:extLst>
          </p:cNvPr>
          <p:cNvSpPr/>
          <p:nvPr/>
        </p:nvSpPr>
        <p:spPr bwMode="auto">
          <a:xfrm>
            <a:off x="1688878"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Feb 18</a:t>
            </a:r>
          </a:p>
        </p:txBody>
      </p:sp>
      <p:sp>
        <p:nvSpPr>
          <p:cNvPr id="8" name="Rectangle 7">
            <a:extLst>
              <a:ext uri="{FF2B5EF4-FFF2-40B4-BE49-F238E27FC236}">
                <a16:creationId xmlns:a16="http://schemas.microsoft.com/office/drawing/2014/main" id="{E6A7713C-303C-450F-B42D-AFA1B5DAB9E0}"/>
              </a:ext>
            </a:extLst>
          </p:cNvPr>
          <p:cNvSpPr/>
          <p:nvPr/>
        </p:nvSpPr>
        <p:spPr bwMode="auto">
          <a:xfrm>
            <a:off x="2651455"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Mar 18</a:t>
            </a:r>
          </a:p>
        </p:txBody>
      </p:sp>
      <p:sp>
        <p:nvSpPr>
          <p:cNvPr id="9" name="Rectangle 8">
            <a:extLst>
              <a:ext uri="{FF2B5EF4-FFF2-40B4-BE49-F238E27FC236}">
                <a16:creationId xmlns:a16="http://schemas.microsoft.com/office/drawing/2014/main" id="{B4047B63-B786-4881-8BAD-003EA0731B13}"/>
              </a:ext>
            </a:extLst>
          </p:cNvPr>
          <p:cNvSpPr/>
          <p:nvPr/>
        </p:nvSpPr>
        <p:spPr bwMode="auto">
          <a:xfrm>
            <a:off x="7464342"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Aug 18</a:t>
            </a:r>
          </a:p>
        </p:txBody>
      </p:sp>
      <p:sp>
        <p:nvSpPr>
          <p:cNvPr id="11" name="Rectangle 10">
            <a:extLst>
              <a:ext uri="{FF2B5EF4-FFF2-40B4-BE49-F238E27FC236}">
                <a16:creationId xmlns:a16="http://schemas.microsoft.com/office/drawing/2014/main" id="{E969054C-873E-41F4-8C42-C2E7BE569222}"/>
              </a:ext>
            </a:extLst>
          </p:cNvPr>
          <p:cNvSpPr/>
          <p:nvPr/>
        </p:nvSpPr>
        <p:spPr bwMode="auto">
          <a:xfrm>
            <a:off x="11314646"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Dec 18</a:t>
            </a:r>
          </a:p>
        </p:txBody>
      </p:sp>
      <p:sp>
        <p:nvSpPr>
          <p:cNvPr id="12" name="Rectangle 11">
            <a:extLst>
              <a:ext uri="{FF2B5EF4-FFF2-40B4-BE49-F238E27FC236}">
                <a16:creationId xmlns:a16="http://schemas.microsoft.com/office/drawing/2014/main" id="{0FD08329-C1EB-472F-AFC4-B4DAEF680C85}"/>
              </a:ext>
            </a:extLst>
          </p:cNvPr>
          <p:cNvSpPr/>
          <p:nvPr/>
        </p:nvSpPr>
        <p:spPr bwMode="auto">
          <a:xfrm>
            <a:off x="9389497"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Oct 18</a:t>
            </a:r>
          </a:p>
        </p:txBody>
      </p:sp>
      <p:sp>
        <p:nvSpPr>
          <p:cNvPr id="14" name="Rectangle 13">
            <a:extLst>
              <a:ext uri="{FF2B5EF4-FFF2-40B4-BE49-F238E27FC236}">
                <a16:creationId xmlns:a16="http://schemas.microsoft.com/office/drawing/2014/main" id="{3ACFBC65-4878-4169-9EFA-C4518CB6123E}"/>
              </a:ext>
            </a:extLst>
          </p:cNvPr>
          <p:cNvSpPr/>
          <p:nvPr/>
        </p:nvSpPr>
        <p:spPr bwMode="auto">
          <a:xfrm>
            <a:off x="5539187"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un 18</a:t>
            </a:r>
          </a:p>
        </p:txBody>
      </p:sp>
      <p:sp>
        <p:nvSpPr>
          <p:cNvPr id="16" name="Rectangle 15">
            <a:extLst>
              <a:ext uri="{FF2B5EF4-FFF2-40B4-BE49-F238E27FC236}">
                <a16:creationId xmlns:a16="http://schemas.microsoft.com/office/drawing/2014/main" id="{4ACBFE87-DC3C-47B1-9A1E-3ECC38A6228A}"/>
              </a:ext>
            </a:extLst>
          </p:cNvPr>
          <p:cNvSpPr/>
          <p:nvPr/>
        </p:nvSpPr>
        <p:spPr bwMode="auto">
          <a:xfrm>
            <a:off x="726300"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an 18</a:t>
            </a:r>
          </a:p>
        </p:txBody>
      </p:sp>
      <p:sp>
        <p:nvSpPr>
          <p:cNvPr id="17" name="Rectangle 16">
            <a:extLst>
              <a:ext uri="{FF2B5EF4-FFF2-40B4-BE49-F238E27FC236}">
                <a16:creationId xmlns:a16="http://schemas.microsoft.com/office/drawing/2014/main" id="{456CD14E-65F8-426F-BCAD-5EB6F5FC68EF}"/>
              </a:ext>
            </a:extLst>
          </p:cNvPr>
          <p:cNvSpPr/>
          <p:nvPr/>
        </p:nvSpPr>
        <p:spPr bwMode="auto">
          <a:xfrm>
            <a:off x="3614032"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Apr 18</a:t>
            </a:r>
          </a:p>
        </p:txBody>
      </p:sp>
      <p:sp>
        <p:nvSpPr>
          <p:cNvPr id="18" name="Rectangle 17">
            <a:extLst>
              <a:ext uri="{FF2B5EF4-FFF2-40B4-BE49-F238E27FC236}">
                <a16:creationId xmlns:a16="http://schemas.microsoft.com/office/drawing/2014/main" id="{4DF9E9A1-1077-47D5-A120-FA5681147381}"/>
              </a:ext>
            </a:extLst>
          </p:cNvPr>
          <p:cNvSpPr/>
          <p:nvPr/>
        </p:nvSpPr>
        <p:spPr bwMode="auto">
          <a:xfrm>
            <a:off x="4576610"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May 18</a:t>
            </a:r>
          </a:p>
        </p:txBody>
      </p:sp>
      <p:sp>
        <p:nvSpPr>
          <p:cNvPr id="19" name="Rectangle 18">
            <a:extLst>
              <a:ext uri="{FF2B5EF4-FFF2-40B4-BE49-F238E27FC236}">
                <a16:creationId xmlns:a16="http://schemas.microsoft.com/office/drawing/2014/main" id="{CB7E4837-D2D0-456F-83D9-A21E370F114F}"/>
              </a:ext>
            </a:extLst>
          </p:cNvPr>
          <p:cNvSpPr/>
          <p:nvPr/>
        </p:nvSpPr>
        <p:spPr bwMode="auto">
          <a:xfrm>
            <a:off x="6501765"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ul 18</a:t>
            </a:r>
          </a:p>
        </p:txBody>
      </p:sp>
      <p:sp>
        <p:nvSpPr>
          <p:cNvPr id="20" name="Rectangle 19">
            <a:extLst>
              <a:ext uri="{FF2B5EF4-FFF2-40B4-BE49-F238E27FC236}">
                <a16:creationId xmlns:a16="http://schemas.microsoft.com/office/drawing/2014/main" id="{28B0206F-16DD-42E5-9EDE-8D67619F8CD0}"/>
              </a:ext>
            </a:extLst>
          </p:cNvPr>
          <p:cNvSpPr/>
          <p:nvPr/>
        </p:nvSpPr>
        <p:spPr bwMode="auto">
          <a:xfrm>
            <a:off x="8426919" y="3497262"/>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Sep 18</a:t>
            </a:r>
          </a:p>
        </p:txBody>
      </p:sp>
      <p:sp>
        <p:nvSpPr>
          <p:cNvPr id="21" name="Rectangle 20">
            <a:extLst>
              <a:ext uri="{FF2B5EF4-FFF2-40B4-BE49-F238E27FC236}">
                <a16:creationId xmlns:a16="http://schemas.microsoft.com/office/drawing/2014/main" id="{A7EF029F-D8A9-44B7-9E0E-8DF3E0314497}"/>
              </a:ext>
            </a:extLst>
          </p:cNvPr>
          <p:cNvSpPr/>
          <p:nvPr/>
        </p:nvSpPr>
        <p:spPr bwMode="auto">
          <a:xfrm>
            <a:off x="10352074"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Nov 18</a:t>
            </a:r>
          </a:p>
        </p:txBody>
      </p:sp>
      <p:sp>
        <p:nvSpPr>
          <p:cNvPr id="22" name="Rectangle 21">
            <a:extLst>
              <a:ext uri="{FF2B5EF4-FFF2-40B4-BE49-F238E27FC236}">
                <a16:creationId xmlns:a16="http://schemas.microsoft.com/office/drawing/2014/main" id="{3DDEBFC7-DCDC-4BA4-AFF9-4D3C7C26A8CD}"/>
              </a:ext>
            </a:extLst>
          </p:cNvPr>
          <p:cNvSpPr/>
          <p:nvPr/>
        </p:nvSpPr>
        <p:spPr bwMode="auto">
          <a:xfrm>
            <a:off x="7464342" y="2462346"/>
            <a:ext cx="678257" cy="838401"/>
          </a:xfrm>
          <a:prstGeom prst="rect">
            <a:avLst/>
          </a:prstGeom>
          <a:solidFill>
            <a:srgbClr val="00B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Aug 17</a:t>
            </a:r>
          </a:p>
        </p:txBody>
      </p:sp>
      <p:sp>
        <p:nvSpPr>
          <p:cNvPr id="23" name="Rectangle 22">
            <a:extLst>
              <a:ext uri="{FF2B5EF4-FFF2-40B4-BE49-F238E27FC236}">
                <a16:creationId xmlns:a16="http://schemas.microsoft.com/office/drawing/2014/main" id="{066A36F1-8314-43B5-96A9-D240E4AAB09C}"/>
              </a:ext>
            </a:extLst>
          </p:cNvPr>
          <p:cNvSpPr/>
          <p:nvPr/>
        </p:nvSpPr>
        <p:spPr bwMode="auto">
          <a:xfrm>
            <a:off x="11314646"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Dec 17</a:t>
            </a:r>
          </a:p>
        </p:txBody>
      </p:sp>
      <p:sp>
        <p:nvSpPr>
          <p:cNvPr id="24" name="Rectangle 23">
            <a:extLst>
              <a:ext uri="{FF2B5EF4-FFF2-40B4-BE49-F238E27FC236}">
                <a16:creationId xmlns:a16="http://schemas.microsoft.com/office/drawing/2014/main" id="{89A18383-7DF3-4D66-A797-A64955253F80}"/>
              </a:ext>
            </a:extLst>
          </p:cNvPr>
          <p:cNvSpPr/>
          <p:nvPr/>
        </p:nvSpPr>
        <p:spPr bwMode="auto">
          <a:xfrm>
            <a:off x="9389497"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Oct 17</a:t>
            </a:r>
          </a:p>
        </p:txBody>
      </p:sp>
      <p:sp>
        <p:nvSpPr>
          <p:cNvPr id="25" name="Rectangle 24">
            <a:extLst>
              <a:ext uri="{FF2B5EF4-FFF2-40B4-BE49-F238E27FC236}">
                <a16:creationId xmlns:a16="http://schemas.microsoft.com/office/drawing/2014/main" id="{DEB33088-5B82-4C45-8D69-1FDC1FFDEAC2}"/>
              </a:ext>
            </a:extLst>
          </p:cNvPr>
          <p:cNvSpPr/>
          <p:nvPr/>
        </p:nvSpPr>
        <p:spPr bwMode="auto">
          <a:xfrm>
            <a:off x="6501765"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ul 17</a:t>
            </a:r>
          </a:p>
        </p:txBody>
      </p:sp>
      <p:sp>
        <p:nvSpPr>
          <p:cNvPr id="26" name="Rectangle 25">
            <a:extLst>
              <a:ext uri="{FF2B5EF4-FFF2-40B4-BE49-F238E27FC236}">
                <a16:creationId xmlns:a16="http://schemas.microsoft.com/office/drawing/2014/main" id="{85FA0B76-46FF-4BFE-A588-D6938CB7BAA1}"/>
              </a:ext>
            </a:extLst>
          </p:cNvPr>
          <p:cNvSpPr/>
          <p:nvPr/>
        </p:nvSpPr>
        <p:spPr bwMode="auto">
          <a:xfrm>
            <a:off x="8426919"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Sep 17</a:t>
            </a:r>
          </a:p>
        </p:txBody>
      </p:sp>
      <p:sp>
        <p:nvSpPr>
          <p:cNvPr id="27" name="Rectangle 26">
            <a:extLst>
              <a:ext uri="{FF2B5EF4-FFF2-40B4-BE49-F238E27FC236}">
                <a16:creationId xmlns:a16="http://schemas.microsoft.com/office/drawing/2014/main" id="{A8CCC140-BB1F-4EC7-8B4D-E06EAA6827A4}"/>
              </a:ext>
            </a:extLst>
          </p:cNvPr>
          <p:cNvSpPr/>
          <p:nvPr/>
        </p:nvSpPr>
        <p:spPr bwMode="auto">
          <a:xfrm>
            <a:off x="10352074"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Nov 17</a:t>
            </a:r>
          </a:p>
        </p:txBody>
      </p:sp>
      <p:sp>
        <p:nvSpPr>
          <p:cNvPr id="28" name="Rectangle 27">
            <a:extLst>
              <a:ext uri="{FF2B5EF4-FFF2-40B4-BE49-F238E27FC236}">
                <a16:creationId xmlns:a16="http://schemas.microsoft.com/office/drawing/2014/main" id="{D6F01651-DBD3-4199-B015-4DA4F1305C03}"/>
              </a:ext>
            </a:extLst>
          </p:cNvPr>
          <p:cNvSpPr/>
          <p:nvPr/>
        </p:nvSpPr>
        <p:spPr bwMode="auto">
          <a:xfrm>
            <a:off x="1688878"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Feb 19</a:t>
            </a:r>
          </a:p>
        </p:txBody>
      </p:sp>
      <p:sp>
        <p:nvSpPr>
          <p:cNvPr id="29" name="Rectangle 28">
            <a:extLst>
              <a:ext uri="{FF2B5EF4-FFF2-40B4-BE49-F238E27FC236}">
                <a16:creationId xmlns:a16="http://schemas.microsoft.com/office/drawing/2014/main" id="{7F1E015C-F22A-4D84-A7D4-361BFB58F9CC}"/>
              </a:ext>
            </a:extLst>
          </p:cNvPr>
          <p:cNvSpPr/>
          <p:nvPr/>
        </p:nvSpPr>
        <p:spPr bwMode="auto">
          <a:xfrm>
            <a:off x="2651455"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Mar 19</a:t>
            </a:r>
          </a:p>
        </p:txBody>
      </p:sp>
      <p:sp>
        <p:nvSpPr>
          <p:cNvPr id="30" name="Rectangle 29">
            <a:extLst>
              <a:ext uri="{FF2B5EF4-FFF2-40B4-BE49-F238E27FC236}">
                <a16:creationId xmlns:a16="http://schemas.microsoft.com/office/drawing/2014/main" id="{95BC339F-8899-41BB-9A2D-F38BC461BAE3}"/>
              </a:ext>
            </a:extLst>
          </p:cNvPr>
          <p:cNvSpPr/>
          <p:nvPr/>
        </p:nvSpPr>
        <p:spPr bwMode="auto">
          <a:xfrm>
            <a:off x="5539187"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un 19</a:t>
            </a:r>
          </a:p>
        </p:txBody>
      </p:sp>
      <p:sp>
        <p:nvSpPr>
          <p:cNvPr id="31" name="Rectangle 30">
            <a:extLst>
              <a:ext uri="{FF2B5EF4-FFF2-40B4-BE49-F238E27FC236}">
                <a16:creationId xmlns:a16="http://schemas.microsoft.com/office/drawing/2014/main" id="{F73BEEDE-6324-414A-8C98-1B5423F801E3}"/>
              </a:ext>
            </a:extLst>
          </p:cNvPr>
          <p:cNvSpPr/>
          <p:nvPr/>
        </p:nvSpPr>
        <p:spPr bwMode="auto">
          <a:xfrm>
            <a:off x="726300"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an 19</a:t>
            </a:r>
          </a:p>
        </p:txBody>
      </p:sp>
      <p:sp>
        <p:nvSpPr>
          <p:cNvPr id="32" name="Rectangle 31">
            <a:extLst>
              <a:ext uri="{FF2B5EF4-FFF2-40B4-BE49-F238E27FC236}">
                <a16:creationId xmlns:a16="http://schemas.microsoft.com/office/drawing/2014/main" id="{EF1FA7CC-001D-41AB-BD49-065562666198}"/>
              </a:ext>
            </a:extLst>
          </p:cNvPr>
          <p:cNvSpPr/>
          <p:nvPr/>
        </p:nvSpPr>
        <p:spPr bwMode="auto">
          <a:xfrm>
            <a:off x="3614032"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Apr 19</a:t>
            </a:r>
          </a:p>
        </p:txBody>
      </p:sp>
      <p:sp>
        <p:nvSpPr>
          <p:cNvPr id="33" name="Rectangle 32">
            <a:extLst>
              <a:ext uri="{FF2B5EF4-FFF2-40B4-BE49-F238E27FC236}">
                <a16:creationId xmlns:a16="http://schemas.microsoft.com/office/drawing/2014/main" id="{7CFB92C7-1582-4F4C-806C-112AA7F4D2A1}"/>
              </a:ext>
            </a:extLst>
          </p:cNvPr>
          <p:cNvSpPr/>
          <p:nvPr/>
        </p:nvSpPr>
        <p:spPr bwMode="auto">
          <a:xfrm>
            <a:off x="4576610"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May 19</a:t>
            </a:r>
          </a:p>
        </p:txBody>
      </p:sp>
      <p:sp>
        <p:nvSpPr>
          <p:cNvPr id="5" name="TextBox 4">
            <a:extLst>
              <a:ext uri="{FF2B5EF4-FFF2-40B4-BE49-F238E27FC236}">
                <a16:creationId xmlns:a16="http://schemas.microsoft.com/office/drawing/2014/main" id="{067D8521-BC3D-4D97-AE86-4521190712D9}"/>
              </a:ext>
            </a:extLst>
          </p:cNvPr>
          <p:cNvSpPr txBox="1"/>
          <p:nvPr/>
        </p:nvSpPr>
        <p:spPr>
          <a:xfrm>
            <a:off x="6840893" y="4985659"/>
            <a:ext cx="5373822" cy="1255793"/>
          </a:xfrm>
          <a:prstGeom prst="rect">
            <a:avLst/>
          </a:prstGeom>
          <a:noFill/>
        </p:spPr>
        <p:txBody>
          <a:bodyPr wrap="square" lIns="0" tIns="0" rIns="0" bIns="0" rtlCol="0">
            <a:spAutoFit/>
          </a:bodyPr>
          <a:lstStyle/>
          <a:p>
            <a:pPr marL="349724" indent="-349724">
              <a:buFont typeface="Arial" panose="020B0604020202020204" pitchFamily="34" charset="0"/>
              <a:buChar char="•"/>
            </a:pPr>
            <a:r>
              <a:rPr lang="en-US" sz="1632">
                <a:gradFill>
                  <a:gsLst>
                    <a:gs pos="2917">
                      <a:schemeClr val="tx1"/>
                    </a:gs>
                    <a:gs pos="30000">
                      <a:schemeClr val="tx1"/>
                    </a:gs>
                  </a:gsLst>
                  <a:lin ang="5400000" scaled="0"/>
                </a:gradFill>
              </a:rPr>
              <a:t>Creating a Configuration table aligned with Partitions</a:t>
            </a:r>
          </a:p>
          <a:p>
            <a:pPr marL="349724" indent="-349724">
              <a:buFont typeface="Arial" panose="020B0604020202020204" pitchFamily="34" charset="0"/>
              <a:buChar char="•"/>
            </a:pPr>
            <a:endParaRPr lang="en-US" sz="1632">
              <a:gradFill>
                <a:gsLst>
                  <a:gs pos="2917">
                    <a:schemeClr val="tx1"/>
                  </a:gs>
                  <a:gs pos="30000">
                    <a:schemeClr val="tx1"/>
                  </a:gs>
                </a:gsLst>
                <a:lin ang="5400000" scaled="0"/>
              </a:gradFill>
            </a:endParaRPr>
          </a:p>
          <a:p>
            <a:pPr marL="349724" indent="-349724">
              <a:buFont typeface="Arial" panose="020B0604020202020204" pitchFamily="34" charset="0"/>
              <a:buChar char="•"/>
            </a:pPr>
            <a:r>
              <a:rPr lang="en-US" sz="1632">
                <a:gradFill>
                  <a:gsLst>
                    <a:gs pos="2917">
                      <a:schemeClr val="tx1"/>
                    </a:gs>
                    <a:gs pos="30000">
                      <a:schemeClr val="tx1"/>
                    </a:gs>
                  </a:gsLst>
                  <a:lin ang="5400000" scaled="0"/>
                </a:gradFill>
              </a:rPr>
              <a:t>Create  Polling expression that uses same dates</a:t>
            </a:r>
          </a:p>
          <a:p>
            <a:pPr marL="349724" indent="-349724">
              <a:buFont typeface="Arial" panose="020B0604020202020204" pitchFamily="34" charset="0"/>
              <a:buChar char="•"/>
            </a:pPr>
            <a:endParaRPr lang="en-US" sz="1632">
              <a:gradFill>
                <a:gsLst>
                  <a:gs pos="2917">
                    <a:schemeClr val="tx1"/>
                  </a:gs>
                  <a:gs pos="30000">
                    <a:schemeClr val="tx1"/>
                  </a:gs>
                </a:gsLst>
                <a:lin ang="5400000" scaled="0"/>
              </a:gradFill>
            </a:endParaRPr>
          </a:p>
          <a:p>
            <a:pPr marL="349724" indent="-349724">
              <a:buFont typeface="Arial" panose="020B0604020202020204" pitchFamily="34" charset="0"/>
              <a:buChar char="•"/>
            </a:pPr>
            <a:r>
              <a:rPr lang="en-US" sz="1632">
                <a:gradFill>
                  <a:gsLst>
                    <a:gs pos="2917">
                      <a:schemeClr val="tx1"/>
                    </a:gs>
                    <a:gs pos="30000">
                      <a:schemeClr val="tx1"/>
                    </a:gs>
                  </a:gsLst>
                  <a:lin ang="5400000" scaled="0"/>
                </a:gradFill>
              </a:rPr>
              <a:t>Publish Polling Expression with ALM toolkit</a:t>
            </a:r>
          </a:p>
        </p:txBody>
      </p:sp>
      <p:cxnSp>
        <p:nvCxnSpPr>
          <p:cNvPr id="10" name="Straight Connector 9">
            <a:extLst>
              <a:ext uri="{FF2B5EF4-FFF2-40B4-BE49-F238E27FC236}">
                <a16:creationId xmlns:a16="http://schemas.microsoft.com/office/drawing/2014/main" id="{D033E90E-42C8-4F3E-8550-A639423D3A1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E499FFA3-0547-4705-B498-570924522C0E}"/>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ncremental Refresh</a:t>
            </a:r>
            <a:endParaRPr lang="en-US" sz="4080" spc="0">
              <a:solidFill>
                <a:srgbClr val="FFC000"/>
              </a:solidFill>
            </a:endParaRPr>
          </a:p>
        </p:txBody>
      </p:sp>
    </p:spTree>
    <p:extLst>
      <p:ext uri="{BB962C8B-B14F-4D97-AF65-F5344CB8AC3E}">
        <p14:creationId xmlns:p14="http://schemas.microsoft.com/office/powerpoint/2010/main" val="14251969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8509" y="1333139"/>
            <a:ext cx="11237870" cy="1088591"/>
          </a:xfrm>
        </p:spPr>
        <p:txBody>
          <a:bodyPr/>
          <a:lstStyle/>
          <a:p>
            <a:r>
              <a:rPr lang="en-US" sz="2040" b="1"/>
              <a:t>P1 = 25GB </a:t>
            </a:r>
          </a:p>
          <a:p>
            <a:r>
              <a:rPr lang="en-US" sz="2040" b="1"/>
              <a:t>Model Size = 17 GB</a:t>
            </a:r>
          </a:p>
          <a:p>
            <a:r>
              <a:rPr lang="en-US" sz="2040" b="1"/>
              <a:t>Refresh Size ≈ 2.5 * Model Size</a:t>
            </a:r>
          </a:p>
        </p:txBody>
      </p:sp>
      <p:grpSp>
        <p:nvGrpSpPr>
          <p:cNvPr id="12" name="Group 11">
            <a:extLst>
              <a:ext uri="{FF2B5EF4-FFF2-40B4-BE49-F238E27FC236}">
                <a16:creationId xmlns:a16="http://schemas.microsoft.com/office/drawing/2014/main" id="{619E8513-CA4C-4FAE-B01B-64BE9EE46534}"/>
              </a:ext>
            </a:extLst>
          </p:cNvPr>
          <p:cNvGrpSpPr/>
          <p:nvPr/>
        </p:nvGrpSpPr>
        <p:grpSpPr>
          <a:xfrm>
            <a:off x="11012963" y="1377069"/>
            <a:ext cx="852149" cy="552029"/>
            <a:chOff x="11012963" y="1377069"/>
            <a:chExt cx="852149" cy="552029"/>
          </a:xfrm>
        </p:grpSpPr>
        <p:sp>
          <p:nvSpPr>
            <p:cNvPr id="5" name="Rectangle 4">
              <a:extLst>
                <a:ext uri="{FF2B5EF4-FFF2-40B4-BE49-F238E27FC236}">
                  <a16:creationId xmlns:a16="http://schemas.microsoft.com/office/drawing/2014/main" id="{D93CA52D-C9AB-4F47-A1A6-43640A81520B}"/>
                </a:ext>
              </a:extLst>
            </p:cNvPr>
            <p:cNvSpPr/>
            <p:nvPr/>
          </p:nvSpPr>
          <p:spPr bwMode="auto">
            <a:xfrm>
              <a:off x="11012963" y="1377069"/>
              <a:ext cx="852149" cy="24609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1"/>
                  </a:solidFill>
                  <a:ea typeface="Segoe UI" pitchFamily="34" charset="0"/>
                  <a:cs typeface="Segoe UI" pitchFamily="34" charset="0"/>
                </a:rPr>
                <a:t>Empty</a:t>
              </a:r>
            </a:p>
          </p:txBody>
        </p:sp>
        <p:sp>
          <p:nvSpPr>
            <p:cNvPr id="6" name="Rectangle 5">
              <a:extLst>
                <a:ext uri="{FF2B5EF4-FFF2-40B4-BE49-F238E27FC236}">
                  <a16:creationId xmlns:a16="http://schemas.microsoft.com/office/drawing/2014/main" id="{14BF5AB2-DC8A-4BEC-9DDF-5CE6D7977D1C}"/>
                </a:ext>
              </a:extLst>
            </p:cNvPr>
            <p:cNvSpPr/>
            <p:nvPr/>
          </p:nvSpPr>
          <p:spPr bwMode="auto">
            <a:xfrm>
              <a:off x="11012963" y="1683007"/>
              <a:ext cx="852149" cy="24609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071">
                  <a:solidFill>
                    <a:schemeClr val="tx1"/>
                  </a:solidFill>
                  <a:ea typeface="Segoe UI" pitchFamily="34" charset="0"/>
                  <a:cs typeface="Segoe UI" pitchFamily="34" charset="0"/>
                </a:rPr>
                <a:t>Loaded</a:t>
              </a:r>
            </a:p>
          </p:txBody>
        </p:sp>
      </p:grpSp>
      <p:sp>
        <p:nvSpPr>
          <p:cNvPr id="7" name="Rectangle 6">
            <a:extLst>
              <a:ext uri="{FF2B5EF4-FFF2-40B4-BE49-F238E27FC236}">
                <a16:creationId xmlns:a16="http://schemas.microsoft.com/office/drawing/2014/main" id="{1E85CD01-95CA-47C9-985B-25C543E04654}"/>
              </a:ext>
            </a:extLst>
          </p:cNvPr>
          <p:cNvSpPr/>
          <p:nvPr/>
        </p:nvSpPr>
        <p:spPr bwMode="auto">
          <a:xfrm>
            <a:off x="1443379"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1</a:t>
            </a:r>
          </a:p>
        </p:txBody>
      </p:sp>
      <p:sp>
        <p:nvSpPr>
          <p:cNvPr id="10" name="Rectangle 9">
            <a:extLst>
              <a:ext uri="{FF2B5EF4-FFF2-40B4-BE49-F238E27FC236}">
                <a16:creationId xmlns:a16="http://schemas.microsoft.com/office/drawing/2014/main" id="{77C1B2CA-F04E-4767-91C7-569AEB5C309B}"/>
              </a:ext>
            </a:extLst>
          </p:cNvPr>
          <p:cNvSpPr/>
          <p:nvPr/>
        </p:nvSpPr>
        <p:spPr bwMode="auto">
          <a:xfrm>
            <a:off x="2405956"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2</a:t>
            </a:r>
          </a:p>
        </p:txBody>
      </p:sp>
      <p:sp>
        <p:nvSpPr>
          <p:cNvPr id="13" name="Rectangle 12">
            <a:extLst>
              <a:ext uri="{FF2B5EF4-FFF2-40B4-BE49-F238E27FC236}">
                <a16:creationId xmlns:a16="http://schemas.microsoft.com/office/drawing/2014/main" id="{4ACD3412-788F-49DC-98FD-19C625333BC6}"/>
              </a:ext>
            </a:extLst>
          </p:cNvPr>
          <p:cNvSpPr/>
          <p:nvPr/>
        </p:nvSpPr>
        <p:spPr bwMode="auto">
          <a:xfrm>
            <a:off x="7218843"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7</a:t>
            </a:r>
          </a:p>
        </p:txBody>
      </p:sp>
      <p:sp>
        <p:nvSpPr>
          <p:cNvPr id="15" name="Rectangle 14">
            <a:extLst>
              <a:ext uri="{FF2B5EF4-FFF2-40B4-BE49-F238E27FC236}">
                <a16:creationId xmlns:a16="http://schemas.microsoft.com/office/drawing/2014/main" id="{A88C60D1-2857-4CE6-98CC-DB7E014575E0}"/>
              </a:ext>
            </a:extLst>
          </p:cNvPr>
          <p:cNvSpPr/>
          <p:nvPr/>
        </p:nvSpPr>
        <p:spPr bwMode="auto">
          <a:xfrm>
            <a:off x="1106914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1</a:t>
            </a:r>
          </a:p>
        </p:txBody>
      </p:sp>
      <p:sp>
        <p:nvSpPr>
          <p:cNvPr id="43" name="Rectangle 42">
            <a:extLst>
              <a:ext uri="{FF2B5EF4-FFF2-40B4-BE49-F238E27FC236}">
                <a16:creationId xmlns:a16="http://schemas.microsoft.com/office/drawing/2014/main" id="{86430280-6C99-4817-9C30-84EDAA337868}"/>
              </a:ext>
            </a:extLst>
          </p:cNvPr>
          <p:cNvSpPr/>
          <p:nvPr/>
        </p:nvSpPr>
        <p:spPr bwMode="auto">
          <a:xfrm>
            <a:off x="914399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9</a:t>
            </a:r>
          </a:p>
        </p:txBody>
      </p:sp>
      <p:sp>
        <p:nvSpPr>
          <p:cNvPr id="45" name="Rectangle 44">
            <a:extLst>
              <a:ext uri="{FF2B5EF4-FFF2-40B4-BE49-F238E27FC236}">
                <a16:creationId xmlns:a16="http://schemas.microsoft.com/office/drawing/2014/main" id="{72A87A1C-E46C-421B-A290-7E3583A3EDE8}"/>
              </a:ext>
            </a:extLst>
          </p:cNvPr>
          <p:cNvSpPr/>
          <p:nvPr/>
        </p:nvSpPr>
        <p:spPr bwMode="auto">
          <a:xfrm>
            <a:off x="529368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5</a:t>
            </a:r>
          </a:p>
        </p:txBody>
      </p:sp>
      <p:sp>
        <p:nvSpPr>
          <p:cNvPr id="47" name="Rectangle 46">
            <a:extLst>
              <a:ext uri="{FF2B5EF4-FFF2-40B4-BE49-F238E27FC236}">
                <a16:creationId xmlns:a16="http://schemas.microsoft.com/office/drawing/2014/main" id="{A8F045CA-A84F-41AF-B4C2-725B88D3F123}"/>
              </a:ext>
            </a:extLst>
          </p:cNvPr>
          <p:cNvSpPr/>
          <p:nvPr/>
        </p:nvSpPr>
        <p:spPr bwMode="auto">
          <a:xfrm>
            <a:off x="480801"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0</a:t>
            </a:r>
          </a:p>
        </p:txBody>
      </p:sp>
      <p:sp>
        <p:nvSpPr>
          <p:cNvPr id="49" name="Rectangle 48">
            <a:extLst>
              <a:ext uri="{FF2B5EF4-FFF2-40B4-BE49-F238E27FC236}">
                <a16:creationId xmlns:a16="http://schemas.microsoft.com/office/drawing/2014/main" id="{B54E62FD-79E6-436A-9AF9-E1A6BBB40300}"/>
              </a:ext>
            </a:extLst>
          </p:cNvPr>
          <p:cNvSpPr/>
          <p:nvPr/>
        </p:nvSpPr>
        <p:spPr bwMode="auto">
          <a:xfrm>
            <a:off x="3368533"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3</a:t>
            </a:r>
          </a:p>
        </p:txBody>
      </p:sp>
      <p:sp>
        <p:nvSpPr>
          <p:cNvPr id="51" name="Rectangle 50">
            <a:extLst>
              <a:ext uri="{FF2B5EF4-FFF2-40B4-BE49-F238E27FC236}">
                <a16:creationId xmlns:a16="http://schemas.microsoft.com/office/drawing/2014/main" id="{A174F806-BB61-4D02-BE1C-A3960C7060A4}"/>
              </a:ext>
            </a:extLst>
          </p:cNvPr>
          <p:cNvSpPr/>
          <p:nvPr/>
        </p:nvSpPr>
        <p:spPr bwMode="auto">
          <a:xfrm>
            <a:off x="4331111"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4</a:t>
            </a:r>
          </a:p>
        </p:txBody>
      </p:sp>
      <p:sp>
        <p:nvSpPr>
          <p:cNvPr id="53" name="Rectangle 52">
            <a:extLst>
              <a:ext uri="{FF2B5EF4-FFF2-40B4-BE49-F238E27FC236}">
                <a16:creationId xmlns:a16="http://schemas.microsoft.com/office/drawing/2014/main" id="{72FA6718-7BA0-42F8-A131-6583FD77A828}"/>
              </a:ext>
            </a:extLst>
          </p:cNvPr>
          <p:cNvSpPr/>
          <p:nvPr/>
        </p:nvSpPr>
        <p:spPr bwMode="auto">
          <a:xfrm>
            <a:off x="6256266"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6</a:t>
            </a:r>
          </a:p>
        </p:txBody>
      </p:sp>
      <p:sp>
        <p:nvSpPr>
          <p:cNvPr id="55" name="Rectangle 54">
            <a:extLst>
              <a:ext uri="{FF2B5EF4-FFF2-40B4-BE49-F238E27FC236}">
                <a16:creationId xmlns:a16="http://schemas.microsoft.com/office/drawing/2014/main" id="{7101FA97-BDA5-4733-AD32-5A5F6BA65A5E}"/>
              </a:ext>
            </a:extLst>
          </p:cNvPr>
          <p:cNvSpPr/>
          <p:nvPr/>
        </p:nvSpPr>
        <p:spPr bwMode="auto">
          <a:xfrm>
            <a:off x="8181420"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8</a:t>
            </a:r>
          </a:p>
        </p:txBody>
      </p:sp>
      <p:sp>
        <p:nvSpPr>
          <p:cNvPr id="57" name="Rectangle 56">
            <a:extLst>
              <a:ext uri="{FF2B5EF4-FFF2-40B4-BE49-F238E27FC236}">
                <a16:creationId xmlns:a16="http://schemas.microsoft.com/office/drawing/2014/main" id="{FAD1CF8A-7198-4FD3-BF11-2063BCEC5BA8}"/>
              </a:ext>
            </a:extLst>
          </p:cNvPr>
          <p:cNvSpPr/>
          <p:nvPr/>
        </p:nvSpPr>
        <p:spPr bwMode="auto">
          <a:xfrm>
            <a:off x="10106575"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0</a:t>
            </a:r>
          </a:p>
        </p:txBody>
      </p:sp>
      <p:sp>
        <p:nvSpPr>
          <p:cNvPr id="60" name="Arrow: Right 59">
            <a:extLst>
              <a:ext uri="{FF2B5EF4-FFF2-40B4-BE49-F238E27FC236}">
                <a16:creationId xmlns:a16="http://schemas.microsoft.com/office/drawing/2014/main" id="{7B6B0CBE-D9EF-4606-B4A1-19A59350F356}"/>
              </a:ext>
            </a:extLst>
          </p:cNvPr>
          <p:cNvSpPr/>
          <p:nvPr/>
        </p:nvSpPr>
        <p:spPr bwMode="auto">
          <a:xfrm>
            <a:off x="482789" y="4096122"/>
            <a:ext cx="1638846" cy="497992"/>
          </a:xfrm>
          <a:prstGeom prst="rightArrow">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cxnSp>
        <p:nvCxnSpPr>
          <p:cNvPr id="4" name="Straight Connector 3">
            <a:extLst>
              <a:ext uri="{FF2B5EF4-FFF2-40B4-BE49-F238E27FC236}">
                <a16:creationId xmlns:a16="http://schemas.microsoft.com/office/drawing/2014/main" id="{7AFBEB46-1061-495A-8A50-4F92B198C80E}"/>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1">
            <a:extLst>
              <a:ext uri="{FF2B5EF4-FFF2-40B4-BE49-F238E27FC236}">
                <a16:creationId xmlns:a16="http://schemas.microsoft.com/office/drawing/2014/main" id="{54EC77E0-2D15-446F-B469-BAEF73F2A426}"/>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Loading Large Models</a:t>
            </a:r>
            <a:endParaRPr lang="en-US" sz="4080" spc="0">
              <a:solidFill>
                <a:srgbClr val="FFC000"/>
              </a:solidFill>
            </a:endParaRPr>
          </a:p>
        </p:txBody>
      </p:sp>
    </p:spTree>
    <p:extLst>
      <p:ext uri="{BB962C8B-B14F-4D97-AF65-F5344CB8AC3E}">
        <p14:creationId xmlns:p14="http://schemas.microsoft.com/office/powerpoint/2010/main" val="29660157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8509" y="1333139"/>
            <a:ext cx="11237870" cy="1088591"/>
          </a:xfrm>
        </p:spPr>
        <p:txBody>
          <a:bodyPr/>
          <a:lstStyle/>
          <a:p>
            <a:r>
              <a:rPr lang="en-US" sz="2040" b="1"/>
              <a:t>P1 = 25GB </a:t>
            </a:r>
          </a:p>
          <a:p>
            <a:r>
              <a:rPr lang="en-US" sz="2040" b="1"/>
              <a:t>Model Size = 17 GB</a:t>
            </a:r>
          </a:p>
          <a:p>
            <a:r>
              <a:rPr lang="en-US" sz="2040" b="1"/>
              <a:t>Refresh Size ≈ 2.5 * Model Size</a:t>
            </a:r>
          </a:p>
        </p:txBody>
      </p:sp>
      <p:sp>
        <p:nvSpPr>
          <p:cNvPr id="7" name="Rectangle 6">
            <a:extLst>
              <a:ext uri="{FF2B5EF4-FFF2-40B4-BE49-F238E27FC236}">
                <a16:creationId xmlns:a16="http://schemas.microsoft.com/office/drawing/2014/main" id="{1E85CD01-95CA-47C9-985B-25C543E04654}"/>
              </a:ext>
            </a:extLst>
          </p:cNvPr>
          <p:cNvSpPr/>
          <p:nvPr/>
        </p:nvSpPr>
        <p:spPr bwMode="auto">
          <a:xfrm>
            <a:off x="1443379"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1</a:t>
            </a:r>
          </a:p>
        </p:txBody>
      </p:sp>
      <p:sp>
        <p:nvSpPr>
          <p:cNvPr id="10" name="Rectangle 9">
            <a:extLst>
              <a:ext uri="{FF2B5EF4-FFF2-40B4-BE49-F238E27FC236}">
                <a16:creationId xmlns:a16="http://schemas.microsoft.com/office/drawing/2014/main" id="{77C1B2CA-F04E-4767-91C7-569AEB5C309B}"/>
              </a:ext>
            </a:extLst>
          </p:cNvPr>
          <p:cNvSpPr/>
          <p:nvPr/>
        </p:nvSpPr>
        <p:spPr bwMode="auto">
          <a:xfrm>
            <a:off x="2405956"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2</a:t>
            </a:r>
          </a:p>
        </p:txBody>
      </p:sp>
      <p:sp>
        <p:nvSpPr>
          <p:cNvPr id="13" name="Rectangle 12">
            <a:extLst>
              <a:ext uri="{FF2B5EF4-FFF2-40B4-BE49-F238E27FC236}">
                <a16:creationId xmlns:a16="http://schemas.microsoft.com/office/drawing/2014/main" id="{4ACD3412-788F-49DC-98FD-19C625333BC6}"/>
              </a:ext>
            </a:extLst>
          </p:cNvPr>
          <p:cNvSpPr/>
          <p:nvPr/>
        </p:nvSpPr>
        <p:spPr bwMode="auto">
          <a:xfrm>
            <a:off x="7218843"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7</a:t>
            </a:r>
          </a:p>
        </p:txBody>
      </p:sp>
      <p:sp>
        <p:nvSpPr>
          <p:cNvPr id="15" name="Rectangle 14">
            <a:extLst>
              <a:ext uri="{FF2B5EF4-FFF2-40B4-BE49-F238E27FC236}">
                <a16:creationId xmlns:a16="http://schemas.microsoft.com/office/drawing/2014/main" id="{A88C60D1-2857-4CE6-98CC-DB7E014575E0}"/>
              </a:ext>
            </a:extLst>
          </p:cNvPr>
          <p:cNvSpPr/>
          <p:nvPr/>
        </p:nvSpPr>
        <p:spPr bwMode="auto">
          <a:xfrm>
            <a:off x="1106914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1</a:t>
            </a:r>
          </a:p>
        </p:txBody>
      </p:sp>
      <p:sp>
        <p:nvSpPr>
          <p:cNvPr id="43" name="Rectangle 42">
            <a:extLst>
              <a:ext uri="{FF2B5EF4-FFF2-40B4-BE49-F238E27FC236}">
                <a16:creationId xmlns:a16="http://schemas.microsoft.com/office/drawing/2014/main" id="{86430280-6C99-4817-9C30-84EDAA337868}"/>
              </a:ext>
            </a:extLst>
          </p:cNvPr>
          <p:cNvSpPr/>
          <p:nvPr/>
        </p:nvSpPr>
        <p:spPr bwMode="auto">
          <a:xfrm>
            <a:off x="914399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9</a:t>
            </a:r>
          </a:p>
        </p:txBody>
      </p:sp>
      <p:sp>
        <p:nvSpPr>
          <p:cNvPr id="45" name="Rectangle 44">
            <a:extLst>
              <a:ext uri="{FF2B5EF4-FFF2-40B4-BE49-F238E27FC236}">
                <a16:creationId xmlns:a16="http://schemas.microsoft.com/office/drawing/2014/main" id="{72A87A1C-E46C-421B-A290-7E3583A3EDE8}"/>
              </a:ext>
            </a:extLst>
          </p:cNvPr>
          <p:cNvSpPr/>
          <p:nvPr/>
        </p:nvSpPr>
        <p:spPr bwMode="auto">
          <a:xfrm>
            <a:off x="529368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5</a:t>
            </a:r>
          </a:p>
        </p:txBody>
      </p:sp>
      <p:sp>
        <p:nvSpPr>
          <p:cNvPr id="47" name="Rectangle 46">
            <a:extLst>
              <a:ext uri="{FF2B5EF4-FFF2-40B4-BE49-F238E27FC236}">
                <a16:creationId xmlns:a16="http://schemas.microsoft.com/office/drawing/2014/main" id="{A8F045CA-A84F-41AF-B4C2-725B88D3F123}"/>
              </a:ext>
            </a:extLst>
          </p:cNvPr>
          <p:cNvSpPr/>
          <p:nvPr/>
        </p:nvSpPr>
        <p:spPr bwMode="auto">
          <a:xfrm>
            <a:off x="480801"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0</a:t>
            </a:r>
          </a:p>
        </p:txBody>
      </p:sp>
      <p:sp>
        <p:nvSpPr>
          <p:cNvPr id="49" name="Rectangle 48">
            <a:extLst>
              <a:ext uri="{FF2B5EF4-FFF2-40B4-BE49-F238E27FC236}">
                <a16:creationId xmlns:a16="http://schemas.microsoft.com/office/drawing/2014/main" id="{B54E62FD-79E6-436A-9AF9-E1A6BBB40300}"/>
              </a:ext>
            </a:extLst>
          </p:cNvPr>
          <p:cNvSpPr/>
          <p:nvPr/>
        </p:nvSpPr>
        <p:spPr bwMode="auto">
          <a:xfrm>
            <a:off x="3368533"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3</a:t>
            </a:r>
          </a:p>
        </p:txBody>
      </p:sp>
      <p:sp>
        <p:nvSpPr>
          <p:cNvPr id="51" name="Rectangle 50">
            <a:extLst>
              <a:ext uri="{FF2B5EF4-FFF2-40B4-BE49-F238E27FC236}">
                <a16:creationId xmlns:a16="http://schemas.microsoft.com/office/drawing/2014/main" id="{A174F806-BB61-4D02-BE1C-A3960C7060A4}"/>
              </a:ext>
            </a:extLst>
          </p:cNvPr>
          <p:cNvSpPr/>
          <p:nvPr/>
        </p:nvSpPr>
        <p:spPr bwMode="auto">
          <a:xfrm>
            <a:off x="4331111"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4</a:t>
            </a:r>
          </a:p>
        </p:txBody>
      </p:sp>
      <p:sp>
        <p:nvSpPr>
          <p:cNvPr id="53" name="Rectangle 52">
            <a:extLst>
              <a:ext uri="{FF2B5EF4-FFF2-40B4-BE49-F238E27FC236}">
                <a16:creationId xmlns:a16="http://schemas.microsoft.com/office/drawing/2014/main" id="{72FA6718-7BA0-42F8-A131-6583FD77A828}"/>
              </a:ext>
            </a:extLst>
          </p:cNvPr>
          <p:cNvSpPr/>
          <p:nvPr/>
        </p:nvSpPr>
        <p:spPr bwMode="auto">
          <a:xfrm>
            <a:off x="6256266"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6</a:t>
            </a:r>
          </a:p>
        </p:txBody>
      </p:sp>
      <p:sp>
        <p:nvSpPr>
          <p:cNvPr id="55" name="Rectangle 54">
            <a:extLst>
              <a:ext uri="{FF2B5EF4-FFF2-40B4-BE49-F238E27FC236}">
                <a16:creationId xmlns:a16="http://schemas.microsoft.com/office/drawing/2014/main" id="{7101FA97-BDA5-4733-AD32-5A5F6BA65A5E}"/>
              </a:ext>
            </a:extLst>
          </p:cNvPr>
          <p:cNvSpPr/>
          <p:nvPr/>
        </p:nvSpPr>
        <p:spPr bwMode="auto">
          <a:xfrm>
            <a:off x="8181420"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8</a:t>
            </a:r>
          </a:p>
        </p:txBody>
      </p:sp>
      <p:sp>
        <p:nvSpPr>
          <p:cNvPr id="57" name="Rectangle 56">
            <a:extLst>
              <a:ext uri="{FF2B5EF4-FFF2-40B4-BE49-F238E27FC236}">
                <a16:creationId xmlns:a16="http://schemas.microsoft.com/office/drawing/2014/main" id="{FAD1CF8A-7198-4FD3-BF11-2063BCEC5BA8}"/>
              </a:ext>
            </a:extLst>
          </p:cNvPr>
          <p:cNvSpPr/>
          <p:nvPr/>
        </p:nvSpPr>
        <p:spPr bwMode="auto">
          <a:xfrm>
            <a:off x="10106575"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0</a:t>
            </a:r>
          </a:p>
        </p:txBody>
      </p:sp>
      <p:sp>
        <p:nvSpPr>
          <p:cNvPr id="60" name="Arrow: Right 59">
            <a:extLst>
              <a:ext uri="{FF2B5EF4-FFF2-40B4-BE49-F238E27FC236}">
                <a16:creationId xmlns:a16="http://schemas.microsoft.com/office/drawing/2014/main" id="{7B6B0CBE-D9EF-4606-B4A1-19A59350F356}"/>
              </a:ext>
            </a:extLst>
          </p:cNvPr>
          <p:cNvSpPr/>
          <p:nvPr/>
        </p:nvSpPr>
        <p:spPr bwMode="auto">
          <a:xfrm>
            <a:off x="482789" y="4096122"/>
            <a:ext cx="4526580" cy="497992"/>
          </a:xfrm>
          <a:prstGeom prst="rightArrow">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8" name="Title 1">
            <a:extLst>
              <a:ext uri="{FF2B5EF4-FFF2-40B4-BE49-F238E27FC236}">
                <a16:creationId xmlns:a16="http://schemas.microsoft.com/office/drawing/2014/main" id="{10AE3854-D697-4553-972E-2BCD25D198AC}"/>
              </a:ext>
            </a:extLst>
          </p:cNvPr>
          <p:cNvSpPr txBox="1">
            <a:spLocks/>
          </p:cNvSpPr>
          <p:nvPr/>
        </p:nvSpPr>
        <p:spPr>
          <a:xfrm>
            <a:off x="509533" y="4931785"/>
            <a:ext cx="11237870" cy="57634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sz="3672" spc="0"/>
              <a:t>Load Partitions/Tables</a:t>
            </a:r>
          </a:p>
        </p:txBody>
      </p:sp>
      <p:cxnSp>
        <p:nvCxnSpPr>
          <p:cNvPr id="11" name="Straight Connector 10">
            <a:extLst>
              <a:ext uri="{FF2B5EF4-FFF2-40B4-BE49-F238E27FC236}">
                <a16:creationId xmlns:a16="http://schemas.microsoft.com/office/drawing/2014/main" id="{AA1D1A9C-E385-4F77-A68D-9DC7226ADF24}"/>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2" name="Title 1">
            <a:extLst>
              <a:ext uri="{FF2B5EF4-FFF2-40B4-BE49-F238E27FC236}">
                <a16:creationId xmlns:a16="http://schemas.microsoft.com/office/drawing/2014/main" id="{952E1B4E-28FC-402A-B310-6837659D8324}"/>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Loading Large Models</a:t>
            </a:r>
            <a:endParaRPr lang="en-US" sz="4080" spc="0">
              <a:solidFill>
                <a:srgbClr val="FFC000"/>
              </a:solidFill>
            </a:endParaRPr>
          </a:p>
        </p:txBody>
      </p:sp>
      <p:grpSp>
        <p:nvGrpSpPr>
          <p:cNvPr id="30" name="Group 29">
            <a:extLst>
              <a:ext uri="{FF2B5EF4-FFF2-40B4-BE49-F238E27FC236}">
                <a16:creationId xmlns:a16="http://schemas.microsoft.com/office/drawing/2014/main" id="{34C3E20C-0F25-4968-81C6-C286D45583A1}"/>
              </a:ext>
            </a:extLst>
          </p:cNvPr>
          <p:cNvGrpSpPr/>
          <p:nvPr/>
        </p:nvGrpSpPr>
        <p:grpSpPr>
          <a:xfrm>
            <a:off x="11012963" y="1377069"/>
            <a:ext cx="852149" cy="552029"/>
            <a:chOff x="11012963" y="1377069"/>
            <a:chExt cx="852149" cy="552029"/>
          </a:xfrm>
        </p:grpSpPr>
        <p:sp>
          <p:nvSpPr>
            <p:cNvPr id="31" name="Rectangle 30">
              <a:extLst>
                <a:ext uri="{FF2B5EF4-FFF2-40B4-BE49-F238E27FC236}">
                  <a16:creationId xmlns:a16="http://schemas.microsoft.com/office/drawing/2014/main" id="{94A7D4A9-6A31-4096-A6C6-4E1DE9FBDC27}"/>
                </a:ext>
              </a:extLst>
            </p:cNvPr>
            <p:cNvSpPr/>
            <p:nvPr/>
          </p:nvSpPr>
          <p:spPr bwMode="auto">
            <a:xfrm>
              <a:off x="11012963" y="1377069"/>
              <a:ext cx="852149" cy="24609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1"/>
                  </a:solidFill>
                  <a:ea typeface="Segoe UI" pitchFamily="34" charset="0"/>
                  <a:cs typeface="Segoe UI" pitchFamily="34" charset="0"/>
                </a:rPr>
                <a:t>Empty</a:t>
              </a:r>
            </a:p>
          </p:txBody>
        </p:sp>
        <p:sp>
          <p:nvSpPr>
            <p:cNvPr id="32" name="Rectangle 31">
              <a:extLst>
                <a:ext uri="{FF2B5EF4-FFF2-40B4-BE49-F238E27FC236}">
                  <a16:creationId xmlns:a16="http://schemas.microsoft.com/office/drawing/2014/main" id="{FF4074A6-61D6-481B-BF81-37333347E93A}"/>
                </a:ext>
              </a:extLst>
            </p:cNvPr>
            <p:cNvSpPr/>
            <p:nvPr/>
          </p:nvSpPr>
          <p:spPr bwMode="auto">
            <a:xfrm>
              <a:off x="11012963" y="1683007"/>
              <a:ext cx="852149" cy="24609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071">
                  <a:solidFill>
                    <a:schemeClr val="tx1"/>
                  </a:solidFill>
                  <a:ea typeface="Segoe UI" pitchFamily="34" charset="0"/>
                  <a:cs typeface="Segoe UI" pitchFamily="34" charset="0"/>
                </a:rPr>
                <a:t>Loaded</a:t>
              </a:r>
            </a:p>
          </p:txBody>
        </p:sp>
      </p:grpSp>
    </p:spTree>
    <p:extLst>
      <p:ext uri="{BB962C8B-B14F-4D97-AF65-F5344CB8AC3E}">
        <p14:creationId xmlns:p14="http://schemas.microsoft.com/office/powerpoint/2010/main" val="4958223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84" name="Group 1683" descr="World map">
            <a:extLst>
              <a:ext uri="{FF2B5EF4-FFF2-40B4-BE49-F238E27FC236}">
                <a16:creationId xmlns:a16="http://schemas.microsoft.com/office/drawing/2014/main" id="{E1BBFF4C-D0E0-B547-9F44-7CA64AF575A8}"/>
              </a:ext>
            </a:extLst>
          </p:cNvPr>
          <p:cNvGrpSpPr/>
          <p:nvPr/>
        </p:nvGrpSpPr>
        <p:grpSpPr>
          <a:xfrm>
            <a:off x="2761670" y="869111"/>
            <a:ext cx="6866721" cy="3395214"/>
            <a:chOff x="4754563" y="1309941"/>
            <a:chExt cx="6733550" cy="3329368"/>
          </a:xfrm>
          <a:solidFill>
            <a:srgbClr val="E6E6E6"/>
          </a:solidFill>
        </p:grpSpPr>
        <p:grpSp>
          <p:nvGrpSpPr>
            <p:cNvPr id="1685" name="Africa">
              <a:extLst>
                <a:ext uri="{FF2B5EF4-FFF2-40B4-BE49-F238E27FC236}">
                  <a16:creationId xmlns:a16="http://schemas.microsoft.com/office/drawing/2014/main" id="{EEFE9752-D04C-014B-BC71-CB51A6438350}"/>
                </a:ext>
              </a:extLst>
            </p:cNvPr>
            <p:cNvGrpSpPr/>
            <p:nvPr/>
          </p:nvGrpSpPr>
          <p:grpSpPr>
            <a:xfrm>
              <a:off x="7603462" y="2719778"/>
              <a:ext cx="1270725" cy="1425034"/>
              <a:chOff x="3916456" y="3374516"/>
              <a:chExt cx="1608526" cy="1803856"/>
            </a:xfrm>
            <a:grpFill/>
          </p:grpSpPr>
          <p:sp>
            <p:nvSpPr>
              <p:cNvPr id="1813" name="Egypt">
                <a:extLst>
                  <a:ext uri="{FF2B5EF4-FFF2-40B4-BE49-F238E27FC236}">
                    <a16:creationId xmlns:a16="http://schemas.microsoft.com/office/drawing/2014/main" id="{608E2978-93FC-B942-8C61-DC942C248E78}"/>
                  </a:ext>
                </a:extLst>
              </p:cNvPr>
              <p:cNvSpPr>
                <a:spLocks/>
              </p:cNvSpPr>
              <p:nvPr/>
            </p:nvSpPr>
            <p:spPr bwMode="auto">
              <a:xfrm>
                <a:off x="4901993" y="3521015"/>
                <a:ext cx="251563" cy="257482"/>
              </a:xfrm>
              <a:custGeom>
                <a:avLst/>
                <a:gdLst/>
                <a:ahLst/>
                <a:cxnLst>
                  <a:cxn ang="0">
                    <a:pos x="149" y="9"/>
                  </a:cxn>
                  <a:cxn ang="0">
                    <a:pos x="148" y="12"/>
                  </a:cxn>
                  <a:cxn ang="0">
                    <a:pos x="145" y="12"/>
                  </a:cxn>
                  <a:cxn ang="0">
                    <a:pos x="135" y="11"/>
                  </a:cxn>
                  <a:cxn ang="0">
                    <a:pos x="131" y="11"/>
                  </a:cxn>
                  <a:cxn ang="0">
                    <a:pos x="119" y="11"/>
                  </a:cxn>
                  <a:cxn ang="0">
                    <a:pos x="109" y="7"/>
                  </a:cxn>
                  <a:cxn ang="0">
                    <a:pos x="102" y="5"/>
                  </a:cxn>
                  <a:cxn ang="0">
                    <a:pos x="82" y="9"/>
                  </a:cxn>
                  <a:cxn ang="0">
                    <a:pos x="76" y="12"/>
                  </a:cxn>
                  <a:cxn ang="0">
                    <a:pos x="74" y="15"/>
                  </a:cxn>
                  <a:cxn ang="0">
                    <a:pos x="64" y="15"/>
                  </a:cxn>
                  <a:cxn ang="0">
                    <a:pos x="58" y="14"/>
                  </a:cxn>
                  <a:cxn ang="0">
                    <a:pos x="38" y="7"/>
                  </a:cxn>
                  <a:cxn ang="0">
                    <a:pos x="30" y="5"/>
                  </a:cxn>
                  <a:cxn ang="0">
                    <a:pos x="8" y="2"/>
                  </a:cxn>
                  <a:cxn ang="0">
                    <a:pos x="5" y="0"/>
                  </a:cxn>
                  <a:cxn ang="0">
                    <a:pos x="2" y="4"/>
                  </a:cxn>
                  <a:cxn ang="0">
                    <a:pos x="2" y="15"/>
                  </a:cxn>
                  <a:cxn ang="0">
                    <a:pos x="1" y="24"/>
                  </a:cxn>
                  <a:cxn ang="0">
                    <a:pos x="0" y="28"/>
                  </a:cxn>
                  <a:cxn ang="0">
                    <a:pos x="1" y="39"/>
                  </a:cxn>
                  <a:cxn ang="0">
                    <a:pos x="1" y="48"/>
                  </a:cxn>
                  <a:cxn ang="0">
                    <a:pos x="99" y="172"/>
                  </a:cxn>
                  <a:cxn ang="0">
                    <a:pos x="105" y="167"/>
                  </a:cxn>
                  <a:cxn ang="0">
                    <a:pos x="108" y="167"/>
                  </a:cxn>
                  <a:cxn ang="0">
                    <a:pos x="112" y="170"/>
                  </a:cxn>
                  <a:cxn ang="0">
                    <a:pos x="133" y="170"/>
                  </a:cxn>
                  <a:cxn ang="0">
                    <a:pos x="139" y="174"/>
                  </a:cxn>
                  <a:cxn ang="0">
                    <a:pos x="142" y="174"/>
                  </a:cxn>
                  <a:cxn ang="0">
                    <a:pos x="145" y="172"/>
                  </a:cxn>
                  <a:cxn ang="0">
                    <a:pos x="152" y="167"/>
                  </a:cxn>
                  <a:cxn ang="0">
                    <a:pos x="153" y="167"/>
                  </a:cxn>
                  <a:cxn ang="0">
                    <a:pos x="158" y="162"/>
                  </a:cxn>
                  <a:cxn ang="0">
                    <a:pos x="160" y="156"/>
                  </a:cxn>
                  <a:cxn ang="0">
                    <a:pos x="162" y="156"/>
                  </a:cxn>
                  <a:cxn ang="0">
                    <a:pos x="170" y="150"/>
                  </a:cxn>
                  <a:cxn ang="0">
                    <a:pos x="170" y="149"/>
                  </a:cxn>
                  <a:cxn ang="0">
                    <a:pos x="170" y="143"/>
                  </a:cxn>
                  <a:cxn ang="0">
                    <a:pos x="170" y="139"/>
                  </a:cxn>
                  <a:cxn ang="0">
                    <a:pos x="166" y="132"/>
                  </a:cxn>
                  <a:cxn ang="0">
                    <a:pos x="163" y="125"/>
                  </a:cxn>
                  <a:cxn ang="0">
                    <a:pos x="153" y="108"/>
                  </a:cxn>
                  <a:cxn ang="0">
                    <a:pos x="146" y="92"/>
                  </a:cxn>
                  <a:cxn ang="0">
                    <a:pos x="145" y="88"/>
                  </a:cxn>
                  <a:cxn ang="0">
                    <a:pos x="139" y="81"/>
                  </a:cxn>
                  <a:cxn ang="0">
                    <a:pos x="139" y="76"/>
                  </a:cxn>
                  <a:cxn ang="0">
                    <a:pos x="136" y="69"/>
                  </a:cxn>
                  <a:cxn ang="0">
                    <a:pos x="128" y="58"/>
                  </a:cxn>
                  <a:cxn ang="0">
                    <a:pos x="121" y="41"/>
                  </a:cxn>
                  <a:cxn ang="0">
                    <a:pos x="121" y="29"/>
                  </a:cxn>
                  <a:cxn ang="0">
                    <a:pos x="122" y="31"/>
                  </a:cxn>
                  <a:cxn ang="0">
                    <a:pos x="131" y="49"/>
                  </a:cxn>
                  <a:cxn ang="0">
                    <a:pos x="138" y="62"/>
                  </a:cxn>
                  <a:cxn ang="0">
                    <a:pos x="145" y="71"/>
                  </a:cxn>
                  <a:cxn ang="0">
                    <a:pos x="148" y="71"/>
                  </a:cxn>
                  <a:cxn ang="0">
                    <a:pos x="150" y="66"/>
                  </a:cxn>
                  <a:cxn ang="0">
                    <a:pos x="155" y="51"/>
                  </a:cxn>
                  <a:cxn ang="0">
                    <a:pos x="158" y="48"/>
                  </a:cxn>
                  <a:cxn ang="0">
                    <a:pos x="158" y="45"/>
                  </a:cxn>
                </a:cxnLst>
                <a:rect l="0" t="0" r="r" b="b"/>
                <a:pathLst>
                  <a:path w="170" h="174">
                    <a:moveTo>
                      <a:pt x="160" y="38"/>
                    </a:moveTo>
                    <a:lnTo>
                      <a:pt x="149" y="9"/>
                    </a:lnTo>
                    <a:lnTo>
                      <a:pt x="149" y="9"/>
                    </a:lnTo>
                    <a:lnTo>
                      <a:pt x="148" y="12"/>
                    </a:lnTo>
                    <a:lnTo>
                      <a:pt x="148" y="12"/>
                    </a:lnTo>
                    <a:lnTo>
                      <a:pt x="145" y="12"/>
                    </a:lnTo>
                    <a:lnTo>
                      <a:pt x="140" y="12"/>
                    </a:lnTo>
                    <a:lnTo>
                      <a:pt x="135" y="11"/>
                    </a:lnTo>
                    <a:lnTo>
                      <a:pt x="131" y="11"/>
                    </a:lnTo>
                    <a:lnTo>
                      <a:pt x="131" y="11"/>
                    </a:lnTo>
                    <a:lnTo>
                      <a:pt x="125" y="12"/>
                    </a:lnTo>
                    <a:lnTo>
                      <a:pt x="119" y="11"/>
                    </a:lnTo>
                    <a:lnTo>
                      <a:pt x="109" y="7"/>
                    </a:lnTo>
                    <a:lnTo>
                      <a:pt x="109" y="7"/>
                    </a:lnTo>
                    <a:lnTo>
                      <a:pt x="106" y="7"/>
                    </a:lnTo>
                    <a:lnTo>
                      <a:pt x="102" y="5"/>
                    </a:lnTo>
                    <a:lnTo>
                      <a:pt x="92" y="7"/>
                    </a:lnTo>
                    <a:lnTo>
                      <a:pt x="82" y="9"/>
                    </a:lnTo>
                    <a:lnTo>
                      <a:pt x="78" y="11"/>
                    </a:lnTo>
                    <a:lnTo>
                      <a:pt x="76" y="12"/>
                    </a:lnTo>
                    <a:lnTo>
                      <a:pt x="76" y="12"/>
                    </a:lnTo>
                    <a:lnTo>
                      <a:pt x="74" y="15"/>
                    </a:lnTo>
                    <a:lnTo>
                      <a:pt x="69" y="17"/>
                    </a:lnTo>
                    <a:lnTo>
                      <a:pt x="64" y="15"/>
                    </a:lnTo>
                    <a:lnTo>
                      <a:pt x="58" y="14"/>
                    </a:lnTo>
                    <a:lnTo>
                      <a:pt x="58" y="14"/>
                    </a:lnTo>
                    <a:lnTo>
                      <a:pt x="45" y="9"/>
                    </a:lnTo>
                    <a:lnTo>
                      <a:pt x="38" y="7"/>
                    </a:lnTo>
                    <a:lnTo>
                      <a:pt x="30" y="5"/>
                    </a:lnTo>
                    <a:lnTo>
                      <a:pt x="30" y="5"/>
                    </a:lnTo>
                    <a:lnTo>
                      <a:pt x="12" y="4"/>
                    </a:lnTo>
                    <a:lnTo>
                      <a:pt x="8" y="2"/>
                    </a:lnTo>
                    <a:lnTo>
                      <a:pt x="5" y="0"/>
                    </a:lnTo>
                    <a:lnTo>
                      <a:pt x="5" y="0"/>
                    </a:lnTo>
                    <a:lnTo>
                      <a:pt x="2" y="4"/>
                    </a:lnTo>
                    <a:lnTo>
                      <a:pt x="2" y="4"/>
                    </a:lnTo>
                    <a:lnTo>
                      <a:pt x="2" y="11"/>
                    </a:lnTo>
                    <a:lnTo>
                      <a:pt x="2" y="15"/>
                    </a:lnTo>
                    <a:lnTo>
                      <a:pt x="2" y="19"/>
                    </a:lnTo>
                    <a:lnTo>
                      <a:pt x="1" y="24"/>
                    </a:lnTo>
                    <a:lnTo>
                      <a:pt x="1" y="24"/>
                    </a:lnTo>
                    <a:lnTo>
                      <a:pt x="0" y="28"/>
                    </a:lnTo>
                    <a:lnTo>
                      <a:pt x="0" y="34"/>
                    </a:lnTo>
                    <a:lnTo>
                      <a:pt x="1" y="39"/>
                    </a:lnTo>
                    <a:lnTo>
                      <a:pt x="1" y="48"/>
                    </a:lnTo>
                    <a:lnTo>
                      <a:pt x="1" y="48"/>
                    </a:lnTo>
                    <a:lnTo>
                      <a:pt x="1" y="172"/>
                    </a:lnTo>
                    <a:lnTo>
                      <a:pt x="99" y="172"/>
                    </a:lnTo>
                    <a:lnTo>
                      <a:pt x="99" y="172"/>
                    </a:lnTo>
                    <a:lnTo>
                      <a:pt x="105" y="167"/>
                    </a:lnTo>
                    <a:lnTo>
                      <a:pt x="105" y="167"/>
                    </a:lnTo>
                    <a:lnTo>
                      <a:pt x="108" y="167"/>
                    </a:lnTo>
                    <a:lnTo>
                      <a:pt x="109" y="167"/>
                    </a:lnTo>
                    <a:lnTo>
                      <a:pt x="112" y="170"/>
                    </a:lnTo>
                    <a:lnTo>
                      <a:pt x="133" y="170"/>
                    </a:lnTo>
                    <a:lnTo>
                      <a:pt x="133" y="170"/>
                    </a:lnTo>
                    <a:lnTo>
                      <a:pt x="136" y="173"/>
                    </a:lnTo>
                    <a:lnTo>
                      <a:pt x="139" y="174"/>
                    </a:lnTo>
                    <a:lnTo>
                      <a:pt x="142" y="174"/>
                    </a:lnTo>
                    <a:lnTo>
                      <a:pt x="142" y="174"/>
                    </a:lnTo>
                    <a:lnTo>
                      <a:pt x="145" y="173"/>
                    </a:lnTo>
                    <a:lnTo>
                      <a:pt x="145" y="172"/>
                    </a:lnTo>
                    <a:lnTo>
                      <a:pt x="148" y="169"/>
                    </a:lnTo>
                    <a:lnTo>
                      <a:pt x="152" y="167"/>
                    </a:lnTo>
                    <a:lnTo>
                      <a:pt x="152" y="167"/>
                    </a:lnTo>
                    <a:lnTo>
                      <a:pt x="153" y="167"/>
                    </a:lnTo>
                    <a:lnTo>
                      <a:pt x="155" y="166"/>
                    </a:lnTo>
                    <a:lnTo>
                      <a:pt x="158" y="162"/>
                    </a:lnTo>
                    <a:lnTo>
                      <a:pt x="159" y="157"/>
                    </a:lnTo>
                    <a:lnTo>
                      <a:pt x="160" y="156"/>
                    </a:lnTo>
                    <a:lnTo>
                      <a:pt x="162" y="156"/>
                    </a:lnTo>
                    <a:lnTo>
                      <a:pt x="162" y="156"/>
                    </a:lnTo>
                    <a:lnTo>
                      <a:pt x="166" y="156"/>
                    </a:lnTo>
                    <a:lnTo>
                      <a:pt x="170" y="150"/>
                    </a:lnTo>
                    <a:lnTo>
                      <a:pt x="170" y="150"/>
                    </a:lnTo>
                    <a:lnTo>
                      <a:pt x="170" y="149"/>
                    </a:lnTo>
                    <a:lnTo>
                      <a:pt x="170" y="149"/>
                    </a:lnTo>
                    <a:lnTo>
                      <a:pt x="170" y="143"/>
                    </a:lnTo>
                    <a:lnTo>
                      <a:pt x="170" y="143"/>
                    </a:lnTo>
                    <a:lnTo>
                      <a:pt x="170" y="139"/>
                    </a:lnTo>
                    <a:lnTo>
                      <a:pt x="169" y="135"/>
                    </a:lnTo>
                    <a:lnTo>
                      <a:pt x="166" y="132"/>
                    </a:lnTo>
                    <a:lnTo>
                      <a:pt x="163" y="125"/>
                    </a:lnTo>
                    <a:lnTo>
                      <a:pt x="163" y="125"/>
                    </a:lnTo>
                    <a:lnTo>
                      <a:pt x="159" y="116"/>
                    </a:lnTo>
                    <a:lnTo>
                      <a:pt x="153" y="108"/>
                    </a:lnTo>
                    <a:lnTo>
                      <a:pt x="149" y="99"/>
                    </a:lnTo>
                    <a:lnTo>
                      <a:pt x="146" y="92"/>
                    </a:lnTo>
                    <a:lnTo>
                      <a:pt x="146" y="92"/>
                    </a:lnTo>
                    <a:lnTo>
                      <a:pt x="145" y="88"/>
                    </a:lnTo>
                    <a:lnTo>
                      <a:pt x="142" y="85"/>
                    </a:lnTo>
                    <a:lnTo>
                      <a:pt x="139" y="81"/>
                    </a:lnTo>
                    <a:lnTo>
                      <a:pt x="139" y="76"/>
                    </a:lnTo>
                    <a:lnTo>
                      <a:pt x="139" y="76"/>
                    </a:lnTo>
                    <a:lnTo>
                      <a:pt x="138" y="72"/>
                    </a:lnTo>
                    <a:lnTo>
                      <a:pt x="136" y="69"/>
                    </a:lnTo>
                    <a:lnTo>
                      <a:pt x="128" y="58"/>
                    </a:lnTo>
                    <a:lnTo>
                      <a:pt x="128" y="58"/>
                    </a:lnTo>
                    <a:lnTo>
                      <a:pt x="123" y="49"/>
                    </a:lnTo>
                    <a:lnTo>
                      <a:pt x="121" y="41"/>
                    </a:lnTo>
                    <a:lnTo>
                      <a:pt x="119" y="32"/>
                    </a:lnTo>
                    <a:lnTo>
                      <a:pt x="121" y="29"/>
                    </a:lnTo>
                    <a:lnTo>
                      <a:pt x="121" y="29"/>
                    </a:lnTo>
                    <a:lnTo>
                      <a:pt x="122" y="31"/>
                    </a:lnTo>
                    <a:lnTo>
                      <a:pt x="126" y="36"/>
                    </a:lnTo>
                    <a:lnTo>
                      <a:pt x="131" y="49"/>
                    </a:lnTo>
                    <a:lnTo>
                      <a:pt x="131" y="49"/>
                    </a:lnTo>
                    <a:lnTo>
                      <a:pt x="138" y="62"/>
                    </a:lnTo>
                    <a:lnTo>
                      <a:pt x="142" y="68"/>
                    </a:lnTo>
                    <a:lnTo>
                      <a:pt x="145" y="71"/>
                    </a:lnTo>
                    <a:lnTo>
                      <a:pt x="148" y="71"/>
                    </a:lnTo>
                    <a:lnTo>
                      <a:pt x="148" y="71"/>
                    </a:lnTo>
                    <a:lnTo>
                      <a:pt x="149" y="69"/>
                    </a:lnTo>
                    <a:lnTo>
                      <a:pt x="150" y="66"/>
                    </a:lnTo>
                    <a:lnTo>
                      <a:pt x="153" y="59"/>
                    </a:lnTo>
                    <a:lnTo>
                      <a:pt x="155" y="51"/>
                    </a:lnTo>
                    <a:lnTo>
                      <a:pt x="158" y="48"/>
                    </a:lnTo>
                    <a:lnTo>
                      <a:pt x="158" y="48"/>
                    </a:lnTo>
                    <a:lnTo>
                      <a:pt x="158" y="49"/>
                    </a:lnTo>
                    <a:lnTo>
                      <a:pt x="158" y="45"/>
                    </a:lnTo>
                    <a:lnTo>
                      <a:pt x="160" y="3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4" name="Tunisia">
                <a:extLst>
                  <a:ext uri="{FF2B5EF4-FFF2-40B4-BE49-F238E27FC236}">
                    <a16:creationId xmlns:a16="http://schemas.microsoft.com/office/drawing/2014/main" id="{B3FC306E-A9BD-DA4A-A5A6-63C849B764BE}"/>
                  </a:ext>
                </a:extLst>
              </p:cNvPr>
              <p:cNvSpPr>
                <a:spLocks/>
              </p:cNvSpPr>
              <p:nvPr/>
            </p:nvSpPr>
            <p:spPr bwMode="auto">
              <a:xfrm>
                <a:off x="4500971" y="3374516"/>
                <a:ext cx="99146" cy="192372"/>
              </a:xfrm>
              <a:custGeom>
                <a:avLst/>
                <a:gdLst/>
                <a:ahLst/>
                <a:cxnLst>
                  <a:cxn ang="0">
                    <a:pos x="17" y="32"/>
                  </a:cxn>
                  <a:cxn ang="0">
                    <a:pos x="17" y="42"/>
                  </a:cxn>
                  <a:cxn ang="0">
                    <a:pos x="13" y="49"/>
                  </a:cxn>
                  <a:cxn ang="0">
                    <a:pos x="10" y="52"/>
                  </a:cxn>
                  <a:cxn ang="0">
                    <a:pos x="5" y="59"/>
                  </a:cxn>
                  <a:cxn ang="0">
                    <a:pos x="2" y="60"/>
                  </a:cxn>
                  <a:cxn ang="0">
                    <a:pos x="0" y="62"/>
                  </a:cxn>
                  <a:cxn ang="0">
                    <a:pos x="5" y="73"/>
                  </a:cxn>
                  <a:cxn ang="0">
                    <a:pos x="9" y="77"/>
                  </a:cxn>
                  <a:cxn ang="0">
                    <a:pos x="15" y="81"/>
                  </a:cxn>
                  <a:cxn ang="0">
                    <a:pos x="16" y="87"/>
                  </a:cxn>
                  <a:cxn ang="0">
                    <a:pos x="20" y="91"/>
                  </a:cxn>
                  <a:cxn ang="0">
                    <a:pos x="27" y="97"/>
                  </a:cxn>
                  <a:cxn ang="0">
                    <a:pos x="30" y="101"/>
                  </a:cxn>
                  <a:cxn ang="0">
                    <a:pos x="34" y="118"/>
                  </a:cxn>
                  <a:cxn ang="0">
                    <a:pos x="36" y="126"/>
                  </a:cxn>
                  <a:cxn ang="0">
                    <a:pos x="37" y="130"/>
                  </a:cxn>
                  <a:cxn ang="0">
                    <a:pos x="43" y="123"/>
                  </a:cxn>
                  <a:cxn ang="0">
                    <a:pos x="46" y="116"/>
                  </a:cxn>
                  <a:cxn ang="0">
                    <a:pos x="46" y="110"/>
                  </a:cxn>
                  <a:cxn ang="0">
                    <a:pos x="47" y="103"/>
                  </a:cxn>
                  <a:cxn ang="0">
                    <a:pos x="54" y="97"/>
                  </a:cxn>
                  <a:cxn ang="0">
                    <a:pos x="60" y="91"/>
                  </a:cxn>
                  <a:cxn ang="0">
                    <a:pos x="66" y="90"/>
                  </a:cxn>
                  <a:cxn ang="0">
                    <a:pos x="67" y="87"/>
                  </a:cxn>
                  <a:cxn ang="0">
                    <a:pos x="67" y="79"/>
                  </a:cxn>
                  <a:cxn ang="0">
                    <a:pos x="62" y="71"/>
                  </a:cxn>
                  <a:cxn ang="0">
                    <a:pos x="60" y="69"/>
                  </a:cxn>
                  <a:cxn ang="0">
                    <a:pos x="56" y="66"/>
                  </a:cxn>
                  <a:cxn ang="0">
                    <a:pos x="54" y="66"/>
                  </a:cxn>
                  <a:cxn ang="0">
                    <a:pos x="47" y="67"/>
                  </a:cxn>
                  <a:cxn ang="0">
                    <a:pos x="42" y="60"/>
                  </a:cxn>
                  <a:cxn ang="0">
                    <a:pos x="43" y="57"/>
                  </a:cxn>
                  <a:cxn ang="0">
                    <a:pos x="50" y="53"/>
                  </a:cxn>
                  <a:cxn ang="0">
                    <a:pos x="54" y="50"/>
                  </a:cxn>
                  <a:cxn ang="0">
                    <a:pos x="60" y="39"/>
                  </a:cxn>
                  <a:cxn ang="0">
                    <a:pos x="54" y="27"/>
                  </a:cxn>
                  <a:cxn ang="0">
                    <a:pos x="52" y="25"/>
                  </a:cxn>
                  <a:cxn ang="0">
                    <a:pos x="54" y="17"/>
                  </a:cxn>
                  <a:cxn ang="0">
                    <a:pos x="57" y="15"/>
                  </a:cxn>
                  <a:cxn ang="0">
                    <a:pos x="60" y="9"/>
                  </a:cxn>
                  <a:cxn ang="0">
                    <a:pos x="56" y="9"/>
                  </a:cxn>
                  <a:cxn ang="0">
                    <a:pos x="53" y="10"/>
                  </a:cxn>
                  <a:cxn ang="0">
                    <a:pos x="49" y="9"/>
                  </a:cxn>
                  <a:cxn ang="0">
                    <a:pos x="49" y="6"/>
                  </a:cxn>
                  <a:cxn ang="0">
                    <a:pos x="44" y="2"/>
                  </a:cxn>
                  <a:cxn ang="0">
                    <a:pos x="32" y="2"/>
                  </a:cxn>
                  <a:cxn ang="0">
                    <a:pos x="26" y="5"/>
                  </a:cxn>
                  <a:cxn ang="0">
                    <a:pos x="17" y="7"/>
                  </a:cxn>
                  <a:cxn ang="0">
                    <a:pos x="16" y="22"/>
                  </a:cxn>
                  <a:cxn ang="0">
                    <a:pos x="17" y="32"/>
                  </a:cxn>
                </a:cxnLst>
                <a:rect l="0" t="0" r="r" b="b"/>
                <a:pathLst>
                  <a:path w="67" h="130">
                    <a:moveTo>
                      <a:pt x="17" y="32"/>
                    </a:moveTo>
                    <a:lnTo>
                      <a:pt x="17" y="32"/>
                    </a:lnTo>
                    <a:lnTo>
                      <a:pt x="19" y="37"/>
                    </a:lnTo>
                    <a:lnTo>
                      <a:pt x="17" y="42"/>
                    </a:lnTo>
                    <a:lnTo>
                      <a:pt x="16" y="46"/>
                    </a:lnTo>
                    <a:lnTo>
                      <a:pt x="13" y="49"/>
                    </a:lnTo>
                    <a:lnTo>
                      <a:pt x="13" y="49"/>
                    </a:lnTo>
                    <a:lnTo>
                      <a:pt x="10" y="52"/>
                    </a:lnTo>
                    <a:lnTo>
                      <a:pt x="7" y="54"/>
                    </a:lnTo>
                    <a:lnTo>
                      <a:pt x="5" y="59"/>
                    </a:lnTo>
                    <a:lnTo>
                      <a:pt x="2" y="60"/>
                    </a:lnTo>
                    <a:lnTo>
                      <a:pt x="2" y="60"/>
                    </a:lnTo>
                    <a:lnTo>
                      <a:pt x="0" y="60"/>
                    </a:lnTo>
                    <a:lnTo>
                      <a:pt x="0" y="62"/>
                    </a:lnTo>
                    <a:lnTo>
                      <a:pt x="2" y="67"/>
                    </a:lnTo>
                    <a:lnTo>
                      <a:pt x="5" y="73"/>
                    </a:lnTo>
                    <a:lnTo>
                      <a:pt x="9" y="77"/>
                    </a:lnTo>
                    <a:lnTo>
                      <a:pt x="9" y="77"/>
                    </a:lnTo>
                    <a:lnTo>
                      <a:pt x="13" y="79"/>
                    </a:lnTo>
                    <a:lnTo>
                      <a:pt x="15" y="81"/>
                    </a:lnTo>
                    <a:lnTo>
                      <a:pt x="16" y="87"/>
                    </a:lnTo>
                    <a:lnTo>
                      <a:pt x="16" y="87"/>
                    </a:lnTo>
                    <a:lnTo>
                      <a:pt x="17" y="89"/>
                    </a:lnTo>
                    <a:lnTo>
                      <a:pt x="20" y="91"/>
                    </a:lnTo>
                    <a:lnTo>
                      <a:pt x="25" y="94"/>
                    </a:lnTo>
                    <a:lnTo>
                      <a:pt x="27" y="97"/>
                    </a:lnTo>
                    <a:lnTo>
                      <a:pt x="27" y="97"/>
                    </a:lnTo>
                    <a:lnTo>
                      <a:pt x="30" y="101"/>
                    </a:lnTo>
                    <a:lnTo>
                      <a:pt x="33" y="110"/>
                    </a:lnTo>
                    <a:lnTo>
                      <a:pt x="34" y="118"/>
                    </a:lnTo>
                    <a:lnTo>
                      <a:pt x="36" y="126"/>
                    </a:lnTo>
                    <a:lnTo>
                      <a:pt x="36" y="126"/>
                    </a:lnTo>
                    <a:lnTo>
                      <a:pt x="37" y="130"/>
                    </a:lnTo>
                    <a:lnTo>
                      <a:pt x="37" y="130"/>
                    </a:lnTo>
                    <a:lnTo>
                      <a:pt x="40" y="127"/>
                    </a:lnTo>
                    <a:lnTo>
                      <a:pt x="43" y="123"/>
                    </a:lnTo>
                    <a:lnTo>
                      <a:pt x="43" y="123"/>
                    </a:lnTo>
                    <a:lnTo>
                      <a:pt x="46" y="116"/>
                    </a:lnTo>
                    <a:lnTo>
                      <a:pt x="46" y="110"/>
                    </a:lnTo>
                    <a:lnTo>
                      <a:pt x="46" y="110"/>
                    </a:lnTo>
                    <a:lnTo>
                      <a:pt x="46" y="107"/>
                    </a:lnTo>
                    <a:lnTo>
                      <a:pt x="47" y="103"/>
                    </a:lnTo>
                    <a:lnTo>
                      <a:pt x="47" y="103"/>
                    </a:lnTo>
                    <a:lnTo>
                      <a:pt x="54" y="97"/>
                    </a:lnTo>
                    <a:lnTo>
                      <a:pt x="60" y="91"/>
                    </a:lnTo>
                    <a:lnTo>
                      <a:pt x="60" y="91"/>
                    </a:lnTo>
                    <a:lnTo>
                      <a:pt x="64" y="91"/>
                    </a:lnTo>
                    <a:lnTo>
                      <a:pt x="66" y="90"/>
                    </a:lnTo>
                    <a:lnTo>
                      <a:pt x="67" y="87"/>
                    </a:lnTo>
                    <a:lnTo>
                      <a:pt x="67" y="87"/>
                    </a:lnTo>
                    <a:lnTo>
                      <a:pt x="67" y="79"/>
                    </a:lnTo>
                    <a:lnTo>
                      <a:pt x="67" y="79"/>
                    </a:lnTo>
                    <a:lnTo>
                      <a:pt x="63" y="74"/>
                    </a:lnTo>
                    <a:lnTo>
                      <a:pt x="62" y="71"/>
                    </a:lnTo>
                    <a:lnTo>
                      <a:pt x="62" y="71"/>
                    </a:lnTo>
                    <a:lnTo>
                      <a:pt x="60" y="69"/>
                    </a:lnTo>
                    <a:lnTo>
                      <a:pt x="59" y="67"/>
                    </a:lnTo>
                    <a:lnTo>
                      <a:pt x="56" y="66"/>
                    </a:lnTo>
                    <a:lnTo>
                      <a:pt x="54" y="66"/>
                    </a:lnTo>
                    <a:lnTo>
                      <a:pt x="54" y="66"/>
                    </a:lnTo>
                    <a:lnTo>
                      <a:pt x="52" y="67"/>
                    </a:lnTo>
                    <a:lnTo>
                      <a:pt x="47" y="67"/>
                    </a:lnTo>
                    <a:lnTo>
                      <a:pt x="44" y="64"/>
                    </a:lnTo>
                    <a:lnTo>
                      <a:pt x="42" y="60"/>
                    </a:lnTo>
                    <a:lnTo>
                      <a:pt x="42" y="60"/>
                    </a:lnTo>
                    <a:lnTo>
                      <a:pt x="43" y="57"/>
                    </a:lnTo>
                    <a:lnTo>
                      <a:pt x="46" y="54"/>
                    </a:lnTo>
                    <a:lnTo>
                      <a:pt x="50" y="53"/>
                    </a:lnTo>
                    <a:lnTo>
                      <a:pt x="54" y="50"/>
                    </a:lnTo>
                    <a:lnTo>
                      <a:pt x="54" y="50"/>
                    </a:lnTo>
                    <a:lnTo>
                      <a:pt x="59" y="44"/>
                    </a:lnTo>
                    <a:lnTo>
                      <a:pt x="60" y="39"/>
                    </a:lnTo>
                    <a:lnTo>
                      <a:pt x="59" y="33"/>
                    </a:lnTo>
                    <a:lnTo>
                      <a:pt x="54" y="27"/>
                    </a:lnTo>
                    <a:lnTo>
                      <a:pt x="54" y="27"/>
                    </a:lnTo>
                    <a:lnTo>
                      <a:pt x="52" y="25"/>
                    </a:lnTo>
                    <a:lnTo>
                      <a:pt x="52" y="20"/>
                    </a:lnTo>
                    <a:lnTo>
                      <a:pt x="54" y="17"/>
                    </a:lnTo>
                    <a:lnTo>
                      <a:pt x="57" y="15"/>
                    </a:lnTo>
                    <a:lnTo>
                      <a:pt x="57" y="15"/>
                    </a:lnTo>
                    <a:lnTo>
                      <a:pt x="60" y="10"/>
                    </a:lnTo>
                    <a:lnTo>
                      <a:pt x="60" y="9"/>
                    </a:lnTo>
                    <a:lnTo>
                      <a:pt x="57" y="7"/>
                    </a:lnTo>
                    <a:lnTo>
                      <a:pt x="56" y="9"/>
                    </a:lnTo>
                    <a:lnTo>
                      <a:pt x="56" y="9"/>
                    </a:lnTo>
                    <a:lnTo>
                      <a:pt x="53" y="10"/>
                    </a:lnTo>
                    <a:lnTo>
                      <a:pt x="52" y="10"/>
                    </a:lnTo>
                    <a:lnTo>
                      <a:pt x="49" y="9"/>
                    </a:lnTo>
                    <a:lnTo>
                      <a:pt x="49" y="6"/>
                    </a:lnTo>
                    <a:lnTo>
                      <a:pt x="49" y="6"/>
                    </a:lnTo>
                    <a:lnTo>
                      <a:pt x="47" y="3"/>
                    </a:lnTo>
                    <a:lnTo>
                      <a:pt x="44" y="2"/>
                    </a:lnTo>
                    <a:lnTo>
                      <a:pt x="39" y="0"/>
                    </a:lnTo>
                    <a:lnTo>
                      <a:pt x="32" y="2"/>
                    </a:lnTo>
                    <a:lnTo>
                      <a:pt x="26" y="5"/>
                    </a:lnTo>
                    <a:lnTo>
                      <a:pt x="26" y="5"/>
                    </a:lnTo>
                    <a:lnTo>
                      <a:pt x="22" y="6"/>
                    </a:lnTo>
                    <a:lnTo>
                      <a:pt x="17" y="7"/>
                    </a:lnTo>
                    <a:lnTo>
                      <a:pt x="17" y="7"/>
                    </a:lnTo>
                    <a:lnTo>
                      <a:pt x="16" y="22"/>
                    </a:lnTo>
                    <a:lnTo>
                      <a:pt x="16" y="27"/>
                    </a:lnTo>
                    <a:lnTo>
                      <a:pt x="17" y="32"/>
                    </a:lnTo>
                    <a:lnTo>
                      <a:pt x="17" y="3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5" name="Morocco">
                <a:extLst>
                  <a:ext uri="{FF2B5EF4-FFF2-40B4-BE49-F238E27FC236}">
                    <a16:creationId xmlns:a16="http://schemas.microsoft.com/office/drawing/2014/main" id="{18FAB453-3EDE-CF49-9843-D56379305015}"/>
                  </a:ext>
                </a:extLst>
              </p:cNvPr>
              <p:cNvSpPr>
                <a:spLocks/>
              </p:cNvSpPr>
              <p:nvPr/>
            </p:nvSpPr>
            <p:spPr bwMode="auto">
              <a:xfrm>
                <a:off x="4011162" y="3414471"/>
                <a:ext cx="285599" cy="227887"/>
              </a:xfrm>
              <a:custGeom>
                <a:avLst/>
                <a:gdLst/>
                <a:ahLst/>
                <a:cxnLst>
                  <a:cxn ang="0">
                    <a:pos x="71" y="131"/>
                  </a:cxn>
                  <a:cxn ang="0">
                    <a:pos x="82" y="123"/>
                  </a:cxn>
                  <a:cxn ang="0">
                    <a:pos x="99" y="114"/>
                  </a:cxn>
                  <a:cxn ang="0">
                    <a:pos x="107" y="111"/>
                  </a:cxn>
                  <a:cxn ang="0">
                    <a:pos x="108" y="110"/>
                  </a:cxn>
                  <a:cxn ang="0">
                    <a:pos x="121" y="108"/>
                  </a:cxn>
                  <a:cxn ang="0">
                    <a:pos x="129" y="103"/>
                  </a:cxn>
                  <a:cxn ang="0">
                    <a:pos x="131" y="97"/>
                  </a:cxn>
                  <a:cxn ang="0">
                    <a:pos x="142" y="94"/>
                  </a:cxn>
                  <a:cxn ang="0">
                    <a:pos x="148" y="91"/>
                  </a:cxn>
                  <a:cxn ang="0">
                    <a:pos x="151" y="90"/>
                  </a:cxn>
                  <a:cxn ang="0">
                    <a:pos x="151" y="80"/>
                  </a:cxn>
                  <a:cxn ang="0">
                    <a:pos x="156" y="76"/>
                  </a:cxn>
                  <a:cxn ang="0">
                    <a:pos x="165" y="73"/>
                  </a:cxn>
                  <a:cxn ang="0">
                    <a:pos x="166" y="70"/>
                  </a:cxn>
                  <a:cxn ang="0">
                    <a:pos x="189" y="69"/>
                  </a:cxn>
                  <a:cxn ang="0">
                    <a:pos x="192" y="67"/>
                  </a:cxn>
                  <a:cxn ang="0">
                    <a:pos x="191" y="57"/>
                  </a:cxn>
                  <a:cxn ang="0">
                    <a:pos x="186" y="52"/>
                  </a:cxn>
                  <a:cxn ang="0">
                    <a:pos x="186" y="37"/>
                  </a:cxn>
                  <a:cxn ang="0">
                    <a:pos x="183" y="25"/>
                  </a:cxn>
                  <a:cxn ang="0">
                    <a:pos x="178" y="16"/>
                  </a:cxn>
                  <a:cxn ang="0">
                    <a:pos x="169" y="13"/>
                  </a:cxn>
                  <a:cxn ang="0">
                    <a:pos x="159" y="12"/>
                  </a:cxn>
                  <a:cxn ang="0">
                    <a:pos x="135" y="10"/>
                  </a:cxn>
                  <a:cxn ang="0">
                    <a:pos x="128" y="5"/>
                  </a:cxn>
                  <a:cxn ang="0">
                    <a:pos x="118" y="2"/>
                  </a:cxn>
                  <a:cxn ang="0">
                    <a:pos x="109" y="16"/>
                  </a:cxn>
                  <a:cxn ang="0">
                    <a:pos x="99" y="35"/>
                  </a:cxn>
                  <a:cxn ang="0">
                    <a:pos x="81" y="44"/>
                  </a:cxn>
                  <a:cxn ang="0">
                    <a:pos x="74" y="46"/>
                  </a:cxn>
                  <a:cxn ang="0">
                    <a:pos x="67" y="56"/>
                  </a:cxn>
                  <a:cxn ang="0">
                    <a:pos x="61" y="63"/>
                  </a:cxn>
                  <a:cxn ang="0">
                    <a:pos x="54" y="74"/>
                  </a:cxn>
                  <a:cxn ang="0">
                    <a:pos x="51" y="80"/>
                  </a:cxn>
                  <a:cxn ang="0">
                    <a:pos x="54" y="100"/>
                  </a:cxn>
                  <a:cxn ang="0">
                    <a:pos x="54" y="106"/>
                  </a:cxn>
                  <a:cxn ang="0">
                    <a:pos x="35" y="126"/>
                  </a:cxn>
                  <a:cxn ang="0">
                    <a:pos x="25" y="134"/>
                  </a:cxn>
                  <a:cxn ang="0">
                    <a:pos x="13" y="141"/>
                  </a:cxn>
                  <a:cxn ang="0">
                    <a:pos x="0" y="147"/>
                  </a:cxn>
                  <a:cxn ang="0">
                    <a:pos x="67" y="148"/>
                  </a:cxn>
                  <a:cxn ang="0">
                    <a:pos x="71" y="154"/>
                  </a:cxn>
                </a:cxnLst>
                <a:rect l="0" t="0" r="r" b="b"/>
                <a:pathLst>
                  <a:path w="193" h="154">
                    <a:moveTo>
                      <a:pt x="71" y="154"/>
                    </a:moveTo>
                    <a:lnTo>
                      <a:pt x="71" y="154"/>
                    </a:lnTo>
                    <a:lnTo>
                      <a:pt x="71" y="131"/>
                    </a:lnTo>
                    <a:lnTo>
                      <a:pt x="71" y="131"/>
                    </a:lnTo>
                    <a:lnTo>
                      <a:pt x="75" y="128"/>
                    </a:lnTo>
                    <a:lnTo>
                      <a:pt x="82" y="123"/>
                    </a:lnTo>
                    <a:lnTo>
                      <a:pt x="97" y="114"/>
                    </a:lnTo>
                    <a:lnTo>
                      <a:pt x="97" y="114"/>
                    </a:lnTo>
                    <a:lnTo>
                      <a:pt x="99" y="114"/>
                    </a:lnTo>
                    <a:lnTo>
                      <a:pt x="104" y="114"/>
                    </a:lnTo>
                    <a:lnTo>
                      <a:pt x="107" y="114"/>
                    </a:lnTo>
                    <a:lnTo>
                      <a:pt x="107" y="111"/>
                    </a:lnTo>
                    <a:lnTo>
                      <a:pt x="107" y="111"/>
                    </a:lnTo>
                    <a:lnTo>
                      <a:pt x="108" y="110"/>
                    </a:lnTo>
                    <a:lnTo>
                      <a:pt x="108" y="110"/>
                    </a:lnTo>
                    <a:lnTo>
                      <a:pt x="112" y="108"/>
                    </a:lnTo>
                    <a:lnTo>
                      <a:pt x="121" y="108"/>
                    </a:lnTo>
                    <a:lnTo>
                      <a:pt x="121" y="108"/>
                    </a:lnTo>
                    <a:lnTo>
                      <a:pt x="125" y="107"/>
                    </a:lnTo>
                    <a:lnTo>
                      <a:pt x="128" y="106"/>
                    </a:lnTo>
                    <a:lnTo>
                      <a:pt x="129" y="103"/>
                    </a:lnTo>
                    <a:lnTo>
                      <a:pt x="129" y="99"/>
                    </a:lnTo>
                    <a:lnTo>
                      <a:pt x="129" y="99"/>
                    </a:lnTo>
                    <a:lnTo>
                      <a:pt x="131" y="97"/>
                    </a:lnTo>
                    <a:lnTo>
                      <a:pt x="134" y="96"/>
                    </a:lnTo>
                    <a:lnTo>
                      <a:pt x="142" y="94"/>
                    </a:lnTo>
                    <a:lnTo>
                      <a:pt x="142" y="94"/>
                    </a:lnTo>
                    <a:lnTo>
                      <a:pt x="145" y="94"/>
                    </a:lnTo>
                    <a:lnTo>
                      <a:pt x="146" y="93"/>
                    </a:lnTo>
                    <a:lnTo>
                      <a:pt x="148" y="91"/>
                    </a:lnTo>
                    <a:lnTo>
                      <a:pt x="149" y="90"/>
                    </a:lnTo>
                    <a:lnTo>
                      <a:pt x="149" y="90"/>
                    </a:lnTo>
                    <a:lnTo>
                      <a:pt x="151" y="90"/>
                    </a:lnTo>
                    <a:lnTo>
                      <a:pt x="151" y="87"/>
                    </a:lnTo>
                    <a:lnTo>
                      <a:pt x="151" y="80"/>
                    </a:lnTo>
                    <a:lnTo>
                      <a:pt x="151" y="80"/>
                    </a:lnTo>
                    <a:lnTo>
                      <a:pt x="152" y="76"/>
                    </a:lnTo>
                    <a:lnTo>
                      <a:pt x="156" y="76"/>
                    </a:lnTo>
                    <a:lnTo>
                      <a:pt x="156" y="76"/>
                    </a:lnTo>
                    <a:lnTo>
                      <a:pt x="159" y="76"/>
                    </a:lnTo>
                    <a:lnTo>
                      <a:pt x="163" y="74"/>
                    </a:lnTo>
                    <a:lnTo>
                      <a:pt x="165" y="73"/>
                    </a:lnTo>
                    <a:lnTo>
                      <a:pt x="166" y="70"/>
                    </a:lnTo>
                    <a:lnTo>
                      <a:pt x="166" y="70"/>
                    </a:lnTo>
                    <a:lnTo>
                      <a:pt x="166" y="70"/>
                    </a:lnTo>
                    <a:lnTo>
                      <a:pt x="169" y="69"/>
                    </a:lnTo>
                    <a:lnTo>
                      <a:pt x="176" y="69"/>
                    </a:lnTo>
                    <a:lnTo>
                      <a:pt x="189" y="69"/>
                    </a:lnTo>
                    <a:lnTo>
                      <a:pt x="189" y="69"/>
                    </a:lnTo>
                    <a:lnTo>
                      <a:pt x="192" y="69"/>
                    </a:lnTo>
                    <a:lnTo>
                      <a:pt x="192" y="67"/>
                    </a:lnTo>
                    <a:lnTo>
                      <a:pt x="193" y="63"/>
                    </a:lnTo>
                    <a:lnTo>
                      <a:pt x="193" y="63"/>
                    </a:lnTo>
                    <a:lnTo>
                      <a:pt x="191" y="57"/>
                    </a:lnTo>
                    <a:lnTo>
                      <a:pt x="189" y="53"/>
                    </a:lnTo>
                    <a:lnTo>
                      <a:pt x="186" y="52"/>
                    </a:lnTo>
                    <a:lnTo>
                      <a:pt x="186" y="52"/>
                    </a:lnTo>
                    <a:lnTo>
                      <a:pt x="185" y="50"/>
                    </a:lnTo>
                    <a:lnTo>
                      <a:pt x="185" y="47"/>
                    </a:lnTo>
                    <a:lnTo>
                      <a:pt x="186" y="37"/>
                    </a:lnTo>
                    <a:lnTo>
                      <a:pt x="186" y="37"/>
                    </a:lnTo>
                    <a:lnTo>
                      <a:pt x="185" y="29"/>
                    </a:lnTo>
                    <a:lnTo>
                      <a:pt x="183" y="25"/>
                    </a:lnTo>
                    <a:lnTo>
                      <a:pt x="181" y="20"/>
                    </a:lnTo>
                    <a:lnTo>
                      <a:pt x="181" y="20"/>
                    </a:lnTo>
                    <a:lnTo>
                      <a:pt x="178" y="16"/>
                    </a:lnTo>
                    <a:lnTo>
                      <a:pt x="178" y="16"/>
                    </a:lnTo>
                    <a:lnTo>
                      <a:pt x="173" y="15"/>
                    </a:lnTo>
                    <a:lnTo>
                      <a:pt x="169" y="13"/>
                    </a:lnTo>
                    <a:lnTo>
                      <a:pt x="165" y="12"/>
                    </a:lnTo>
                    <a:lnTo>
                      <a:pt x="159" y="12"/>
                    </a:lnTo>
                    <a:lnTo>
                      <a:pt x="159" y="12"/>
                    </a:lnTo>
                    <a:lnTo>
                      <a:pt x="145" y="13"/>
                    </a:lnTo>
                    <a:lnTo>
                      <a:pt x="138" y="12"/>
                    </a:lnTo>
                    <a:lnTo>
                      <a:pt x="135" y="10"/>
                    </a:lnTo>
                    <a:lnTo>
                      <a:pt x="132" y="9"/>
                    </a:lnTo>
                    <a:lnTo>
                      <a:pt x="132" y="9"/>
                    </a:lnTo>
                    <a:lnTo>
                      <a:pt x="128" y="5"/>
                    </a:lnTo>
                    <a:lnTo>
                      <a:pt x="124" y="2"/>
                    </a:lnTo>
                    <a:lnTo>
                      <a:pt x="121" y="0"/>
                    </a:lnTo>
                    <a:lnTo>
                      <a:pt x="118" y="2"/>
                    </a:lnTo>
                    <a:lnTo>
                      <a:pt x="118" y="2"/>
                    </a:lnTo>
                    <a:lnTo>
                      <a:pt x="114" y="6"/>
                    </a:lnTo>
                    <a:lnTo>
                      <a:pt x="109" y="16"/>
                    </a:lnTo>
                    <a:lnTo>
                      <a:pt x="104" y="26"/>
                    </a:lnTo>
                    <a:lnTo>
                      <a:pt x="99" y="35"/>
                    </a:lnTo>
                    <a:lnTo>
                      <a:pt x="99" y="35"/>
                    </a:lnTo>
                    <a:lnTo>
                      <a:pt x="95" y="39"/>
                    </a:lnTo>
                    <a:lnTo>
                      <a:pt x="88" y="43"/>
                    </a:lnTo>
                    <a:lnTo>
                      <a:pt x="81" y="44"/>
                    </a:lnTo>
                    <a:lnTo>
                      <a:pt x="75" y="46"/>
                    </a:lnTo>
                    <a:lnTo>
                      <a:pt x="75" y="46"/>
                    </a:lnTo>
                    <a:lnTo>
                      <a:pt x="74" y="46"/>
                    </a:lnTo>
                    <a:lnTo>
                      <a:pt x="71" y="47"/>
                    </a:lnTo>
                    <a:lnTo>
                      <a:pt x="70" y="52"/>
                    </a:lnTo>
                    <a:lnTo>
                      <a:pt x="67" y="56"/>
                    </a:lnTo>
                    <a:lnTo>
                      <a:pt x="64" y="60"/>
                    </a:lnTo>
                    <a:lnTo>
                      <a:pt x="64" y="60"/>
                    </a:lnTo>
                    <a:lnTo>
                      <a:pt x="61" y="63"/>
                    </a:lnTo>
                    <a:lnTo>
                      <a:pt x="60" y="67"/>
                    </a:lnTo>
                    <a:lnTo>
                      <a:pt x="58" y="72"/>
                    </a:lnTo>
                    <a:lnTo>
                      <a:pt x="54" y="74"/>
                    </a:lnTo>
                    <a:lnTo>
                      <a:pt x="54" y="74"/>
                    </a:lnTo>
                    <a:lnTo>
                      <a:pt x="53" y="77"/>
                    </a:lnTo>
                    <a:lnTo>
                      <a:pt x="51" y="80"/>
                    </a:lnTo>
                    <a:lnTo>
                      <a:pt x="51" y="87"/>
                    </a:lnTo>
                    <a:lnTo>
                      <a:pt x="53" y="94"/>
                    </a:lnTo>
                    <a:lnTo>
                      <a:pt x="54" y="100"/>
                    </a:lnTo>
                    <a:lnTo>
                      <a:pt x="54" y="100"/>
                    </a:lnTo>
                    <a:lnTo>
                      <a:pt x="55" y="101"/>
                    </a:lnTo>
                    <a:lnTo>
                      <a:pt x="54" y="106"/>
                    </a:lnTo>
                    <a:lnTo>
                      <a:pt x="50" y="113"/>
                    </a:lnTo>
                    <a:lnTo>
                      <a:pt x="43" y="120"/>
                    </a:lnTo>
                    <a:lnTo>
                      <a:pt x="35" y="126"/>
                    </a:lnTo>
                    <a:lnTo>
                      <a:pt x="35" y="126"/>
                    </a:lnTo>
                    <a:lnTo>
                      <a:pt x="30" y="130"/>
                    </a:lnTo>
                    <a:lnTo>
                      <a:pt x="25" y="134"/>
                    </a:lnTo>
                    <a:lnTo>
                      <a:pt x="20" y="138"/>
                    </a:lnTo>
                    <a:lnTo>
                      <a:pt x="13" y="141"/>
                    </a:lnTo>
                    <a:lnTo>
                      <a:pt x="13" y="141"/>
                    </a:lnTo>
                    <a:lnTo>
                      <a:pt x="6" y="144"/>
                    </a:lnTo>
                    <a:lnTo>
                      <a:pt x="0" y="147"/>
                    </a:lnTo>
                    <a:lnTo>
                      <a:pt x="0" y="147"/>
                    </a:lnTo>
                    <a:lnTo>
                      <a:pt x="60" y="147"/>
                    </a:lnTo>
                    <a:lnTo>
                      <a:pt x="60" y="147"/>
                    </a:lnTo>
                    <a:lnTo>
                      <a:pt x="67" y="148"/>
                    </a:lnTo>
                    <a:lnTo>
                      <a:pt x="70" y="150"/>
                    </a:lnTo>
                    <a:lnTo>
                      <a:pt x="71" y="154"/>
                    </a:lnTo>
                    <a:lnTo>
                      <a:pt x="71" y="15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6" name="Swaziland">
                <a:extLst>
                  <a:ext uri="{FF2B5EF4-FFF2-40B4-BE49-F238E27FC236}">
                    <a16:creationId xmlns:a16="http://schemas.microsoft.com/office/drawing/2014/main" id="{B21279E1-E42D-E34E-A94D-F61A6DBE8EBF}"/>
                  </a:ext>
                </a:extLst>
              </p:cNvPr>
              <p:cNvSpPr>
                <a:spLocks/>
              </p:cNvSpPr>
              <p:nvPr/>
            </p:nvSpPr>
            <p:spPr bwMode="auto">
              <a:xfrm>
                <a:off x="5033692" y="4938648"/>
                <a:ext cx="32555" cy="39954"/>
              </a:xfrm>
              <a:custGeom>
                <a:avLst/>
                <a:gdLst/>
                <a:ahLst/>
                <a:cxnLst>
                  <a:cxn ang="0">
                    <a:pos x="12" y="0"/>
                  </a:cxn>
                  <a:cxn ang="0">
                    <a:pos x="12" y="0"/>
                  </a:cxn>
                  <a:cxn ang="0">
                    <a:pos x="9" y="3"/>
                  </a:cxn>
                  <a:cxn ang="0">
                    <a:pos x="5" y="6"/>
                  </a:cxn>
                  <a:cxn ang="0">
                    <a:pos x="0" y="13"/>
                  </a:cxn>
                  <a:cxn ang="0">
                    <a:pos x="0" y="13"/>
                  </a:cxn>
                  <a:cxn ang="0">
                    <a:pos x="3" y="20"/>
                  </a:cxn>
                  <a:cxn ang="0">
                    <a:pos x="7" y="26"/>
                  </a:cxn>
                  <a:cxn ang="0">
                    <a:pos x="10" y="27"/>
                  </a:cxn>
                  <a:cxn ang="0">
                    <a:pos x="10" y="27"/>
                  </a:cxn>
                  <a:cxn ang="0">
                    <a:pos x="17" y="27"/>
                  </a:cxn>
                  <a:cxn ang="0">
                    <a:pos x="19" y="26"/>
                  </a:cxn>
                  <a:cxn ang="0">
                    <a:pos x="20" y="23"/>
                  </a:cxn>
                  <a:cxn ang="0">
                    <a:pos x="20" y="23"/>
                  </a:cxn>
                  <a:cxn ang="0">
                    <a:pos x="20" y="22"/>
                  </a:cxn>
                  <a:cxn ang="0">
                    <a:pos x="22" y="19"/>
                  </a:cxn>
                  <a:cxn ang="0">
                    <a:pos x="22" y="19"/>
                  </a:cxn>
                  <a:cxn ang="0">
                    <a:pos x="20" y="6"/>
                  </a:cxn>
                  <a:cxn ang="0">
                    <a:pos x="20" y="6"/>
                  </a:cxn>
                  <a:cxn ang="0">
                    <a:pos x="16" y="3"/>
                  </a:cxn>
                  <a:cxn ang="0">
                    <a:pos x="12" y="0"/>
                  </a:cxn>
                  <a:cxn ang="0">
                    <a:pos x="12" y="0"/>
                  </a:cxn>
                </a:cxnLst>
                <a:rect l="0" t="0" r="r" b="b"/>
                <a:pathLst>
                  <a:path w="22" h="27">
                    <a:moveTo>
                      <a:pt x="12" y="0"/>
                    </a:moveTo>
                    <a:lnTo>
                      <a:pt x="12" y="0"/>
                    </a:lnTo>
                    <a:lnTo>
                      <a:pt x="9" y="3"/>
                    </a:lnTo>
                    <a:lnTo>
                      <a:pt x="5" y="6"/>
                    </a:lnTo>
                    <a:lnTo>
                      <a:pt x="0" y="13"/>
                    </a:lnTo>
                    <a:lnTo>
                      <a:pt x="0" y="13"/>
                    </a:lnTo>
                    <a:lnTo>
                      <a:pt x="3" y="20"/>
                    </a:lnTo>
                    <a:lnTo>
                      <a:pt x="7" y="26"/>
                    </a:lnTo>
                    <a:lnTo>
                      <a:pt x="10" y="27"/>
                    </a:lnTo>
                    <a:lnTo>
                      <a:pt x="10" y="27"/>
                    </a:lnTo>
                    <a:lnTo>
                      <a:pt x="17" y="27"/>
                    </a:lnTo>
                    <a:lnTo>
                      <a:pt x="19" y="26"/>
                    </a:lnTo>
                    <a:lnTo>
                      <a:pt x="20" y="23"/>
                    </a:lnTo>
                    <a:lnTo>
                      <a:pt x="20" y="23"/>
                    </a:lnTo>
                    <a:lnTo>
                      <a:pt x="20" y="22"/>
                    </a:lnTo>
                    <a:lnTo>
                      <a:pt x="22" y="19"/>
                    </a:lnTo>
                    <a:lnTo>
                      <a:pt x="22" y="19"/>
                    </a:lnTo>
                    <a:lnTo>
                      <a:pt x="20" y="6"/>
                    </a:lnTo>
                    <a:lnTo>
                      <a:pt x="20" y="6"/>
                    </a:lnTo>
                    <a:lnTo>
                      <a:pt x="16" y="3"/>
                    </a:lnTo>
                    <a:lnTo>
                      <a:pt x="12" y="0"/>
                    </a:lnTo>
                    <a:lnTo>
                      <a:pt x="12"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7" name="Lesotho">
                <a:extLst>
                  <a:ext uri="{FF2B5EF4-FFF2-40B4-BE49-F238E27FC236}">
                    <a16:creationId xmlns:a16="http://schemas.microsoft.com/office/drawing/2014/main" id="{DFB4B393-C301-FC4D-A97A-09E9BFF158DF}"/>
                  </a:ext>
                </a:extLst>
              </p:cNvPr>
              <p:cNvSpPr>
                <a:spLocks/>
              </p:cNvSpPr>
              <p:nvPr/>
            </p:nvSpPr>
            <p:spPr bwMode="auto">
              <a:xfrm>
                <a:off x="4949345" y="5011157"/>
                <a:ext cx="53273" cy="54753"/>
              </a:xfrm>
              <a:custGeom>
                <a:avLst/>
                <a:gdLst/>
                <a:ahLst/>
                <a:cxnLst>
                  <a:cxn ang="0">
                    <a:pos x="26" y="1"/>
                  </a:cxn>
                  <a:cxn ang="0">
                    <a:pos x="26" y="1"/>
                  </a:cxn>
                  <a:cxn ang="0">
                    <a:pos x="25" y="1"/>
                  </a:cxn>
                  <a:cxn ang="0">
                    <a:pos x="22" y="0"/>
                  </a:cxn>
                  <a:cxn ang="0">
                    <a:pos x="17" y="3"/>
                  </a:cxn>
                  <a:cxn ang="0">
                    <a:pos x="12" y="5"/>
                  </a:cxn>
                  <a:cxn ang="0">
                    <a:pos x="9" y="8"/>
                  </a:cxn>
                  <a:cxn ang="0">
                    <a:pos x="9" y="8"/>
                  </a:cxn>
                  <a:cxn ang="0">
                    <a:pos x="0" y="22"/>
                  </a:cxn>
                  <a:cxn ang="0">
                    <a:pos x="9" y="35"/>
                  </a:cxn>
                  <a:cxn ang="0">
                    <a:pos x="16" y="37"/>
                  </a:cxn>
                  <a:cxn ang="0">
                    <a:pos x="16" y="37"/>
                  </a:cxn>
                  <a:cxn ang="0">
                    <a:pos x="20" y="28"/>
                  </a:cxn>
                  <a:cxn ang="0">
                    <a:pos x="20" y="28"/>
                  </a:cxn>
                  <a:cxn ang="0">
                    <a:pos x="22" y="27"/>
                  </a:cxn>
                  <a:cxn ang="0">
                    <a:pos x="26" y="27"/>
                  </a:cxn>
                  <a:cxn ang="0">
                    <a:pos x="29" y="27"/>
                  </a:cxn>
                  <a:cxn ang="0">
                    <a:pos x="30" y="27"/>
                  </a:cxn>
                  <a:cxn ang="0">
                    <a:pos x="30" y="25"/>
                  </a:cxn>
                  <a:cxn ang="0">
                    <a:pos x="30" y="25"/>
                  </a:cxn>
                  <a:cxn ang="0">
                    <a:pos x="30" y="22"/>
                  </a:cxn>
                  <a:cxn ang="0">
                    <a:pos x="33" y="20"/>
                  </a:cxn>
                  <a:cxn ang="0">
                    <a:pos x="34" y="17"/>
                  </a:cxn>
                  <a:cxn ang="0">
                    <a:pos x="36" y="14"/>
                  </a:cxn>
                  <a:cxn ang="0">
                    <a:pos x="36" y="14"/>
                  </a:cxn>
                  <a:cxn ang="0">
                    <a:pos x="34" y="11"/>
                  </a:cxn>
                  <a:cxn ang="0">
                    <a:pos x="32" y="8"/>
                  </a:cxn>
                  <a:cxn ang="0">
                    <a:pos x="27" y="4"/>
                  </a:cxn>
                  <a:cxn ang="0">
                    <a:pos x="26" y="1"/>
                  </a:cxn>
                  <a:cxn ang="0">
                    <a:pos x="26" y="1"/>
                  </a:cxn>
                </a:cxnLst>
                <a:rect l="0" t="0" r="r" b="b"/>
                <a:pathLst>
                  <a:path w="36" h="37">
                    <a:moveTo>
                      <a:pt x="26" y="1"/>
                    </a:moveTo>
                    <a:lnTo>
                      <a:pt x="26" y="1"/>
                    </a:lnTo>
                    <a:lnTo>
                      <a:pt x="25" y="1"/>
                    </a:lnTo>
                    <a:lnTo>
                      <a:pt x="22" y="0"/>
                    </a:lnTo>
                    <a:lnTo>
                      <a:pt x="17" y="3"/>
                    </a:lnTo>
                    <a:lnTo>
                      <a:pt x="12" y="5"/>
                    </a:lnTo>
                    <a:lnTo>
                      <a:pt x="9" y="8"/>
                    </a:lnTo>
                    <a:lnTo>
                      <a:pt x="9" y="8"/>
                    </a:lnTo>
                    <a:lnTo>
                      <a:pt x="0" y="22"/>
                    </a:lnTo>
                    <a:lnTo>
                      <a:pt x="9" y="35"/>
                    </a:lnTo>
                    <a:lnTo>
                      <a:pt x="16" y="37"/>
                    </a:lnTo>
                    <a:lnTo>
                      <a:pt x="16" y="37"/>
                    </a:lnTo>
                    <a:lnTo>
                      <a:pt x="20" y="28"/>
                    </a:lnTo>
                    <a:lnTo>
                      <a:pt x="20" y="28"/>
                    </a:lnTo>
                    <a:lnTo>
                      <a:pt x="22" y="27"/>
                    </a:lnTo>
                    <a:lnTo>
                      <a:pt x="26" y="27"/>
                    </a:lnTo>
                    <a:lnTo>
                      <a:pt x="29" y="27"/>
                    </a:lnTo>
                    <a:lnTo>
                      <a:pt x="30" y="27"/>
                    </a:lnTo>
                    <a:lnTo>
                      <a:pt x="30" y="25"/>
                    </a:lnTo>
                    <a:lnTo>
                      <a:pt x="30" y="25"/>
                    </a:lnTo>
                    <a:lnTo>
                      <a:pt x="30" y="22"/>
                    </a:lnTo>
                    <a:lnTo>
                      <a:pt x="33" y="20"/>
                    </a:lnTo>
                    <a:lnTo>
                      <a:pt x="34" y="17"/>
                    </a:lnTo>
                    <a:lnTo>
                      <a:pt x="36" y="14"/>
                    </a:lnTo>
                    <a:lnTo>
                      <a:pt x="36" y="14"/>
                    </a:lnTo>
                    <a:lnTo>
                      <a:pt x="34" y="11"/>
                    </a:lnTo>
                    <a:lnTo>
                      <a:pt x="32" y="8"/>
                    </a:lnTo>
                    <a:lnTo>
                      <a:pt x="27" y="4"/>
                    </a:lnTo>
                    <a:lnTo>
                      <a:pt x="26" y="1"/>
                    </a:lnTo>
                    <a:lnTo>
                      <a:pt x="26" y="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8" name="Rwanda">
                <a:extLst>
                  <a:ext uri="{FF2B5EF4-FFF2-40B4-BE49-F238E27FC236}">
                    <a16:creationId xmlns:a16="http://schemas.microsoft.com/office/drawing/2014/main" id="{0F9484AF-285C-5C42-84C1-415899D132EF}"/>
                  </a:ext>
                </a:extLst>
              </p:cNvPr>
              <p:cNvSpPr>
                <a:spLocks/>
              </p:cNvSpPr>
              <p:nvPr/>
            </p:nvSpPr>
            <p:spPr bwMode="auto">
              <a:xfrm>
                <a:off x="4993739" y="4336375"/>
                <a:ext cx="44394" cy="38474"/>
              </a:xfrm>
              <a:custGeom>
                <a:avLst/>
                <a:gdLst/>
                <a:ahLst/>
                <a:cxnLst>
                  <a:cxn ang="0">
                    <a:pos x="26" y="0"/>
                  </a:cxn>
                  <a:cxn ang="0">
                    <a:pos x="26" y="0"/>
                  </a:cxn>
                  <a:cxn ang="0">
                    <a:pos x="17" y="3"/>
                  </a:cxn>
                  <a:cxn ang="0">
                    <a:pos x="17" y="3"/>
                  </a:cxn>
                  <a:cxn ang="0">
                    <a:pos x="13" y="5"/>
                  </a:cxn>
                  <a:cxn ang="0">
                    <a:pos x="9" y="5"/>
                  </a:cxn>
                  <a:cxn ang="0">
                    <a:pos x="9" y="5"/>
                  </a:cxn>
                  <a:cxn ang="0">
                    <a:pos x="7" y="6"/>
                  </a:cxn>
                  <a:cxn ang="0">
                    <a:pos x="7" y="6"/>
                  </a:cxn>
                  <a:cxn ang="0">
                    <a:pos x="4" y="8"/>
                  </a:cxn>
                  <a:cxn ang="0">
                    <a:pos x="3" y="12"/>
                  </a:cxn>
                  <a:cxn ang="0">
                    <a:pos x="3" y="16"/>
                  </a:cxn>
                  <a:cxn ang="0">
                    <a:pos x="3" y="16"/>
                  </a:cxn>
                  <a:cxn ang="0">
                    <a:pos x="2" y="18"/>
                  </a:cxn>
                  <a:cxn ang="0">
                    <a:pos x="0" y="19"/>
                  </a:cxn>
                  <a:cxn ang="0">
                    <a:pos x="0" y="20"/>
                  </a:cxn>
                  <a:cxn ang="0">
                    <a:pos x="0" y="20"/>
                  </a:cxn>
                  <a:cxn ang="0">
                    <a:pos x="2" y="25"/>
                  </a:cxn>
                  <a:cxn ang="0">
                    <a:pos x="3" y="26"/>
                  </a:cxn>
                  <a:cxn ang="0">
                    <a:pos x="3" y="26"/>
                  </a:cxn>
                  <a:cxn ang="0">
                    <a:pos x="9" y="26"/>
                  </a:cxn>
                  <a:cxn ang="0">
                    <a:pos x="9" y="26"/>
                  </a:cxn>
                  <a:cxn ang="0">
                    <a:pos x="13" y="26"/>
                  </a:cxn>
                  <a:cxn ang="0">
                    <a:pos x="16" y="25"/>
                  </a:cxn>
                  <a:cxn ang="0">
                    <a:pos x="17" y="22"/>
                  </a:cxn>
                  <a:cxn ang="0">
                    <a:pos x="17" y="22"/>
                  </a:cxn>
                  <a:cxn ang="0">
                    <a:pos x="17" y="22"/>
                  </a:cxn>
                  <a:cxn ang="0">
                    <a:pos x="23" y="20"/>
                  </a:cxn>
                  <a:cxn ang="0">
                    <a:pos x="29" y="20"/>
                  </a:cxn>
                  <a:cxn ang="0">
                    <a:pos x="30" y="19"/>
                  </a:cxn>
                  <a:cxn ang="0">
                    <a:pos x="30" y="18"/>
                  </a:cxn>
                  <a:cxn ang="0">
                    <a:pos x="30" y="18"/>
                  </a:cxn>
                  <a:cxn ang="0">
                    <a:pos x="30" y="15"/>
                  </a:cxn>
                  <a:cxn ang="0">
                    <a:pos x="30" y="10"/>
                  </a:cxn>
                  <a:cxn ang="0">
                    <a:pos x="29" y="8"/>
                  </a:cxn>
                  <a:cxn ang="0">
                    <a:pos x="26" y="0"/>
                  </a:cxn>
                </a:cxnLst>
                <a:rect l="0" t="0" r="r" b="b"/>
                <a:pathLst>
                  <a:path w="30" h="26">
                    <a:moveTo>
                      <a:pt x="26" y="0"/>
                    </a:moveTo>
                    <a:lnTo>
                      <a:pt x="26" y="0"/>
                    </a:lnTo>
                    <a:lnTo>
                      <a:pt x="17" y="3"/>
                    </a:lnTo>
                    <a:lnTo>
                      <a:pt x="17" y="3"/>
                    </a:lnTo>
                    <a:lnTo>
                      <a:pt x="13" y="5"/>
                    </a:lnTo>
                    <a:lnTo>
                      <a:pt x="9" y="5"/>
                    </a:lnTo>
                    <a:lnTo>
                      <a:pt x="9" y="5"/>
                    </a:lnTo>
                    <a:lnTo>
                      <a:pt x="7" y="6"/>
                    </a:lnTo>
                    <a:lnTo>
                      <a:pt x="7" y="6"/>
                    </a:lnTo>
                    <a:lnTo>
                      <a:pt x="4" y="8"/>
                    </a:lnTo>
                    <a:lnTo>
                      <a:pt x="3" y="12"/>
                    </a:lnTo>
                    <a:lnTo>
                      <a:pt x="3" y="16"/>
                    </a:lnTo>
                    <a:lnTo>
                      <a:pt x="3" y="16"/>
                    </a:lnTo>
                    <a:lnTo>
                      <a:pt x="2" y="18"/>
                    </a:lnTo>
                    <a:lnTo>
                      <a:pt x="0" y="19"/>
                    </a:lnTo>
                    <a:lnTo>
                      <a:pt x="0" y="20"/>
                    </a:lnTo>
                    <a:lnTo>
                      <a:pt x="0" y="20"/>
                    </a:lnTo>
                    <a:lnTo>
                      <a:pt x="2" y="25"/>
                    </a:lnTo>
                    <a:lnTo>
                      <a:pt x="3" y="26"/>
                    </a:lnTo>
                    <a:lnTo>
                      <a:pt x="3" y="26"/>
                    </a:lnTo>
                    <a:lnTo>
                      <a:pt x="9" y="26"/>
                    </a:lnTo>
                    <a:lnTo>
                      <a:pt x="9" y="26"/>
                    </a:lnTo>
                    <a:lnTo>
                      <a:pt x="13" y="26"/>
                    </a:lnTo>
                    <a:lnTo>
                      <a:pt x="16" y="25"/>
                    </a:lnTo>
                    <a:lnTo>
                      <a:pt x="17" y="22"/>
                    </a:lnTo>
                    <a:lnTo>
                      <a:pt x="17" y="22"/>
                    </a:lnTo>
                    <a:lnTo>
                      <a:pt x="17" y="22"/>
                    </a:lnTo>
                    <a:lnTo>
                      <a:pt x="23" y="20"/>
                    </a:lnTo>
                    <a:lnTo>
                      <a:pt x="29" y="20"/>
                    </a:lnTo>
                    <a:lnTo>
                      <a:pt x="30" y="19"/>
                    </a:lnTo>
                    <a:lnTo>
                      <a:pt x="30" y="18"/>
                    </a:lnTo>
                    <a:lnTo>
                      <a:pt x="30" y="18"/>
                    </a:lnTo>
                    <a:lnTo>
                      <a:pt x="30" y="15"/>
                    </a:lnTo>
                    <a:lnTo>
                      <a:pt x="30" y="10"/>
                    </a:lnTo>
                    <a:lnTo>
                      <a:pt x="29" y="8"/>
                    </a:lnTo>
                    <a:lnTo>
                      <a:pt x="26"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9" name="Somalia">
                <a:extLst>
                  <a:ext uri="{FF2B5EF4-FFF2-40B4-BE49-F238E27FC236}">
                    <a16:creationId xmlns:a16="http://schemas.microsoft.com/office/drawing/2014/main" id="{2B78F418-277A-C344-91DA-E967C0CC93C9}"/>
                  </a:ext>
                </a:extLst>
              </p:cNvPr>
              <p:cNvSpPr>
                <a:spLocks/>
              </p:cNvSpPr>
              <p:nvPr/>
            </p:nvSpPr>
            <p:spPr bwMode="auto">
              <a:xfrm>
                <a:off x="5280817" y="4021182"/>
                <a:ext cx="244165" cy="328512"/>
              </a:xfrm>
              <a:custGeom>
                <a:avLst/>
                <a:gdLst/>
                <a:ahLst/>
                <a:cxnLst>
                  <a:cxn ang="0">
                    <a:pos x="38" y="40"/>
                  </a:cxn>
                  <a:cxn ang="0">
                    <a:pos x="47" y="48"/>
                  </a:cxn>
                  <a:cxn ang="0">
                    <a:pos x="48" y="50"/>
                  </a:cxn>
                  <a:cxn ang="0">
                    <a:pos x="81" y="61"/>
                  </a:cxn>
                  <a:cxn ang="0">
                    <a:pos x="95" y="66"/>
                  </a:cxn>
                  <a:cxn ang="0">
                    <a:pos x="104" y="66"/>
                  </a:cxn>
                  <a:cxn ang="0">
                    <a:pos x="109" y="68"/>
                  </a:cxn>
                  <a:cxn ang="0">
                    <a:pos x="109" y="70"/>
                  </a:cxn>
                  <a:cxn ang="0">
                    <a:pos x="67" y="112"/>
                  </a:cxn>
                  <a:cxn ang="0">
                    <a:pos x="59" y="115"/>
                  </a:cxn>
                  <a:cxn ang="0">
                    <a:pos x="48" y="115"/>
                  </a:cxn>
                  <a:cxn ang="0">
                    <a:pos x="41" y="117"/>
                  </a:cxn>
                  <a:cxn ang="0">
                    <a:pos x="30" y="125"/>
                  </a:cxn>
                  <a:cxn ang="0">
                    <a:pos x="27" y="127"/>
                  </a:cxn>
                  <a:cxn ang="0">
                    <a:pos x="7" y="139"/>
                  </a:cxn>
                  <a:cxn ang="0">
                    <a:pos x="0" y="209"/>
                  </a:cxn>
                  <a:cxn ang="0">
                    <a:pos x="8" y="222"/>
                  </a:cxn>
                  <a:cxn ang="0">
                    <a:pos x="44" y="184"/>
                  </a:cxn>
                  <a:cxn ang="0">
                    <a:pos x="52" y="175"/>
                  </a:cxn>
                  <a:cxn ang="0">
                    <a:pos x="72" y="162"/>
                  </a:cxn>
                  <a:cxn ang="0">
                    <a:pos x="79" y="157"/>
                  </a:cxn>
                  <a:cxn ang="0">
                    <a:pos x="101" y="135"/>
                  </a:cxn>
                  <a:cxn ang="0">
                    <a:pos x="112" y="124"/>
                  </a:cxn>
                  <a:cxn ang="0">
                    <a:pos x="128" y="100"/>
                  </a:cxn>
                  <a:cxn ang="0">
                    <a:pos x="131" y="94"/>
                  </a:cxn>
                  <a:cxn ang="0">
                    <a:pos x="135" y="81"/>
                  </a:cxn>
                  <a:cxn ang="0">
                    <a:pos x="145" y="68"/>
                  </a:cxn>
                  <a:cxn ang="0">
                    <a:pos x="153" y="53"/>
                  </a:cxn>
                  <a:cxn ang="0">
                    <a:pos x="159" y="37"/>
                  </a:cxn>
                  <a:cxn ang="0">
                    <a:pos x="160" y="31"/>
                  </a:cxn>
                  <a:cxn ang="0">
                    <a:pos x="163" y="17"/>
                  </a:cxn>
                  <a:cxn ang="0">
                    <a:pos x="165" y="9"/>
                  </a:cxn>
                  <a:cxn ang="0">
                    <a:pos x="163" y="3"/>
                  </a:cxn>
                  <a:cxn ang="0">
                    <a:pos x="158" y="0"/>
                  </a:cxn>
                  <a:cxn ang="0">
                    <a:pos x="155" y="3"/>
                  </a:cxn>
                  <a:cxn ang="0">
                    <a:pos x="149" y="7"/>
                  </a:cxn>
                  <a:cxn ang="0">
                    <a:pos x="129" y="13"/>
                  </a:cxn>
                  <a:cxn ang="0">
                    <a:pos x="118" y="13"/>
                  </a:cxn>
                  <a:cxn ang="0">
                    <a:pos x="96" y="16"/>
                  </a:cxn>
                  <a:cxn ang="0">
                    <a:pos x="92" y="19"/>
                  </a:cxn>
                  <a:cxn ang="0">
                    <a:pos x="88" y="21"/>
                  </a:cxn>
                  <a:cxn ang="0">
                    <a:pos x="77" y="21"/>
                  </a:cxn>
                  <a:cxn ang="0">
                    <a:pos x="72" y="23"/>
                  </a:cxn>
                  <a:cxn ang="0">
                    <a:pos x="67" y="26"/>
                  </a:cxn>
                  <a:cxn ang="0">
                    <a:pos x="55" y="27"/>
                  </a:cxn>
                  <a:cxn ang="0">
                    <a:pos x="48" y="24"/>
                  </a:cxn>
                  <a:cxn ang="0">
                    <a:pos x="45" y="21"/>
                  </a:cxn>
                  <a:cxn ang="0">
                    <a:pos x="37" y="11"/>
                  </a:cxn>
                  <a:cxn ang="0">
                    <a:pos x="31" y="20"/>
                  </a:cxn>
                  <a:cxn ang="0">
                    <a:pos x="28" y="26"/>
                  </a:cxn>
                  <a:cxn ang="0">
                    <a:pos x="32" y="34"/>
                  </a:cxn>
                  <a:cxn ang="0">
                    <a:pos x="38" y="40"/>
                  </a:cxn>
                </a:cxnLst>
                <a:rect l="0" t="0" r="r" b="b"/>
                <a:pathLst>
                  <a:path w="165" h="222">
                    <a:moveTo>
                      <a:pt x="38" y="40"/>
                    </a:moveTo>
                    <a:lnTo>
                      <a:pt x="38" y="40"/>
                    </a:lnTo>
                    <a:lnTo>
                      <a:pt x="44" y="46"/>
                    </a:lnTo>
                    <a:lnTo>
                      <a:pt x="47" y="48"/>
                    </a:lnTo>
                    <a:lnTo>
                      <a:pt x="48" y="50"/>
                    </a:lnTo>
                    <a:lnTo>
                      <a:pt x="48" y="50"/>
                    </a:lnTo>
                    <a:lnTo>
                      <a:pt x="62" y="54"/>
                    </a:lnTo>
                    <a:lnTo>
                      <a:pt x="81" y="61"/>
                    </a:lnTo>
                    <a:lnTo>
                      <a:pt x="81" y="61"/>
                    </a:lnTo>
                    <a:lnTo>
                      <a:pt x="95" y="66"/>
                    </a:lnTo>
                    <a:lnTo>
                      <a:pt x="104" y="66"/>
                    </a:lnTo>
                    <a:lnTo>
                      <a:pt x="104" y="66"/>
                    </a:lnTo>
                    <a:lnTo>
                      <a:pt x="108" y="67"/>
                    </a:lnTo>
                    <a:lnTo>
                      <a:pt x="109" y="68"/>
                    </a:lnTo>
                    <a:lnTo>
                      <a:pt x="109" y="70"/>
                    </a:lnTo>
                    <a:lnTo>
                      <a:pt x="109" y="70"/>
                    </a:lnTo>
                    <a:lnTo>
                      <a:pt x="67" y="112"/>
                    </a:lnTo>
                    <a:lnTo>
                      <a:pt x="67" y="112"/>
                    </a:lnTo>
                    <a:lnTo>
                      <a:pt x="62" y="115"/>
                    </a:lnTo>
                    <a:lnTo>
                      <a:pt x="59" y="115"/>
                    </a:lnTo>
                    <a:lnTo>
                      <a:pt x="48" y="115"/>
                    </a:lnTo>
                    <a:lnTo>
                      <a:pt x="48" y="115"/>
                    </a:lnTo>
                    <a:lnTo>
                      <a:pt x="44" y="117"/>
                    </a:lnTo>
                    <a:lnTo>
                      <a:pt x="41" y="117"/>
                    </a:lnTo>
                    <a:lnTo>
                      <a:pt x="35" y="121"/>
                    </a:lnTo>
                    <a:lnTo>
                      <a:pt x="30" y="125"/>
                    </a:lnTo>
                    <a:lnTo>
                      <a:pt x="27" y="127"/>
                    </a:lnTo>
                    <a:lnTo>
                      <a:pt x="27" y="127"/>
                    </a:lnTo>
                    <a:lnTo>
                      <a:pt x="14" y="128"/>
                    </a:lnTo>
                    <a:lnTo>
                      <a:pt x="7" y="139"/>
                    </a:lnTo>
                    <a:lnTo>
                      <a:pt x="0" y="151"/>
                    </a:lnTo>
                    <a:lnTo>
                      <a:pt x="0" y="209"/>
                    </a:lnTo>
                    <a:lnTo>
                      <a:pt x="8" y="222"/>
                    </a:lnTo>
                    <a:lnTo>
                      <a:pt x="8" y="222"/>
                    </a:lnTo>
                    <a:lnTo>
                      <a:pt x="24" y="205"/>
                    </a:lnTo>
                    <a:lnTo>
                      <a:pt x="44" y="184"/>
                    </a:lnTo>
                    <a:lnTo>
                      <a:pt x="44" y="184"/>
                    </a:lnTo>
                    <a:lnTo>
                      <a:pt x="52" y="175"/>
                    </a:lnTo>
                    <a:lnTo>
                      <a:pt x="59" y="169"/>
                    </a:lnTo>
                    <a:lnTo>
                      <a:pt x="72" y="162"/>
                    </a:lnTo>
                    <a:lnTo>
                      <a:pt x="72" y="162"/>
                    </a:lnTo>
                    <a:lnTo>
                      <a:pt x="79" y="157"/>
                    </a:lnTo>
                    <a:lnTo>
                      <a:pt x="89" y="148"/>
                    </a:lnTo>
                    <a:lnTo>
                      <a:pt x="101" y="135"/>
                    </a:lnTo>
                    <a:lnTo>
                      <a:pt x="112" y="124"/>
                    </a:lnTo>
                    <a:lnTo>
                      <a:pt x="112" y="124"/>
                    </a:lnTo>
                    <a:lnTo>
                      <a:pt x="123" y="107"/>
                    </a:lnTo>
                    <a:lnTo>
                      <a:pt x="128" y="100"/>
                    </a:lnTo>
                    <a:lnTo>
                      <a:pt x="131" y="94"/>
                    </a:lnTo>
                    <a:lnTo>
                      <a:pt x="131" y="94"/>
                    </a:lnTo>
                    <a:lnTo>
                      <a:pt x="132" y="87"/>
                    </a:lnTo>
                    <a:lnTo>
                      <a:pt x="135" y="81"/>
                    </a:lnTo>
                    <a:lnTo>
                      <a:pt x="145" y="68"/>
                    </a:lnTo>
                    <a:lnTo>
                      <a:pt x="145" y="68"/>
                    </a:lnTo>
                    <a:lnTo>
                      <a:pt x="149" y="61"/>
                    </a:lnTo>
                    <a:lnTo>
                      <a:pt x="153" y="53"/>
                    </a:lnTo>
                    <a:lnTo>
                      <a:pt x="158" y="43"/>
                    </a:lnTo>
                    <a:lnTo>
                      <a:pt x="159" y="37"/>
                    </a:lnTo>
                    <a:lnTo>
                      <a:pt x="159" y="37"/>
                    </a:lnTo>
                    <a:lnTo>
                      <a:pt x="160" y="31"/>
                    </a:lnTo>
                    <a:lnTo>
                      <a:pt x="162" y="24"/>
                    </a:lnTo>
                    <a:lnTo>
                      <a:pt x="163" y="17"/>
                    </a:lnTo>
                    <a:lnTo>
                      <a:pt x="165" y="9"/>
                    </a:lnTo>
                    <a:lnTo>
                      <a:pt x="165" y="9"/>
                    </a:lnTo>
                    <a:lnTo>
                      <a:pt x="165" y="6"/>
                    </a:lnTo>
                    <a:lnTo>
                      <a:pt x="163" y="3"/>
                    </a:lnTo>
                    <a:lnTo>
                      <a:pt x="160" y="0"/>
                    </a:lnTo>
                    <a:lnTo>
                      <a:pt x="158" y="0"/>
                    </a:lnTo>
                    <a:lnTo>
                      <a:pt x="155" y="3"/>
                    </a:lnTo>
                    <a:lnTo>
                      <a:pt x="155" y="3"/>
                    </a:lnTo>
                    <a:lnTo>
                      <a:pt x="152" y="6"/>
                    </a:lnTo>
                    <a:lnTo>
                      <a:pt x="149" y="7"/>
                    </a:lnTo>
                    <a:lnTo>
                      <a:pt x="141" y="10"/>
                    </a:lnTo>
                    <a:lnTo>
                      <a:pt x="129" y="13"/>
                    </a:lnTo>
                    <a:lnTo>
                      <a:pt x="118" y="13"/>
                    </a:lnTo>
                    <a:lnTo>
                      <a:pt x="118" y="13"/>
                    </a:lnTo>
                    <a:lnTo>
                      <a:pt x="102" y="14"/>
                    </a:lnTo>
                    <a:lnTo>
                      <a:pt x="96" y="16"/>
                    </a:lnTo>
                    <a:lnTo>
                      <a:pt x="92" y="19"/>
                    </a:lnTo>
                    <a:lnTo>
                      <a:pt x="92" y="19"/>
                    </a:lnTo>
                    <a:lnTo>
                      <a:pt x="91" y="20"/>
                    </a:lnTo>
                    <a:lnTo>
                      <a:pt x="88" y="21"/>
                    </a:lnTo>
                    <a:lnTo>
                      <a:pt x="82" y="21"/>
                    </a:lnTo>
                    <a:lnTo>
                      <a:pt x="77" y="21"/>
                    </a:lnTo>
                    <a:lnTo>
                      <a:pt x="74" y="21"/>
                    </a:lnTo>
                    <a:lnTo>
                      <a:pt x="72" y="23"/>
                    </a:lnTo>
                    <a:lnTo>
                      <a:pt x="72" y="23"/>
                    </a:lnTo>
                    <a:lnTo>
                      <a:pt x="67" y="26"/>
                    </a:lnTo>
                    <a:lnTo>
                      <a:pt x="59" y="29"/>
                    </a:lnTo>
                    <a:lnTo>
                      <a:pt x="55" y="27"/>
                    </a:lnTo>
                    <a:lnTo>
                      <a:pt x="51" y="27"/>
                    </a:lnTo>
                    <a:lnTo>
                      <a:pt x="48" y="24"/>
                    </a:lnTo>
                    <a:lnTo>
                      <a:pt x="45" y="21"/>
                    </a:lnTo>
                    <a:lnTo>
                      <a:pt x="45" y="21"/>
                    </a:lnTo>
                    <a:lnTo>
                      <a:pt x="41" y="16"/>
                    </a:lnTo>
                    <a:lnTo>
                      <a:pt x="37" y="11"/>
                    </a:lnTo>
                    <a:lnTo>
                      <a:pt x="37" y="11"/>
                    </a:lnTo>
                    <a:lnTo>
                      <a:pt x="31" y="20"/>
                    </a:lnTo>
                    <a:lnTo>
                      <a:pt x="28" y="23"/>
                    </a:lnTo>
                    <a:lnTo>
                      <a:pt x="28" y="26"/>
                    </a:lnTo>
                    <a:lnTo>
                      <a:pt x="28" y="26"/>
                    </a:lnTo>
                    <a:lnTo>
                      <a:pt x="32" y="34"/>
                    </a:lnTo>
                    <a:lnTo>
                      <a:pt x="35" y="37"/>
                    </a:lnTo>
                    <a:lnTo>
                      <a:pt x="38" y="40"/>
                    </a:lnTo>
                    <a:lnTo>
                      <a:pt x="38" y="4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0" name="Central African Republic">
                <a:extLst>
                  <a:ext uri="{FF2B5EF4-FFF2-40B4-BE49-F238E27FC236}">
                    <a16:creationId xmlns:a16="http://schemas.microsoft.com/office/drawing/2014/main" id="{0700474E-E8DE-7749-82B1-CFDECC355050}"/>
                  </a:ext>
                </a:extLst>
              </p:cNvPr>
              <p:cNvSpPr>
                <a:spLocks/>
              </p:cNvSpPr>
              <p:nvPr/>
            </p:nvSpPr>
            <p:spPr bwMode="auto">
              <a:xfrm>
                <a:off x="4665227" y="4044859"/>
                <a:ext cx="292998" cy="204210"/>
              </a:xfrm>
              <a:custGeom>
                <a:avLst/>
                <a:gdLst/>
                <a:ahLst/>
                <a:cxnLst>
                  <a:cxn ang="0">
                    <a:pos x="182" y="72"/>
                  </a:cxn>
                  <a:cxn ang="0">
                    <a:pos x="177" y="67"/>
                  </a:cxn>
                  <a:cxn ang="0">
                    <a:pos x="167" y="58"/>
                  </a:cxn>
                  <a:cxn ang="0">
                    <a:pos x="165" y="54"/>
                  </a:cxn>
                  <a:cxn ang="0">
                    <a:pos x="157" y="44"/>
                  </a:cxn>
                  <a:cxn ang="0">
                    <a:pos x="145" y="37"/>
                  </a:cxn>
                  <a:cxn ang="0">
                    <a:pos x="137" y="34"/>
                  </a:cxn>
                  <a:cxn ang="0">
                    <a:pos x="140" y="30"/>
                  </a:cxn>
                  <a:cxn ang="0">
                    <a:pos x="143" y="22"/>
                  </a:cxn>
                  <a:cxn ang="0">
                    <a:pos x="134" y="8"/>
                  </a:cxn>
                  <a:cxn ang="0">
                    <a:pos x="125" y="0"/>
                  </a:cxn>
                  <a:cxn ang="0">
                    <a:pos x="118" y="1"/>
                  </a:cxn>
                  <a:cxn ang="0">
                    <a:pos x="110" y="7"/>
                  </a:cxn>
                  <a:cxn ang="0">
                    <a:pos x="108" y="13"/>
                  </a:cxn>
                  <a:cxn ang="0">
                    <a:pos x="93" y="30"/>
                  </a:cxn>
                  <a:cxn ang="0">
                    <a:pos x="89" y="32"/>
                  </a:cxn>
                  <a:cxn ang="0">
                    <a:pos x="70" y="34"/>
                  </a:cxn>
                  <a:cxn ang="0">
                    <a:pos x="69" y="38"/>
                  </a:cxn>
                  <a:cxn ang="0">
                    <a:pos x="70" y="42"/>
                  </a:cxn>
                  <a:cxn ang="0">
                    <a:pos x="56" y="50"/>
                  </a:cxn>
                  <a:cxn ang="0">
                    <a:pos x="37" y="55"/>
                  </a:cxn>
                  <a:cxn ang="0">
                    <a:pos x="34" y="57"/>
                  </a:cxn>
                  <a:cxn ang="0">
                    <a:pos x="29" y="54"/>
                  </a:cxn>
                  <a:cxn ang="0">
                    <a:pos x="24" y="58"/>
                  </a:cxn>
                  <a:cxn ang="0">
                    <a:pos x="19" y="59"/>
                  </a:cxn>
                  <a:cxn ang="0">
                    <a:pos x="17" y="57"/>
                  </a:cxn>
                  <a:cxn ang="0">
                    <a:pos x="9" y="67"/>
                  </a:cxn>
                  <a:cxn ang="0">
                    <a:pos x="2" y="81"/>
                  </a:cxn>
                  <a:cxn ang="0">
                    <a:pos x="2" y="89"/>
                  </a:cxn>
                  <a:cxn ang="0">
                    <a:pos x="5" y="104"/>
                  </a:cxn>
                  <a:cxn ang="0">
                    <a:pos x="9" y="112"/>
                  </a:cxn>
                  <a:cxn ang="0">
                    <a:pos x="10" y="119"/>
                  </a:cxn>
                  <a:cxn ang="0">
                    <a:pos x="19" y="129"/>
                  </a:cxn>
                  <a:cxn ang="0">
                    <a:pos x="24" y="135"/>
                  </a:cxn>
                  <a:cxn ang="0">
                    <a:pos x="27" y="138"/>
                  </a:cxn>
                  <a:cxn ang="0">
                    <a:pos x="30" y="132"/>
                  </a:cxn>
                  <a:cxn ang="0">
                    <a:pos x="40" y="122"/>
                  </a:cxn>
                  <a:cxn ang="0">
                    <a:pos x="60" y="111"/>
                  </a:cxn>
                  <a:cxn ang="0">
                    <a:pos x="71" y="99"/>
                  </a:cxn>
                  <a:cxn ang="0">
                    <a:pos x="77" y="98"/>
                  </a:cxn>
                  <a:cxn ang="0">
                    <a:pos x="90" y="106"/>
                  </a:cxn>
                  <a:cxn ang="0">
                    <a:pos x="123" y="108"/>
                  </a:cxn>
                  <a:cxn ang="0">
                    <a:pos x="125" y="102"/>
                  </a:cxn>
                  <a:cxn ang="0">
                    <a:pos x="135" y="102"/>
                  </a:cxn>
                  <a:cxn ang="0">
                    <a:pos x="145" y="99"/>
                  </a:cxn>
                  <a:cxn ang="0">
                    <a:pos x="155" y="96"/>
                  </a:cxn>
                  <a:cxn ang="0">
                    <a:pos x="168" y="95"/>
                  </a:cxn>
                  <a:cxn ang="0">
                    <a:pos x="172" y="92"/>
                  </a:cxn>
                  <a:cxn ang="0">
                    <a:pos x="198" y="95"/>
                  </a:cxn>
                  <a:cxn ang="0">
                    <a:pos x="188" y="82"/>
                  </a:cxn>
                  <a:cxn ang="0">
                    <a:pos x="182" y="77"/>
                  </a:cxn>
                </a:cxnLst>
                <a:rect l="0" t="0" r="r" b="b"/>
                <a:pathLst>
                  <a:path w="198" h="138">
                    <a:moveTo>
                      <a:pt x="182" y="77"/>
                    </a:moveTo>
                    <a:lnTo>
                      <a:pt x="182" y="77"/>
                    </a:lnTo>
                    <a:lnTo>
                      <a:pt x="182" y="72"/>
                    </a:lnTo>
                    <a:lnTo>
                      <a:pt x="181" y="69"/>
                    </a:lnTo>
                    <a:lnTo>
                      <a:pt x="177" y="67"/>
                    </a:lnTo>
                    <a:lnTo>
                      <a:pt x="177" y="67"/>
                    </a:lnTo>
                    <a:lnTo>
                      <a:pt x="170" y="61"/>
                    </a:lnTo>
                    <a:lnTo>
                      <a:pt x="168" y="59"/>
                    </a:lnTo>
                    <a:lnTo>
                      <a:pt x="167" y="58"/>
                    </a:lnTo>
                    <a:lnTo>
                      <a:pt x="167" y="58"/>
                    </a:lnTo>
                    <a:lnTo>
                      <a:pt x="167" y="55"/>
                    </a:lnTo>
                    <a:lnTo>
                      <a:pt x="165" y="54"/>
                    </a:lnTo>
                    <a:lnTo>
                      <a:pt x="160" y="48"/>
                    </a:lnTo>
                    <a:lnTo>
                      <a:pt x="160" y="48"/>
                    </a:lnTo>
                    <a:lnTo>
                      <a:pt x="157" y="44"/>
                    </a:lnTo>
                    <a:lnTo>
                      <a:pt x="153" y="42"/>
                    </a:lnTo>
                    <a:lnTo>
                      <a:pt x="147" y="41"/>
                    </a:lnTo>
                    <a:lnTo>
                      <a:pt x="145" y="37"/>
                    </a:lnTo>
                    <a:lnTo>
                      <a:pt x="138" y="35"/>
                    </a:lnTo>
                    <a:lnTo>
                      <a:pt x="138" y="35"/>
                    </a:lnTo>
                    <a:lnTo>
                      <a:pt x="137" y="34"/>
                    </a:lnTo>
                    <a:lnTo>
                      <a:pt x="138" y="32"/>
                    </a:lnTo>
                    <a:lnTo>
                      <a:pt x="140" y="30"/>
                    </a:lnTo>
                    <a:lnTo>
                      <a:pt x="140" y="30"/>
                    </a:lnTo>
                    <a:lnTo>
                      <a:pt x="143" y="28"/>
                    </a:lnTo>
                    <a:lnTo>
                      <a:pt x="143" y="27"/>
                    </a:lnTo>
                    <a:lnTo>
                      <a:pt x="143" y="22"/>
                    </a:lnTo>
                    <a:lnTo>
                      <a:pt x="140" y="15"/>
                    </a:lnTo>
                    <a:lnTo>
                      <a:pt x="140" y="15"/>
                    </a:lnTo>
                    <a:lnTo>
                      <a:pt x="134" y="8"/>
                    </a:lnTo>
                    <a:lnTo>
                      <a:pt x="128" y="1"/>
                    </a:lnTo>
                    <a:lnTo>
                      <a:pt x="128" y="1"/>
                    </a:lnTo>
                    <a:lnTo>
                      <a:pt x="125" y="0"/>
                    </a:lnTo>
                    <a:lnTo>
                      <a:pt x="125" y="0"/>
                    </a:lnTo>
                    <a:lnTo>
                      <a:pt x="123" y="0"/>
                    </a:lnTo>
                    <a:lnTo>
                      <a:pt x="118" y="1"/>
                    </a:lnTo>
                    <a:lnTo>
                      <a:pt x="113" y="5"/>
                    </a:lnTo>
                    <a:lnTo>
                      <a:pt x="113" y="5"/>
                    </a:lnTo>
                    <a:lnTo>
                      <a:pt x="110" y="7"/>
                    </a:lnTo>
                    <a:lnTo>
                      <a:pt x="110" y="10"/>
                    </a:lnTo>
                    <a:lnTo>
                      <a:pt x="110" y="11"/>
                    </a:lnTo>
                    <a:lnTo>
                      <a:pt x="108" y="13"/>
                    </a:lnTo>
                    <a:lnTo>
                      <a:pt x="108" y="13"/>
                    </a:lnTo>
                    <a:lnTo>
                      <a:pt x="101" y="20"/>
                    </a:lnTo>
                    <a:lnTo>
                      <a:pt x="93" y="30"/>
                    </a:lnTo>
                    <a:lnTo>
                      <a:pt x="93" y="30"/>
                    </a:lnTo>
                    <a:lnTo>
                      <a:pt x="91" y="31"/>
                    </a:lnTo>
                    <a:lnTo>
                      <a:pt x="89" y="32"/>
                    </a:lnTo>
                    <a:lnTo>
                      <a:pt x="81" y="32"/>
                    </a:lnTo>
                    <a:lnTo>
                      <a:pt x="74" y="32"/>
                    </a:lnTo>
                    <a:lnTo>
                      <a:pt x="70" y="34"/>
                    </a:lnTo>
                    <a:lnTo>
                      <a:pt x="70" y="34"/>
                    </a:lnTo>
                    <a:lnTo>
                      <a:pt x="69" y="35"/>
                    </a:lnTo>
                    <a:lnTo>
                      <a:pt x="69" y="38"/>
                    </a:lnTo>
                    <a:lnTo>
                      <a:pt x="70" y="41"/>
                    </a:lnTo>
                    <a:lnTo>
                      <a:pt x="70" y="42"/>
                    </a:lnTo>
                    <a:lnTo>
                      <a:pt x="70" y="42"/>
                    </a:lnTo>
                    <a:lnTo>
                      <a:pt x="63" y="47"/>
                    </a:lnTo>
                    <a:lnTo>
                      <a:pt x="56" y="50"/>
                    </a:lnTo>
                    <a:lnTo>
                      <a:pt x="56" y="50"/>
                    </a:lnTo>
                    <a:lnTo>
                      <a:pt x="46" y="51"/>
                    </a:lnTo>
                    <a:lnTo>
                      <a:pt x="42" y="52"/>
                    </a:lnTo>
                    <a:lnTo>
                      <a:pt x="37" y="55"/>
                    </a:lnTo>
                    <a:lnTo>
                      <a:pt x="37" y="55"/>
                    </a:lnTo>
                    <a:lnTo>
                      <a:pt x="36" y="57"/>
                    </a:lnTo>
                    <a:lnTo>
                      <a:pt x="34" y="57"/>
                    </a:lnTo>
                    <a:lnTo>
                      <a:pt x="33" y="55"/>
                    </a:lnTo>
                    <a:lnTo>
                      <a:pt x="30" y="54"/>
                    </a:lnTo>
                    <a:lnTo>
                      <a:pt x="29" y="54"/>
                    </a:lnTo>
                    <a:lnTo>
                      <a:pt x="27" y="55"/>
                    </a:lnTo>
                    <a:lnTo>
                      <a:pt x="27" y="55"/>
                    </a:lnTo>
                    <a:lnTo>
                      <a:pt x="24" y="58"/>
                    </a:lnTo>
                    <a:lnTo>
                      <a:pt x="22" y="59"/>
                    </a:lnTo>
                    <a:lnTo>
                      <a:pt x="20" y="59"/>
                    </a:lnTo>
                    <a:lnTo>
                      <a:pt x="19" y="59"/>
                    </a:lnTo>
                    <a:lnTo>
                      <a:pt x="19" y="59"/>
                    </a:lnTo>
                    <a:lnTo>
                      <a:pt x="17" y="57"/>
                    </a:lnTo>
                    <a:lnTo>
                      <a:pt x="17" y="57"/>
                    </a:lnTo>
                    <a:lnTo>
                      <a:pt x="12" y="62"/>
                    </a:lnTo>
                    <a:lnTo>
                      <a:pt x="9" y="67"/>
                    </a:lnTo>
                    <a:lnTo>
                      <a:pt x="9" y="67"/>
                    </a:lnTo>
                    <a:lnTo>
                      <a:pt x="6" y="72"/>
                    </a:lnTo>
                    <a:lnTo>
                      <a:pt x="5" y="77"/>
                    </a:lnTo>
                    <a:lnTo>
                      <a:pt x="2" y="81"/>
                    </a:lnTo>
                    <a:lnTo>
                      <a:pt x="0" y="84"/>
                    </a:lnTo>
                    <a:lnTo>
                      <a:pt x="0" y="84"/>
                    </a:lnTo>
                    <a:lnTo>
                      <a:pt x="2" y="89"/>
                    </a:lnTo>
                    <a:lnTo>
                      <a:pt x="3" y="96"/>
                    </a:lnTo>
                    <a:lnTo>
                      <a:pt x="3" y="96"/>
                    </a:lnTo>
                    <a:lnTo>
                      <a:pt x="5" y="104"/>
                    </a:lnTo>
                    <a:lnTo>
                      <a:pt x="7" y="109"/>
                    </a:lnTo>
                    <a:lnTo>
                      <a:pt x="7" y="109"/>
                    </a:lnTo>
                    <a:lnTo>
                      <a:pt x="9" y="112"/>
                    </a:lnTo>
                    <a:lnTo>
                      <a:pt x="10" y="115"/>
                    </a:lnTo>
                    <a:lnTo>
                      <a:pt x="10" y="119"/>
                    </a:lnTo>
                    <a:lnTo>
                      <a:pt x="10" y="119"/>
                    </a:lnTo>
                    <a:lnTo>
                      <a:pt x="13" y="123"/>
                    </a:lnTo>
                    <a:lnTo>
                      <a:pt x="13" y="123"/>
                    </a:lnTo>
                    <a:lnTo>
                      <a:pt x="19" y="129"/>
                    </a:lnTo>
                    <a:lnTo>
                      <a:pt x="22" y="132"/>
                    </a:lnTo>
                    <a:lnTo>
                      <a:pt x="24" y="135"/>
                    </a:lnTo>
                    <a:lnTo>
                      <a:pt x="24" y="135"/>
                    </a:lnTo>
                    <a:lnTo>
                      <a:pt x="24" y="136"/>
                    </a:lnTo>
                    <a:lnTo>
                      <a:pt x="27" y="138"/>
                    </a:lnTo>
                    <a:lnTo>
                      <a:pt x="27" y="138"/>
                    </a:lnTo>
                    <a:lnTo>
                      <a:pt x="27" y="135"/>
                    </a:lnTo>
                    <a:lnTo>
                      <a:pt x="27" y="135"/>
                    </a:lnTo>
                    <a:lnTo>
                      <a:pt x="30" y="132"/>
                    </a:lnTo>
                    <a:lnTo>
                      <a:pt x="30" y="128"/>
                    </a:lnTo>
                    <a:lnTo>
                      <a:pt x="30" y="123"/>
                    </a:lnTo>
                    <a:lnTo>
                      <a:pt x="40" y="122"/>
                    </a:lnTo>
                    <a:lnTo>
                      <a:pt x="46" y="119"/>
                    </a:lnTo>
                    <a:lnTo>
                      <a:pt x="60" y="122"/>
                    </a:lnTo>
                    <a:lnTo>
                      <a:pt x="60" y="111"/>
                    </a:lnTo>
                    <a:lnTo>
                      <a:pt x="60" y="111"/>
                    </a:lnTo>
                    <a:lnTo>
                      <a:pt x="66" y="105"/>
                    </a:lnTo>
                    <a:lnTo>
                      <a:pt x="71" y="99"/>
                    </a:lnTo>
                    <a:lnTo>
                      <a:pt x="74" y="98"/>
                    </a:lnTo>
                    <a:lnTo>
                      <a:pt x="77" y="98"/>
                    </a:lnTo>
                    <a:lnTo>
                      <a:pt x="77" y="98"/>
                    </a:lnTo>
                    <a:lnTo>
                      <a:pt x="81" y="99"/>
                    </a:lnTo>
                    <a:lnTo>
                      <a:pt x="86" y="102"/>
                    </a:lnTo>
                    <a:lnTo>
                      <a:pt x="90" y="106"/>
                    </a:lnTo>
                    <a:lnTo>
                      <a:pt x="121" y="114"/>
                    </a:lnTo>
                    <a:lnTo>
                      <a:pt x="121" y="114"/>
                    </a:lnTo>
                    <a:lnTo>
                      <a:pt x="123" y="108"/>
                    </a:lnTo>
                    <a:lnTo>
                      <a:pt x="124" y="105"/>
                    </a:lnTo>
                    <a:lnTo>
                      <a:pt x="125" y="102"/>
                    </a:lnTo>
                    <a:lnTo>
                      <a:pt x="125" y="102"/>
                    </a:lnTo>
                    <a:lnTo>
                      <a:pt x="128" y="101"/>
                    </a:lnTo>
                    <a:lnTo>
                      <a:pt x="131" y="102"/>
                    </a:lnTo>
                    <a:lnTo>
                      <a:pt x="135" y="102"/>
                    </a:lnTo>
                    <a:lnTo>
                      <a:pt x="138" y="102"/>
                    </a:lnTo>
                    <a:lnTo>
                      <a:pt x="138" y="102"/>
                    </a:lnTo>
                    <a:lnTo>
                      <a:pt x="145" y="99"/>
                    </a:lnTo>
                    <a:lnTo>
                      <a:pt x="150" y="98"/>
                    </a:lnTo>
                    <a:lnTo>
                      <a:pt x="155" y="96"/>
                    </a:lnTo>
                    <a:lnTo>
                      <a:pt x="155" y="96"/>
                    </a:lnTo>
                    <a:lnTo>
                      <a:pt x="162" y="98"/>
                    </a:lnTo>
                    <a:lnTo>
                      <a:pt x="165" y="98"/>
                    </a:lnTo>
                    <a:lnTo>
                      <a:pt x="168" y="95"/>
                    </a:lnTo>
                    <a:lnTo>
                      <a:pt x="168" y="95"/>
                    </a:lnTo>
                    <a:lnTo>
                      <a:pt x="170" y="94"/>
                    </a:lnTo>
                    <a:lnTo>
                      <a:pt x="172" y="92"/>
                    </a:lnTo>
                    <a:lnTo>
                      <a:pt x="178" y="94"/>
                    </a:lnTo>
                    <a:lnTo>
                      <a:pt x="185" y="96"/>
                    </a:lnTo>
                    <a:lnTo>
                      <a:pt x="198" y="95"/>
                    </a:lnTo>
                    <a:lnTo>
                      <a:pt x="194" y="85"/>
                    </a:lnTo>
                    <a:lnTo>
                      <a:pt x="194" y="85"/>
                    </a:lnTo>
                    <a:lnTo>
                      <a:pt x="188" y="82"/>
                    </a:lnTo>
                    <a:lnTo>
                      <a:pt x="185" y="79"/>
                    </a:lnTo>
                    <a:lnTo>
                      <a:pt x="182" y="77"/>
                    </a:lnTo>
                    <a:lnTo>
                      <a:pt x="182" y="7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1" name="Republic of the Congo">
                <a:extLst>
                  <a:ext uri="{FF2B5EF4-FFF2-40B4-BE49-F238E27FC236}">
                    <a16:creationId xmlns:a16="http://schemas.microsoft.com/office/drawing/2014/main" id="{CB828F23-54DC-9A46-8665-69748F584039}"/>
                  </a:ext>
                </a:extLst>
              </p:cNvPr>
              <p:cNvSpPr>
                <a:spLocks/>
              </p:cNvSpPr>
              <p:nvPr/>
            </p:nvSpPr>
            <p:spPr bwMode="auto">
              <a:xfrm>
                <a:off x="4588278" y="4220952"/>
                <a:ext cx="165735" cy="210129"/>
              </a:xfrm>
              <a:custGeom>
                <a:avLst/>
                <a:gdLst/>
                <a:ahLst/>
                <a:cxnLst>
                  <a:cxn ang="0">
                    <a:pos x="35" y="137"/>
                  </a:cxn>
                  <a:cxn ang="0">
                    <a:pos x="41" y="135"/>
                  </a:cxn>
                  <a:cxn ang="0">
                    <a:pos x="54" y="134"/>
                  </a:cxn>
                  <a:cxn ang="0">
                    <a:pos x="55" y="138"/>
                  </a:cxn>
                  <a:cxn ang="0">
                    <a:pos x="61" y="135"/>
                  </a:cxn>
                  <a:cxn ang="0">
                    <a:pos x="71" y="131"/>
                  </a:cxn>
                  <a:cxn ang="0">
                    <a:pos x="72" y="121"/>
                  </a:cxn>
                  <a:cxn ang="0">
                    <a:pos x="76" y="114"/>
                  </a:cxn>
                  <a:cxn ang="0">
                    <a:pos x="78" y="87"/>
                  </a:cxn>
                  <a:cxn ang="0">
                    <a:pos x="85" y="80"/>
                  </a:cxn>
                  <a:cxn ang="0">
                    <a:pos x="92" y="70"/>
                  </a:cxn>
                  <a:cxn ang="0">
                    <a:pos x="98" y="54"/>
                  </a:cxn>
                  <a:cxn ang="0">
                    <a:pos x="104" y="36"/>
                  </a:cxn>
                  <a:cxn ang="0">
                    <a:pos x="109" y="19"/>
                  </a:cxn>
                  <a:cxn ang="0">
                    <a:pos x="112" y="7"/>
                  </a:cxn>
                  <a:cxn ang="0">
                    <a:pos x="98" y="0"/>
                  </a:cxn>
                  <a:cxn ang="0">
                    <a:pos x="82" y="4"/>
                  </a:cxn>
                  <a:cxn ang="0">
                    <a:pos x="79" y="16"/>
                  </a:cxn>
                  <a:cxn ang="0">
                    <a:pos x="75" y="26"/>
                  </a:cxn>
                  <a:cxn ang="0">
                    <a:pos x="65" y="29"/>
                  </a:cxn>
                  <a:cxn ang="0">
                    <a:pos x="52" y="24"/>
                  </a:cxn>
                  <a:cxn ang="0">
                    <a:pos x="31" y="41"/>
                  </a:cxn>
                  <a:cxn ang="0">
                    <a:pos x="34" y="41"/>
                  </a:cxn>
                  <a:cxn ang="0">
                    <a:pos x="45" y="40"/>
                  </a:cxn>
                  <a:cxn ang="0">
                    <a:pos x="49" y="44"/>
                  </a:cxn>
                  <a:cxn ang="0">
                    <a:pos x="45" y="54"/>
                  </a:cxn>
                  <a:cxn ang="0">
                    <a:pos x="42" y="60"/>
                  </a:cxn>
                  <a:cxn ang="0">
                    <a:pos x="48" y="67"/>
                  </a:cxn>
                  <a:cxn ang="0">
                    <a:pos x="52" y="84"/>
                  </a:cxn>
                  <a:cxn ang="0">
                    <a:pos x="51" y="100"/>
                  </a:cxn>
                  <a:cxn ang="0">
                    <a:pos x="48" y="103"/>
                  </a:cxn>
                  <a:cxn ang="0">
                    <a:pos x="38" y="101"/>
                  </a:cxn>
                  <a:cxn ang="0">
                    <a:pos x="34" y="100"/>
                  </a:cxn>
                  <a:cxn ang="0">
                    <a:pos x="30" y="93"/>
                  </a:cxn>
                  <a:cxn ang="0">
                    <a:pos x="24" y="93"/>
                  </a:cxn>
                  <a:cxn ang="0">
                    <a:pos x="21" y="100"/>
                  </a:cxn>
                  <a:cxn ang="0">
                    <a:pos x="15" y="100"/>
                  </a:cxn>
                  <a:cxn ang="0">
                    <a:pos x="10" y="107"/>
                  </a:cxn>
                  <a:cxn ang="0">
                    <a:pos x="12" y="115"/>
                  </a:cxn>
                  <a:cxn ang="0">
                    <a:pos x="8" y="120"/>
                  </a:cxn>
                  <a:cxn ang="0">
                    <a:pos x="0" y="124"/>
                  </a:cxn>
                  <a:cxn ang="0">
                    <a:pos x="10" y="134"/>
                  </a:cxn>
                  <a:cxn ang="0">
                    <a:pos x="25" y="137"/>
                  </a:cxn>
                </a:cxnLst>
                <a:rect l="0" t="0" r="r" b="b"/>
                <a:pathLst>
                  <a:path w="112" h="142">
                    <a:moveTo>
                      <a:pt x="31" y="134"/>
                    </a:moveTo>
                    <a:lnTo>
                      <a:pt x="31" y="134"/>
                    </a:lnTo>
                    <a:lnTo>
                      <a:pt x="35" y="137"/>
                    </a:lnTo>
                    <a:lnTo>
                      <a:pt x="38" y="137"/>
                    </a:lnTo>
                    <a:lnTo>
                      <a:pt x="41" y="135"/>
                    </a:lnTo>
                    <a:lnTo>
                      <a:pt x="41" y="135"/>
                    </a:lnTo>
                    <a:lnTo>
                      <a:pt x="47" y="133"/>
                    </a:lnTo>
                    <a:lnTo>
                      <a:pt x="51" y="133"/>
                    </a:lnTo>
                    <a:lnTo>
                      <a:pt x="54" y="134"/>
                    </a:lnTo>
                    <a:lnTo>
                      <a:pt x="54" y="137"/>
                    </a:lnTo>
                    <a:lnTo>
                      <a:pt x="54" y="137"/>
                    </a:lnTo>
                    <a:lnTo>
                      <a:pt x="55" y="138"/>
                    </a:lnTo>
                    <a:lnTo>
                      <a:pt x="57" y="140"/>
                    </a:lnTo>
                    <a:lnTo>
                      <a:pt x="61" y="135"/>
                    </a:lnTo>
                    <a:lnTo>
                      <a:pt x="61" y="135"/>
                    </a:lnTo>
                    <a:lnTo>
                      <a:pt x="65" y="133"/>
                    </a:lnTo>
                    <a:lnTo>
                      <a:pt x="68" y="133"/>
                    </a:lnTo>
                    <a:lnTo>
                      <a:pt x="71" y="131"/>
                    </a:lnTo>
                    <a:lnTo>
                      <a:pt x="71" y="127"/>
                    </a:lnTo>
                    <a:lnTo>
                      <a:pt x="71" y="127"/>
                    </a:lnTo>
                    <a:lnTo>
                      <a:pt x="72" y="121"/>
                    </a:lnTo>
                    <a:lnTo>
                      <a:pt x="74" y="121"/>
                    </a:lnTo>
                    <a:lnTo>
                      <a:pt x="76" y="120"/>
                    </a:lnTo>
                    <a:lnTo>
                      <a:pt x="76" y="114"/>
                    </a:lnTo>
                    <a:lnTo>
                      <a:pt x="76" y="114"/>
                    </a:lnTo>
                    <a:lnTo>
                      <a:pt x="78" y="87"/>
                    </a:lnTo>
                    <a:lnTo>
                      <a:pt x="78" y="87"/>
                    </a:lnTo>
                    <a:lnTo>
                      <a:pt x="79" y="86"/>
                    </a:lnTo>
                    <a:lnTo>
                      <a:pt x="81" y="84"/>
                    </a:lnTo>
                    <a:lnTo>
                      <a:pt x="85" y="80"/>
                    </a:lnTo>
                    <a:lnTo>
                      <a:pt x="89" y="76"/>
                    </a:lnTo>
                    <a:lnTo>
                      <a:pt x="92" y="73"/>
                    </a:lnTo>
                    <a:lnTo>
                      <a:pt x="92" y="70"/>
                    </a:lnTo>
                    <a:lnTo>
                      <a:pt x="92" y="70"/>
                    </a:lnTo>
                    <a:lnTo>
                      <a:pt x="94" y="63"/>
                    </a:lnTo>
                    <a:lnTo>
                      <a:pt x="98" y="54"/>
                    </a:lnTo>
                    <a:lnTo>
                      <a:pt x="102" y="44"/>
                    </a:lnTo>
                    <a:lnTo>
                      <a:pt x="104" y="36"/>
                    </a:lnTo>
                    <a:lnTo>
                      <a:pt x="104" y="36"/>
                    </a:lnTo>
                    <a:lnTo>
                      <a:pt x="105" y="30"/>
                    </a:lnTo>
                    <a:lnTo>
                      <a:pt x="106" y="26"/>
                    </a:lnTo>
                    <a:lnTo>
                      <a:pt x="109" y="19"/>
                    </a:lnTo>
                    <a:lnTo>
                      <a:pt x="109" y="19"/>
                    </a:lnTo>
                    <a:lnTo>
                      <a:pt x="112" y="12"/>
                    </a:lnTo>
                    <a:lnTo>
                      <a:pt x="112" y="7"/>
                    </a:lnTo>
                    <a:lnTo>
                      <a:pt x="112" y="3"/>
                    </a:lnTo>
                    <a:lnTo>
                      <a:pt x="112" y="3"/>
                    </a:lnTo>
                    <a:lnTo>
                      <a:pt x="98" y="0"/>
                    </a:lnTo>
                    <a:lnTo>
                      <a:pt x="92" y="3"/>
                    </a:lnTo>
                    <a:lnTo>
                      <a:pt x="82" y="4"/>
                    </a:lnTo>
                    <a:lnTo>
                      <a:pt x="82" y="4"/>
                    </a:lnTo>
                    <a:lnTo>
                      <a:pt x="82" y="9"/>
                    </a:lnTo>
                    <a:lnTo>
                      <a:pt x="82" y="13"/>
                    </a:lnTo>
                    <a:lnTo>
                      <a:pt x="79" y="16"/>
                    </a:lnTo>
                    <a:lnTo>
                      <a:pt x="79" y="16"/>
                    </a:lnTo>
                    <a:lnTo>
                      <a:pt x="78" y="22"/>
                    </a:lnTo>
                    <a:lnTo>
                      <a:pt x="75" y="26"/>
                    </a:lnTo>
                    <a:lnTo>
                      <a:pt x="75" y="33"/>
                    </a:lnTo>
                    <a:lnTo>
                      <a:pt x="75" y="33"/>
                    </a:lnTo>
                    <a:lnTo>
                      <a:pt x="65" y="29"/>
                    </a:lnTo>
                    <a:lnTo>
                      <a:pt x="58" y="26"/>
                    </a:lnTo>
                    <a:lnTo>
                      <a:pt x="52" y="24"/>
                    </a:lnTo>
                    <a:lnTo>
                      <a:pt x="52" y="24"/>
                    </a:lnTo>
                    <a:lnTo>
                      <a:pt x="34" y="24"/>
                    </a:lnTo>
                    <a:lnTo>
                      <a:pt x="34" y="24"/>
                    </a:lnTo>
                    <a:lnTo>
                      <a:pt x="31" y="41"/>
                    </a:lnTo>
                    <a:lnTo>
                      <a:pt x="31" y="41"/>
                    </a:lnTo>
                    <a:lnTo>
                      <a:pt x="32" y="41"/>
                    </a:lnTo>
                    <a:lnTo>
                      <a:pt x="34" y="41"/>
                    </a:lnTo>
                    <a:lnTo>
                      <a:pt x="38" y="41"/>
                    </a:lnTo>
                    <a:lnTo>
                      <a:pt x="42" y="40"/>
                    </a:lnTo>
                    <a:lnTo>
                      <a:pt x="45" y="40"/>
                    </a:lnTo>
                    <a:lnTo>
                      <a:pt x="48" y="41"/>
                    </a:lnTo>
                    <a:lnTo>
                      <a:pt x="48" y="41"/>
                    </a:lnTo>
                    <a:lnTo>
                      <a:pt x="49" y="44"/>
                    </a:lnTo>
                    <a:lnTo>
                      <a:pt x="51" y="47"/>
                    </a:lnTo>
                    <a:lnTo>
                      <a:pt x="49" y="51"/>
                    </a:lnTo>
                    <a:lnTo>
                      <a:pt x="45" y="54"/>
                    </a:lnTo>
                    <a:lnTo>
                      <a:pt x="45" y="54"/>
                    </a:lnTo>
                    <a:lnTo>
                      <a:pt x="42" y="57"/>
                    </a:lnTo>
                    <a:lnTo>
                      <a:pt x="42" y="60"/>
                    </a:lnTo>
                    <a:lnTo>
                      <a:pt x="45" y="64"/>
                    </a:lnTo>
                    <a:lnTo>
                      <a:pt x="48" y="67"/>
                    </a:lnTo>
                    <a:lnTo>
                      <a:pt x="48" y="67"/>
                    </a:lnTo>
                    <a:lnTo>
                      <a:pt x="51" y="70"/>
                    </a:lnTo>
                    <a:lnTo>
                      <a:pt x="52" y="73"/>
                    </a:lnTo>
                    <a:lnTo>
                      <a:pt x="52" y="84"/>
                    </a:lnTo>
                    <a:lnTo>
                      <a:pt x="52" y="84"/>
                    </a:lnTo>
                    <a:lnTo>
                      <a:pt x="52" y="96"/>
                    </a:lnTo>
                    <a:lnTo>
                      <a:pt x="51" y="100"/>
                    </a:lnTo>
                    <a:lnTo>
                      <a:pt x="49" y="101"/>
                    </a:lnTo>
                    <a:lnTo>
                      <a:pt x="48" y="103"/>
                    </a:lnTo>
                    <a:lnTo>
                      <a:pt x="48" y="103"/>
                    </a:lnTo>
                    <a:lnTo>
                      <a:pt x="44" y="103"/>
                    </a:lnTo>
                    <a:lnTo>
                      <a:pt x="41" y="101"/>
                    </a:lnTo>
                    <a:lnTo>
                      <a:pt x="38" y="101"/>
                    </a:lnTo>
                    <a:lnTo>
                      <a:pt x="35" y="101"/>
                    </a:lnTo>
                    <a:lnTo>
                      <a:pt x="35" y="101"/>
                    </a:lnTo>
                    <a:lnTo>
                      <a:pt x="34" y="100"/>
                    </a:lnTo>
                    <a:lnTo>
                      <a:pt x="32" y="100"/>
                    </a:lnTo>
                    <a:lnTo>
                      <a:pt x="31" y="96"/>
                    </a:lnTo>
                    <a:lnTo>
                      <a:pt x="30" y="93"/>
                    </a:lnTo>
                    <a:lnTo>
                      <a:pt x="27" y="91"/>
                    </a:lnTo>
                    <a:lnTo>
                      <a:pt x="27" y="91"/>
                    </a:lnTo>
                    <a:lnTo>
                      <a:pt x="24" y="93"/>
                    </a:lnTo>
                    <a:lnTo>
                      <a:pt x="24" y="96"/>
                    </a:lnTo>
                    <a:lnTo>
                      <a:pt x="22" y="98"/>
                    </a:lnTo>
                    <a:lnTo>
                      <a:pt x="21" y="100"/>
                    </a:lnTo>
                    <a:lnTo>
                      <a:pt x="20" y="100"/>
                    </a:lnTo>
                    <a:lnTo>
                      <a:pt x="20" y="100"/>
                    </a:lnTo>
                    <a:lnTo>
                      <a:pt x="15" y="100"/>
                    </a:lnTo>
                    <a:lnTo>
                      <a:pt x="11" y="100"/>
                    </a:lnTo>
                    <a:lnTo>
                      <a:pt x="10" y="103"/>
                    </a:lnTo>
                    <a:lnTo>
                      <a:pt x="10" y="107"/>
                    </a:lnTo>
                    <a:lnTo>
                      <a:pt x="10" y="107"/>
                    </a:lnTo>
                    <a:lnTo>
                      <a:pt x="12" y="111"/>
                    </a:lnTo>
                    <a:lnTo>
                      <a:pt x="12" y="115"/>
                    </a:lnTo>
                    <a:lnTo>
                      <a:pt x="12" y="118"/>
                    </a:lnTo>
                    <a:lnTo>
                      <a:pt x="8" y="120"/>
                    </a:lnTo>
                    <a:lnTo>
                      <a:pt x="8" y="120"/>
                    </a:lnTo>
                    <a:lnTo>
                      <a:pt x="3" y="121"/>
                    </a:lnTo>
                    <a:lnTo>
                      <a:pt x="0" y="124"/>
                    </a:lnTo>
                    <a:lnTo>
                      <a:pt x="0" y="124"/>
                    </a:lnTo>
                    <a:lnTo>
                      <a:pt x="3" y="125"/>
                    </a:lnTo>
                    <a:lnTo>
                      <a:pt x="3" y="125"/>
                    </a:lnTo>
                    <a:lnTo>
                      <a:pt x="10" y="134"/>
                    </a:lnTo>
                    <a:lnTo>
                      <a:pt x="15" y="142"/>
                    </a:lnTo>
                    <a:lnTo>
                      <a:pt x="15" y="142"/>
                    </a:lnTo>
                    <a:lnTo>
                      <a:pt x="25" y="137"/>
                    </a:lnTo>
                    <a:lnTo>
                      <a:pt x="31" y="134"/>
                    </a:lnTo>
                    <a:lnTo>
                      <a:pt x="31" y="13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2" name="Djibouti">
                <a:extLst>
                  <a:ext uri="{FF2B5EF4-FFF2-40B4-BE49-F238E27FC236}">
                    <a16:creationId xmlns:a16="http://schemas.microsoft.com/office/drawing/2014/main" id="{58A71FC4-50DA-814B-8830-AE56D58F1A8B}"/>
                  </a:ext>
                </a:extLst>
              </p:cNvPr>
              <p:cNvSpPr>
                <a:spLocks/>
              </p:cNvSpPr>
              <p:nvPr/>
            </p:nvSpPr>
            <p:spPr bwMode="auto">
              <a:xfrm>
                <a:off x="5298574" y="4004904"/>
                <a:ext cx="41434" cy="45874"/>
              </a:xfrm>
              <a:custGeom>
                <a:avLst/>
                <a:gdLst/>
                <a:ahLst/>
                <a:cxnLst>
                  <a:cxn ang="0">
                    <a:pos x="10" y="4"/>
                  </a:cxn>
                  <a:cxn ang="0">
                    <a:pos x="10" y="4"/>
                  </a:cxn>
                  <a:cxn ang="0">
                    <a:pos x="2" y="15"/>
                  </a:cxn>
                  <a:cxn ang="0">
                    <a:pos x="2" y="15"/>
                  </a:cxn>
                  <a:cxn ang="0">
                    <a:pos x="0" y="18"/>
                  </a:cxn>
                  <a:cxn ang="0">
                    <a:pos x="0" y="22"/>
                  </a:cxn>
                  <a:cxn ang="0">
                    <a:pos x="2" y="28"/>
                  </a:cxn>
                  <a:cxn ang="0">
                    <a:pos x="2" y="28"/>
                  </a:cxn>
                  <a:cxn ang="0">
                    <a:pos x="3" y="30"/>
                  </a:cxn>
                  <a:cxn ang="0">
                    <a:pos x="6" y="30"/>
                  </a:cxn>
                  <a:cxn ang="0">
                    <a:pos x="10" y="28"/>
                  </a:cxn>
                  <a:cxn ang="0">
                    <a:pos x="10" y="28"/>
                  </a:cxn>
                  <a:cxn ang="0">
                    <a:pos x="12" y="27"/>
                  </a:cxn>
                  <a:cxn ang="0">
                    <a:pos x="15" y="28"/>
                  </a:cxn>
                  <a:cxn ang="0">
                    <a:pos x="19" y="31"/>
                  </a:cxn>
                  <a:cxn ang="0">
                    <a:pos x="19" y="31"/>
                  </a:cxn>
                  <a:cxn ang="0">
                    <a:pos x="25" y="22"/>
                  </a:cxn>
                  <a:cxn ang="0">
                    <a:pos x="25" y="22"/>
                  </a:cxn>
                  <a:cxn ang="0">
                    <a:pos x="16" y="20"/>
                  </a:cxn>
                  <a:cxn ang="0">
                    <a:pos x="16" y="20"/>
                  </a:cxn>
                  <a:cxn ang="0">
                    <a:pos x="16" y="17"/>
                  </a:cxn>
                  <a:cxn ang="0">
                    <a:pos x="19" y="15"/>
                  </a:cxn>
                  <a:cxn ang="0">
                    <a:pos x="26" y="11"/>
                  </a:cxn>
                  <a:cxn ang="0">
                    <a:pos x="26" y="11"/>
                  </a:cxn>
                  <a:cxn ang="0">
                    <a:pos x="28" y="10"/>
                  </a:cxn>
                  <a:cxn ang="0">
                    <a:pos x="28" y="8"/>
                  </a:cxn>
                  <a:cxn ang="0">
                    <a:pos x="26" y="5"/>
                  </a:cxn>
                  <a:cxn ang="0">
                    <a:pos x="25" y="3"/>
                  </a:cxn>
                  <a:cxn ang="0">
                    <a:pos x="25" y="3"/>
                  </a:cxn>
                  <a:cxn ang="0">
                    <a:pos x="22" y="0"/>
                  </a:cxn>
                  <a:cxn ang="0">
                    <a:pos x="22" y="0"/>
                  </a:cxn>
                  <a:cxn ang="0">
                    <a:pos x="18" y="4"/>
                  </a:cxn>
                  <a:cxn ang="0">
                    <a:pos x="18" y="4"/>
                  </a:cxn>
                  <a:cxn ang="0">
                    <a:pos x="15" y="4"/>
                  </a:cxn>
                  <a:cxn ang="0">
                    <a:pos x="10" y="4"/>
                  </a:cxn>
                  <a:cxn ang="0">
                    <a:pos x="10" y="4"/>
                  </a:cxn>
                </a:cxnLst>
                <a:rect l="0" t="0" r="r" b="b"/>
                <a:pathLst>
                  <a:path w="28" h="31">
                    <a:moveTo>
                      <a:pt x="10" y="4"/>
                    </a:moveTo>
                    <a:lnTo>
                      <a:pt x="10" y="4"/>
                    </a:lnTo>
                    <a:lnTo>
                      <a:pt x="2" y="15"/>
                    </a:lnTo>
                    <a:lnTo>
                      <a:pt x="2" y="15"/>
                    </a:lnTo>
                    <a:lnTo>
                      <a:pt x="0" y="18"/>
                    </a:lnTo>
                    <a:lnTo>
                      <a:pt x="0" y="22"/>
                    </a:lnTo>
                    <a:lnTo>
                      <a:pt x="2" y="28"/>
                    </a:lnTo>
                    <a:lnTo>
                      <a:pt x="2" y="28"/>
                    </a:lnTo>
                    <a:lnTo>
                      <a:pt x="3" y="30"/>
                    </a:lnTo>
                    <a:lnTo>
                      <a:pt x="6" y="30"/>
                    </a:lnTo>
                    <a:lnTo>
                      <a:pt x="10" y="28"/>
                    </a:lnTo>
                    <a:lnTo>
                      <a:pt x="10" y="28"/>
                    </a:lnTo>
                    <a:lnTo>
                      <a:pt x="12" y="27"/>
                    </a:lnTo>
                    <a:lnTo>
                      <a:pt x="15" y="28"/>
                    </a:lnTo>
                    <a:lnTo>
                      <a:pt x="19" y="31"/>
                    </a:lnTo>
                    <a:lnTo>
                      <a:pt x="19" y="31"/>
                    </a:lnTo>
                    <a:lnTo>
                      <a:pt x="25" y="22"/>
                    </a:lnTo>
                    <a:lnTo>
                      <a:pt x="25" y="22"/>
                    </a:lnTo>
                    <a:lnTo>
                      <a:pt x="16" y="20"/>
                    </a:lnTo>
                    <a:lnTo>
                      <a:pt x="16" y="20"/>
                    </a:lnTo>
                    <a:lnTo>
                      <a:pt x="16" y="17"/>
                    </a:lnTo>
                    <a:lnTo>
                      <a:pt x="19" y="15"/>
                    </a:lnTo>
                    <a:lnTo>
                      <a:pt x="26" y="11"/>
                    </a:lnTo>
                    <a:lnTo>
                      <a:pt x="26" y="11"/>
                    </a:lnTo>
                    <a:lnTo>
                      <a:pt x="28" y="10"/>
                    </a:lnTo>
                    <a:lnTo>
                      <a:pt x="28" y="8"/>
                    </a:lnTo>
                    <a:lnTo>
                      <a:pt x="26" y="5"/>
                    </a:lnTo>
                    <a:lnTo>
                      <a:pt x="25" y="3"/>
                    </a:lnTo>
                    <a:lnTo>
                      <a:pt x="25" y="3"/>
                    </a:lnTo>
                    <a:lnTo>
                      <a:pt x="22" y="0"/>
                    </a:lnTo>
                    <a:lnTo>
                      <a:pt x="22" y="0"/>
                    </a:lnTo>
                    <a:lnTo>
                      <a:pt x="18" y="4"/>
                    </a:lnTo>
                    <a:lnTo>
                      <a:pt x="18" y="4"/>
                    </a:lnTo>
                    <a:lnTo>
                      <a:pt x="15" y="4"/>
                    </a:lnTo>
                    <a:lnTo>
                      <a:pt x="10" y="4"/>
                    </a:lnTo>
                    <a:lnTo>
                      <a:pt x="10" y="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3" name="Uganda">
                <a:extLst>
                  <a:ext uri="{FF2B5EF4-FFF2-40B4-BE49-F238E27FC236}">
                    <a16:creationId xmlns:a16="http://schemas.microsoft.com/office/drawing/2014/main" id="{2219DB13-B2A2-3B41-8CF0-C1BF148E0F85}"/>
                  </a:ext>
                </a:extLst>
              </p:cNvPr>
              <p:cNvSpPr>
                <a:spLocks/>
              </p:cNvSpPr>
              <p:nvPr/>
            </p:nvSpPr>
            <p:spPr bwMode="auto">
              <a:xfrm>
                <a:off x="5007057" y="4210594"/>
                <a:ext cx="130221" cy="133181"/>
              </a:xfrm>
              <a:custGeom>
                <a:avLst/>
                <a:gdLst/>
                <a:ahLst/>
                <a:cxnLst>
                  <a:cxn ang="0">
                    <a:pos x="79" y="6"/>
                  </a:cxn>
                  <a:cxn ang="0">
                    <a:pos x="72" y="0"/>
                  </a:cxn>
                  <a:cxn ang="0">
                    <a:pos x="67" y="4"/>
                  </a:cxn>
                  <a:cxn ang="0">
                    <a:pos x="65" y="6"/>
                  </a:cxn>
                  <a:cxn ang="0">
                    <a:pos x="57" y="6"/>
                  </a:cxn>
                  <a:cxn ang="0">
                    <a:pos x="54" y="4"/>
                  </a:cxn>
                  <a:cxn ang="0">
                    <a:pos x="45" y="9"/>
                  </a:cxn>
                  <a:cxn ang="0">
                    <a:pos x="42" y="10"/>
                  </a:cxn>
                  <a:cxn ang="0">
                    <a:pos x="38" y="6"/>
                  </a:cxn>
                  <a:cxn ang="0">
                    <a:pos x="35" y="6"/>
                  </a:cxn>
                  <a:cxn ang="0">
                    <a:pos x="23" y="9"/>
                  </a:cxn>
                  <a:cxn ang="0">
                    <a:pos x="21" y="23"/>
                  </a:cxn>
                  <a:cxn ang="0">
                    <a:pos x="23" y="26"/>
                  </a:cxn>
                  <a:cxn ang="0">
                    <a:pos x="25" y="29"/>
                  </a:cxn>
                  <a:cxn ang="0">
                    <a:pos x="27" y="31"/>
                  </a:cxn>
                  <a:cxn ang="0">
                    <a:pos x="24" y="36"/>
                  </a:cxn>
                  <a:cxn ang="0">
                    <a:pos x="23" y="39"/>
                  </a:cxn>
                  <a:cxn ang="0">
                    <a:pos x="15" y="44"/>
                  </a:cxn>
                  <a:cxn ang="0">
                    <a:pos x="13" y="46"/>
                  </a:cxn>
                  <a:cxn ang="0">
                    <a:pos x="11" y="50"/>
                  </a:cxn>
                  <a:cxn ang="0">
                    <a:pos x="10" y="53"/>
                  </a:cxn>
                  <a:cxn ang="0">
                    <a:pos x="7" y="57"/>
                  </a:cxn>
                  <a:cxn ang="0">
                    <a:pos x="5" y="64"/>
                  </a:cxn>
                  <a:cxn ang="0">
                    <a:pos x="3" y="78"/>
                  </a:cxn>
                  <a:cxn ang="0">
                    <a:pos x="1" y="84"/>
                  </a:cxn>
                  <a:cxn ang="0">
                    <a:pos x="0" y="90"/>
                  </a:cxn>
                  <a:cxn ang="0">
                    <a:pos x="8" y="88"/>
                  </a:cxn>
                  <a:cxn ang="0">
                    <a:pos x="17" y="85"/>
                  </a:cxn>
                  <a:cxn ang="0">
                    <a:pos x="38" y="83"/>
                  </a:cxn>
                  <a:cxn ang="0">
                    <a:pos x="42" y="71"/>
                  </a:cxn>
                  <a:cxn ang="0">
                    <a:pos x="50" y="64"/>
                  </a:cxn>
                  <a:cxn ang="0">
                    <a:pos x="55" y="64"/>
                  </a:cxn>
                  <a:cxn ang="0">
                    <a:pos x="71" y="66"/>
                  </a:cxn>
                  <a:cxn ang="0">
                    <a:pos x="75" y="56"/>
                  </a:cxn>
                  <a:cxn ang="0">
                    <a:pos x="82" y="47"/>
                  </a:cxn>
                  <a:cxn ang="0">
                    <a:pos x="87" y="37"/>
                  </a:cxn>
                  <a:cxn ang="0">
                    <a:pos x="88" y="23"/>
                  </a:cxn>
                </a:cxnLst>
                <a:rect l="0" t="0" r="r" b="b"/>
                <a:pathLst>
                  <a:path w="88" h="90">
                    <a:moveTo>
                      <a:pt x="81" y="17"/>
                    </a:moveTo>
                    <a:lnTo>
                      <a:pt x="79" y="6"/>
                    </a:lnTo>
                    <a:lnTo>
                      <a:pt x="72" y="0"/>
                    </a:lnTo>
                    <a:lnTo>
                      <a:pt x="72" y="0"/>
                    </a:lnTo>
                    <a:lnTo>
                      <a:pt x="68" y="2"/>
                    </a:lnTo>
                    <a:lnTo>
                      <a:pt x="67" y="4"/>
                    </a:lnTo>
                    <a:lnTo>
                      <a:pt x="67" y="4"/>
                    </a:lnTo>
                    <a:lnTo>
                      <a:pt x="65" y="6"/>
                    </a:lnTo>
                    <a:lnTo>
                      <a:pt x="62" y="6"/>
                    </a:lnTo>
                    <a:lnTo>
                      <a:pt x="57" y="6"/>
                    </a:lnTo>
                    <a:lnTo>
                      <a:pt x="57" y="6"/>
                    </a:lnTo>
                    <a:lnTo>
                      <a:pt x="54" y="4"/>
                    </a:lnTo>
                    <a:lnTo>
                      <a:pt x="50" y="6"/>
                    </a:lnTo>
                    <a:lnTo>
                      <a:pt x="45" y="9"/>
                    </a:lnTo>
                    <a:lnTo>
                      <a:pt x="45" y="9"/>
                    </a:lnTo>
                    <a:lnTo>
                      <a:pt x="42" y="10"/>
                    </a:lnTo>
                    <a:lnTo>
                      <a:pt x="41" y="9"/>
                    </a:lnTo>
                    <a:lnTo>
                      <a:pt x="38" y="6"/>
                    </a:lnTo>
                    <a:lnTo>
                      <a:pt x="35" y="6"/>
                    </a:lnTo>
                    <a:lnTo>
                      <a:pt x="35" y="6"/>
                    </a:lnTo>
                    <a:lnTo>
                      <a:pt x="27" y="7"/>
                    </a:lnTo>
                    <a:lnTo>
                      <a:pt x="23" y="9"/>
                    </a:lnTo>
                    <a:lnTo>
                      <a:pt x="23" y="9"/>
                    </a:lnTo>
                    <a:lnTo>
                      <a:pt x="21" y="23"/>
                    </a:lnTo>
                    <a:lnTo>
                      <a:pt x="21" y="23"/>
                    </a:lnTo>
                    <a:lnTo>
                      <a:pt x="23" y="26"/>
                    </a:lnTo>
                    <a:lnTo>
                      <a:pt x="24" y="27"/>
                    </a:lnTo>
                    <a:lnTo>
                      <a:pt x="25" y="29"/>
                    </a:lnTo>
                    <a:lnTo>
                      <a:pt x="27" y="31"/>
                    </a:lnTo>
                    <a:lnTo>
                      <a:pt x="27" y="31"/>
                    </a:lnTo>
                    <a:lnTo>
                      <a:pt x="25" y="33"/>
                    </a:lnTo>
                    <a:lnTo>
                      <a:pt x="24" y="36"/>
                    </a:lnTo>
                    <a:lnTo>
                      <a:pt x="23" y="39"/>
                    </a:lnTo>
                    <a:lnTo>
                      <a:pt x="23" y="39"/>
                    </a:lnTo>
                    <a:lnTo>
                      <a:pt x="20" y="41"/>
                    </a:lnTo>
                    <a:lnTo>
                      <a:pt x="15" y="44"/>
                    </a:lnTo>
                    <a:lnTo>
                      <a:pt x="15" y="44"/>
                    </a:lnTo>
                    <a:lnTo>
                      <a:pt x="13" y="46"/>
                    </a:lnTo>
                    <a:lnTo>
                      <a:pt x="13" y="48"/>
                    </a:lnTo>
                    <a:lnTo>
                      <a:pt x="11" y="50"/>
                    </a:lnTo>
                    <a:lnTo>
                      <a:pt x="10" y="53"/>
                    </a:lnTo>
                    <a:lnTo>
                      <a:pt x="10" y="53"/>
                    </a:lnTo>
                    <a:lnTo>
                      <a:pt x="7" y="54"/>
                    </a:lnTo>
                    <a:lnTo>
                      <a:pt x="7" y="57"/>
                    </a:lnTo>
                    <a:lnTo>
                      <a:pt x="5" y="64"/>
                    </a:lnTo>
                    <a:lnTo>
                      <a:pt x="5" y="64"/>
                    </a:lnTo>
                    <a:lnTo>
                      <a:pt x="3" y="71"/>
                    </a:lnTo>
                    <a:lnTo>
                      <a:pt x="3" y="78"/>
                    </a:lnTo>
                    <a:lnTo>
                      <a:pt x="3" y="78"/>
                    </a:lnTo>
                    <a:lnTo>
                      <a:pt x="1" y="84"/>
                    </a:lnTo>
                    <a:lnTo>
                      <a:pt x="0" y="90"/>
                    </a:lnTo>
                    <a:lnTo>
                      <a:pt x="0" y="90"/>
                    </a:lnTo>
                    <a:lnTo>
                      <a:pt x="4" y="90"/>
                    </a:lnTo>
                    <a:lnTo>
                      <a:pt x="8" y="88"/>
                    </a:lnTo>
                    <a:lnTo>
                      <a:pt x="8" y="88"/>
                    </a:lnTo>
                    <a:lnTo>
                      <a:pt x="17" y="85"/>
                    </a:lnTo>
                    <a:lnTo>
                      <a:pt x="24" y="83"/>
                    </a:lnTo>
                    <a:lnTo>
                      <a:pt x="38" y="83"/>
                    </a:lnTo>
                    <a:lnTo>
                      <a:pt x="38" y="83"/>
                    </a:lnTo>
                    <a:lnTo>
                      <a:pt x="42" y="71"/>
                    </a:lnTo>
                    <a:lnTo>
                      <a:pt x="47" y="67"/>
                    </a:lnTo>
                    <a:lnTo>
                      <a:pt x="50" y="64"/>
                    </a:lnTo>
                    <a:lnTo>
                      <a:pt x="50" y="64"/>
                    </a:lnTo>
                    <a:lnTo>
                      <a:pt x="55" y="64"/>
                    </a:lnTo>
                    <a:lnTo>
                      <a:pt x="60" y="64"/>
                    </a:lnTo>
                    <a:lnTo>
                      <a:pt x="71" y="66"/>
                    </a:lnTo>
                    <a:lnTo>
                      <a:pt x="71" y="66"/>
                    </a:lnTo>
                    <a:lnTo>
                      <a:pt x="75" y="56"/>
                    </a:lnTo>
                    <a:lnTo>
                      <a:pt x="75" y="56"/>
                    </a:lnTo>
                    <a:lnTo>
                      <a:pt x="82" y="47"/>
                    </a:lnTo>
                    <a:lnTo>
                      <a:pt x="85" y="41"/>
                    </a:lnTo>
                    <a:lnTo>
                      <a:pt x="87" y="37"/>
                    </a:lnTo>
                    <a:lnTo>
                      <a:pt x="87" y="37"/>
                    </a:lnTo>
                    <a:lnTo>
                      <a:pt x="88" y="23"/>
                    </a:lnTo>
                    <a:lnTo>
                      <a:pt x="81" y="1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4" name="Burundi">
                <a:extLst>
                  <a:ext uri="{FF2B5EF4-FFF2-40B4-BE49-F238E27FC236}">
                    <a16:creationId xmlns:a16="http://schemas.microsoft.com/office/drawing/2014/main" id="{EEC30E40-86D1-1343-86A8-5917772E37C9}"/>
                  </a:ext>
                </a:extLst>
              </p:cNvPr>
              <p:cNvSpPr>
                <a:spLocks/>
              </p:cNvSpPr>
              <p:nvPr/>
            </p:nvSpPr>
            <p:spPr bwMode="auto">
              <a:xfrm>
                <a:off x="4998178" y="4365971"/>
                <a:ext cx="38474" cy="51792"/>
              </a:xfrm>
              <a:custGeom>
                <a:avLst/>
                <a:gdLst/>
                <a:ahLst/>
                <a:cxnLst>
                  <a:cxn ang="0">
                    <a:pos x="1" y="17"/>
                  </a:cxn>
                  <a:cxn ang="0">
                    <a:pos x="1" y="17"/>
                  </a:cxn>
                  <a:cxn ang="0">
                    <a:pos x="6" y="35"/>
                  </a:cxn>
                  <a:cxn ang="0">
                    <a:pos x="6" y="35"/>
                  </a:cxn>
                  <a:cxn ang="0">
                    <a:pos x="13" y="30"/>
                  </a:cxn>
                  <a:cxn ang="0">
                    <a:pos x="13" y="30"/>
                  </a:cxn>
                  <a:cxn ang="0">
                    <a:pos x="17" y="27"/>
                  </a:cxn>
                  <a:cxn ang="0">
                    <a:pos x="21" y="20"/>
                  </a:cxn>
                  <a:cxn ang="0">
                    <a:pos x="26" y="12"/>
                  </a:cxn>
                  <a:cxn ang="0">
                    <a:pos x="21" y="9"/>
                  </a:cxn>
                  <a:cxn ang="0">
                    <a:pos x="21" y="9"/>
                  </a:cxn>
                  <a:cxn ang="0">
                    <a:pos x="21" y="7"/>
                  </a:cxn>
                  <a:cxn ang="0">
                    <a:pos x="21" y="0"/>
                  </a:cxn>
                  <a:cxn ang="0">
                    <a:pos x="21" y="0"/>
                  </a:cxn>
                  <a:cxn ang="0">
                    <a:pos x="14" y="2"/>
                  </a:cxn>
                  <a:cxn ang="0">
                    <a:pos x="14" y="2"/>
                  </a:cxn>
                  <a:cxn ang="0">
                    <a:pos x="14" y="2"/>
                  </a:cxn>
                  <a:cxn ang="0">
                    <a:pos x="13" y="5"/>
                  </a:cxn>
                  <a:cxn ang="0">
                    <a:pos x="10" y="6"/>
                  </a:cxn>
                  <a:cxn ang="0">
                    <a:pos x="6" y="6"/>
                  </a:cxn>
                  <a:cxn ang="0">
                    <a:pos x="6" y="6"/>
                  </a:cxn>
                  <a:cxn ang="0">
                    <a:pos x="0" y="6"/>
                  </a:cxn>
                  <a:cxn ang="0">
                    <a:pos x="0" y="6"/>
                  </a:cxn>
                  <a:cxn ang="0">
                    <a:pos x="1" y="6"/>
                  </a:cxn>
                  <a:cxn ang="0">
                    <a:pos x="1" y="17"/>
                  </a:cxn>
                </a:cxnLst>
                <a:rect l="0" t="0" r="r" b="b"/>
                <a:pathLst>
                  <a:path w="26" h="35">
                    <a:moveTo>
                      <a:pt x="1" y="17"/>
                    </a:moveTo>
                    <a:lnTo>
                      <a:pt x="1" y="17"/>
                    </a:lnTo>
                    <a:lnTo>
                      <a:pt x="6" y="35"/>
                    </a:lnTo>
                    <a:lnTo>
                      <a:pt x="6" y="35"/>
                    </a:lnTo>
                    <a:lnTo>
                      <a:pt x="13" y="30"/>
                    </a:lnTo>
                    <a:lnTo>
                      <a:pt x="13" y="30"/>
                    </a:lnTo>
                    <a:lnTo>
                      <a:pt x="17" y="27"/>
                    </a:lnTo>
                    <a:lnTo>
                      <a:pt x="21" y="20"/>
                    </a:lnTo>
                    <a:lnTo>
                      <a:pt x="26" y="12"/>
                    </a:lnTo>
                    <a:lnTo>
                      <a:pt x="21" y="9"/>
                    </a:lnTo>
                    <a:lnTo>
                      <a:pt x="21" y="9"/>
                    </a:lnTo>
                    <a:lnTo>
                      <a:pt x="21" y="7"/>
                    </a:lnTo>
                    <a:lnTo>
                      <a:pt x="21" y="0"/>
                    </a:lnTo>
                    <a:lnTo>
                      <a:pt x="21" y="0"/>
                    </a:lnTo>
                    <a:lnTo>
                      <a:pt x="14" y="2"/>
                    </a:lnTo>
                    <a:lnTo>
                      <a:pt x="14" y="2"/>
                    </a:lnTo>
                    <a:lnTo>
                      <a:pt x="14" y="2"/>
                    </a:lnTo>
                    <a:lnTo>
                      <a:pt x="13" y="5"/>
                    </a:lnTo>
                    <a:lnTo>
                      <a:pt x="10" y="6"/>
                    </a:lnTo>
                    <a:lnTo>
                      <a:pt x="6" y="6"/>
                    </a:lnTo>
                    <a:lnTo>
                      <a:pt x="6" y="6"/>
                    </a:lnTo>
                    <a:lnTo>
                      <a:pt x="0" y="6"/>
                    </a:lnTo>
                    <a:lnTo>
                      <a:pt x="0" y="6"/>
                    </a:lnTo>
                    <a:lnTo>
                      <a:pt x="1" y="6"/>
                    </a:lnTo>
                    <a:lnTo>
                      <a:pt x="1" y="1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5" name="Malawi">
                <a:extLst>
                  <a:ext uri="{FF2B5EF4-FFF2-40B4-BE49-F238E27FC236}">
                    <a16:creationId xmlns:a16="http://schemas.microsoft.com/office/drawing/2014/main" id="{99E3B4D9-E6A3-0346-B5F0-4D00ADFF24E1}"/>
                  </a:ext>
                </a:extLst>
              </p:cNvPr>
              <p:cNvSpPr>
                <a:spLocks/>
              </p:cNvSpPr>
              <p:nvPr/>
            </p:nvSpPr>
            <p:spPr bwMode="auto">
              <a:xfrm>
                <a:off x="5084006" y="4540586"/>
                <a:ext cx="73989" cy="182014"/>
              </a:xfrm>
              <a:custGeom>
                <a:avLst/>
                <a:gdLst/>
                <a:ahLst/>
                <a:cxnLst>
                  <a:cxn ang="0">
                    <a:pos x="49" y="82"/>
                  </a:cxn>
                  <a:cxn ang="0">
                    <a:pos x="39" y="72"/>
                  </a:cxn>
                  <a:cxn ang="0">
                    <a:pos x="37" y="74"/>
                  </a:cxn>
                  <a:cxn ang="0">
                    <a:pos x="33" y="74"/>
                  </a:cxn>
                  <a:cxn ang="0">
                    <a:pos x="23" y="59"/>
                  </a:cxn>
                  <a:cxn ang="0">
                    <a:pos x="20" y="50"/>
                  </a:cxn>
                  <a:cxn ang="0">
                    <a:pos x="23" y="35"/>
                  </a:cxn>
                  <a:cxn ang="0">
                    <a:pos x="23" y="25"/>
                  </a:cxn>
                  <a:cxn ang="0">
                    <a:pos x="22" y="22"/>
                  </a:cxn>
                  <a:cxn ang="0">
                    <a:pos x="17" y="3"/>
                  </a:cxn>
                  <a:cxn ang="0">
                    <a:pos x="19" y="0"/>
                  </a:cxn>
                  <a:cxn ang="0">
                    <a:pos x="8" y="0"/>
                  </a:cxn>
                  <a:cxn ang="0">
                    <a:pos x="15" y="16"/>
                  </a:cxn>
                  <a:cxn ang="0">
                    <a:pos x="13" y="18"/>
                  </a:cxn>
                  <a:cxn ang="0">
                    <a:pos x="10" y="18"/>
                  </a:cxn>
                  <a:cxn ang="0">
                    <a:pos x="9" y="19"/>
                  </a:cxn>
                  <a:cxn ang="0">
                    <a:pos x="8" y="33"/>
                  </a:cxn>
                  <a:cxn ang="0">
                    <a:pos x="9" y="46"/>
                  </a:cxn>
                  <a:cxn ang="0">
                    <a:pos x="10" y="46"/>
                  </a:cxn>
                  <a:cxn ang="0">
                    <a:pos x="8" y="47"/>
                  </a:cxn>
                  <a:cxn ang="0">
                    <a:pos x="2" y="50"/>
                  </a:cxn>
                  <a:cxn ang="0">
                    <a:pos x="2" y="59"/>
                  </a:cxn>
                  <a:cxn ang="0">
                    <a:pos x="0" y="66"/>
                  </a:cxn>
                  <a:cxn ang="0">
                    <a:pos x="0" y="67"/>
                  </a:cxn>
                  <a:cxn ang="0">
                    <a:pos x="3" y="73"/>
                  </a:cxn>
                  <a:cxn ang="0">
                    <a:pos x="3" y="73"/>
                  </a:cxn>
                  <a:cxn ang="0">
                    <a:pos x="12" y="79"/>
                  </a:cxn>
                  <a:cxn ang="0">
                    <a:pos x="15" y="80"/>
                  </a:cxn>
                  <a:cxn ang="0">
                    <a:pos x="25" y="79"/>
                  </a:cxn>
                  <a:cxn ang="0">
                    <a:pos x="27" y="82"/>
                  </a:cxn>
                  <a:cxn ang="0">
                    <a:pos x="26" y="87"/>
                  </a:cxn>
                  <a:cxn ang="0">
                    <a:pos x="23" y="99"/>
                  </a:cxn>
                  <a:cxn ang="0">
                    <a:pos x="23" y="103"/>
                  </a:cxn>
                  <a:cxn ang="0">
                    <a:pos x="36" y="120"/>
                  </a:cxn>
                  <a:cxn ang="0">
                    <a:pos x="39" y="123"/>
                  </a:cxn>
                  <a:cxn ang="0">
                    <a:pos x="37" y="116"/>
                  </a:cxn>
                  <a:cxn ang="0">
                    <a:pos x="40" y="107"/>
                  </a:cxn>
                  <a:cxn ang="0">
                    <a:pos x="43" y="106"/>
                  </a:cxn>
                  <a:cxn ang="0">
                    <a:pos x="47" y="103"/>
                  </a:cxn>
                  <a:cxn ang="0">
                    <a:pos x="49" y="97"/>
                  </a:cxn>
                  <a:cxn ang="0">
                    <a:pos x="50" y="87"/>
                  </a:cxn>
                  <a:cxn ang="0">
                    <a:pos x="49" y="82"/>
                  </a:cxn>
                </a:cxnLst>
                <a:rect l="0" t="0" r="r" b="b"/>
                <a:pathLst>
                  <a:path w="50" h="123">
                    <a:moveTo>
                      <a:pt x="49" y="82"/>
                    </a:moveTo>
                    <a:lnTo>
                      <a:pt x="49" y="82"/>
                    </a:lnTo>
                    <a:lnTo>
                      <a:pt x="39" y="72"/>
                    </a:lnTo>
                    <a:lnTo>
                      <a:pt x="39" y="72"/>
                    </a:lnTo>
                    <a:lnTo>
                      <a:pt x="37" y="74"/>
                    </a:lnTo>
                    <a:lnTo>
                      <a:pt x="37" y="74"/>
                    </a:lnTo>
                    <a:lnTo>
                      <a:pt x="36" y="76"/>
                    </a:lnTo>
                    <a:lnTo>
                      <a:pt x="33" y="74"/>
                    </a:lnTo>
                    <a:lnTo>
                      <a:pt x="27" y="69"/>
                    </a:lnTo>
                    <a:lnTo>
                      <a:pt x="23" y="59"/>
                    </a:lnTo>
                    <a:lnTo>
                      <a:pt x="20" y="50"/>
                    </a:lnTo>
                    <a:lnTo>
                      <a:pt x="20" y="50"/>
                    </a:lnTo>
                    <a:lnTo>
                      <a:pt x="20" y="42"/>
                    </a:lnTo>
                    <a:lnTo>
                      <a:pt x="23" y="35"/>
                    </a:lnTo>
                    <a:lnTo>
                      <a:pt x="23" y="29"/>
                    </a:lnTo>
                    <a:lnTo>
                      <a:pt x="23" y="25"/>
                    </a:lnTo>
                    <a:lnTo>
                      <a:pt x="22" y="22"/>
                    </a:lnTo>
                    <a:lnTo>
                      <a:pt x="22" y="22"/>
                    </a:lnTo>
                    <a:lnTo>
                      <a:pt x="17" y="9"/>
                    </a:lnTo>
                    <a:lnTo>
                      <a:pt x="17" y="3"/>
                    </a:lnTo>
                    <a:lnTo>
                      <a:pt x="19" y="0"/>
                    </a:lnTo>
                    <a:lnTo>
                      <a:pt x="19" y="0"/>
                    </a:lnTo>
                    <a:lnTo>
                      <a:pt x="8" y="0"/>
                    </a:lnTo>
                    <a:lnTo>
                      <a:pt x="8" y="0"/>
                    </a:lnTo>
                    <a:lnTo>
                      <a:pt x="12" y="9"/>
                    </a:lnTo>
                    <a:lnTo>
                      <a:pt x="15" y="16"/>
                    </a:lnTo>
                    <a:lnTo>
                      <a:pt x="15" y="16"/>
                    </a:lnTo>
                    <a:lnTo>
                      <a:pt x="13" y="18"/>
                    </a:lnTo>
                    <a:lnTo>
                      <a:pt x="12" y="18"/>
                    </a:lnTo>
                    <a:lnTo>
                      <a:pt x="10" y="18"/>
                    </a:lnTo>
                    <a:lnTo>
                      <a:pt x="9" y="19"/>
                    </a:lnTo>
                    <a:lnTo>
                      <a:pt x="9" y="19"/>
                    </a:lnTo>
                    <a:lnTo>
                      <a:pt x="8" y="25"/>
                    </a:lnTo>
                    <a:lnTo>
                      <a:pt x="8" y="33"/>
                    </a:lnTo>
                    <a:lnTo>
                      <a:pt x="8" y="40"/>
                    </a:lnTo>
                    <a:lnTo>
                      <a:pt x="9" y="46"/>
                    </a:lnTo>
                    <a:lnTo>
                      <a:pt x="9" y="46"/>
                    </a:lnTo>
                    <a:lnTo>
                      <a:pt x="10" y="46"/>
                    </a:lnTo>
                    <a:lnTo>
                      <a:pt x="9" y="47"/>
                    </a:lnTo>
                    <a:lnTo>
                      <a:pt x="8" y="47"/>
                    </a:lnTo>
                    <a:lnTo>
                      <a:pt x="5" y="49"/>
                    </a:lnTo>
                    <a:lnTo>
                      <a:pt x="2" y="50"/>
                    </a:lnTo>
                    <a:lnTo>
                      <a:pt x="2" y="50"/>
                    </a:lnTo>
                    <a:lnTo>
                      <a:pt x="2" y="59"/>
                    </a:lnTo>
                    <a:lnTo>
                      <a:pt x="2" y="63"/>
                    </a:lnTo>
                    <a:lnTo>
                      <a:pt x="0" y="66"/>
                    </a:lnTo>
                    <a:lnTo>
                      <a:pt x="0" y="66"/>
                    </a:lnTo>
                    <a:lnTo>
                      <a:pt x="0" y="67"/>
                    </a:lnTo>
                    <a:lnTo>
                      <a:pt x="3" y="73"/>
                    </a:lnTo>
                    <a:lnTo>
                      <a:pt x="3" y="73"/>
                    </a:lnTo>
                    <a:lnTo>
                      <a:pt x="3" y="73"/>
                    </a:lnTo>
                    <a:lnTo>
                      <a:pt x="3" y="73"/>
                    </a:lnTo>
                    <a:lnTo>
                      <a:pt x="8" y="76"/>
                    </a:lnTo>
                    <a:lnTo>
                      <a:pt x="12" y="79"/>
                    </a:lnTo>
                    <a:lnTo>
                      <a:pt x="15" y="80"/>
                    </a:lnTo>
                    <a:lnTo>
                      <a:pt x="15" y="80"/>
                    </a:lnTo>
                    <a:lnTo>
                      <a:pt x="20" y="79"/>
                    </a:lnTo>
                    <a:lnTo>
                      <a:pt x="25" y="79"/>
                    </a:lnTo>
                    <a:lnTo>
                      <a:pt x="26" y="80"/>
                    </a:lnTo>
                    <a:lnTo>
                      <a:pt x="27" y="82"/>
                    </a:lnTo>
                    <a:lnTo>
                      <a:pt x="27" y="82"/>
                    </a:lnTo>
                    <a:lnTo>
                      <a:pt x="26" y="87"/>
                    </a:lnTo>
                    <a:lnTo>
                      <a:pt x="25" y="94"/>
                    </a:lnTo>
                    <a:lnTo>
                      <a:pt x="23" y="99"/>
                    </a:lnTo>
                    <a:lnTo>
                      <a:pt x="23" y="103"/>
                    </a:lnTo>
                    <a:lnTo>
                      <a:pt x="23" y="103"/>
                    </a:lnTo>
                    <a:lnTo>
                      <a:pt x="30" y="114"/>
                    </a:lnTo>
                    <a:lnTo>
                      <a:pt x="36" y="120"/>
                    </a:lnTo>
                    <a:lnTo>
                      <a:pt x="37" y="123"/>
                    </a:lnTo>
                    <a:lnTo>
                      <a:pt x="39" y="123"/>
                    </a:lnTo>
                    <a:lnTo>
                      <a:pt x="39" y="123"/>
                    </a:lnTo>
                    <a:lnTo>
                      <a:pt x="37" y="116"/>
                    </a:lnTo>
                    <a:lnTo>
                      <a:pt x="37" y="111"/>
                    </a:lnTo>
                    <a:lnTo>
                      <a:pt x="40" y="107"/>
                    </a:lnTo>
                    <a:lnTo>
                      <a:pt x="40" y="107"/>
                    </a:lnTo>
                    <a:lnTo>
                      <a:pt x="43" y="106"/>
                    </a:lnTo>
                    <a:lnTo>
                      <a:pt x="46" y="106"/>
                    </a:lnTo>
                    <a:lnTo>
                      <a:pt x="47" y="103"/>
                    </a:lnTo>
                    <a:lnTo>
                      <a:pt x="49" y="97"/>
                    </a:lnTo>
                    <a:lnTo>
                      <a:pt x="49" y="97"/>
                    </a:lnTo>
                    <a:lnTo>
                      <a:pt x="49" y="90"/>
                    </a:lnTo>
                    <a:lnTo>
                      <a:pt x="50" y="87"/>
                    </a:lnTo>
                    <a:lnTo>
                      <a:pt x="50" y="84"/>
                    </a:lnTo>
                    <a:lnTo>
                      <a:pt x="49" y="82"/>
                    </a:lnTo>
                    <a:lnTo>
                      <a:pt x="49" y="8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6" name="Ethiopia">
                <a:extLst>
                  <a:ext uri="{FF2B5EF4-FFF2-40B4-BE49-F238E27FC236}">
                    <a16:creationId xmlns:a16="http://schemas.microsoft.com/office/drawing/2014/main" id="{6857D000-EF67-E848-8F10-A3C74F2A9D3B}"/>
                  </a:ext>
                </a:extLst>
              </p:cNvPr>
              <p:cNvSpPr>
                <a:spLocks/>
              </p:cNvSpPr>
              <p:nvPr/>
            </p:nvSpPr>
            <p:spPr bwMode="auto">
              <a:xfrm>
                <a:off x="5091404" y="3951632"/>
                <a:ext cx="350709" cy="275240"/>
              </a:xfrm>
              <a:custGeom>
                <a:avLst/>
                <a:gdLst/>
                <a:ahLst/>
                <a:cxnLst>
                  <a:cxn ang="0">
                    <a:pos x="17" y="127"/>
                  </a:cxn>
                  <a:cxn ang="0">
                    <a:pos x="28" y="141"/>
                  </a:cxn>
                  <a:cxn ang="0">
                    <a:pos x="35" y="150"/>
                  </a:cxn>
                  <a:cxn ang="0">
                    <a:pos x="44" y="152"/>
                  </a:cxn>
                  <a:cxn ang="0">
                    <a:pos x="44" y="167"/>
                  </a:cxn>
                  <a:cxn ang="0">
                    <a:pos x="48" y="169"/>
                  </a:cxn>
                  <a:cxn ang="0">
                    <a:pos x="65" y="172"/>
                  </a:cxn>
                  <a:cxn ang="0">
                    <a:pos x="79" y="182"/>
                  </a:cxn>
                  <a:cxn ang="0">
                    <a:pos x="94" y="184"/>
                  </a:cxn>
                  <a:cxn ang="0">
                    <a:pos x="104" y="185"/>
                  </a:cxn>
                  <a:cxn ang="0">
                    <a:pos x="112" y="178"/>
                  </a:cxn>
                  <a:cxn ang="0">
                    <a:pos x="125" y="174"/>
                  </a:cxn>
                  <a:cxn ang="0">
                    <a:pos x="129" y="178"/>
                  </a:cxn>
                  <a:cxn ang="0">
                    <a:pos x="135" y="178"/>
                  </a:cxn>
                  <a:cxn ang="0">
                    <a:pos x="155" y="174"/>
                  </a:cxn>
                  <a:cxn ang="0">
                    <a:pos x="163" y="168"/>
                  </a:cxn>
                  <a:cxn ang="0">
                    <a:pos x="176" y="162"/>
                  </a:cxn>
                  <a:cxn ang="0">
                    <a:pos x="190" y="162"/>
                  </a:cxn>
                  <a:cxn ang="0">
                    <a:pos x="237" y="117"/>
                  </a:cxn>
                  <a:cxn ang="0">
                    <a:pos x="236" y="114"/>
                  </a:cxn>
                  <a:cxn ang="0">
                    <a:pos x="223" y="113"/>
                  </a:cxn>
                  <a:cxn ang="0">
                    <a:pos x="190" y="101"/>
                  </a:cxn>
                  <a:cxn ang="0">
                    <a:pos x="175" y="95"/>
                  </a:cxn>
                  <a:cxn ang="0">
                    <a:pos x="166" y="87"/>
                  </a:cxn>
                  <a:cxn ang="0">
                    <a:pos x="156" y="73"/>
                  </a:cxn>
                  <a:cxn ang="0">
                    <a:pos x="159" y="67"/>
                  </a:cxn>
                  <a:cxn ang="0">
                    <a:pos x="152" y="63"/>
                  </a:cxn>
                  <a:cxn ang="0">
                    <a:pos x="146" y="66"/>
                  </a:cxn>
                  <a:cxn ang="0">
                    <a:pos x="142" y="64"/>
                  </a:cxn>
                  <a:cxn ang="0">
                    <a:pos x="142" y="51"/>
                  </a:cxn>
                  <a:cxn ang="0">
                    <a:pos x="150" y="40"/>
                  </a:cxn>
                  <a:cxn ang="0">
                    <a:pos x="123" y="12"/>
                  </a:cxn>
                  <a:cxn ang="0">
                    <a:pos x="108" y="7"/>
                  </a:cxn>
                  <a:cxn ang="0">
                    <a:pos x="98" y="6"/>
                  </a:cxn>
                  <a:cxn ang="0">
                    <a:pos x="91" y="7"/>
                  </a:cxn>
                  <a:cxn ang="0">
                    <a:pos x="84" y="3"/>
                  </a:cxn>
                  <a:cxn ang="0">
                    <a:pos x="78" y="2"/>
                  </a:cxn>
                  <a:cxn ang="0">
                    <a:pos x="74" y="10"/>
                  </a:cxn>
                  <a:cxn ang="0">
                    <a:pos x="71" y="10"/>
                  </a:cxn>
                  <a:cxn ang="0">
                    <a:pos x="58" y="9"/>
                  </a:cxn>
                  <a:cxn ang="0">
                    <a:pos x="57" y="14"/>
                  </a:cxn>
                  <a:cxn ang="0">
                    <a:pos x="51" y="27"/>
                  </a:cxn>
                  <a:cxn ang="0">
                    <a:pos x="49" y="33"/>
                  </a:cxn>
                  <a:cxn ang="0">
                    <a:pos x="45" y="36"/>
                  </a:cxn>
                  <a:cxn ang="0">
                    <a:pos x="35" y="47"/>
                  </a:cxn>
                  <a:cxn ang="0">
                    <a:pos x="32" y="56"/>
                  </a:cxn>
                  <a:cxn ang="0">
                    <a:pos x="30" y="63"/>
                  </a:cxn>
                  <a:cxn ang="0">
                    <a:pos x="22" y="70"/>
                  </a:cxn>
                  <a:cxn ang="0">
                    <a:pos x="24" y="73"/>
                  </a:cxn>
                  <a:cxn ang="0">
                    <a:pos x="18" y="85"/>
                  </a:cxn>
                  <a:cxn ang="0">
                    <a:pos x="15" y="103"/>
                  </a:cxn>
                  <a:cxn ang="0">
                    <a:pos x="5" y="104"/>
                  </a:cxn>
                  <a:cxn ang="0">
                    <a:pos x="3" y="105"/>
                  </a:cxn>
                  <a:cxn ang="0">
                    <a:pos x="0" y="113"/>
                  </a:cxn>
                  <a:cxn ang="0">
                    <a:pos x="3" y="117"/>
                  </a:cxn>
                  <a:cxn ang="0">
                    <a:pos x="15" y="122"/>
                  </a:cxn>
                </a:cxnLst>
                <a:rect l="0" t="0" r="r" b="b"/>
                <a:pathLst>
                  <a:path w="237" h="186">
                    <a:moveTo>
                      <a:pt x="15" y="122"/>
                    </a:moveTo>
                    <a:lnTo>
                      <a:pt x="15" y="122"/>
                    </a:lnTo>
                    <a:lnTo>
                      <a:pt x="17" y="127"/>
                    </a:lnTo>
                    <a:lnTo>
                      <a:pt x="21" y="131"/>
                    </a:lnTo>
                    <a:lnTo>
                      <a:pt x="25" y="135"/>
                    </a:lnTo>
                    <a:lnTo>
                      <a:pt x="28" y="141"/>
                    </a:lnTo>
                    <a:lnTo>
                      <a:pt x="28" y="141"/>
                    </a:lnTo>
                    <a:lnTo>
                      <a:pt x="32" y="147"/>
                    </a:lnTo>
                    <a:lnTo>
                      <a:pt x="35" y="150"/>
                    </a:lnTo>
                    <a:lnTo>
                      <a:pt x="39" y="152"/>
                    </a:lnTo>
                    <a:lnTo>
                      <a:pt x="44" y="152"/>
                    </a:lnTo>
                    <a:lnTo>
                      <a:pt x="44" y="152"/>
                    </a:lnTo>
                    <a:lnTo>
                      <a:pt x="45" y="154"/>
                    </a:lnTo>
                    <a:lnTo>
                      <a:pt x="45" y="157"/>
                    </a:lnTo>
                    <a:lnTo>
                      <a:pt x="44" y="167"/>
                    </a:lnTo>
                    <a:lnTo>
                      <a:pt x="44" y="167"/>
                    </a:lnTo>
                    <a:lnTo>
                      <a:pt x="48" y="169"/>
                    </a:lnTo>
                    <a:lnTo>
                      <a:pt x="48" y="169"/>
                    </a:lnTo>
                    <a:lnTo>
                      <a:pt x="57" y="169"/>
                    </a:lnTo>
                    <a:lnTo>
                      <a:pt x="61" y="171"/>
                    </a:lnTo>
                    <a:lnTo>
                      <a:pt x="65" y="172"/>
                    </a:lnTo>
                    <a:lnTo>
                      <a:pt x="65" y="172"/>
                    </a:lnTo>
                    <a:lnTo>
                      <a:pt x="74" y="179"/>
                    </a:lnTo>
                    <a:lnTo>
                      <a:pt x="79" y="182"/>
                    </a:lnTo>
                    <a:lnTo>
                      <a:pt x="84" y="182"/>
                    </a:lnTo>
                    <a:lnTo>
                      <a:pt x="84" y="182"/>
                    </a:lnTo>
                    <a:lnTo>
                      <a:pt x="94" y="184"/>
                    </a:lnTo>
                    <a:lnTo>
                      <a:pt x="102" y="186"/>
                    </a:lnTo>
                    <a:lnTo>
                      <a:pt x="102" y="186"/>
                    </a:lnTo>
                    <a:lnTo>
                      <a:pt x="104" y="185"/>
                    </a:lnTo>
                    <a:lnTo>
                      <a:pt x="106" y="184"/>
                    </a:lnTo>
                    <a:lnTo>
                      <a:pt x="109" y="181"/>
                    </a:lnTo>
                    <a:lnTo>
                      <a:pt x="112" y="178"/>
                    </a:lnTo>
                    <a:lnTo>
                      <a:pt x="112" y="178"/>
                    </a:lnTo>
                    <a:lnTo>
                      <a:pt x="121" y="174"/>
                    </a:lnTo>
                    <a:lnTo>
                      <a:pt x="125" y="174"/>
                    </a:lnTo>
                    <a:lnTo>
                      <a:pt x="126" y="175"/>
                    </a:lnTo>
                    <a:lnTo>
                      <a:pt x="126" y="175"/>
                    </a:lnTo>
                    <a:lnTo>
                      <a:pt x="129" y="178"/>
                    </a:lnTo>
                    <a:lnTo>
                      <a:pt x="132" y="178"/>
                    </a:lnTo>
                    <a:lnTo>
                      <a:pt x="135" y="178"/>
                    </a:lnTo>
                    <a:lnTo>
                      <a:pt x="135" y="178"/>
                    </a:lnTo>
                    <a:lnTo>
                      <a:pt x="142" y="175"/>
                    </a:lnTo>
                    <a:lnTo>
                      <a:pt x="142" y="175"/>
                    </a:lnTo>
                    <a:lnTo>
                      <a:pt x="155" y="174"/>
                    </a:lnTo>
                    <a:lnTo>
                      <a:pt x="155" y="174"/>
                    </a:lnTo>
                    <a:lnTo>
                      <a:pt x="158" y="172"/>
                    </a:lnTo>
                    <a:lnTo>
                      <a:pt x="163" y="168"/>
                    </a:lnTo>
                    <a:lnTo>
                      <a:pt x="169" y="164"/>
                    </a:lnTo>
                    <a:lnTo>
                      <a:pt x="172" y="164"/>
                    </a:lnTo>
                    <a:lnTo>
                      <a:pt x="176" y="162"/>
                    </a:lnTo>
                    <a:lnTo>
                      <a:pt x="176" y="162"/>
                    </a:lnTo>
                    <a:lnTo>
                      <a:pt x="187" y="162"/>
                    </a:lnTo>
                    <a:lnTo>
                      <a:pt x="190" y="162"/>
                    </a:lnTo>
                    <a:lnTo>
                      <a:pt x="195" y="159"/>
                    </a:lnTo>
                    <a:lnTo>
                      <a:pt x="195" y="159"/>
                    </a:lnTo>
                    <a:lnTo>
                      <a:pt x="237" y="117"/>
                    </a:lnTo>
                    <a:lnTo>
                      <a:pt x="237" y="117"/>
                    </a:lnTo>
                    <a:lnTo>
                      <a:pt x="237" y="115"/>
                    </a:lnTo>
                    <a:lnTo>
                      <a:pt x="236" y="114"/>
                    </a:lnTo>
                    <a:lnTo>
                      <a:pt x="232" y="113"/>
                    </a:lnTo>
                    <a:lnTo>
                      <a:pt x="232" y="113"/>
                    </a:lnTo>
                    <a:lnTo>
                      <a:pt x="223" y="113"/>
                    </a:lnTo>
                    <a:lnTo>
                      <a:pt x="209" y="108"/>
                    </a:lnTo>
                    <a:lnTo>
                      <a:pt x="209" y="108"/>
                    </a:lnTo>
                    <a:lnTo>
                      <a:pt x="190" y="101"/>
                    </a:lnTo>
                    <a:lnTo>
                      <a:pt x="176" y="97"/>
                    </a:lnTo>
                    <a:lnTo>
                      <a:pt x="176" y="97"/>
                    </a:lnTo>
                    <a:lnTo>
                      <a:pt x="175" y="95"/>
                    </a:lnTo>
                    <a:lnTo>
                      <a:pt x="172" y="93"/>
                    </a:lnTo>
                    <a:lnTo>
                      <a:pt x="166" y="87"/>
                    </a:lnTo>
                    <a:lnTo>
                      <a:pt x="166" y="87"/>
                    </a:lnTo>
                    <a:lnTo>
                      <a:pt x="163" y="84"/>
                    </a:lnTo>
                    <a:lnTo>
                      <a:pt x="160" y="81"/>
                    </a:lnTo>
                    <a:lnTo>
                      <a:pt x="156" y="73"/>
                    </a:lnTo>
                    <a:lnTo>
                      <a:pt x="156" y="73"/>
                    </a:lnTo>
                    <a:lnTo>
                      <a:pt x="156" y="70"/>
                    </a:lnTo>
                    <a:lnTo>
                      <a:pt x="159" y="67"/>
                    </a:lnTo>
                    <a:lnTo>
                      <a:pt x="159" y="67"/>
                    </a:lnTo>
                    <a:lnTo>
                      <a:pt x="155" y="64"/>
                    </a:lnTo>
                    <a:lnTo>
                      <a:pt x="152" y="63"/>
                    </a:lnTo>
                    <a:lnTo>
                      <a:pt x="150" y="64"/>
                    </a:lnTo>
                    <a:lnTo>
                      <a:pt x="150" y="64"/>
                    </a:lnTo>
                    <a:lnTo>
                      <a:pt x="146" y="66"/>
                    </a:lnTo>
                    <a:lnTo>
                      <a:pt x="143" y="66"/>
                    </a:lnTo>
                    <a:lnTo>
                      <a:pt x="142" y="64"/>
                    </a:lnTo>
                    <a:lnTo>
                      <a:pt x="142" y="64"/>
                    </a:lnTo>
                    <a:lnTo>
                      <a:pt x="140" y="58"/>
                    </a:lnTo>
                    <a:lnTo>
                      <a:pt x="140" y="54"/>
                    </a:lnTo>
                    <a:lnTo>
                      <a:pt x="142" y="51"/>
                    </a:lnTo>
                    <a:lnTo>
                      <a:pt x="142" y="51"/>
                    </a:lnTo>
                    <a:lnTo>
                      <a:pt x="148" y="44"/>
                    </a:lnTo>
                    <a:lnTo>
                      <a:pt x="150" y="40"/>
                    </a:lnTo>
                    <a:lnTo>
                      <a:pt x="150" y="40"/>
                    </a:lnTo>
                    <a:lnTo>
                      <a:pt x="135" y="23"/>
                    </a:lnTo>
                    <a:lnTo>
                      <a:pt x="123" y="12"/>
                    </a:lnTo>
                    <a:lnTo>
                      <a:pt x="116" y="6"/>
                    </a:lnTo>
                    <a:lnTo>
                      <a:pt x="116" y="6"/>
                    </a:lnTo>
                    <a:lnTo>
                      <a:pt x="108" y="7"/>
                    </a:lnTo>
                    <a:lnTo>
                      <a:pt x="101" y="6"/>
                    </a:lnTo>
                    <a:lnTo>
                      <a:pt x="101" y="6"/>
                    </a:lnTo>
                    <a:lnTo>
                      <a:pt x="98" y="6"/>
                    </a:lnTo>
                    <a:lnTo>
                      <a:pt x="94" y="6"/>
                    </a:lnTo>
                    <a:lnTo>
                      <a:pt x="94" y="6"/>
                    </a:lnTo>
                    <a:lnTo>
                      <a:pt x="91" y="7"/>
                    </a:lnTo>
                    <a:lnTo>
                      <a:pt x="88" y="6"/>
                    </a:lnTo>
                    <a:lnTo>
                      <a:pt x="84" y="3"/>
                    </a:lnTo>
                    <a:lnTo>
                      <a:pt x="84" y="3"/>
                    </a:lnTo>
                    <a:lnTo>
                      <a:pt x="81" y="2"/>
                    </a:lnTo>
                    <a:lnTo>
                      <a:pt x="79" y="0"/>
                    </a:lnTo>
                    <a:lnTo>
                      <a:pt x="78" y="2"/>
                    </a:lnTo>
                    <a:lnTo>
                      <a:pt x="76" y="4"/>
                    </a:lnTo>
                    <a:lnTo>
                      <a:pt x="76" y="4"/>
                    </a:lnTo>
                    <a:lnTo>
                      <a:pt x="74" y="10"/>
                    </a:lnTo>
                    <a:lnTo>
                      <a:pt x="72" y="10"/>
                    </a:lnTo>
                    <a:lnTo>
                      <a:pt x="71" y="10"/>
                    </a:lnTo>
                    <a:lnTo>
                      <a:pt x="71" y="10"/>
                    </a:lnTo>
                    <a:lnTo>
                      <a:pt x="67" y="9"/>
                    </a:lnTo>
                    <a:lnTo>
                      <a:pt x="58" y="9"/>
                    </a:lnTo>
                    <a:lnTo>
                      <a:pt x="58" y="9"/>
                    </a:lnTo>
                    <a:lnTo>
                      <a:pt x="58" y="9"/>
                    </a:lnTo>
                    <a:lnTo>
                      <a:pt x="58" y="9"/>
                    </a:lnTo>
                    <a:lnTo>
                      <a:pt x="57" y="14"/>
                    </a:lnTo>
                    <a:lnTo>
                      <a:pt x="55" y="20"/>
                    </a:lnTo>
                    <a:lnTo>
                      <a:pt x="52" y="24"/>
                    </a:lnTo>
                    <a:lnTo>
                      <a:pt x="51" y="27"/>
                    </a:lnTo>
                    <a:lnTo>
                      <a:pt x="51" y="27"/>
                    </a:lnTo>
                    <a:lnTo>
                      <a:pt x="51" y="30"/>
                    </a:lnTo>
                    <a:lnTo>
                      <a:pt x="49" y="33"/>
                    </a:lnTo>
                    <a:lnTo>
                      <a:pt x="47" y="36"/>
                    </a:lnTo>
                    <a:lnTo>
                      <a:pt x="45" y="36"/>
                    </a:lnTo>
                    <a:lnTo>
                      <a:pt x="45" y="36"/>
                    </a:lnTo>
                    <a:lnTo>
                      <a:pt x="42" y="37"/>
                    </a:lnTo>
                    <a:lnTo>
                      <a:pt x="39" y="40"/>
                    </a:lnTo>
                    <a:lnTo>
                      <a:pt x="35" y="47"/>
                    </a:lnTo>
                    <a:lnTo>
                      <a:pt x="35" y="47"/>
                    </a:lnTo>
                    <a:lnTo>
                      <a:pt x="32" y="51"/>
                    </a:lnTo>
                    <a:lnTo>
                      <a:pt x="32" y="56"/>
                    </a:lnTo>
                    <a:lnTo>
                      <a:pt x="31" y="60"/>
                    </a:lnTo>
                    <a:lnTo>
                      <a:pt x="30" y="63"/>
                    </a:lnTo>
                    <a:lnTo>
                      <a:pt x="30" y="63"/>
                    </a:lnTo>
                    <a:lnTo>
                      <a:pt x="24" y="67"/>
                    </a:lnTo>
                    <a:lnTo>
                      <a:pt x="22" y="68"/>
                    </a:lnTo>
                    <a:lnTo>
                      <a:pt x="22" y="70"/>
                    </a:lnTo>
                    <a:lnTo>
                      <a:pt x="22" y="70"/>
                    </a:lnTo>
                    <a:lnTo>
                      <a:pt x="24" y="71"/>
                    </a:lnTo>
                    <a:lnTo>
                      <a:pt x="24" y="73"/>
                    </a:lnTo>
                    <a:lnTo>
                      <a:pt x="21" y="77"/>
                    </a:lnTo>
                    <a:lnTo>
                      <a:pt x="20" y="81"/>
                    </a:lnTo>
                    <a:lnTo>
                      <a:pt x="18" y="85"/>
                    </a:lnTo>
                    <a:lnTo>
                      <a:pt x="18" y="85"/>
                    </a:lnTo>
                    <a:lnTo>
                      <a:pt x="17" y="95"/>
                    </a:lnTo>
                    <a:lnTo>
                      <a:pt x="15" y="103"/>
                    </a:lnTo>
                    <a:lnTo>
                      <a:pt x="15" y="103"/>
                    </a:lnTo>
                    <a:lnTo>
                      <a:pt x="10" y="103"/>
                    </a:lnTo>
                    <a:lnTo>
                      <a:pt x="5" y="104"/>
                    </a:lnTo>
                    <a:lnTo>
                      <a:pt x="4" y="104"/>
                    </a:lnTo>
                    <a:lnTo>
                      <a:pt x="3" y="105"/>
                    </a:lnTo>
                    <a:lnTo>
                      <a:pt x="3" y="105"/>
                    </a:lnTo>
                    <a:lnTo>
                      <a:pt x="3" y="110"/>
                    </a:lnTo>
                    <a:lnTo>
                      <a:pt x="1" y="111"/>
                    </a:lnTo>
                    <a:lnTo>
                      <a:pt x="0" y="113"/>
                    </a:lnTo>
                    <a:lnTo>
                      <a:pt x="0" y="115"/>
                    </a:lnTo>
                    <a:lnTo>
                      <a:pt x="0" y="115"/>
                    </a:lnTo>
                    <a:lnTo>
                      <a:pt x="3" y="117"/>
                    </a:lnTo>
                    <a:lnTo>
                      <a:pt x="7" y="118"/>
                    </a:lnTo>
                    <a:lnTo>
                      <a:pt x="12" y="120"/>
                    </a:lnTo>
                    <a:lnTo>
                      <a:pt x="15" y="122"/>
                    </a:lnTo>
                    <a:lnTo>
                      <a:pt x="15" y="12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7" name="Botswana">
                <a:extLst>
                  <a:ext uri="{FF2B5EF4-FFF2-40B4-BE49-F238E27FC236}">
                    <a16:creationId xmlns:a16="http://schemas.microsoft.com/office/drawing/2014/main" id="{8E879C6C-A8DE-AD42-BFD5-BA6E6DA2DCF6}"/>
                  </a:ext>
                </a:extLst>
              </p:cNvPr>
              <p:cNvSpPr>
                <a:spLocks/>
              </p:cNvSpPr>
              <p:nvPr/>
            </p:nvSpPr>
            <p:spPr bwMode="auto">
              <a:xfrm>
                <a:off x="4785089" y="4741837"/>
                <a:ext cx="211609" cy="226408"/>
              </a:xfrm>
              <a:custGeom>
                <a:avLst/>
                <a:gdLst/>
                <a:ahLst/>
                <a:cxnLst>
                  <a:cxn ang="0">
                    <a:pos x="131" y="64"/>
                  </a:cxn>
                  <a:cxn ang="0">
                    <a:pos x="124" y="59"/>
                  </a:cxn>
                  <a:cxn ang="0">
                    <a:pos x="121" y="52"/>
                  </a:cxn>
                  <a:cxn ang="0">
                    <a:pos x="120" y="48"/>
                  </a:cxn>
                  <a:cxn ang="0">
                    <a:pos x="116" y="42"/>
                  </a:cxn>
                  <a:cxn ang="0">
                    <a:pos x="114" y="39"/>
                  </a:cxn>
                  <a:cxn ang="0">
                    <a:pos x="109" y="34"/>
                  </a:cxn>
                  <a:cxn ang="0">
                    <a:pos x="99" y="28"/>
                  </a:cxn>
                  <a:cxn ang="0">
                    <a:pos x="94" y="25"/>
                  </a:cxn>
                  <a:cxn ang="0">
                    <a:pos x="91" y="12"/>
                  </a:cxn>
                  <a:cxn ang="0">
                    <a:pos x="90" y="10"/>
                  </a:cxn>
                  <a:cxn ang="0">
                    <a:pos x="80" y="0"/>
                  </a:cxn>
                  <a:cxn ang="0">
                    <a:pos x="70" y="2"/>
                  </a:cxn>
                  <a:cxn ang="0">
                    <a:pos x="66" y="2"/>
                  </a:cxn>
                  <a:cxn ang="0">
                    <a:pos x="59" y="10"/>
                  </a:cxn>
                  <a:cxn ang="0">
                    <a:pos x="56" y="10"/>
                  </a:cxn>
                  <a:cxn ang="0">
                    <a:pos x="50" y="4"/>
                  </a:cxn>
                  <a:cxn ang="0">
                    <a:pos x="46" y="4"/>
                  </a:cxn>
                  <a:cxn ang="0">
                    <a:pos x="32" y="8"/>
                  </a:cxn>
                  <a:cxn ang="0">
                    <a:pos x="16" y="11"/>
                  </a:cxn>
                  <a:cxn ang="0">
                    <a:pos x="16" y="65"/>
                  </a:cxn>
                  <a:cxn ang="0">
                    <a:pos x="16" y="68"/>
                  </a:cxn>
                  <a:cxn ang="0">
                    <a:pos x="9" y="69"/>
                  </a:cxn>
                  <a:cxn ang="0">
                    <a:pos x="0" y="71"/>
                  </a:cxn>
                  <a:cxn ang="0">
                    <a:pos x="0" y="72"/>
                  </a:cxn>
                  <a:cxn ang="0">
                    <a:pos x="0" y="119"/>
                  </a:cxn>
                  <a:cxn ang="0">
                    <a:pos x="8" y="123"/>
                  </a:cxn>
                  <a:cxn ang="0">
                    <a:pos x="12" y="133"/>
                  </a:cxn>
                  <a:cxn ang="0">
                    <a:pos x="13" y="142"/>
                  </a:cxn>
                  <a:cxn ang="0">
                    <a:pos x="12" y="143"/>
                  </a:cxn>
                  <a:cxn ang="0">
                    <a:pos x="10" y="145"/>
                  </a:cxn>
                  <a:cxn ang="0">
                    <a:pos x="10" y="146"/>
                  </a:cxn>
                  <a:cxn ang="0">
                    <a:pos x="10" y="152"/>
                  </a:cxn>
                  <a:cxn ang="0">
                    <a:pos x="13" y="153"/>
                  </a:cxn>
                  <a:cxn ang="0">
                    <a:pos x="26" y="153"/>
                  </a:cxn>
                  <a:cxn ang="0">
                    <a:pos x="29" y="152"/>
                  </a:cxn>
                  <a:cxn ang="0">
                    <a:pos x="42" y="139"/>
                  </a:cxn>
                  <a:cxn ang="0">
                    <a:pos x="43" y="135"/>
                  </a:cxn>
                  <a:cxn ang="0">
                    <a:pos x="46" y="128"/>
                  </a:cxn>
                  <a:cxn ang="0">
                    <a:pos x="49" y="125"/>
                  </a:cxn>
                  <a:cxn ang="0">
                    <a:pos x="54" y="126"/>
                  </a:cxn>
                  <a:cxn ang="0">
                    <a:pos x="63" y="132"/>
                  </a:cxn>
                  <a:cxn ang="0">
                    <a:pos x="73" y="133"/>
                  </a:cxn>
                  <a:cxn ang="0">
                    <a:pos x="80" y="132"/>
                  </a:cxn>
                  <a:cxn ang="0">
                    <a:pos x="87" y="129"/>
                  </a:cxn>
                  <a:cxn ang="0">
                    <a:pos x="89" y="126"/>
                  </a:cxn>
                  <a:cxn ang="0">
                    <a:pos x="91" y="115"/>
                  </a:cxn>
                  <a:cxn ang="0">
                    <a:pos x="94" y="113"/>
                  </a:cxn>
                  <a:cxn ang="0">
                    <a:pos x="104" y="111"/>
                  </a:cxn>
                  <a:cxn ang="0">
                    <a:pos x="109" y="103"/>
                  </a:cxn>
                  <a:cxn ang="0">
                    <a:pos x="109" y="101"/>
                  </a:cxn>
                  <a:cxn ang="0">
                    <a:pos x="113" y="93"/>
                  </a:cxn>
                  <a:cxn ang="0">
                    <a:pos x="116" y="93"/>
                  </a:cxn>
                  <a:cxn ang="0">
                    <a:pos x="123" y="91"/>
                  </a:cxn>
                  <a:cxn ang="0">
                    <a:pos x="128" y="84"/>
                  </a:cxn>
                  <a:cxn ang="0">
                    <a:pos x="130" y="81"/>
                  </a:cxn>
                  <a:cxn ang="0">
                    <a:pos x="136" y="79"/>
                  </a:cxn>
                  <a:cxn ang="0">
                    <a:pos x="138" y="78"/>
                  </a:cxn>
                  <a:cxn ang="0">
                    <a:pos x="143" y="69"/>
                  </a:cxn>
                  <a:cxn ang="0">
                    <a:pos x="143" y="69"/>
                  </a:cxn>
                  <a:cxn ang="0">
                    <a:pos x="141" y="65"/>
                  </a:cxn>
                  <a:cxn ang="0">
                    <a:pos x="131" y="64"/>
                  </a:cxn>
                </a:cxnLst>
                <a:rect l="0" t="0" r="r" b="b"/>
                <a:pathLst>
                  <a:path w="143" h="153">
                    <a:moveTo>
                      <a:pt x="131" y="64"/>
                    </a:moveTo>
                    <a:lnTo>
                      <a:pt x="131" y="64"/>
                    </a:lnTo>
                    <a:lnTo>
                      <a:pt x="128" y="62"/>
                    </a:lnTo>
                    <a:lnTo>
                      <a:pt x="124" y="59"/>
                    </a:lnTo>
                    <a:lnTo>
                      <a:pt x="121" y="55"/>
                    </a:lnTo>
                    <a:lnTo>
                      <a:pt x="121" y="52"/>
                    </a:lnTo>
                    <a:lnTo>
                      <a:pt x="121" y="52"/>
                    </a:lnTo>
                    <a:lnTo>
                      <a:pt x="120" y="48"/>
                    </a:lnTo>
                    <a:lnTo>
                      <a:pt x="117" y="45"/>
                    </a:lnTo>
                    <a:lnTo>
                      <a:pt x="116" y="42"/>
                    </a:lnTo>
                    <a:lnTo>
                      <a:pt x="114" y="39"/>
                    </a:lnTo>
                    <a:lnTo>
                      <a:pt x="114" y="39"/>
                    </a:lnTo>
                    <a:lnTo>
                      <a:pt x="113" y="37"/>
                    </a:lnTo>
                    <a:lnTo>
                      <a:pt x="109" y="34"/>
                    </a:lnTo>
                    <a:lnTo>
                      <a:pt x="99" y="28"/>
                    </a:lnTo>
                    <a:lnTo>
                      <a:pt x="99" y="28"/>
                    </a:lnTo>
                    <a:lnTo>
                      <a:pt x="96" y="27"/>
                    </a:lnTo>
                    <a:lnTo>
                      <a:pt x="94" y="25"/>
                    </a:lnTo>
                    <a:lnTo>
                      <a:pt x="93" y="18"/>
                    </a:lnTo>
                    <a:lnTo>
                      <a:pt x="91" y="12"/>
                    </a:lnTo>
                    <a:lnTo>
                      <a:pt x="90" y="10"/>
                    </a:lnTo>
                    <a:lnTo>
                      <a:pt x="90" y="10"/>
                    </a:lnTo>
                    <a:lnTo>
                      <a:pt x="84" y="7"/>
                    </a:lnTo>
                    <a:lnTo>
                      <a:pt x="80" y="0"/>
                    </a:lnTo>
                    <a:lnTo>
                      <a:pt x="80" y="0"/>
                    </a:lnTo>
                    <a:lnTo>
                      <a:pt x="70" y="2"/>
                    </a:lnTo>
                    <a:lnTo>
                      <a:pt x="70" y="2"/>
                    </a:lnTo>
                    <a:lnTo>
                      <a:pt x="66" y="2"/>
                    </a:lnTo>
                    <a:lnTo>
                      <a:pt x="63" y="5"/>
                    </a:lnTo>
                    <a:lnTo>
                      <a:pt x="59" y="10"/>
                    </a:lnTo>
                    <a:lnTo>
                      <a:pt x="59" y="10"/>
                    </a:lnTo>
                    <a:lnTo>
                      <a:pt x="56" y="10"/>
                    </a:lnTo>
                    <a:lnTo>
                      <a:pt x="54" y="8"/>
                    </a:lnTo>
                    <a:lnTo>
                      <a:pt x="50" y="4"/>
                    </a:lnTo>
                    <a:lnTo>
                      <a:pt x="50" y="4"/>
                    </a:lnTo>
                    <a:lnTo>
                      <a:pt x="46" y="4"/>
                    </a:lnTo>
                    <a:lnTo>
                      <a:pt x="40" y="5"/>
                    </a:lnTo>
                    <a:lnTo>
                      <a:pt x="32" y="8"/>
                    </a:lnTo>
                    <a:lnTo>
                      <a:pt x="32" y="8"/>
                    </a:lnTo>
                    <a:lnTo>
                      <a:pt x="16" y="11"/>
                    </a:lnTo>
                    <a:lnTo>
                      <a:pt x="16" y="11"/>
                    </a:lnTo>
                    <a:lnTo>
                      <a:pt x="16" y="65"/>
                    </a:lnTo>
                    <a:lnTo>
                      <a:pt x="16" y="65"/>
                    </a:lnTo>
                    <a:lnTo>
                      <a:pt x="16" y="68"/>
                    </a:lnTo>
                    <a:lnTo>
                      <a:pt x="13" y="68"/>
                    </a:lnTo>
                    <a:lnTo>
                      <a:pt x="9" y="69"/>
                    </a:lnTo>
                    <a:lnTo>
                      <a:pt x="3" y="69"/>
                    </a:lnTo>
                    <a:lnTo>
                      <a:pt x="0" y="71"/>
                    </a:lnTo>
                    <a:lnTo>
                      <a:pt x="0" y="72"/>
                    </a:lnTo>
                    <a:lnTo>
                      <a:pt x="0" y="72"/>
                    </a:lnTo>
                    <a:lnTo>
                      <a:pt x="0" y="119"/>
                    </a:lnTo>
                    <a:lnTo>
                      <a:pt x="0" y="119"/>
                    </a:lnTo>
                    <a:lnTo>
                      <a:pt x="5" y="121"/>
                    </a:lnTo>
                    <a:lnTo>
                      <a:pt x="8" y="123"/>
                    </a:lnTo>
                    <a:lnTo>
                      <a:pt x="8" y="123"/>
                    </a:lnTo>
                    <a:lnTo>
                      <a:pt x="12" y="133"/>
                    </a:lnTo>
                    <a:lnTo>
                      <a:pt x="13" y="139"/>
                    </a:lnTo>
                    <a:lnTo>
                      <a:pt x="13" y="142"/>
                    </a:lnTo>
                    <a:lnTo>
                      <a:pt x="13" y="142"/>
                    </a:lnTo>
                    <a:lnTo>
                      <a:pt x="12" y="143"/>
                    </a:lnTo>
                    <a:lnTo>
                      <a:pt x="10" y="143"/>
                    </a:lnTo>
                    <a:lnTo>
                      <a:pt x="10" y="145"/>
                    </a:lnTo>
                    <a:lnTo>
                      <a:pt x="10" y="146"/>
                    </a:lnTo>
                    <a:lnTo>
                      <a:pt x="10" y="146"/>
                    </a:lnTo>
                    <a:lnTo>
                      <a:pt x="9" y="150"/>
                    </a:lnTo>
                    <a:lnTo>
                      <a:pt x="10" y="152"/>
                    </a:lnTo>
                    <a:lnTo>
                      <a:pt x="13" y="153"/>
                    </a:lnTo>
                    <a:lnTo>
                      <a:pt x="13" y="153"/>
                    </a:lnTo>
                    <a:lnTo>
                      <a:pt x="22" y="153"/>
                    </a:lnTo>
                    <a:lnTo>
                      <a:pt x="26" y="153"/>
                    </a:lnTo>
                    <a:lnTo>
                      <a:pt x="29" y="152"/>
                    </a:lnTo>
                    <a:lnTo>
                      <a:pt x="29" y="152"/>
                    </a:lnTo>
                    <a:lnTo>
                      <a:pt x="37" y="143"/>
                    </a:lnTo>
                    <a:lnTo>
                      <a:pt x="42" y="139"/>
                    </a:lnTo>
                    <a:lnTo>
                      <a:pt x="43" y="135"/>
                    </a:lnTo>
                    <a:lnTo>
                      <a:pt x="43" y="135"/>
                    </a:lnTo>
                    <a:lnTo>
                      <a:pt x="44" y="132"/>
                    </a:lnTo>
                    <a:lnTo>
                      <a:pt x="46" y="128"/>
                    </a:lnTo>
                    <a:lnTo>
                      <a:pt x="47" y="126"/>
                    </a:lnTo>
                    <a:lnTo>
                      <a:pt x="49" y="125"/>
                    </a:lnTo>
                    <a:lnTo>
                      <a:pt x="52" y="125"/>
                    </a:lnTo>
                    <a:lnTo>
                      <a:pt x="54" y="126"/>
                    </a:lnTo>
                    <a:lnTo>
                      <a:pt x="54" y="126"/>
                    </a:lnTo>
                    <a:lnTo>
                      <a:pt x="63" y="132"/>
                    </a:lnTo>
                    <a:lnTo>
                      <a:pt x="67" y="132"/>
                    </a:lnTo>
                    <a:lnTo>
                      <a:pt x="73" y="133"/>
                    </a:lnTo>
                    <a:lnTo>
                      <a:pt x="73" y="133"/>
                    </a:lnTo>
                    <a:lnTo>
                      <a:pt x="80" y="132"/>
                    </a:lnTo>
                    <a:lnTo>
                      <a:pt x="84" y="132"/>
                    </a:lnTo>
                    <a:lnTo>
                      <a:pt x="87" y="129"/>
                    </a:lnTo>
                    <a:lnTo>
                      <a:pt x="89" y="126"/>
                    </a:lnTo>
                    <a:lnTo>
                      <a:pt x="89" y="126"/>
                    </a:lnTo>
                    <a:lnTo>
                      <a:pt x="90" y="118"/>
                    </a:lnTo>
                    <a:lnTo>
                      <a:pt x="91" y="115"/>
                    </a:lnTo>
                    <a:lnTo>
                      <a:pt x="94" y="113"/>
                    </a:lnTo>
                    <a:lnTo>
                      <a:pt x="94" y="113"/>
                    </a:lnTo>
                    <a:lnTo>
                      <a:pt x="100" y="113"/>
                    </a:lnTo>
                    <a:lnTo>
                      <a:pt x="104" y="111"/>
                    </a:lnTo>
                    <a:lnTo>
                      <a:pt x="107" y="108"/>
                    </a:lnTo>
                    <a:lnTo>
                      <a:pt x="109" y="103"/>
                    </a:lnTo>
                    <a:lnTo>
                      <a:pt x="109" y="103"/>
                    </a:lnTo>
                    <a:lnTo>
                      <a:pt x="109" y="101"/>
                    </a:lnTo>
                    <a:lnTo>
                      <a:pt x="110" y="96"/>
                    </a:lnTo>
                    <a:lnTo>
                      <a:pt x="113" y="93"/>
                    </a:lnTo>
                    <a:lnTo>
                      <a:pt x="116" y="93"/>
                    </a:lnTo>
                    <a:lnTo>
                      <a:pt x="116" y="93"/>
                    </a:lnTo>
                    <a:lnTo>
                      <a:pt x="118" y="92"/>
                    </a:lnTo>
                    <a:lnTo>
                      <a:pt x="123" y="91"/>
                    </a:lnTo>
                    <a:lnTo>
                      <a:pt x="126" y="86"/>
                    </a:lnTo>
                    <a:lnTo>
                      <a:pt x="128" y="84"/>
                    </a:lnTo>
                    <a:lnTo>
                      <a:pt x="128" y="84"/>
                    </a:lnTo>
                    <a:lnTo>
                      <a:pt x="130" y="81"/>
                    </a:lnTo>
                    <a:lnTo>
                      <a:pt x="133" y="79"/>
                    </a:lnTo>
                    <a:lnTo>
                      <a:pt x="136" y="79"/>
                    </a:lnTo>
                    <a:lnTo>
                      <a:pt x="138" y="78"/>
                    </a:lnTo>
                    <a:lnTo>
                      <a:pt x="138" y="78"/>
                    </a:lnTo>
                    <a:lnTo>
                      <a:pt x="143" y="69"/>
                    </a:lnTo>
                    <a:lnTo>
                      <a:pt x="143" y="69"/>
                    </a:lnTo>
                    <a:lnTo>
                      <a:pt x="143" y="69"/>
                    </a:lnTo>
                    <a:lnTo>
                      <a:pt x="143" y="69"/>
                    </a:lnTo>
                    <a:lnTo>
                      <a:pt x="143" y="68"/>
                    </a:lnTo>
                    <a:lnTo>
                      <a:pt x="141" y="65"/>
                    </a:lnTo>
                    <a:lnTo>
                      <a:pt x="138" y="64"/>
                    </a:lnTo>
                    <a:lnTo>
                      <a:pt x="131" y="64"/>
                    </a:lnTo>
                    <a:lnTo>
                      <a:pt x="131" y="6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8" name="Zimbabwe">
                <a:extLst>
                  <a:ext uri="{FF2B5EF4-FFF2-40B4-BE49-F238E27FC236}">
                    <a16:creationId xmlns:a16="http://schemas.microsoft.com/office/drawing/2014/main" id="{3D8B0C31-D777-AB4E-8694-FFB242BDAF29}"/>
                  </a:ext>
                </a:extLst>
              </p:cNvPr>
              <p:cNvSpPr>
                <a:spLocks/>
              </p:cNvSpPr>
              <p:nvPr/>
            </p:nvSpPr>
            <p:spPr bwMode="auto">
              <a:xfrm>
                <a:off x="4903472" y="4688564"/>
                <a:ext cx="187933" cy="165735"/>
              </a:xfrm>
              <a:custGeom>
                <a:avLst/>
                <a:gdLst/>
                <a:ahLst/>
                <a:cxnLst>
                  <a:cxn ang="0">
                    <a:pos x="83" y="0"/>
                  </a:cxn>
                  <a:cxn ang="0">
                    <a:pos x="70" y="1"/>
                  </a:cxn>
                  <a:cxn ang="0">
                    <a:pos x="61" y="4"/>
                  </a:cxn>
                  <a:cxn ang="0">
                    <a:pos x="60" y="9"/>
                  </a:cxn>
                  <a:cxn ang="0">
                    <a:pos x="58" y="11"/>
                  </a:cxn>
                  <a:cxn ang="0">
                    <a:pos x="50" y="19"/>
                  </a:cxn>
                  <a:cxn ang="0">
                    <a:pos x="46" y="20"/>
                  </a:cxn>
                  <a:cxn ang="0">
                    <a:pos x="36" y="30"/>
                  </a:cxn>
                  <a:cxn ang="0">
                    <a:pos x="29" y="38"/>
                  </a:cxn>
                  <a:cxn ang="0">
                    <a:pos x="24" y="38"/>
                  </a:cxn>
                  <a:cxn ang="0">
                    <a:pos x="9" y="36"/>
                  </a:cxn>
                  <a:cxn ang="0">
                    <a:pos x="0" y="36"/>
                  </a:cxn>
                  <a:cxn ang="0">
                    <a:pos x="4" y="43"/>
                  </a:cxn>
                  <a:cxn ang="0">
                    <a:pos x="10" y="46"/>
                  </a:cxn>
                  <a:cxn ang="0">
                    <a:pos x="13" y="54"/>
                  </a:cxn>
                  <a:cxn ang="0">
                    <a:pos x="16" y="63"/>
                  </a:cxn>
                  <a:cxn ang="0">
                    <a:pos x="19" y="64"/>
                  </a:cxn>
                  <a:cxn ang="0">
                    <a:pos x="33" y="73"/>
                  </a:cxn>
                  <a:cxn ang="0">
                    <a:pos x="34" y="75"/>
                  </a:cxn>
                  <a:cxn ang="0">
                    <a:pos x="37" y="81"/>
                  </a:cxn>
                  <a:cxn ang="0">
                    <a:pos x="41" y="88"/>
                  </a:cxn>
                  <a:cxn ang="0">
                    <a:pos x="41" y="91"/>
                  </a:cxn>
                  <a:cxn ang="0">
                    <a:pos x="48" y="98"/>
                  </a:cxn>
                  <a:cxn ang="0">
                    <a:pos x="51" y="100"/>
                  </a:cxn>
                  <a:cxn ang="0">
                    <a:pos x="61" y="101"/>
                  </a:cxn>
                  <a:cxn ang="0">
                    <a:pos x="63" y="105"/>
                  </a:cxn>
                  <a:cxn ang="0">
                    <a:pos x="64" y="107"/>
                  </a:cxn>
                  <a:cxn ang="0">
                    <a:pos x="70" y="107"/>
                  </a:cxn>
                  <a:cxn ang="0">
                    <a:pos x="78" y="108"/>
                  </a:cxn>
                  <a:cxn ang="0">
                    <a:pos x="81" y="110"/>
                  </a:cxn>
                  <a:cxn ang="0">
                    <a:pos x="93" y="111"/>
                  </a:cxn>
                  <a:cxn ang="0">
                    <a:pos x="97" y="112"/>
                  </a:cxn>
                  <a:cxn ang="0">
                    <a:pos x="112" y="95"/>
                  </a:cxn>
                  <a:cxn ang="0">
                    <a:pos x="115" y="91"/>
                  </a:cxn>
                  <a:cxn ang="0">
                    <a:pos x="115" y="83"/>
                  </a:cxn>
                  <a:cxn ang="0">
                    <a:pos x="117" y="80"/>
                  </a:cxn>
                  <a:cxn ang="0">
                    <a:pos x="127" y="70"/>
                  </a:cxn>
                  <a:cxn ang="0">
                    <a:pos x="125" y="68"/>
                  </a:cxn>
                  <a:cxn ang="0">
                    <a:pos x="124" y="67"/>
                  </a:cxn>
                  <a:cxn ang="0">
                    <a:pos x="122" y="60"/>
                  </a:cxn>
                  <a:cxn ang="0">
                    <a:pos x="121" y="56"/>
                  </a:cxn>
                  <a:cxn ang="0">
                    <a:pos x="120" y="53"/>
                  </a:cxn>
                  <a:cxn ang="0">
                    <a:pos x="124" y="47"/>
                  </a:cxn>
                  <a:cxn ang="0">
                    <a:pos x="125" y="41"/>
                  </a:cxn>
                  <a:cxn ang="0">
                    <a:pos x="125" y="20"/>
                  </a:cxn>
                  <a:cxn ang="0">
                    <a:pos x="124" y="17"/>
                  </a:cxn>
                  <a:cxn ang="0">
                    <a:pos x="111" y="13"/>
                  </a:cxn>
                  <a:cxn ang="0">
                    <a:pos x="105" y="10"/>
                  </a:cxn>
                  <a:cxn ang="0">
                    <a:pos x="93" y="7"/>
                  </a:cxn>
                  <a:cxn ang="0">
                    <a:pos x="85" y="6"/>
                  </a:cxn>
                </a:cxnLst>
                <a:rect l="0" t="0" r="r" b="b"/>
                <a:pathLst>
                  <a:path w="127" h="112">
                    <a:moveTo>
                      <a:pt x="85" y="6"/>
                    </a:moveTo>
                    <a:lnTo>
                      <a:pt x="83" y="0"/>
                    </a:lnTo>
                    <a:lnTo>
                      <a:pt x="70" y="1"/>
                    </a:lnTo>
                    <a:lnTo>
                      <a:pt x="70" y="1"/>
                    </a:lnTo>
                    <a:lnTo>
                      <a:pt x="64" y="3"/>
                    </a:lnTo>
                    <a:lnTo>
                      <a:pt x="61" y="4"/>
                    </a:lnTo>
                    <a:lnTo>
                      <a:pt x="60" y="7"/>
                    </a:lnTo>
                    <a:lnTo>
                      <a:pt x="60" y="9"/>
                    </a:lnTo>
                    <a:lnTo>
                      <a:pt x="60" y="9"/>
                    </a:lnTo>
                    <a:lnTo>
                      <a:pt x="58" y="11"/>
                    </a:lnTo>
                    <a:lnTo>
                      <a:pt x="56" y="14"/>
                    </a:lnTo>
                    <a:lnTo>
                      <a:pt x="50" y="19"/>
                    </a:lnTo>
                    <a:lnTo>
                      <a:pt x="46" y="20"/>
                    </a:lnTo>
                    <a:lnTo>
                      <a:pt x="46" y="20"/>
                    </a:lnTo>
                    <a:lnTo>
                      <a:pt x="41" y="24"/>
                    </a:lnTo>
                    <a:lnTo>
                      <a:pt x="36" y="30"/>
                    </a:lnTo>
                    <a:lnTo>
                      <a:pt x="33" y="36"/>
                    </a:lnTo>
                    <a:lnTo>
                      <a:pt x="29" y="38"/>
                    </a:lnTo>
                    <a:lnTo>
                      <a:pt x="29" y="38"/>
                    </a:lnTo>
                    <a:lnTo>
                      <a:pt x="24" y="38"/>
                    </a:lnTo>
                    <a:lnTo>
                      <a:pt x="19" y="37"/>
                    </a:lnTo>
                    <a:lnTo>
                      <a:pt x="9" y="36"/>
                    </a:lnTo>
                    <a:lnTo>
                      <a:pt x="9" y="36"/>
                    </a:lnTo>
                    <a:lnTo>
                      <a:pt x="0" y="36"/>
                    </a:lnTo>
                    <a:lnTo>
                      <a:pt x="0" y="36"/>
                    </a:lnTo>
                    <a:lnTo>
                      <a:pt x="4" y="43"/>
                    </a:lnTo>
                    <a:lnTo>
                      <a:pt x="10" y="46"/>
                    </a:lnTo>
                    <a:lnTo>
                      <a:pt x="10" y="46"/>
                    </a:lnTo>
                    <a:lnTo>
                      <a:pt x="11" y="48"/>
                    </a:lnTo>
                    <a:lnTo>
                      <a:pt x="13" y="54"/>
                    </a:lnTo>
                    <a:lnTo>
                      <a:pt x="14" y="61"/>
                    </a:lnTo>
                    <a:lnTo>
                      <a:pt x="16" y="63"/>
                    </a:lnTo>
                    <a:lnTo>
                      <a:pt x="19" y="64"/>
                    </a:lnTo>
                    <a:lnTo>
                      <a:pt x="19" y="64"/>
                    </a:lnTo>
                    <a:lnTo>
                      <a:pt x="29" y="70"/>
                    </a:lnTo>
                    <a:lnTo>
                      <a:pt x="33" y="73"/>
                    </a:lnTo>
                    <a:lnTo>
                      <a:pt x="34" y="75"/>
                    </a:lnTo>
                    <a:lnTo>
                      <a:pt x="34" y="75"/>
                    </a:lnTo>
                    <a:lnTo>
                      <a:pt x="36" y="78"/>
                    </a:lnTo>
                    <a:lnTo>
                      <a:pt x="37" y="81"/>
                    </a:lnTo>
                    <a:lnTo>
                      <a:pt x="40" y="84"/>
                    </a:lnTo>
                    <a:lnTo>
                      <a:pt x="41" y="88"/>
                    </a:lnTo>
                    <a:lnTo>
                      <a:pt x="41" y="88"/>
                    </a:lnTo>
                    <a:lnTo>
                      <a:pt x="41" y="91"/>
                    </a:lnTo>
                    <a:lnTo>
                      <a:pt x="44" y="95"/>
                    </a:lnTo>
                    <a:lnTo>
                      <a:pt x="48" y="98"/>
                    </a:lnTo>
                    <a:lnTo>
                      <a:pt x="51" y="100"/>
                    </a:lnTo>
                    <a:lnTo>
                      <a:pt x="51" y="100"/>
                    </a:lnTo>
                    <a:lnTo>
                      <a:pt x="58" y="100"/>
                    </a:lnTo>
                    <a:lnTo>
                      <a:pt x="61" y="101"/>
                    </a:lnTo>
                    <a:lnTo>
                      <a:pt x="63" y="104"/>
                    </a:lnTo>
                    <a:lnTo>
                      <a:pt x="63" y="105"/>
                    </a:lnTo>
                    <a:lnTo>
                      <a:pt x="63" y="105"/>
                    </a:lnTo>
                    <a:lnTo>
                      <a:pt x="64" y="107"/>
                    </a:lnTo>
                    <a:lnTo>
                      <a:pt x="65" y="107"/>
                    </a:lnTo>
                    <a:lnTo>
                      <a:pt x="70" y="107"/>
                    </a:lnTo>
                    <a:lnTo>
                      <a:pt x="75" y="108"/>
                    </a:lnTo>
                    <a:lnTo>
                      <a:pt x="78" y="108"/>
                    </a:lnTo>
                    <a:lnTo>
                      <a:pt x="78" y="108"/>
                    </a:lnTo>
                    <a:lnTo>
                      <a:pt x="81" y="110"/>
                    </a:lnTo>
                    <a:lnTo>
                      <a:pt x="87" y="111"/>
                    </a:lnTo>
                    <a:lnTo>
                      <a:pt x="93" y="111"/>
                    </a:lnTo>
                    <a:lnTo>
                      <a:pt x="97" y="112"/>
                    </a:lnTo>
                    <a:lnTo>
                      <a:pt x="97" y="112"/>
                    </a:lnTo>
                    <a:lnTo>
                      <a:pt x="105" y="104"/>
                    </a:lnTo>
                    <a:lnTo>
                      <a:pt x="112" y="95"/>
                    </a:lnTo>
                    <a:lnTo>
                      <a:pt x="112" y="95"/>
                    </a:lnTo>
                    <a:lnTo>
                      <a:pt x="115" y="91"/>
                    </a:lnTo>
                    <a:lnTo>
                      <a:pt x="115" y="87"/>
                    </a:lnTo>
                    <a:lnTo>
                      <a:pt x="115" y="83"/>
                    </a:lnTo>
                    <a:lnTo>
                      <a:pt x="117" y="80"/>
                    </a:lnTo>
                    <a:lnTo>
                      <a:pt x="117" y="80"/>
                    </a:lnTo>
                    <a:lnTo>
                      <a:pt x="124" y="74"/>
                    </a:lnTo>
                    <a:lnTo>
                      <a:pt x="127" y="70"/>
                    </a:lnTo>
                    <a:lnTo>
                      <a:pt x="127" y="68"/>
                    </a:lnTo>
                    <a:lnTo>
                      <a:pt x="125" y="68"/>
                    </a:lnTo>
                    <a:lnTo>
                      <a:pt x="125" y="68"/>
                    </a:lnTo>
                    <a:lnTo>
                      <a:pt x="124" y="67"/>
                    </a:lnTo>
                    <a:lnTo>
                      <a:pt x="124" y="64"/>
                    </a:lnTo>
                    <a:lnTo>
                      <a:pt x="122" y="60"/>
                    </a:lnTo>
                    <a:lnTo>
                      <a:pt x="121" y="56"/>
                    </a:lnTo>
                    <a:lnTo>
                      <a:pt x="121" y="56"/>
                    </a:lnTo>
                    <a:lnTo>
                      <a:pt x="120" y="54"/>
                    </a:lnTo>
                    <a:lnTo>
                      <a:pt x="120" y="53"/>
                    </a:lnTo>
                    <a:lnTo>
                      <a:pt x="121" y="50"/>
                    </a:lnTo>
                    <a:lnTo>
                      <a:pt x="124" y="47"/>
                    </a:lnTo>
                    <a:lnTo>
                      <a:pt x="125" y="41"/>
                    </a:lnTo>
                    <a:lnTo>
                      <a:pt x="125" y="41"/>
                    </a:lnTo>
                    <a:lnTo>
                      <a:pt x="125" y="27"/>
                    </a:lnTo>
                    <a:lnTo>
                      <a:pt x="125" y="20"/>
                    </a:lnTo>
                    <a:lnTo>
                      <a:pt x="124" y="17"/>
                    </a:lnTo>
                    <a:lnTo>
                      <a:pt x="124" y="17"/>
                    </a:lnTo>
                    <a:lnTo>
                      <a:pt x="117" y="14"/>
                    </a:lnTo>
                    <a:lnTo>
                      <a:pt x="111" y="13"/>
                    </a:lnTo>
                    <a:lnTo>
                      <a:pt x="105" y="10"/>
                    </a:lnTo>
                    <a:lnTo>
                      <a:pt x="105" y="10"/>
                    </a:lnTo>
                    <a:lnTo>
                      <a:pt x="100" y="9"/>
                    </a:lnTo>
                    <a:lnTo>
                      <a:pt x="93" y="7"/>
                    </a:lnTo>
                    <a:lnTo>
                      <a:pt x="85" y="6"/>
                    </a:lnTo>
                    <a:lnTo>
                      <a:pt x="85" y="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9" name="Mozambique">
                <a:extLst>
                  <a:ext uri="{FF2B5EF4-FFF2-40B4-BE49-F238E27FC236}">
                    <a16:creationId xmlns:a16="http://schemas.microsoft.com/office/drawing/2014/main" id="{0455513F-FF47-B24B-AFA2-E0E376C008CE}"/>
                  </a:ext>
                </a:extLst>
              </p:cNvPr>
              <p:cNvSpPr>
                <a:spLocks/>
              </p:cNvSpPr>
              <p:nvPr/>
            </p:nvSpPr>
            <p:spPr bwMode="auto">
              <a:xfrm>
                <a:off x="5023334" y="4562783"/>
                <a:ext cx="250084" cy="408421"/>
              </a:xfrm>
              <a:custGeom>
                <a:avLst/>
                <a:gdLst/>
                <a:ahLst/>
                <a:cxnLst>
                  <a:cxn ang="0">
                    <a:pos x="165" y="47"/>
                  </a:cxn>
                  <a:cxn ang="0">
                    <a:pos x="164" y="1"/>
                  </a:cxn>
                  <a:cxn ang="0">
                    <a:pos x="152" y="5"/>
                  </a:cxn>
                  <a:cxn ang="0">
                    <a:pos x="141" y="11"/>
                  </a:cxn>
                  <a:cxn ang="0">
                    <a:pos x="132" y="14"/>
                  </a:cxn>
                  <a:cxn ang="0">
                    <a:pos x="124" y="12"/>
                  </a:cxn>
                  <a:cxn ang="0">
                    <a:pos x="120" y="20"/>
                  </a:cxn>
                  <a:cxn ang="0">
                    <a:pos x="104" y="20"/>
                  </a:cxn>
                  <a:cxn ang="0">
                    <a:pos x="94" y="20"/>
                  </a:cxn>
                  <a:cxn ang="0">
                    <a:pos x="88" y="15"/>
                  </a:cxn>
                  <a:cxn ang="0">
                    <a:pos x="73" y="17"/>
                  </a:cxn>
                  <a:cxn ang="0">
                    <a:pos x="71" y="27"/>
                  </a:cxn>
                  <a:cxn ang="0">
                    <a:pos x="80" y="57"/>
                  </a:cxn>
                  <a:cxn ang="0">
                    <a:pos x="91" y="69"/>
                  </a:cxn>
                  <a:cxn ang="0">
                    <a:pos x="90" y="82"/>
                  </a:cxn>
                  <a:cxn ang="0">
                    <a:pos x="81" y="92"/>
                  </a:cxn>
                  <a:cxn ang="0">
                    <a:pos x="80" y="108"/>
                  </a:cxn>
                  <a:cxn ang="0">
                    <a:pos x="71" y="99"/>
                  </a:cxn>
                  <a:cxn ang="0">
                    <a:pos x="66" y="79"/>
                  </a:cxn>
                  <a:cxn ang="0">
                    <a:pos x="67" y="65"/>
                  </a:cxn>
                  <a:cxn ang="0">
                    <a:pos x="56" y="65"/>
                  </a:cxn>
                  <a:cxn ang="0">
                    <a:pos x="44" y="58"/>
                  </a:cxn>
                  <a:cxn ang="0">
                    <a:pos x="4" y="91"/>
                  </a:cxn>
                  <a:cxn ang="0">
                    <a:pos x="24" y="95"/>
                  </a:cxn>
                  <a:cxn ang="0">
                    <a:pos x="43" y="102"/>
                  </a:cxn>
                  <a:cxn ang="0">
                    <a:pos x="44" y="126"/>
                  </a:cxn>
                  <a:cxn ang="0">
                    <a:pos x="39" y="138"/>
                  </a:cxn>
                  <a:cxn ang="0">
                    <a:pos x="41" y="145"/>
                  </a:cxn>
                  <a:cxn ang="0">
                    <a:pos x="44" y="153"/>
                  </a:cxn>
                  <a:cxn ang="0">
                    <a:pos x="36" y="165"/>
                  </a:cxn>
                  <a:cxn ang="0">
                    <a:pos x="34" y="176"/>
                  </a:cxn>
                  <a:cxn ang="0">
                    <a:pos x="16" y="197"/>
                  </a:cxn>
                  <a:cxn ang="0">
                    <a:pos x="20" y="213"/>
                  </a:cxn>
                  <a:cxn ang="0">
                    <a:pos x="26" y="227"/>
                  </a:cxn>
                  <a:cxn ang="0">
                    <a:pos x="27" y="257"/>
                  </a:cxn>
                  <a:cxn ang="0">
                    <a:pos x="41" y="274"/>
                  </a:cxn>
                  <a:cxn ang="0">
                    <a:pos x="41" y="263"/>
                  </a:cxn>
                  <a:cxn ang="0">
                    <a:pos x="36" y="260"/>
                  </a:cxn>
                  <a:cxn ang="0">
                    <a:pos x="51" y="246"/>
                  </a:cxn>
                  <a:cxn ang="0">
                    <a:pos x="80" y="233"/>
                  </a:cxn>
                  <a:cxn ang="0">
                    <a:pos x="81" y="217"/>
                  </a:cxn>
                  <a:cxn ang="0">
                    <a:pos x="83" y="202"/>
                  </a:cxn>
                  <a:cxn ang="0">
                    <a:pos x="78" y="179"/>
                  </a:cxn>
                  <a:cxn ang="0">
                    <a:pos x="73" y="165"/>
                  </a:cxn>
                  <a:cxn ang="0">
                    <a:pos x="74" y="153"/>
                  </a:cxn>
                  <a:cxn ang="0">
                    <a:pos x="83" y="145"/>
                  </a:cxn>
                  <a:cxn ang="0">
                    <a:pos x="91" y="139"/>
                  </a:cxn>
                  <a:cxn ang="0">
                    <a:pos x="103" y="128"/>
                  </a:cxn>
                  <a:cxn ang="0">
                    <a:pos x="120" y="113"/>
                  </a:cxn>
                  <a:cxn ang="0">
                    <a:pos x="144" y="104"/>
                  </a:cxn>
                  <a:cxn ang="0">
                    <a:pos x="169" y="74"/>
                  </a:cxn>
                </a:cxnLst>
                <a:rect l="0" t="0" r="r" b="b"/>
                <a:pathLst>
                  <a:path w="169" h="276">
                    <a:moveTo>
                      <a:pt x="169" y="71"/>
                    </a:moveTo>
                    <a:lnTo>
                      <a:pt x="169" y="71"/>
                    </a:lnTo>
                    <a:lnTo>
                      <a:pt x="167" y="57"/>
                    </a:lnTo>
                    <a:lnTo>
                      <a:pt x="165" y="47"/>
                    </a:lnTo>
                    <a:lnTo>
                      <a:pt x="165" y="40"/>
                    </a:lnTo>
                    <a:lnTo>
                      <a:pt x="165" y="40"/>
                    </a:lnTo>
                    <a:lnTo>
                      <a:pt x="165" y="21"/>
                    </a:lnTo>
                    <a:lnTo>
                      <a:pt x="164" y="1"/>
                    </a:lnTo>
                    <a:lnTo>
                      <a:pt x="164" y="1"/>
                    </a:lnTo>
                    <a:lnTo>
                      <a:pt x="164" y="0"/>
                    </a:lnTo>
                    <a:lnTo>
                      <a:pt x="164" y="0"/>
                    </a:lnTo>
                    <a:lnTo>
                      <a:pt x="152" y="5"/>
                    </a:lnTo>
                    <a:lnTo>
                      <a:pt x="147" y="10"/>
                    </a:lnTo>
                    <a:lnTo>
                      <a:pt x="147" y="10"/>
                    </a:lnTo>
                    <a:lnTo>
                      <a:pt x="145" y="11"/>
                    </a:lnTo>
                    <a:lnTo>
                      <a:pt x="141" y="11"/>
                    </a:lnTo>
                    <a:lnTo>
                      <a:pt x="138" y="11"/>
                    </a:lnTo>
                    <a:lnTo>
                      <a:pt x="135" y="12"/>
                    </a:lnTo>
                    <a:lnTo>
                      <a:pt x="135" y="12"/>
                    </a:lnTo>
                    <a:lnTo>
                      <a:pt x="132" y="14"/>
                    </a:lnTo>
                    <a:lnTo>
                      <a:pt x="130" y="14"/>
                    </a:lnTo>
                    <a:lnTo>
                      <a:pt x="125" y="12"/>
                    </a:lnTo>
                    <a:lnTo>
                      <a:pt x="125" y="12"/>
                    </a:lnTo>
                    <a:lnTo>
                      <a:pt x="124" y="12"/>
                    </a:lnTo>
                    <a:lnTo>
                      <a:pt x="122" y="14"/>
                    </a:lnTo>
                    <a:lnTo>
                      <a:pt x="121" y="18"/>
                    </a:lnTo>
                    <a:lnTo>
                      <a:pt x="121" y="18"/>
                    </a:lnTo>
                    <a:lnTo>
                      <a:pt x="120" y="20"/>
                    </a:lnTo>
                    <a:lnTo>
                      <a:pt x="117" y="20"/>
                    </a:lnTo>
                    <a:lnTo>
                      <a:pt x="111" y="20"/>
                    </a:lnTo>
                    <a:lnTo>
                      <a:pt x="111" y="20"/>
                    </a:lnTo>
                    <a:lnTo>
                      <a:pt x="104" y="20"/>
                    </a:lnTo>
                    <a:lnTo>
                      <a:pt x="97" y="21"/>
                    </a:lnTo>
                    <a:lnTo>
                      <a:pt x="97" y="21"/>
                    </a:lnTo>
                    <a:lnTo>
                      <a:pt x="95" y="21"/>
                    </a:lnTo>
                    <a:lnTo>
                      <a:pt x="94" y="20"/>
                    </a:lnTo>
                    <a:lnTo>
                      <a:pt x="94" y="18"/>
                    </a:lnTo>
                    <a:lnTo>
                      <a:pt x="93" y="17"/>
                    </a:lnTo>
                    <a:lnTo>
                      <a:pt x="93" y="17"/>
                    </a:lnTo>
                    <a:lnTo>
                      <a:pt x="88" y="15"/>
                    </a:lnTo>
                    <a:lnTo>
                      <a:pt x="87" y="17"/>
                    </a:lnTo>
                    <a:lnTo>
                      <a:pt x="83" y="18"/>
                    </a:lnTo>
                    <a:lnTo>
                      <a:pt x="83" y="18"/>
                    </a:lnTo>
                    <a:lnTo>
                      <a:pt x="73" y="17"/>
                    </a:lnTo>
                    <a:lnTo>
                      <a:pt x="73" y="17"/>
                    </a:lnTo>
                    <a:lnTo>
                      <a:pt x="73" y="22"/>
                    </a:lnTo>
                    <a:lnTo>
                      <a:pt x="73" y="22"/>
                    </a:lnTo>
                    <a:lnTo>
                      <a:pt x="71" y="27"/>
                    </a:lnTo>
                    <a:lnTo>
                      <a:pt x="73" y="31"/>
                    </a:lnTo>
                    <a:lnTo>
                      <a:pt x="74" y="40"/>
                    </a:lnTo>
                    <a:lnTo>
                      <a:pt x="77" y="49"/>
                    </a:lnTo>
                    <a:lnTo>
                      <a:pt x="80" y="57"/>
                    </a:lnTo>
                    <a:lnTo>
                      <a:pt x="80" y="57"/>
                    </a:lnTo>
                    <a:lnTo>
                      <a:pt x="90" y="67"/>
                    </a:lnTo>
                    <a:lnTo>
                      <a:pt x="90" y="67"/>
                    </a:lnTo>
                    <a:lnTo>
                      <a:pt x="91" y="69"/>
                    </a:lnTo>
                    <a:lnTo>
                      <a:pt x="91" y="72"/>
                    </a:lnTo>
                    <a:lnTo>
                      <a:pt x="90" y="75"/>
                    </a:lnTo>
                    <a:lnTo>
                      <a:pt x="90" y="82"/>
                    </a:lnTo>
                    <a:lnTo>
                      <a:pt x="90" y="82"/>
                    </a:lnTo>
                    <a:lnTo>
                      <a:pt x="88" y="88"/>
                    </a:lnTo>
                    <a:lnTo>
                      <a:pt x="87" y="91"/>
                    </a:lnTo>
                    <a:lnTo>
                      <a:pt x="84" y="91"/>
                    </a:lnTo>
                    <a:lnTo>
                      <a:pt x="81" y="92"/>
                    </a:lnTo>
                    <a:lnTo>
                      <a:pt x="81" y="92"/>
                    </a:lnTo>
                    <a:lnTo>
                      <a:pt x="78" y="96"/>
                    </a:lnTo>
                    <a:lnTo>
                      <a:pt x="78" y="101"/>
                    </a:lnTo>
                    <a:lnTo>
                      <a:pt x="80" y="108"/>
                    </a:lnTo>
                    <a:lnTo>
                      <a:pt x="80" y="108"/>
                    </a:lnTo>
                    <a:lnTo>
                      <a:pt x="78" y="108"/>
                    </a:lnTo>
                    <a:lnTo>
                      <a:pt x="77" y="105"/>
                    </a:lnTo>
                    <a:lnTo>
                      <a:pt x="71" y="99"/>
                    </a:lnTo>
                    <a:lnTo>
                      <a:pt x="64" y="88"/>
                    </a:lnTo>
                    <a:lnTo>
                      <a:pt x="64" y="88"/>
                    </a:lnTo>
                    <a:lnTo>
                      <a:pt x="64" y="84"/>
                    </a:lnTo>
                    <a:lnTo>
                      <a:pt x="66" y="79"/>
                    </a:lnTo>
                    <a:lnTo>
                      <a:pt x="67" y="72"/>
                    </a:lnTo>
                    <a:lnTo>
                      <a:pt x="68" y="67"/>
                    </a:lnTo>
                    <a:lnTo>
                      <a:pt x="68" y="67"/>
                    </a:lnTo>
                    <a:lnTo>
                      <a:pt x="67" y="65"/>
                    </a:lnTo>
                    <a:lnTo>
                      <a:pt x="66" y="64"/>
                    </a:lnTo>
                    <a:lnTo>
                      <a:pt x="61" y="64"/>
                    </a:lnTo>
                    <a:lnTo>
                      <a:pt x="56" y="65"/>
                    </a:lnTo>
                    <a:lnTo>
                      <a:pt x="56" y="65"/>
                    </a:lnTo>
                    <a:lnTo>
                      <a:pt x="53" y="64"/>
                    </a:lnTo>
                    <a:lnTo>
                      <a:pt x="49" y="61"/>
                    </a:lnTo>
                    <a:lnTo>
                      <a:pt x="44" y="58"/>
                    </a:lnTo>
                    <a:lnTo>
                      <a:pt x="44" y="58"/>
                    </a:lnTo>
                    <a:lnTo>
                      <a:pt x="0" y="74"/>
                    </a:lnTo>
                    <a:lnTo>
                      <a:pt x="3" y="85"/>
                    </a:lnTo>
                    <a:lnTo>
                      <a:pt x="2" y="85"/>
                    </a:lnTo>
                    <a:lnTo>
                      <a:pt x="4" y="91"/>
                    </a:lnTo>
                    <a:lnTo>
                      <a:pt x="4" y="91"/>
                    </a:lnTo>
                    <a:lnTo>
                      <a:pt x="12" y="92"/>
                    </a:lnTo>
                    <a:lnTo>
                      <a:pt x="19" y="94"/>
                    </a:lnTo>
                    <a:lnTo>
                      <a:pt x="24" y="95"/>
                    </a:lnTo>
                    <a:lnTo>
                      <a:pt x="24" y="95"/>
                    </a:lnTo>
                    <a:lnTo>
                      <a:pt x="30" y="98"/>
                    </a:lnTo>
                    <a:lnTo>
                      <a:pt x="36" y="99"/>
                    </a:lnTo>
                    <a:lnTo>
                      <a:pt x="43" y="102"/>
                    </a:lnTo>
                    <a:lnTo>
                      <a:pt x="43" y="102"/>
                    </a:lnTo>
                    <a:lnTo>
                      <a:pt x="44" y="105"/>
                    </a:lnTo>
                    <a:lnTo>
                      <a:pt x="44" y="112"/>
                    </a:lnTo>
                    <a:lnTo>
                      <a:pt x="44" y="126"/>
                    </a:lnTo>
                    <a:lnTo>
                      <a:pt x="44" y="126"/>
                    </a:lnTo>
                    <a:lnTo>
                      <a:pt x="43" y="132"/>
                    </a:lnTo>
                    <a:lnTo>
                      <a:pt x="40" y="135"/>
                    </a:lnTo>
                    <a:lnTo>
                      <a:pt x="39" y="138"/>
                    </a:lnTo>
                    <a:lnTo>
                      <a:pt x="39" y="139"/>
                    </a:lnTo>
                    <a:lnTo>
                      <a:pt x="40" y="141"/>
                    </a:lnTo>
                    <a:lnTo>
                      <a:pt x="40" y="141"/>
                    </a:lnTo>
                    <a:lnTo>
                      <a:pt x="41" y="145"/>
                    </a:lnTo>
                    <a:lnTo>
                      <a:pt x="43" y="149"/>
                    </a:lnTo>
                    <a:lnTo>
                      <a:pt x="43" y="152"/>
                    </a:lnTo>
                    <a:lnTo>
                      <a:pt x="44" y="153"/>
                    </a:lnTo>
                    <a:lnTo>
                      <a:pt x="44" y="153"/>
                    </a:lnTo>
                    <a:lnTo>
                      <a:pt x="46" y="153"/>
                    </a:lnTo>
                    <a:lnTo>
                      <a:pt x="46" y="155"/>
                    </a:lnTo>
                    <a:lnTo>
                      <a:pt x="43" y="159"/>
                    </a:lnTo>
                    <a:lnTo>
                      <a:pt x="36" y="165"/>
                    </a:lnTo>
                    <a:lnTo>
                      <a:pt x="36" y="165"/>
                    </a:lnTo>
                    <a:lnTo>
                      <a:pt x="34" y="168"/>
                    </a:lnTo>
                    <a:lnTo>
                      <a:pt x="34" y="172"/>
                    </a:lnTo>
                    <a:lnTo>
                      <a:pt x="34" y="176"/>
                    </a:lnTo>
                    <a:lnTo>
                      <a:pt x="31" y="180"/>
                    </a:lnTo>
                    <a:lnTo>
                      <a:pt x="31" y="180"/>
                    </a:lnTo>
                    <a:lnTo>
                      <a:pt x="24" y="189"/>
                    </a:lnTo>
                    <a:lnTo>
                      <a:pt x="16" y="197"/>
                    </a:lnTo>
                    <a:lnTo>
                      <a:pt x="16" y="197"/>
                    </a:lnTo>
                    <a:lnTo>
                      <a:pt x="16" y="197"/>
                    </a:lnTo>
                    <a:lnTo>
                      <a:pt x="16" y="197"/>
                    </a:lnTo>
                    <a:lnTo>
                      <a:pt x="20" y="213"/>
                    </a:lnTo>
                    <a:lnTo>
                      <a:pt x="23" y="222"/>
                    </a:lnTo>
                    <a:lnTo>
                      <a:pt x="24" y="226"/>
                    </a:lnTo>
                    <a:lnTo>
                      <a:pt x="26" y="227"/>
                    </a:lnTo>
                    <a:lnTo>
                      <a:pt x="26" y="227"/>
                    </a:lnTo>
                    <a:lnTo>
                      <a:pt x="27" y="229"/>
                    </a:lnTo>
                    <a:lnTo>
                      <a:pt x="29" y="233"/>
                    </a:lnTo>
                    <a:lnTo>
                      <a:pt x="29" y="243"/>
                    </a:lnTo>
                    <a:lnTo>
                      <a:pt x="27" y="257"/>
                    </a:lnTo>
                    <a:lnTo>
                      <a:pt x="27" y="257"/>
                    </a:lnTo>
                    <a:lnTo>
                      <a:pt x="30" y="276"/>
                    </a:lnTo>
                    <a:lnTo>
                      <a:pt x="30" y="276"/>
                    </a:lnTo>
                    <a:lnTo>
                      <a:pt x="41" y="274"/>
                    </a:lnTo>
                    <a:lnTo>
                      <a:pt x="41" y="274"/>
                    </a:lnTo>
                    <a:lnTo>
                      <a:pt x="43" y="266"/>
                    </a:lnTo>
                    <a:lnTo>
                      <a:pt x="43" y="266"/>
                    </a:lnTo>
                    <a:lnTo>
                      <a:pt x="41" y="263"/>
                    </a:lnTo>
                    <a:lnTo>
                      <a:pt x="40" y="261"/>
                    </a:lnTo>
                    <a:lnTo>
                      <a:pt x="37" y="261"/>
                    </a:lnTo>
                    <a:lnTo>
                      <a:pt x="36" y="260"/>
                    </a:lnTo>
                    <a:lnTo>
                      <a:pt x="36" y="260"/>
                    </a:lnTo>
                    <a:lnTo>
                      <a:pt x="36" y="259"/>
                    </a:lnTo>
                    <a:lnTo>
                      <a:pt x="37" y="256"/>
                    </a:lnTo>
                    <a:lnTo>
                      <a:pt x="43" y="251"/>
                    </a:lnTo>
                    <a:lnTo>
                      <a:pt x="51" y="246"/>
                    </a:lnTo>
                    <a:lnTo>
                      <a:pt x="61" y="242"/>
                    </a:lnTo>
                    <a:lnTo>
                      <a:pt x="61" y="242"/>
                    </a:lnTo>
                    <a:lnTo>
                      <a:pt x="76" y="236"/>
                    </a:lnTo>
                    <a:lnTo>
                      <a:pt x="80" y="233"/>
                    </a:lnTo>
                    <a:lnTo>
                      <a:pt x="81" y="229"/>
                    </a:lnTo>
                    <a:lnTo>
                      <a:pt x="81" y="229"/>
                    </a:lnTo>
                    <a:lnTo>
                      <a:pt x="81" y="224"/>
                    </a:lnTo>
                    <a:lnTo>
                      <a:pt x="81" y="217"/>
                    </a:lnTo>
                    <a:lnTo>
                      <a:pt x="81" y="212"/>
                    </a:lnTo>
                    <a:lnTo>
                      <a:pt x="83" y="206"/>
                    </a:lnTo>
                    <a:lnTo>
                      <a:pt x="83" y="206"/>
                    </a:lnTo>
                    <a:lnTo>
                      <a:pt x="83" y="202"/>
                    </a:lnTo>
                    <a:lnTo>
                      <a:pt x="83" y="199"/>
                    </a:lnTo>
                    <a:lnTo>
                      <a:pt x="80" y="186"/>
                    </a:lnTo>
                    <a:lnTo>
                      <a:pt x="80" y="186"/>
                    </a:lnTo>
                    <a:lnTo>
                      <a:pt x="78" y="179"/>
                    </a:lnTo>
                    <a:lnTo>
                      <a:pt x="76" y="173"/>
                    </a:lnTo>
                    <a:lnTo>
                      <a:pt x="74" y="169"/>
                    </a:lnTo>
                    <a:lnTo>
                      <a:pt x="73" y="165"/>
                    </a:lnTo>
                    <a:lnTo>
                      <a:pt x="73" y="165"/>
                    </a:lnTo>
                    <a:lnTo>
                      <a:pt x="71" y="160"/>
                    </a:lnTo>
                    <a:lnTo>
                      <a:pt x="71" y="156"/>
                    </a:lnTo>
                    <a:lnTo>
                      <a:pt x="73" y="155"/>
                    </a:lnTo>
                    <a:lnTo>
                      <a:pt x="74" y="153"/>
                    </a:lnTo>
                    <a:lnTo>
                      <a:pt x="74" y="153"/>
                    </a:lnTo>
                    <a:lnTo>
                      <a:pt x="77" y="153"/>
                    </a:lnTo>
                    <a:lnTo>
                      <a:pt x="78" y="152"/>
                    </a:lnTo>
                    <a:lnTo>
                      <a:pt x="83" y="145"/>
                    </a:lnTo>
                    <a:lnTo>
                      <a:pt x="83" y="145"/>
                    </a:lnTo>
                    <a:lnTo>
                      <a:pt x="84" y="142"/>
                    </a:lnTo>
                    <a:lnTo>
                      <a:pt x="87" y="139"/>
                    </a:lnTo>
                    <a:lnTo>
                      <a:pt x="91" y="139"/>
                    </a:lnTo>
                    <a:lnTo>
                      <a:pt x="95" y="136"/>
                    </a:lnTo>
                    <a:lnTo>
                      <a:pt x="95" y="136"/>
                    </a:lnTo>
                    <a:lnTo>
                      <a:pt x="100" y="132"/>
                    </a:lnTo>
                    <a:lnTo>
                      <a:pt x="103" y="128"/>
                    </a:lnTo>
                    <a:lnTo>
                      <a:pt x="107" y="123"/>
                    </a:lnTo>
                    <a:lnTo>
                      <a:pt x="113" y="118"/>
                    </a:lnTo>
                    <a:lnTo>
                      <a:pt x="113" y="118"/>
                    </a:lnTo>
                    <a:lnTo>
                      <a:pt x="120" y="113"/>
                    </a:lnTo>
                    <a:lnTo>
                      <a:pt x="128" y="111"/>
                    </a:lnTo>
                    <a:lnTo>
                      <a:pt x="135" y="108"/>
                    </a:lnTo>
                    <a:lnTo>
                      <a:pt x="144" y="104"/>
                    </a:lnTo>
                    <a:lnTo>
                      <a:pt x="144" y="104"/>
                    </a:lnTo>
                    <a:lnTo>
                      <a:pt x="152" y="96"/>
                    </a:lnTo>
                    <a:lnTo>
                      <a:pt x="161" y="86"/>
                    </a:lnTo>
                    <a:lnTo>
                      <a:pt x="167" y="76"/>
                    </a:lnTo>
                    <a:lnTo>
                      <a:pt x="169" y="74"/>
                    </a:lnTo>
                    <a:lnTo>
                      <a:pt x="169" y="71"/>
                    </a:lnTo>
                    <a:lnTo>
                      <a:pt x="169" y="7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0" name="Zambia">
                <a:extLst>
                  <a:ext uri="{FF2B5EF4-FFF2-40B4-BE49-F238E27FC236}">
                    <a16:creationId xmlns:a16="http://schemas.microsoft.com/office/drawing/2014/main" id="{35E82B87-B5EF-F64D-ADB0-13C5E22B6D12}"/>
                  </a:ext>
                </a:extLst>
              </p:cNvPr>
              <p:cNvSpPr>
                <a:spLocks/>
              </p:cNvSpPr>
              <p:nvPr/>
            </p:nvSpPr>
            <p:spPr bwMode="auto">
              <a:xfrm>
                <a:off x="4832442" y="4508030"/>
                <a:ext cx="273761" cy="236766"/>
              </a:xfrm>
              <a:custGeom>
                <a:avLst/>
                <a:gdLst/>
                <a:ahLst/>
                <a:cxnLst>
                  <a:cxn ang="0">
                    <a:pos x="136" y="4"/>
                  </a:cxn>
                  <a:cxn ang="0">
                    <a:pos x="126" y="1"/>
                  </a:cxn>
                  <a:cxn ang="0">
                    <a:pos x="111" y="3"/>
                  </a:cxn>
                  <a:cxn ang="0">
                    <a:pos x="108" y="7"/>
                  </a:cxn>
                  <a:cxn ang="0">
                    <a:pos x="106" y="12"/>
                  </a:cxn>
                  <a:cxn ang="0">
                    <a:pos x="102" y="20"/>
                  </a:cxn>
                  <a:cxn ang="0">
                    <a:pos x="105" y="24"/>
                  </a:cxn>
                  <a:cxn ang="0">
                    <a:pos x="104" y="40"/>
                  </a:cxn>
                  <a:cxn ang="0">
                    <a:pos x="99" y="52"/>
                  </a:cxn>
                  <a:cxn ang="0">
                    <a:pos x="104" y="61"/>
                  </a:cxn>
                  <a:cxn ang="0">
                    <a:pos x="111" y="67"/>
                  </a:cxn>
                  <a:cxn ang="0">
                    <a:pos x="121" y="64"/>
                  </a:cxn>
                  <a:cxn ang="0">
                    <a:pos x="123" y="68"/>
                  </a:cxn>
                  <a:cxn ang="0">
                    <a:pos x="123" y="78"/>
                  </a:cxn>
                  <a:cxn ang="0">
                    <a:pos x="121" y="82"/>
                  </a:cxn>
                  <a:cxn ang="0">
                    <a:pos x="109" y="82"/>
                  </a:cxn>
                  <a:cxn ang="0">
                    <a:pos x="105" y="75"/>
                  </a:cxn>
                  <a:cxn ang="0">
                    <a:pos x="101" y="67"/>
                  </a:cxn>
                  <a:cxn ang="0">
                    <a:pos x="91" y="65"/>
                  </a:cxn>
                  <a:cxn ang="0">
                    <a:pos x="82" y="57"/>
                  </a:cxn>
                  <a:cxn ang="0">
                    <a:pos x="78" y="57"/>
                  </a:cxn>
                  <a:cxn ang="0">
                    <a:pos x="77" y="59"/>
                  </a:cxn>
                  <a:cxn ang="0">
                    <a:pos x="69" y="61"/>
                  </a:cxn>
                  <a:cxn ang="0">
                    <a:pos x="62" y="59"/>
                  </a:cxn>
                  <a:cxn ang="0">
                    <a:pos x="55" y="57"/>
                  </a:cxn>
                  <a:cxn ang="0">
                    <a:pos x="51" y="52"/>
                  </a:cxn>
                  <a:cxn ang="0">
                    <a:pos x="49" y="48"/>
                  </a:cxn>
                  <a:cxn ang="0">
                    <a:pos x="41" y="49"/>
                  </a:cxn>
                  <a:cxn ang="0">
                    <a:pos x="37" y="47"/>
                  </a:cxn>
                  <a:cxn ang="0">
                    <a:pos x="32" y="42"/>
                  </a:cxn>
                  <a:cxn ang="0">
                    <a:pos x="1" y="78"/>
                  </a:cxn>
                  <a:cxn ang="0">
                    <a:pos x="18" y="156"/>
                  </a:cxn>
                  <a:cxn ang="0">
                    <a:pos x="47" y="153"/>
                  </a:cxn>
                  <a:cxn ang="0">
                    <a:pos x="48" y="158"/>
                  </a:cxn>
                  <a:cxn ang="0">
                    <a:pos x="57" y="158"/>
                  </a:cxn>
                  <a:cxn ang="0">
                    <a:pos x="77" y="160"/>
                  </a:cxn>
                  <a:cxn ang="0">
                    <a:pos x="84" y="152"/>
                  </a:cxn>
                  <a:cxn ang="0">
                    <a:pos x="94" y="142"/>
                  </a:cxn>
                  <a:cxn ang="0">
                    <a:pos x="106" y="133"/>
                  </a:cxn>
                  <a:cxn ang="0">
                    <a:pos x="108" y="129"/>
                  </a:cxn>
                  <a:cxn ang="0">
                    <a:pos x="118" y="123"/>
                  </a:cxn>
                  <a:cxn ang="0">
                    <a:pos x="129" y="111"/>
                  </a:cxn>
                  <a:cxn ang="0">
                    <a:pos x="173" y="95"/>
                  </a:cxn>
                  <a:cxn ang="0">
                    <a:pos x="170" y="88"/>
                  </a:cxn>
                  <a:cxn ang="0">
                    <a:pos x="172" y="72"/>
                  </a:cxn>
                  <a:cxn ang="0">
                    <a:pos x="178" y="69"/>
                  </a:cxn>
                  <a:cxn ang="0">
                    <a:pos x="179" y="68"/>
                  </a:cxn>
                  <a:cxn ang="0">
                    <a:pos x="178" y="55"/>
                  </a:cxn>
                  <a:cxn ang="0">
                    <a:pos x="179" y="41"/>
                  </a:cxn>
                  <a:cxn ang="0">
                    <a:pos x="183" y="40"/>
                  </a:cxn>
                  <a:cxn ang="0">
                    <a:pos x="182" y="30"/>
                  </a:cxn>
                  <a:cxn ang="0">
                    <a:pos x="173" y="18"/>
                  </a:cxn>
                  <a:cxn ang="0">
                    <a:pos x="156" y="12"/>
                  </a:cxn>
                  <a:cxn ang="0">
                    <a:pos x="142" y="7"/>
                  </a:cxn>
                </a:cxnLst>
                <a:rect l="0" t="0" r="r" b="b"/>
                <a:pathLst>
                  <a:path w="185" h="160">
                    <a:moveTo>
                      <a:pt x="142" y="7"/>
                    </a:moveTo>
                    <a:lnTo>
                      <a:pt x="142" y="7"/>
                    </a:lnTo>
                    <a:lnTo>
                      <a:pt x="136" y="4"/>
                    </a:lnTo>
                    <a:lnTo>
                      <a:pt x="129" y="0"/>
                    </a:lnTo>
                    <a:lnTo>
                      <a:pt x="129" y="0"/>
                    </a:lnTo>
                    <a:lnTo>
                      <a:pt x="126" y="1"/>
                    </a:lnTo>
                    <a:lnTo>
                      <a:pt x="121" y="3"/>
                    </a:lnTo>
                    <a:lnTo>
                      <a:pt x="111" y="3"/>
                    </a:lnTo>
                    <a:lnTo>
                      <a:pt x="111" y="3"/>
                    </a:lnTo>
                    <a:lnTo>
                      <a:pt x="109" y="3"/>
                    </a:lnTo>
                    <a:lnTo>
                      <a:pt x="108" y="4"/>
                    </a:lnTo>
                    <a:lnTo>
                      <a:pt x="108" y="7"/>
                    </a:lnTo>
                    <a:lnTo>
                      <a:pt x="108" y="10"/>
                    </a:lnTo>
                    <a:lnTo>
                      <a:pt x="106" y="12"/>
                    </a:lnTo>
                    <a:lnTo>
                      <a:pt x="106" y="12"/>
                    </a:lnTo>
                    <a:lnTo>
                      <a:pt x="104" y="15"/>
                    </a:lnTo>
                    <a:lnTo>
                      <a:pt x="102" y="18"/>
                    </a:lnTo>
                    <a:lnTo>
                      <a:pt x="102" y="20"/>
                    </a:lnTo>
                    <a:lnTo>
                      <a:pt x="104" y="21"/>
                    </a:lnTo>
                    <a:lnTo>
                      <a:pt x="104" y="21"/>
                    </a:lnTo>
                    <a:lnTo>
                      <a:pt x="105" y="24"/>
                    </a:lnTo>
                    <a:lnTo>
                      <a:pt x="105" y="30"/>
                    </a:lnTo>
                    <a:lnTo>
                      <a:pt x="104" y="40"/>
                    </a:lnTo>
                    <a:lnTo>
                      <a:pt x="104" y="40"/>
                    </a:lnTo>
                    <a:lnTo>
                      <a:pt x="102" y="44"/>
                    </a:lnTo>
                    <a:lnTo>
                      <a:pt x="101" y="48"/>
                    </a:lnTo>
                    <a:lnTo>
                      <a:pt x="99" y="52"/>
                    </a:lnTo>
                    <a:lnTo>
                      <a:pt x="99" y="54"/>
                    </a:lnTo>
                    <a:lnTo>
                      <a:pt x="99" y="54"/>
                    </a:lnTo>
                    <a:lnTo>
                      <a:pt x="104" y="61"/>
                    </a:lnTo>
                    <a:lnTo>
                      <a:pt x="106" y="65"/>
                    </a:lnTo>
                    <a:lnTo>
                      <a:pt x="111" y="67"/>
                    </a:lnTo>
                    <a:lnTo>
                      <a:pt x="111" y="67"/>
                    </a:lnTo>
                    <a:lnTo>
                      <a:pt x="113" y="67"/>
                    </a:lnTo>
                    <a:lnTo>
                      <a:pt x="116" y="67"/>
                    </a:lnTo>
                    <a:lnTo>
                      <a:pt x="121" y="64"/>
                    </a:lnTo>
                    <a:lnTo>
                      <a:pt x="121" y="64"/>
                    </a:lnTo>
                    <a:lnTo>
                      <a:pt x="122" y="65"/>
                    </a:lnTo>
                    <a:lnTo>
                      <a:pt x="123" y="68"/>
                    </a:lnTo>
                    <a:lnTo>
                      <a:pt x="123" y="75"/>
                    </a:lnTo>
                    <a:lnTo>
                      <a:pt x="123" y="75"/>
                    </a:lnTo>
                    <a:lnTo>
                      <a:pt x="123" y="78"/>
                    </a:lnTo>
                    <a:lnTo>
                      <a:pt x="122" y="81"/>
                    </a:lnTo>
                    <a:lnTo>
                      <a:pt x="121" y="82"/>
                    </a:lnTo>
                    <a:lnTo>
                      <a:pt x="121" y="82"/>
                    </a:lnTo>
                    <a:lnTo>
                      <a:pt x="116" y="84"/>
                    </a:lnTo>
                    <a:lnTo>
                      <a:pt x="112" y="84"/>
                    </a:lnTo>
                    <a:lnTo>
                      <a:pt x="109" y="82"/>
                    </a:lnTo>
                    <a:lnTo>
                      <a:pt x="109" y="82"/>
                    </a:lnTo>
                    <a:lnTo>
                      <a:pt x="106" y="79"/>
                    </a:lnTo>
                    <a:lnTo>
                      <a:pt x="105" y="75"/>
                    </a:lnTo>
                    <a:lnTo>
                      <a:pt x="102" y="68"/>
                    </a:lnTo>
                    <a:lnTo>
                      <a:pt x="102" y="68"/>
                    </a:lnTo>
                    <a:lnTo>
                      <a:pt x="101" y="67"/>
                    </a:lnTo>
                    <a:lnTo>
                      <a:pt x="98" y="67"/>
                    </a:lnTo>
                    <a:lnTo>
                      <a:pt x="91" y="65"/>
                    </a:lnTo>
                    <a:lnTo>
                      <a:pt x="91" y="65"/>
                    </a:lnTo>
                    <a:lnTo>
                      <a:pt x="88" y="65"/>
                    </a:lnTo>
                    <a:lnTo>
                      <a:pt x="85" y="62"/>
                    </a:lnTo>
                    <a:lnTo>
                      <a:pt x="82" y="57"/>
                    </a:lnTo>
                    <a:lnTo>
                      <a:pt x="82" y="57"/>
                    </a:lnTo>
                    <a:lnTo>
                      <a:pt x="81" y="55"/>
                    </a:lnTo>
                    <a:lnTo>
                      <a:pt x="78" y="57"/>
                    </a:lnTo>
                    <a:lnTo>
                      <a:pt x="77" y="58"/>
                    </a:lnTo>
                    <a:lnTo>
                      <a:pt x="77" y="59"/>
                    </a:lnTo>
                    <a:lnTo>
                      <a:pt x="77" y="59"/>
                    </a:lnTo>
                    <a:lnTo>
                      <a:pt x="75" y="61"/>
                    </a:lnTo>
                    <a:lnTo>
                      <a:pt x="74" y="61"/>
                    </a:lnTo>
                    <a:lnTo>
                      <a:pt x="69" y="61"/>
                    </a:lnTo>
                    <a:lnTo>
                      <a:pt x="69" y="61"/>
                    </a:lnTo>
                    <a:lnTo>
                      <a:pt x="67" y="61"/>
                    </a:lnTo>
                    <a:lnTo>
                      <a:pt x="62" y="59"/>
                    </a:lnTo>
                    <a:lnTo>
                      <a:pt x="58" y="57"/>
                    </a:lnTo>
                    <a:lnTo>
                      <a:pt x="55" y="57"/>
                    </a:lnTo>
                    <a:lnTo>
                      <a:pt x="55" y="57"/>
                    </a:lnTo>
                    <a:lnTo>
                      <a:pt x="54" y="57"/>
                    </a:lnTo>
                    <a:lnTo>
                      <a:pt x="52" y="55"/>
                    </a:lnTo>
                    <a:lnTo>
                      <a:pt x="51" y="52"/>
                    </a:lnTo>
                    <a:lnTo>
                      <a:pt x="51" y="49"/>
                    </a:lnTo>
                    <a:lnTo>
                      <a:pt x="51" y="49"/>
                    </a:lnTo>
                    <a:lnTo>
                      <a:pt x="49" y="48"/>
                    </a:lnTo>
                    <a:lnTo>
                      <a:pt x="47" y="48"/>
                    </a:lnTo>
                    <a:lnTo>
                      <a:pt x="41" y="49"/>
                    </a:lnTo>
                    <a:lnTo>
                      <a:pt x="41" y="49"/>
                    </a:lnTo>
                    <a:lnTo>
                      <a:pt x="40" y="49"/>
                    </a:lnTo>
                    <a:lnTo>
                      <a:pt x="38" y="49"/>
                    </a:lnTo>
                    <a:lnTo>
                      <a:pt x="37" y="47"/>
                    </a:lnTo>
                    <a:lnTo>
                      <a:pt x="37" y="47"/>
                    </a:lnTo>
                    <a:lnTo>
                      <a:pt x="35" y="45"/>
                    </a:lnTo>
                    <a:lnTo>
                      <a:pt x="32" y="42"/>
                    </a:lnTo>
                    <a:lnTo>
                      <a:pt x="30" y="74"/>
                    </a:lnTo>
                    <a:lnTo>
                      <a:pt x="25" y="78"/>
                    </a:lnTo>
                    <a:lnTo>
                      <a:pt x="1" y="78"/>
                    </a:lnTo>
                    <a:lnTo>
                      <a:pt x="0" y="131"/>
                    </a:lnTo>
                    <a:lnTo>
                      <a:pt x="18" y="156"/>
                    </a:lnTo>
                    <a:lnTo>
                      <a:pt x="18" y="156"/>
                    </a:lnTo>
                    <a:lnTo>
                      <a:pt x="35" y="153"/>
                    </a:lnTo>
                    <a:lnTo>
                      <a:pt x="44" y="153"/>
                    </a:lnTo>
                    <a:lnTo>
                      <a:pt x="47" y="153"/>
                    </a:lnTo>
                    <a:lnTo>
                      <a:pt x="47" y="155"/>
                    </a:lnTo>
                    <a:lnTo>
                      <a:pt x="47" y="155"/>
                    </a:lnTo>
                    <a:lnTo>
                      <a:pt x="48" y="158"/>
                    </a:lnTo>
                    <a:lnTo>
                      <a:pt x="48" y="158"/>
                    </a:lnTo>
                    <a:lnTo>
                      <a:pt x="57" y="158"/>
                    </a:lnTo>
                    <a:lnTo>
                      <a:pt x="57" y="158"/>
                    </a:lnTo>
                    <a:lnTo>
                      <a:pt x="67" y="159"/>
                    </a:lnTo>
                    <a:lnTo>
                      <a:pt x="72" y="160"/>
                    </a:lnTo>
                    <a:lnTo>
                      <a:pt x="77" y="160"/>
                    </a:lnTo>
                    <a:lnTo>
                      <a:pt x="77" y="160"/>
                    </a:lnTo>
                    <a:lnTo>
                      <a:pt x="81" y="158"/>
                    </a:lnTo>
                    <a:lnTo>
                      <a:pt x="84" y="152"/>
                    </a:lnTo>
                    <a:lnTo>
                      <a:pt x="89" y="146"/>
                    </a:lnTo>
                    <a:lnTo>
                      <a:pt x="94" y="142"/>
                    </a:lnTo>
                    <a:lnTo>
                      <a:pt x="94" y="142"/>
                    </a:lnTo>
                    <a:lnTo>
                      <a:pt x="98" y="141"/>
                    </a:lnTo>
                    <a:lnTo>
                      <a:pt x="104" y="136"/>
                    </a:lnTo>
                    <a:lnTo>
                      <a:pt x="106" y="133"/>
                    </a:lnTo>
                    <a:lnTo>
                      <a:pt x="108" y="131"/>
                    </a:lnTo>
                    <a:lnTo>
                      <a:pt x="108" y="131"/>
                    </a:lnTo>
                    <a:lnTo>
                      <a:pt x="108" y="129"/>
                    </a:lnTo>
                    <a:lnTo>
                      <a:pt x="109" y="126"/>
                    </a:lnTo>
                    <a:lnTo>
                      <a:pt x="112" y="125"/>
                    </a:lnTo>
                    <a:lnTo>
                      <a:pt x="118" y="123"/>
                    </a:lnTo>
                    <a:lnTo>
                      <a:pt x="131" y="122"/>
                    </a:lnTo>
                    <a:lnTo>
                      <a:pt x="132" y="122"/>
                    </a:lnTo>
                    <a:lnTo>
                      <a:pt x="129" y="111"/>
                    </a:lnTo>
                    <a:lnTo>
                      <a:pt x="129" y="111"/>
                    </a:lnTo>
                    <a:lnTo>
                      <a:pt x="173" y="95"/>
                    </a:lnTo>
                    <a:lnTo>
                      <a:pt x="173" y="95"/>
                    </a:lnTo>
                    <a:lnTo>
                      <a:pt x="170" y="89"/>
                    </a:lnTo>
                    <a:lnTo>
                      <a:pt x="170" y="88"/>
                    </a:lnTo>
                    <a:lnTo>
                      <a:pt x="170" y="88"/>
                    </a:lnTo>
                    <a:lnTo>
                      <a:pt x="172" y="85"/>
                    </a:lnTo>
                    <a:lnTo>
                      <a:pt x="172" y="81"/>
                    </a:lnTo>
                    <a:lnTo>
                      <a:pt x="172" y="72"/>
                    </a:lnTo>
                    <a:lnTo>
                      <a:pt x="172" y="72"/>
                    </a:lnTo>
                    <a:lnTo>
                      <a:pt x="175" y="71"/>
                    </a:lnTo>
                    <a:lnTo>
                      <a:pt x="178" y="69"/>
                    </a:lnTo>
                    <a:lnTo>
                      <a:pt x="179" y="69"/>
                    </a:lnTo>
                    <a:lnTo>
                      <a:pt x="180" y="68"/>
                    </a:lnTo>
                    <a:lnTo>
                      <a:pt x="179" y="68"/>
                    </a:lnTo>
                    <a:lnTo>
                      <a:pt x="179" y="68"/>
                    </a:lnTo>
                    <a:lnTo>
                      <a:pt x="178" y="62"/>
                    </a:lnTo>
                    <a:lnTo>
                      <a:pt x="178" y="55"/>
                    </a:lnTo>
                    <a:lnTo>
                      <a:pt x="178" y="47"/>
                    </a:lnTo>
                    <a:lnTo>
                      <a:pt x="179" y="41"/>
                    </a:lnTo>
                    <a:lnTo>
                      <a:pt x="179" y="41"/>
                    </a:lnTo>
                    <a:lnTo>
                      <a:pt x="180" y="40"/>
                    </a:lnTo>
                    <a:lnTo>
                      <a:pt x="182" y="40"/>
                    </a:lnTo>
                    <a:lnTo>
                      <a:pt x="183" y="40"/>
                    </a:lnTo>
                    <a:lnTo>
                      <a:pt x="185" y="38"/>
                    </a:lnTo>
                    <a:lnTo>
                      <a:pt x="185" y="38"/>
                    </a:lnTo>
                    <a:lnTo>
                      <a:pt x="182" y="30"/>
                    </a:lnTo>
                    <a:lnTo>
                      <a:pt x="176" y="21"/>
                    </a:lnTo>
                    <a:lnTo>
                      <a:pt x="176" y="21"/>
                    </a:lnTo>
                    <a:lnTo>
                      <a:pt x="173" y="18"/>
                    </a:lnTo>
                    <a:lnTo>
                      <a:pt x="168" y="15"/>
                    </a:lnTo>
                    <a:lnTo>
                      <a:pt x="156" y="12"/>
                    </a:lnTo>
                    <a:lnTo>
                      <a:pt x="156" y="12"/>
                    </a:lnTo>
                    <a:lnTo>
                      <a:pt x="149" y="8"/>
                    </a:lnTo>
                    <a:lnTo>
                      <a:pt x="145" y="7"/>
                    </a:lnTo>
                    <a:lnTo>
                      <a:pt x="142" y="7"/>
                    </a:lnTo>
                    <a:lnTo>
                      <a:pt x="142" y="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1" name="Namibia">
                <a:extLst>
                  <a:ext uri="{FF2B5EF4-FFF2-40B4-BE49-F238E27FC236}">
                    <a16:creationId xmlns:a16="http://schemas.microsoft.com/office/drawing/2014/main" id="{D4CE51DD-A99A-E84C-9DAB-A8AD5BE6C998}"/>
                  </a:ext>
                </a:extLst>
              </p:cNvPr>
              <p:cNvSpPr>
                <a:spLocks/>
              </p:cNvSpPr>
              <p:nvPr/>
            </p:nvSpPr>
            <p:spPr bwMode="auto">
              <a:xfrm>
                <a:off x="4603076" y="4722600"/>
                <a:ext cx="300396" cy="298916"/>
              </a:xfrm>
              <a:custGeom>
                <a:avLst/>
                <a:gdLst/>
                <a:ahLst/>
                <a:cxnLst>
                  <a:cxn ang="0">
                    <a:pos x="75" y="195"/>
                  </a:cxn>
                  <a:cxn ang="0">
                    <a:pos x="78" y="189"/>
                  </a:cxn>
                  <a:cxn ang="0">
                    <a:pos x="82" y="189"/>
                  </a:cxn>
                  <a:cxn ang="0">
                    <a:pos x="84" y="190"/>
                  </a:cxn>
                  <a:cxn ang="0">
                    <a:pos x="86" y="198"/>
                  </a:cxn>
                  <a:cxn ang="0">
                    <a:pos x="92" y="202"/>
                  </a:cxn>
                  <a:cxn ang="0">
                    <a:pos x="105" y="202"/>
                  </a:cxn>
                  <a:cxn ang="0">
                    <a:pos x="113" y="200"/>
                  </a:cxn>
                  <a:cxn ang="0">
                    <a:pos x="115" y="199"/>
                  </a:cxn>
                  <a:cxn ang="0">
                    <a:pos x="122" y="193"/>
                  </a:cxn>
                  <a:cxn ang="0">
                    <a:pos x="123" y="190"/>
                  </a:cxn>
                  <a:cxn ang="0">
                    <a:pos x="123" y="85"/>
                  </a:cxn>
                  <a:cxn ang="0">
                    <a:pos x="126" y="82"/>
                  </a:cxn>
                  <a:cxn ang="0">
                    <a:pos x="136" y="81"/>
                  </a:cxn>
                  <a:cxn ang="0">
                    <a:pos x="139" y="78"/>
                  </a:cxn>
                  <a:cxn ang="0">
                    <a:pos x="139" y="24"/>
                  </a:cxn>
                  <a:cxn ang="0">
                    <a:pos x="155" y="21"/>
                  </a:cxn>
                  <a:cxn ang="0">
                    <a:pos x="163" y="18"/>
                  </a:cxn>
                  <a:cxn ang="0">
                    <a:pos x="173" y="17"/>
                  </a:cxn>
                  <a:cxn ang="0">
                    <a:pos x="177" y="21"/>
                  </a:cxn>
                  <a:cxn ang="0">
                    <a:pos x="182" y="23"/>
                  </a:cxn>
                  <a:cxn ang="0">
                    <a:pos x="186" y="18"/>
                  </a:cxn>
                  <a:cxn ang="0">
                    <a:pos x="193" y="15"/>
                  </a:cxn>
                  <a:cxn ang="0">
                    <a:pos x="203" y="13"/>
                  </a:cxn>
                  <a:cxn ang="0">
                    <a:pos x="202" y="10"/>
                  </a:cxn>
                  <a:cxn ang="0">
                    <a:pos x="200" y="8"/>
                  </a:cxn>
                  <a:cxn ang="0">
                    <a:pos x="187" y="8"/>
                  </a:cxn>
                  <a:cxn ang="0">
                    <a:pos x="169" y="13"/>
                  </a:cxn>
                  <a:cxn ang="0">
                    <a:pos x="149" y="14"/>
                  </a:cxn>
                  <a:cxn ang="0">
                    <a:pos x="143" y="14"/>
                  </a:cxn>
                  <a:cxn ang="0">
                    <a:pos x="123" y="13"/>
                  </a:cxn>
                  <a:cxn ang="0">
                    <a:pos x="102" y="8"/>
                  </a:cxn>
                  <a:cxn ang="0">
                    <a:pos x="47" y="8"/>
                  </a:cxn>
                  <a:cxn ang="0">
                    <a:pos x="39" y="7"/>
                  </a:cxn>
                  <a:cxn ang="0">
                    <a:pos x="32" y="4"/>
                  </a:cxn>
                  <a:cxn ang="0">
                    <a:pos x="25" y="1"/>
                  </a:cxn>
                  <a:cxn ang="0">
                    <a:pos x="18" y="3"/>
                  </a:cxn>
                  <a:cxn ang="0">
                    <a:pos x="14" y="4"/>
                  </a:cxn>
                  <a:cxn ang="0">
                    <a:pos x="12" y="1"/>
                  </a:cxn>
                  <a:cxn ang="0">
                    <a:pos x="10" y="0"/>
                  </a:cxn>
                  <a:cxn ang="0">
                    <a:pos x="5" y="3"/>
                  </a:cxn>
                  <a:cxn ang="0">
                    <a:pos x="0" y="5"/>
                  </a:cxn>
                  <a:cxn ang="0">
                    <a:pos x="0" y="10"/>
                  </a:cxn>
                  <a:cxn ang="0">
                    <a:pos x="8" y="27"/>
                  </a:cxn>
                  <a:cxn ang="0">
                    <a:pos x="17" y="41"/>
                  </a:cxn>
                  <a:cxn ang="0">
                    <a:pos x="24" y="60"/>
                  </a:cxn>
                  <a:cxn ang="0">
                    <a:pos x="32" y="77"/>
                  </a:cxn>
                  <a:cxn ang="0">
                    <a:pos x="41" y="92"/>
                  </a:cxn>
                  <a:cxn ang="0">
                    <a:pos x="41" y="99"/>
                  </a:cxn>
                  <a:cxn ang="0">
                    <a:pos x="41" y="114"/>
                  </a:cxn>
                  <a:cxn ang="0">
                    <a:pos x="41" y="119"/>
                  </a:cxn>
                  <a:cxn ang="0">
                    <a:pos x="47" y="145"/>
                  </a:cxn>
                  <a:cxn ang="0">
                    <a:pos x="49" y="165"/>
                  </a:cxn>
                  <a:cxn ang="0">
                    <a:pos x="55" y="179"/>
                  </a:cxn>
                  <a:cxn ang="0">
                    <a:pos x="58" y="183"/>
                  </a:cxn>
                  <a:cxn ang="0">
                    <a:pos x="68" y="196"/>
                  </a:cxn>
                  <a:cxn ang="0">
                    <a:pos x="72" y="196"/>
                  </a:cxn>
                  <a:cxn ang="0">
                    <a:pos x="75" y="195"/>
                  </a:cxn>
                </a:cxnLst>
                <a:rect l="0" t="0" r="r" b="b"/>
                <a:pathLst>
                  <a:path w="203" h="202">
                    <a:moveTo>
                      <a:pt x="75" y="195"/>
                    </a:moveTo>
                    <a:lnTo>
                      <a:pt x="75" y="195"/>
                    </a:lnTo>
                    <a:lnTo>
                      <a:pt x="76" y="192"/>
                    </a:lnTo>
                    <a:lnTo>
                      <a:pt x="78" y="189"/>
                    </a:lnTo>
                    <a:lnTo>
                      <a:pt x="81" y="188"/>
                    </a:lnTo>
                    <a:lnTo>
                      <a:pt x="82" y="189"/>
                    </a:lnTo>
                    <a:lnTo>
                      <a:pt x="84" y="190"/>
                    </a:lnTo>
                    <a:lnTo>
                      <a:pt x="84" y="190"/>
                    </a:lnTo>
                    <a:lnTo>
                      <a:pt x="85" y="193"/>
                    </a:lnTo>
                    <a:lnTo>
                      <a:pt x="86" y="198"/>
                    </a:lnTo>
                    <a:lnTo>
                      <a:pt x="89" y="200"/>
                    </a:lnTo>
                    <a:lnTo>
                      <a:pt x="92" y="202"/>
                    </a:lnTo>
                    <a:lnTo>
                      <a:pt x="92" y="202"/>
                    </a:lnTo>
                    <a:lnTo>
                      <a:pt x="105" y="202"/>
                    </a:lnTo>
                    <a:lnTo>
                      <a:pt x="109" y="202"/>
                    </a:lnTo>
                    <a:lnTo>
                      <a:pt x="113" y="200"/>
                    </a:lnTo>
                    <a:lnTo>
                      <a:pt x="113" y="200"/>
                    </a:lnTo>
                    <a:lnTo>
                      <a:pt x="115" y="199"/>
                    </a:lnTo>
                    <a:lnTo>
                      <a:pt x="119" y="196"/>
                    </a:lnTo>
                    <a:lnTo>
                      <a:pt x="122" y="193"/>
                    </a:lnTo>
                    <a:lnTo>
                      <a:pt x="123" y="190"/>
                    </a:lnTo>
                    <a:lnTo>
                      <a:pt x="123" y="190"/>
                    </a:lnTo>
                    <a:lnTo>
                      <a:pt x="123" y="85"/>
                    </a:lnTo>
                    <a:lnTo>
                      <a:pt x="123" y="85"/>
                    </a:lnTo>
                    <a:lnTo>
                      <a:pt x="123" y="84"/>
                    </a:lnTo>
                    <a:lnTo>
                      <a:pt x="126" y="82"/>
                    </a:lnTo>
                    <a:lnTo>
                      <a:pt x="132" y="82"/>
                    </a:lnTo>
                    <a:lnTo>
                      <a:pt x="136" y="81"/>
                    </a:lnTo>
                    <a:lnTo>
                      <a:pt x="139" y="81"/>
                    </a:lnTo>
                    <a:lnTo>
                      <a:pt x="139" y="78"/>
                    </a:lnTo>
                    <a:lnTo>
                      <a:pt x="139" y="78"/>
                    </a:lnTo>
                    <a:lnTo>
                      <a:pt x="139" y="24"/>
                    </a:lnTo>
                    <a:lnTo>
                      <a:pt x="139" y="24"/>
                    </a:lnTo>
                    <a:lnTo>
                      <a:pt x="155" y="21"/>
                    </a:lnTo>
                    <a:lnTo>
                      <a:pt x="155" y="21"/>
                    </a:lnTo>
                    <a:lnTo>
                      <a:pt x="163" y="18"/>
                    </a:lnTo>
                    <a:lnTo>
                      <a:pt x="169" y="17"/>
                    </a:lnTo>
                    <a:lnTo>
                      <a:pt x="173" y="17"/>
                    </a:lnTo>
                    <a:lnTo>
                      <a:pt x="173" y="17"/>
                    </a:lnTo>
                    <a:lnTo>
                      <a:pt x="177" y="21"/>
                    </a:lnTo>
                    <a:lnTo>
                      <a:pt x="179" y="23"/>
                    </a:lnTo>
                    <a:lnTo>
                      <a:pt x="182" y="23"/>
                    </a:lnTo>
                    <a:lnTo>
                      <a:pt x="182" y="23"/>
                    </a:lnTo>
                    <a:lnTo>
                      <a:pt x="186" y="18"/>
                    </a:lnTo>
                    <a:lnTo>
                      <a:pt x="189" y="15"/>
                    </a:lnTo>
                    <a:lnTo>
                      <a:pt x="193" y="15"/>
                    </a:lnTo>
                    <a:lnTo>
                      <a:pt x="193" y="15"/>
                    </a:lnTo>
                    <a:lnTo>
                      <a:pt x="203" y="13"/>
                    </a:lnTo>
                    <a:lnTo>
                      <a:pt x="203" y="13"/>
                    </a:lnTo>
                    <a:lnTo>
                      <a:pt x="202" y="10"/>
                    </a:lnTo>
                    <a:lnTo>
                      <a:pt x="202" y="10"/>
                    </a:lnTo>
                    <a:lnTo>
                      <a:pt x="200" y="8"/>
                    </a:lnTo>
                    <a:lnTo>
                      <a:pt x="197" y="8"/>
                    </a:lnTo>
                    <a:lnTo>
                      <a:pt x="187" y="8"/>
                    </a:lnTo>
                    <a:lnTo>
                      <a:pt x="169" y="13"/>
                    </a:lnTo>
                    <a:lnTo>
                      <a:pt x="169" y="13"/>
                    </a:lnTo>
                    <a:lnTo>
                      <a:pt x="156" y="14"/>
                    </a:lnTo>
                    <a:lnTo>
                      <a:pt x="149" y="14"/>
                    </a:lnTo>
                    <a:lnTo>
                      <a:pt x="143" y="14"/>
                    </a:lnTo>
                    <a:lnTo>
                      <a:pt x="143" y="14"/>
                    </a:lnTo>
                    <a:lnTo>
                      <a:pt x="136" y="13"/>
                    </a:lnTo>
                    <a:lnTo>
                      <a:pt x="123" y="13"/>
                    </a:lnTo>
                    <a:lnTo>
                      <a:pt x="108" y="14"/>
                    </a:lnTo>
                    <a:lnTo>
                      <a:pt x="102" y="8"/>
                    </a:lnTo>
                    <a:lnTo>
                      <a:pt x="102" y="8"/>
                    </a:lnTo>
                    <a:lnTo>
                      <a:pt x="47" y="8"/>
                    </a:lnTo>
                    <a:lnTo>
                      <a:pt x="47" y="8"/>
                    </a:lnTo>
                    <a:lnTo>
                      <a:pt x="39" y="7"/>
                    </a:lnTo>
                    <a:lnTo>
                      <a:pt x="32" y="4"/>
                    </a:lnTo>
                    <a:lnTo>
                      <a:pt x="32" y="4"/>
                    </a:lnTo>
                    <a:lnTo>
                      <a:pt x="30" y="3"/>
                    </a:lnTo>
                    <a:lnTo>
                      <a:pt x="25" y="1"/>
                    </a:lnTo>
                    <a:lnTo>
                      <a:pt x="21" y="1"/>
                    </a:lnTo>
                    <a:lnTo>
                      <a:pt x="18" y="3"/>
                    </a:lnTo>
                    <a:lnTo>
                      <a:pt x="18" y="3"/>
                    </a:lnTo>
                    <a:lnTo>
                      <a:pt x="14" y="4"/>
                    </a:lnTo>
                    <a:lnTo>
                      <a:pt x="14" y="3"/>
                    </a:lnTo>
                    <a:lnTo>
                      <a:pt x="12" y="1"/>
                    </a:lnTo>
                    <a:lnTo>
                      <a:pt x="10" y="0"/>
                    </a:lnTo>
                    <a:lnTo>
                      <a:pt x="10" y="0"/>
                    </a:lnTo>
                    <a:lnTo>
                      <a:pt x="8" y="1"/>
                    </a:lnTo>
                    <a:lnTo>
                      <a:pt x="5" y="3"/>
                    </a:lnTo>
                    <a:lnTo>
                      <a:pt x="5" y="4"/>
                    </a:lnTo>
                    <a:lnTo>
                      <a:pt x="0" y="5"/>
                    </a:lnTo>
                    <a:lnTo>
                      <a:pt x="0" y="5"/>
                    </a:lnTo>
                    <a:lnTo>
                      <a:pt x="0" y="10"/>
                    </a:lnTo>
                    <a:lnTo>
                      <a:pt x="2" y="15"/>
                    </a:lnTo>
                    <a:lnTo>
                      <a:pt x="8" y="27"/>
                    </a:lnTo>
                    <a:lnTo>
                      <a:pt x="8" y="27"/>
                    </a:lnTo>
                    <a:lnTo>
                      <a:pt x="17" y="41"/>
                    </a:lnTo>
                    <a:lnTo>
                      <a:pt x="24" y="60"/>
                    </a:lnTo>
                    <a:lnTo>
                      <a:pt x="24" y="60"/>
                    </a:lnTo>
                    <a:lnTo>
                      <a:pt x="28" y="68"/>
                    </a:lnTo>
                    <a:lnTo>
                      <a:pt x="32" y="77"/>
                    </a:lnTo>
                    <a:lnTo>
                      <a:pt x="38" y="85"/>
                    </a:lnTo>
                    <a:lnTo>
                      <a:pt x="41" y="92"/>
                    </a:lnTo>
                    <a:lnTo>
                      <a:pt x="41" y="92"/>
                    </a:lnTo>
                    <a:lnTo>
                      <a:pt x="41" y="99"/>
                    </a:lnTo>
                    <a:lnTo>
                      <a:pt x="41" y="106"/>
                    </a:lnTo>
                    <a:lnTo>
                      <a:pt x="41" y="114"/>
                    </a:lnTo>
                    <a:lnTo>
                      <a:pt x="41" y="119"/>
                    </a:lnTo>
                    <a:lnTo>
                      <a:pt x="41" y="119"/>
                    </a:lnTo>
                    <a:lnTo>
                      <a:pt x="45" y="131"/>
                    </a:lnTo>
                    <a:lnTo>
                      <a:pt x="47" y="145"/>
                    </a:lnTo>
                    <a:lnTo>
                      <a:pt x="47" y="145"/>
                    </a:lnTo>
                    <a:lnTo>
                      <a:pt x="49" y="165"/>
                    </a:lnTo>
                    <a:lnTo>
                      <a:pt x="52" y="175"/>
                    </a:lnTo>
                    <a:lnTo>
                      <a:pt x="55" y="179"/>
                    </a:lnTo>
                    <a:lnTo>
                      <a:pt x="58" y="183"/>
                    </a:lnTo>
                    <a:lnTo>
                      <a:pt x="58" y="183"/>
                    </a:lnTo>
                    <a:lnTo>
                      <a:pt x="64" y="189"/>
                    </a:lnTo>
                    <a:lnTo>
                      <a:pt x="68" y="196"/>
                    </a:lnTo>
                    <a:lnTo>
                      <a:pt x="68" y="196"/>
                    </a:lnTo>
                    <a:lnTo>
                      <a:pt x="72" y="196"/>
                    </a:lnTo>
                    <a:lnTo>
                      <a:pt x="74" y="196"/>
                    </a:lnTo>
                    <a:lnTo>
                      <a:pt x="75" y="195"/>
                    </a:lnTo>
                    <a:lnTo>
                      <a:pt x="75" y="19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2" name="Kenya">
                <a:extLst>
                  <a:ext uri="{FF2B5EF4-FFF2-40B4-BE49-F238E27FC236}">
                    <a16:creationId xmlns:a16="http://schemas.microsoft.com/office/drawing/2014/main" id="{4C3D2D63-7329-0745-8C66-B4C733749E5D}"/>
                  </a:ext>
                </a:extLst>
              </p:cNvPr>
              <p:cNvSpPr>
                <a:spLocks/>
              </p:cNvSpPr>
              <p:nvPr/>
            </p:nvSpPr>
            <p:spPr bwMode="auto">
              <a:xfrm>
                <a:off x="5112122" y="4191357"/>
                <a:ext cx="189412" cy="232326"/>
              </a:xfrm>
              <a:custGeom>
                <a:avLst/>
                <a:gdLst/>
                <a:ahLst/>
                <a:cxnLst>
                  <a:cxn ang="0">
                    <a:pos x="121" y="24"/>
                  </a:cxn>
                  <a:cxn ang="0">
                    <a:pos x="128" y="13"/>
                  </a:cxn>
                  <a:cxn ang="0">
                    <a:pos x="121" y="16"/>
                  </a:cxn>
                  <a:cxn ang="0">
                    <a:pos x="115" y="16"/>
                  </a:cxn>
                  <a:cxn ang="0">
                    <a:pos x="112" y="13"/>
                  </a:cxn>
                  <a:cxn ang="0">
                    <a:pos x="107" y="12"/>
                  </a:cxn>
                  <a:cxn ang="0">
                    <a:pos x="98" y="16"/>
                  </a:cxn>
                  <a:cxn ang="0">
                    <a:pos x="92" y="22"/>
                  </a:cxn>
                  <a:cxn ang="0">
                    <a:pos x="88" y="24"/>
                  </a:cxn>
                  <a:cxn ang="0">
                    <a:pos x="80" y="22"/>
                  </a:cxn>
                  <a:cxn ang="0">
                    <a:pos x="70" y="20"/>
                  </a:cxn>
                  <a:cxn ang="0">
                    <a:pos x="60" y="17"/>
                  </a:cxn>
                  <a:cxn ang="0">
                    <a:pos x="51" y="10"/>
                  </a:cxn>
                  <a:cxn ang="0">
                    <a:pos x="43" y="7"/>
                  </a:cxn>
                  <a:cxn ang="0">
                    <a:pos x="34" y="7"/>
                  </a:cxn>
                  <a:cxn ang="0">
                    <a:pos x="25" y="2"/>
                  </a:cxn>
                  <a:cxn ang="0">
                    <a:pos x="24" y="2"/>
                  </a:cxn>
                  <a:cxn ang="0">
                    <a:pos x="16" y="2"/>
                  </a:cxn>
                  <a:cxn ang="0">
                    <a:pos x="8" y="5"/>
                  </a:cxn>
                  <a:cxn ang="0">
                    <a:pos x="3" y="10"/>
                  </a:cxn>
                  <a:cxn ang="0">
                    <a:pos x="1" y="13"/>
                  </a:cxn>
                  <a:cxn ang="0">
                    <a:pos x="10" y="30"/>
                  </a:cxn>
                  <a:cxn ang="0">
                    <a:pos x="17" y="36"/>
                  </a:cxn>
                  <a:cxn ang="0">
                    <a:pos x="16" y="50"/>
                  </a:cxn>
                  <a:cxn ang="0">
                    <a:pos x="11" y="60"/>
                  </a:cxn>
                  <a:cxn ang="0">
                    <a:pos x="4" y="69"/>
                  </a:cxn>
                  <a:cxn ang="0">
                    <a:pos x="0" y="79"/>
                  </a:cxn>
                  <a:cxn ang="0">
                    <a:pos x="10" y="83"/>
                  </a:cxn>
                  <a:cxn ang="0">
                    <a:pos x="11" y="84"/>
                  </a:cxn>
                  <a:cxn ang="0">
                    <a:pos x="4" y="87"/>
                  </a:cxn>
                  <a:cxn ang="0">
                    <a:pos x="0" y="91"/>
                  </a:cxn>
                  <a:cxn ang="0">
                    <a:pos x="0" y="94"/>
                  </a:cxn>
                  <a:cxn ang="0">
                    <a:pos x="60" y="128"/>
                  </a:cxn>
                  <a:cxn ang="0">
                    <a:pos x="60" y="138"/>
                  </a:cxn>
                  <a:cxn ang="0">
                    <a:pos x="85" y="157"/>
                  </a:cxn>
                  <a:cxn ang="0">
                    <a:pos x="102" y="123"/>
                  </a:cxn>
                  <a:cxn ang="0">
                    <a:pos x="104" y="120"/>
                  </a:cxn>
                  <a:cxn ang="0">
                    <a:pos x="109" y="116"/>
                  </a:cxn>
                  <a:cxn ang="0">
                    <a:pos x="112" y="114"/>
                  </a:cxn>
                  <a:cxn ang="0">
                    <a:pos x="115" y="113"/>
                  </a:cxn>
                  <a:cxn ang="0">
                    <a:pos x="121" y="108"/>
                  </a:cxn>
                  <a:cxn ang="0">
                    <a:pos x="122" y="107"/>
                  </a:cxn>
                  <a:cxn ang="0">
                    <a:pos x="114" y="36"/>
                  </a:cxn>
                </a:cxnLst>
                <a:rect l="0" t="0" r="r" b="b"/>
                <a:pathLst>
                  <a:path w="128" h="157">
                    <a:moveTo>
                      <a:pt x="114" y="36"/>
                    </a:moveTo>
                    <a:lnTo>
                      <a:pt x="121" y="24"/>
                    </a:lnTo>
                    <a:lnTo>
                      <a:pt x="128" y="13"/>
                    </a:lnTo>
                    <a:lnTo>
                      <a:pt x="128" y="13"/>
                    </a:lnTo>
                    <a:lnTo>
                      <a:pt x="121" y="16"/>
                    </a:lnTo>
                    <a:lnTo>
                      <a:pt x="121" y="16"/>
                    </a:lnTo>
                    <a:lnTo>
                      <a:pt x="118" y="16"/>
                    </a:lnTo>
                    <a:lnTo>
                      <a:pt x="115" y="16"/>
                    </a:lnTo>
                    <a:lnTo>
                      <a:pt x="112" y="13"/>
                    </a:lnTo>
                    <a:lnTo>
                      <a:pt x="112" y="13"/>
                    </a:lnTo>
                    <a:lnTo>
                      <a:pt x="111" y="12"/>
                    </a:lnTo>
                    <a:lnTo>
                      <a:pt x="107" y="12"/>
                    </a:lnTo>
                    <a:lnTo>
                      <a:pt x="98" y="16"/>
                    </a:lnTo>
                    <a:lnTo>
                      <a:pt x="98" y="16"/>
                    </a:lnTo>
                    <a:lnTo>
                      <a:pt x="95" y="19"/>
                    </a:lnTo>
                    <a:lnTo>
                      <a:pt x="92" y="22"/>
                    </a:lnTo>
                    <a:lnTo>
                      <a:pt x="90" y="23"/>
                    </a:lnTo>
                    <a:lnTo>
                      <a:pt x="88" y="24"/>
                    </a:lnTo>
                    <a:lnTo>
                      <a:pt x="88" y="24"/>
                    </a:lnTo>
                    <a:lnTo>
                      <a:pt x="80" y="22"/>
                    </a:lnTo>
                    <a:lnTo>
                      <a:pt x="70" y="20"/>
                    </a:lnTo>
                    <a:lnTo>
                      <a:pt x="70" y="20"/>
                    </a:lnTo>
                    <a:lnTo>
                      <a:pt x="65" y="20"/>
                    </a:lnTo>
                    <a:lnTo>
                      <a:pt x="60" y="17"/>
                    </a:lnTo>
                    <a:lnTo>
                      <a:pt x="51" y="10"/>
                    </a:lnTo>
                    <a:lnTo>
                      <a:pt x="51" y="10"/>
                    </a:lnTo>
                    <a:lnTo>
                      <a:pt x="47" y="9"/>
                    </a:lnTo>
                    <a:lnTo>
                      <a:pt x="43" y="7"/>
                    </a:lnTo>
                    <a:lnTo>
                      <a:pt x="34" y="7"/>
                    </a:lnTo>
                    <a:lnTo>
                      <a:pt x="34" y="7"/>
                    </a:lnTo>
                    <a:lnTo>
                      <a:pt x="30" y="5"/>
                    </a:lnTo>
                    <a:lnTo>
                      <a:pt x="25" y="2"/>
                    </a:lnTo>
                    <a:lnTo>
                      <a:pt x="25" y="2"/>
                    </a:lnTo>
                    <a:lnTo>
                      <a:pt x="24" y="2"/>
                    </a:lnTo>
                    <a:lnTo>
                      <a:pt x="21" y="0"/>
                    </a:lnTo>
                    <a:lnTo>
                      <a:pt x="16" y="2"/>
                    </a:lnTo>
                    <a:lnTo>
                      <a:pt x="16" y="2"/>
                    </a:lnTo>
                    <a:lnTo>
                      <a:pt x="8" y="5"/>
                    </a:lnTo>
                    <a:lnTo>
                      <a:pt x="4" y="7"/>
                    </a:lnTo>
                    <a:lnTo>
                      <a:pt x="3" y="10"/>
                    </a:lnTo>
                    <a:lnTo>
                      <a:pt x="3" y="10"/>
                    </a:lnTo>
                    <a:lnTo>
                      <a:pt x="1" y="13"/>
                    </a:lnTo>
                    <a:lnTo>
                      <a:pt x="8" y="19"/>
                    </a:lnTo>
                    <a:lnTo>
                      <a:pt x="10" y="30"/>
                    </a:lnTo>
                    <a:lnTo>
                      <a:pt x="17" y="36"/>
                    </a:lnTo>
                    <a:lnTo>
                      <a:pt x="17" y="36"/>
                    </a:lnTo>
                    <a:lnTo>
                      <a:pt x="16" y="50"/>
                    </a:lnTo>
                    <a:lnTo>
                      <a:pt x="16" y="50"/>
                    </a:lnTo>
                    <a:lnTo>
                      <a:pt x="14" y="54"/>
                    </a:lnTo>
                    <a:lnTo>
                      <a:pt x="11" y="60"/>
                    </a:lnTo>
                    <a:lnTo>
                      <a:pt x="4" y="69"/>
                    </a:lnTo>
                    <a:lnTo>
                      <a:pt x="4" y="69"/>
                    </a:lnTo>
                    <a:lnTo>
                      <a:pt x="0" y="79"/>
                    </a:lnTo>
                    <a:lnTo>
                      <a:pt x="0" y="79"/>
                    </a:lnTo>
                    <a:lnTo>
                      <a:pt x="8" y="81"/>
                    </a:lnTo>
                    <a:lnTo>
                      <a:pt x="10" y="83"/>
                    </a:lnTo>
                    <a:lnTo>
                      <a:pt x="11" y="84"/>
                    </a:lnTo>
                    <a:lnTo>
                      <a:pt x="11" y="84"/>
                    </a:lnTo>
                    <a:lnTo>
                      <a:pt x="8" y="86"/>
                    </a:lnTo>
                    <a:lnTo>
                      <a:pt x="4" y="87"/>
                    </a:lnTo>
                    <a:lnTo>
                      <a:pt x="1" y="90"/>
                    </a:lnTo>
                    <a:lnTo>
                      <a:pt x="0" y="91"/>
                    </a:lnTo>
                    <a:lnTo>
                      <a:pt x="0" y="94"/>
                    </a:lnTo>
                    <a:lnTo>
                      <a:pt x="0" y="94"/>
                    </a:lnTo>
                    <a:lnTo>
                      <a:pt x="0" y="96"/>
                    </a:lnTo>
                    <a:lnTo>
                      <a:pt x="60" y="128"/>
                    </a:lnTo>
                    <a:lnTo>
                      <a:pt x="60" y="138"/>
                    </a:lnTo>
                    <a:lnTo>
                      <a:pt x="60" y="138"/>
                    </a:lnTo>
                    <a:lnTo>
                      <a:pt x="85" y="157"/>
                    </a:lnTo>
                    <a:lnTo>
                      <a:pt x="85" y="157"/>
                    </a:lnTo>
                    <a:lnTo>
                      <a:pt x="95" y="135"/>
                    </a:lnTo>
                    <a:lnTo>
                      <a:pt x="102" y="123"/>
                    </a:lnTo>
                    <a:lnTo>
                      <a:pt x="102" y="123"/>
                    </a:lnTo>
                    <a:lnTo>
                      <a:pt x="104" y="120"/>
                    </a:lnTo>
                    <a:lnTo>
                      <a:pt x="107" y="117"/>
                    </a:lnTo>
                    <a:lnTo>
                      <a:pt x="109" y="116"/>
                    </a:lnTo>
                    <a:lnTo>
                      <a:pt x="112" y="114"/>
                    </a:lnTo>
                    <a:lnTo>
                      <a:pt x="112" y="114"/>
                    </a:lnTo>
                    <a:lnTo>
                      <a:pt x="114" y="113"/>
                    </a:lnTo>
                    <a:lnTo>
                      <a:pt x="115" y="113"/>
                    </a:lnTo>
                    <a:lnTo>
                      <a:pt x="118" y="111"/>
                    </a:lnTo>
                    <a:lnTo>
                      <a:pt x="121" y="108"/>
                    </a:lnTo>
                    <a:lnTo>
                      <a:pt x="121" y="108"/>
                    </a:lnTo>
                    <a:lnTo>
                      <a:pt x="122" y="107"/>
                    </a:lnTo>
                    <a:lnTo>
                      <a:pt x="114" y="94"/>
                    </a:lnTo>
                    <a:lnTo>
                      <a:pt x="114" y="3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3" name="Angola">
                <a:extLst>
                  <a:ext uri="{FF2B5EF4-FFF2-40B4-BE49-F238E27FC236}">
                    <a16:creationId xmlns:a16="http://schemas.microsoft.com/office/drawing/2014/main" id="{E15C222A-712D-164F-AD2B-D4B13F4C682A}"/>
                  </a:ext>
                </a:extLst>
              </p:cNvPr>
              <p:cNvSpPr>
                <a:spLocks/>
              </p:cNvSpPr>
              <p:nvPr/>
            </p:nvSpPr>
            <p:spPr bwMode="auto">
              <a:xfrm>
                <a:off x="4603076" y="4453279"/>
                <a:ext cx="276720" cy="290037"/>
              </a:xfrm>
              <a:custGeom>
                <a:avLst/>
                <a:gdLst/>
                <a:ahLst/>
                <a:cxnLst>
                  <a:cxn ang="0">
                    <a:pos x="12" y="183"/>
                  </a:cxn>
                  <a:cxn ang="0">
                    <a:pos x="18" y="185"/>
                  </a:cxn>
                  <a:cxn ang="0">
                    <a:pos x="25" y="183"/>
                  </a:cxn>
                  <a:cxn ang="0">
                    <a:pos x="32" y="186"/>
                  </a:cxn>
                  <a:cxn ang="0">
                    <a:pos x="47" y="190"/>
                  </a:cxn>
                  <a:cxn ang="0">
                    <a:pos x="108" y="196"/>
                  </a:cxn>
                  <a:cxn ang="0">
                    <a:pos x="143" y="196"/>
                  </a:cxn>
                  <a:cxn ang="0">
                    <a:pos x="156" y="196"/>
                  </a:cxn>
                  <a:cxn ang="0">
                    <a:pos x="173" y="193"/>
                  </a:cxn>
                  <a:cxn ang="0">
                    <a:pos x="180" y="115"/>
                  </a:cxn>
                  <a:cxn ang="0">
                    <a:pos x="187" y="79"/>
                  </a:cxn>
                  <a:cxn ang="0">
                    <a:pos x="183" y="79"/>
                  </a:cxn>
                  <a:cxn ang="0">
                    <a:pos x="169" y="81"/>
                  </a:cxn>
                  <a:cxn ang="0">
                    <a:pos x="162" y="85"/>
                  </a:cxn>
                  <a:cxn ang="0">
                    <a:pos x="159" y="84"/>
                  </a:cxn>
                  <a:cxn ang="0">
                    <a:pos x="160" y="72"/>
                  </a:cxn>
                  <a:cxn ang="0">
                    <a:pos x="152" y="59"/>
                  </a:cxn>
                  <a:cxn ang="0">
                    <a:pos x="152" y="55"/>
                  </a:cxn>
                  <a:cxn ang="0">
                    <a:pos x="155" y="37"/>
                  </a:cxn>
                  <a:cxn ang="0">
                    <a:pos x="152" y="31"/>
                  </a:cxn>
                  <a:cxn ang="0">
                    <a:pos x="150" y="21"/>
                  </a:cxn>
                  <a:cxn ang="0">
                    <a:pos x="140" y="21"/>
                  </a:cxn>
                  <a:cxn ang="0">
                    <a:pos x="133" y="18"/>
                  </a:cxn>
                  <a:cxn ang="0">
                    <a:pos x="125" y="17"/>
                  </a:cxn>
                  <a:cxn ang="0">
                    <a:pos x="118" y="21"/>
                  </a:cxn>
                  <a:cxn ang="0">
                    <a:pos x="115" y="32"/>
                  </a:cxn>
                  <a:cxn ang="0">
                    <a:pos x="106" y="32"/>
                  </a:cxn>
                  <a:cxn ang="0">
                    <a:pos x="91" y="35"/>
                  </a:cxn>
                  <a:cxn ang="0">
                    <a:pos x="82" y="25"/>
                  </a:cxn>
                  <a:cxn ang="0">
                    <a:pos x="76" y="18"/>
                  </a:cxn>
                  <a:cxn ang="0">
                    <a:pos x="75" y="13"/>
                  </a:cxn>
                  <a:cxn ang="0">
                    <a:pos x="72" y="0"/>
                  </a:cxn>
                  <a:cxn ang="0">
                    <a:pos x="21" y="0"/>
                  </a:cxn>
                  <a:cxn ang="0">
                    <a:pos x="11" y="4"/>
                  </a:cxn>
                  <a:cxn ang="0">
                    <a:pos x="20" y="24"/>
                  </a:cxn>
                  <a:cxn ang="0">
                    <a:pos x="27" y="41"/>
                  </a:cxn>
                  <a:cxn ang="0">
                    <a:pos x="24" y="55"/>
                  </a:cxn>
                  <a:cxn ang="0">
                    <a:pos x="28" y="71"/>
                  </a:cxn>
                  <a:cxn ang="0">
                    <a:pos x="34" y="88"/>
                  </a:cxn>
                  <a:cxn ang="0">
                    <a:pos x="22" y="112"/>
                  </a:cxn>
                  <a:cxn ang="0">
                    <a:pos x="14" y="126"/>
                  </a:cxn>
                  <a:cxn ang="0">
                    <a:pos x="10" y="142"/>
                  </a:cxn>
                  <a:cxn ang="0">
                    <a:pos x="2" y="160"/>
                  </a:cxn>
                  <a:cxn ang="0">
                    <a:pos x="1" y="176"/>
                  </a:cxn>
                  <a:cxn ang="0">
                    <a:pos x="0" y="187"/>
                  </a:cxn>
                  <a:cxn ang="0">
                    <a:pos x="5" y="185"/>
                  </a:cxn>
                  <a:cxn ang="0">
                    <a:pos x="10" y="182"/>
                  </a:cxn>
                </a:cxnLst>
                <a:rect l="0" t="0" r="r" b="b"/>
                <a:pathLst>
                  <a:path w="187" h="196">
                    <a:moveTo>
                      <a:pt x="10" y="182"/>
                    </a:moveTo>
                    <a:lnTo>
                      <a:pt x="10" y="182"/>
                    </a:lnTo>
                    <a:lnTo>
                      <a:pt x="12" y="183"/>
                    </a:lnTo>
                    <a:lnTo>
                      <a:pt x="14" y="185"/>
                    </a:lnTo>
                    <a:lnTo>
                      <a:pt x="14" y="186"/>
                    </a:lnTo>
                    <a:lnTo>
                      <a:pt x="18" y="185"/>
                    </a:lnTo>
                    <a:lnTo>
                      <a:pt x="18" y="185"/>
                    </a:lnTo>
                    <a:lnTo>
                      <a:pt x="21" y="183"/>
                    </a:lnTo>
                    <a:lnTo>
                      <a:pt x="25" y="183"/>
                    </a:lnTo>
                    <a:lnTo>
                      <a:pt x="30" y="185"/>
                    </a:lnTo>
                    <a:lnTo>
                      <a:pt x="32" y="186"/>
                    </a:lnTo>
                    <a:lnTo>
                      <a:pt x="32" y="186"/>
                    </a:lnTo>
                    <a:lnTo>
                      <a:pt x="39" y="189"/>
                    </a:lnTo>
                    <a:lnTo>
                      <a:pt x="47" y="190"/>
                    </a:lnTo>
                    <a:lnTo>
                      <a:pt x="47" y="190"/>
                    </a:lnTo>
                    <a:lnTo>
                      <a:pt x="102" y="190"/>
                    </a:lnTo>
                    <a:lnTo>
                      <a:pt x="108" y="196"/>
                    </a:lnTo>
                    <a:lnTo>
                      <a:pt x="108" y="196"/>
                    </a:lnTo>
                    <a:lnTo>
                      <a:pt x="123" y="195"/>
                    </a:lnTo>
                    <a:lnTo>
                      <a:pt x="136" y="195"/>
                    </a:lnTo>
                    <a:lnTo>
                      <a:pt x="143" y="196"/>
                    </a:lnTo>
                    <a:lnTo>
                      <a:pt x="143" y="196"/>
                    </a:lnTo>
                    <a:lnTo>
                      <a:pt x="149" y="196"/>
                    </a:lnTo>
                    <a:lnTo>
                      <a:pt x="156" y="196"/>
                    </a:lnTo>
                    <a:lnTo>
                      <a:pt x="169" y="195"/>
                    </a:lnTo>
                    <a:lnTo>
                      <a:pt x="169" y="195"/>
                    </a:lnTo>
                    <a:lnTo>
                      <a:pt x="173" y="193"/>
                    </a:lnTo>
                    <a:lnTo>
                      <a:pt x="155" y="168"/>
                    </a:lnTo>
                    <a:lnTo>
                      <a:pt x="156" y="115"/>
                    </a:lnTo>
                    <a:lnTo>
                      <a:pt x="180" y="115"/>
                    </a:lnTo>
                    <a:lnTo>
                      <a:pt x="185" y="111"/>
                    </a:lnTo>
                    <a:lnTo>
                      <a:pt x="187" y="79"/>
                    </a:lnTo>
                    <a:lnTo>
                      <a:pt x="187" y="79"/>
                    </a:lnTo>
                    <a:lnTo>
                      <a:pt x="185" y="79"/>
                    </a:lnTo>
                    <a:lnTo>
                      <a:pt x="183" y="79"/>
                    </a:lnTo>
                    <a:lnTo>
                      <a:pt x="183" y="79"/>
                    </a:lnTo>
                    <a:lnTo>
                      <a:pt x="176" y="81"/>
                    </a:lnTo>
                    <a:lnTo>
                      <a:pt x="169" y="81"/>
                    </a:lnTo>
                    <a:lnTo>
                      <a:pt x="169" y="81"/>
                    </a:lnTo>
                    <a:lnTo>
                      <a:pt x="166" y="81"/>
                    </a:lnTo>
                    <a:lnTo>
                      <a:pt x="163" y="84"/>
                    </a:lnTo>
                    <a:lnTo>
                      <a:pt x="162" y="85"/>
                    </a:lnTo>
                    <a:lnTo>
                      <a:pt x="160" y="85"/>
                    </a:lnTo>
                    <a:lnTo>
                      <a:pt x="160" y="85"/>
                    </a:lnTo>
                    <a:lnTo>
                      <a:pt x="159" y="84"/>
                    </a:lnTo>
                    <a:lnTo>
                      <a:pt x="159" y="79"/>
                    </a:lnTo>
                    <a:lnTo>
                      <a:pt x="160" y="72"/>
                    </a:lnTo>
                    <a:lnTo>
                      <a:pt x="160" y="72"/>
                    </a:lnTo>
                    <a:lnTo>
                      <a:pt x="160" y="69"/>
                    </a:lnTo>
                    <a:lnTo>
                      <a:pt x="158" y="65"/>
                    </a:lnTo>
                    <a:lnTo>
                      <a:pt x="152" y="59"/>
                    </a:lnTo>
                    <a:lnTo>
                      <a:pt x="152" y="59"/>
                    </a:lnTo>
                    <a:lnTo>
                      <a:pt x="152" y="58"/>
                    </a:lnTo>
                    <a:lnTo>
                      <a:pt x="152" y="55"/>
                    </a:lnTo>
                    <a:lnTo>
                      <a:pt x="153" y="48"/>
                    </a:lnTo>
                    <a:lnTo>
                      <a:pt x="155" y="41"/>
                    </a:lnTo>
                    <a:lnTo>
                      <a:pt x="155" y="37"/>
                    </a:lnTo>
                    <a:lnTo>
                      <a:pt x="155" y="37"/>
                    </a:lnTo>
                    <a:lnTo>
                      <a:pt x="153" y="34"/>
                    </a:lnTo>
                    <a:lnTo>
                      <a:pt x="152" y="31"/>
                    </a:lnTo>
                    <a:lnTo>
                      <a:pt x="152" y="24"/>
                    </a:lnTo>
                    <a:lnTo>
                      <a:pt x="152" y="24"/>
                    </a:lnTo>
                    <a:lnTo>
                      <a:pt x="150" y="21"/>
                    </a:lnTo>
                    <a:lnTo>
                      <a:pt x="149" y="21"/>
                    </a:lnTo>
                    <a:lnTo>
                      <a:pt x="140" y="21"/>
                    </a:lnTo>
                    <a:lnTo>
                      <a:pt x="140" y="21"/>
                    </a:lnTo>
                    <a:lnTo>
                      <a:pt x="136" y="21"/>
                    </a:lnTo>
                    <a:lnTo>
                      <a:pt x="135" y="20"/>
                    </a:lnTo>
                    <a:lnTo>
                      <a:pt x="133" y="18"/>
                    </a:lnTo>
                    <a:lnTo>
                      <a:pt x="133" y="18"/>
                    </a:lnTo>
                    <a:lnTo>
                      <a:pt x="128" y="17"/>
                    </a:lnTo>
                    <a:lnTo>
                      <a:pt x="125" y="17"/>
                    </a:lnTo>
                    <a:lnTo>
                      <a:pt x="121" y="18"/>
                    </a:lnTo>
                    <a:lnTo>
                      <a:pt x="121" y="18"/>
                    </a:lnTo>
                    <a:lnTo>
                      <a:pt x="118" y="21"/>
                    </a:lnTo>
                    <a:lnTo>
                      <a:pt x="116" y="27"/>
                    </a:lnTo>
                    <a:lnTo>
                      <a:pt x="115" y="31"/>
                    </a:lnTo>
                    <a:lnTo>
                      <a:pt x="115" y="32"/>
                    </a:lnTo>
                    <a:lnTo>
                      <a:pt x="113" y="32"/>
                    </a:lnTo>
                    <a:lnTo>
                      <a:pt x="113" y="32"/>
                    </a:lnTo>
                    <a:lnTo>
                      <a:pt x="106" y="32"/>
                    </a:lnTo>
                    <a:lnTo>
                      <a:pt x="95" y="35"/>
                    </a:lnTo>
                    <a:lnTo>
                      <a:pt x="95" y="35"/>
                    </a:lnTo>
                    <a:lnTo>
                      <a:pt x="91" y="35"/>
                    </a:lnTo>
                    <a:lnTo>
                      <a:pt x="88" y="34"/>
                    </a:lnTo>
                    <a:lnTo>
                      <a:pt x="85" y="31"/>
                    </a:lnTo>
                    <a:lnTo>
                      <a:pt x="82" y="25"/>
                    </a:lnTo>
                    <a:lnTo>
                      <a:pt x="82" y="25"/>
                    </a:lnTo>
                    <a:lnTo>
                      <a:pt x="79" y="21"/>
                    </a:lnTo>
                    <a:lnTo>
                      <a:pt x="76" y="18"/>
                    </a:lnTo>
                    <a:lnTo>
                      <a:pt x="75" y="17"/>
                    </a:lnTo>
                    <a:lnTo>
                      <a:pt x="75" y="13"/>
                    </a:lnTo>
                    <a:lnTo>
                      <a:pt x="75" y="13"/>
                    </a:lnTo>
                    <a:lnTo>
                      <a:pt x="75" y="8"/>
                    </a:lnTo>
                    <a:lnTo>
                      <a:pt x="75" y="4"/>
                    </a:lnTo>
                    <a:lnTo>
                      <a:pt x="72" y="0"/>
                    </a:lnTo>
                    <a:lnTo>
                      <a:pt x="72" y="0"/>
                    </a:lnTo>
                    <a:lnTo>
                      <a:pt x="48" y="0"/>
                    </a:lnTo>
                    <a:lnTo>
                      <a:pt x="21" y="0"/>
                    </a:lnTo>
                    <a:lnTo>
                      <a:pt x="21" y="0"/>
                    </a:lnTo>
                    <a:lnTo>
                      <a:pt x="17" y="1"/>
                    </a:lnTo>
                    <a:lnTo>
                      <a:pt x="11" y="4"/>
                    </a:lnTo>
                    <a:lnTo>
                      <a:pt x="11" y="4"/>
                    </a:lnTo>
                    <a:lnTo>
                      <a:pt x="15" y="14"/>
                    </a:lnTo>
                    <a:lnTo>
                      <a:pt x="20" y="24"/>
                    </a:lnTo>
                    <a:lnTo>
                      <a:pt x="25" y="38"/>
                    </a:lnTo>
                    <a:lnTo>
                      <a:pt x="25" y="38"/>
                    </a:lnTo>
                    <a:lnTo>
                      <a:pt x="27" y="41"/>
                    </a:lnTo>
                    <a:lnTo>
                      <a:pt x="25" y="45"/>
                    </a:lnTo>
                    <a:lnTo>
                      <a:pt x="24" y="49"/>
                    </a:lnTo>
                    <a:lnTo>
                      <a:pt x="24" y="55"/>
                    </a:lnTo>
                    <a:lnTo>
                      <a:pt x="24" y="55"/>
                    </a:lnTo>
                    <a:lnTo>
                      <a:pt x="25" y="62"/>
                    </a:lnTo>
                    <a:lnTo>
                      <a:pt x="28" y="71"/>
                    </a:lnTo>
                    <a:lnTo>
                      <a:pt x="31" y="81"/>
                    </a:lnTo>
                    <a:lnTo>
                      <a:pt x="34" y="88"/>
                    </a:lnTo>
                    <a:lnTo>
                      <a:pt x="34" y="88"/>
                    </a:lnTo>
                    <a:lnTo>
                      <a:pt x="32" y="95"/>
                    </a:lnTo>
                    <a:lnTo>
                      <a:pt x="30" y="102"/>
                    </a:lnTo>
                    <a:lnTo>
                      <a:pt x="22" y="112"/>
                    </a:lnTo>
                    <a:lnTo>
                      <a:pt x="22" y="112"/>
                    </a:lnTo>
                    <a:lnTo>
                      <a:pt x="18" y="118"/>
                    </a:lnTo>
                    <a:lnTo>
                      <a:pt x="14" y="126"/>
                    </a:lnTo>
                    <a:lnTo>
                      <a:pt x="11" y="135"/>
                    </a:lnTo>
                    <a:lnTo>
                      <a:pt x="10" y="142"/>
                    </a:lnTo>
                    <a:lnTo>
                      <a:pt x="10" y="142"/>
                    </a:lnTo>
                    <a:lnTo>
                      <a:pt x="8" y="149"/>
                    </a:lnTo>
                    <a:lnTo>
                      <a:pt x="5" y="156"/>
                    </a:lnTo>
                    <a:lnTo>
                      <a:pt x="2" y="160"/>
                    </a:lnTo>
                    <a:lnTo>
                      <a:pt x="2" y="165"/>
                    </a:lnTo>
                    <a:lnTo>
                      <a:pt x="2" y="165"/>
                    </a:lnTo>
                    <a:lnTo>
                      <a:pt x="1" y="176"/>
                    </a:lnTo>
                    <a:lnTo>
                      <a:pt x="0" y="186"/>
                    </a:lnTo>
                    <a:lnTo>
                      <a:pt x="0" y="186"/>
                    </a:lnTo>
                    <a:lnTo>
                      <a:pt x="0" y="187"/>
                    </a:lnTo>
                    <a:lnTo>
                      <a:pt x="5" y="186"/>
                    </a:lnTo>
                    <a:lnTo>
                      <a:pt x="5" y="186"/>
                    </a:lnTo>
                    <a:lnTo>
                      <a:pt x="5" y="185"/>
                    </a:lnTo>
                    <a:lnTo>
                      <a:pt x="8" y="183"/>
                    </a:lnTo>
                    <a:lnTo>
                      <a:pt x="10" y="182"/>
                    </a:lnTo>
                    <a:lnTo>
                      <a:pt x="10" y="18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4" name="Tanzania">
                <a:extLst>
                  <a:ext uri="{FF2B5EF4-FFF2-40B4-BE49-F238E27FC236}">
                    <a16:creationId xmlns:a16="http://schemas.microsoft.com/office/drawing/2014/main" id="{C24B2819-9E89-AE4D-8575-D9B071FAEF6C}"/>
                  </a:ext>
                </a:extLst>
              </p:cNvPr>
              <p:cNvSpPr>
                <a:spLocks/>
              </p:cNvSpPr>
              <p:nvPr/>
            </p:nvSpPr>
            <p:spPr bwMode="auto">
              <a:xfrm>
                <a:off x="5007057" y="4333416"/>
                <a:ext cx="258962" cy="260442"/>
              </a:xfrm>
              <a:custGeom>
                <a:avLst/>
                <a:gdLst/>
                <a:ahLst/>
                <a:cxnLst>
                  <a:cxn ang="0">
                    <a:pos x="162" y="135"/>
                  </a:cxn>
                  <a:cxn ang="0">
                    <a:pos x="158" y="125"/>
                  </a:cxn>
                  <a:cxn ang="0">
                    <a:pos x="156" y="112"/>
                  </a:cxn>
                  <a:cxn ang="0">
                    <a:pos x="155" y="109"/>
                  </a:cxn>
                  <a:cxn ang="0">
                    <a:pos x="159" y="99"/>
                  </a:cxn>
                  <a:cxn ang="0">
                    <a:pos x="156" y="94"/>
                  </a:cxn>
                  <a:cxn ang="0">
                    <a:pos x="151" y="85"/>
                  </a:cxn>
                  <a:cxn ang="0">
                    <a:pos x="156" y="61"/>
                  </a:cxn>
                  <a:cxn ang="0">
                    <a:pos x="131" y="32"/>
                  </a:cxn>
                  <a:cxn ang="0">
                    <a:pos x="69" y="5"/>
                  </a:cxn>
                  <a:cxn ang="0">
                    <a:pos x="62" y="15"/>
                  </a:cxn>
                  <a:cxn ang="0">
                    <a:pos x="61" y="18"/>
                  </a:cxn>
                  <a:cxn ang="0">
                    <a:pos x="65" y="24"/>
                  </a:cxn>
                  <a:cxn ang="0">
                    <a:pos x="58" y="25"/>
                  </a:cxn>
                  <a:cxn ang="0">
                    <a:pos x="38" y="24"/>
                  </a:cxn>
                  <a:cxn ang="0">
                    <a:pos x="34" y="22"/>
                  </a:cxn>
                  <a:cxn ang="0">
                    <a:pos x="38" y="0"/>
                  </a:cxn>
                  <a:cxn ang="0">
                    <a:pos x="17" y="2"/>
                  </a:cxn>
                  <a:cxn ang="0">
                    <a:pos x="21" y="12"/>
                  </a:cxn>
                  <a:cxn ang="0">
                    <a:pos x="21" y="20"/>
                  </a:cxn>
                  <a:cxn ang="0">
                    <a:pos x="15" y="22"/>
                  </a:cxn>
                  <a:cxn ang="0">
                    <a:pos x="20" y="34"/>
                  </a:cxn>
                  <a:cxn ang="0">
                    <a:pos x="11" y="49"/>
                  </a:cxn>
                  <a:cxn ang="0">
                    <a:pos x="0" y="57"/>
                  </a:cxn>
                  <a:cxn ang="0">
                    <a:pos x="7" y="82"/>
                  </a:cxn>
                  <a:cxn ang="0">
                    <a:pos x="14" y="94"/>
                  </a:cxn>
                  <a:cxn ang="0">
                    <a:pos x="18" y="108"/>
                  </a:cxn>
                  <a:cxn ang="0">
                    <a:pos x="24" y="121"/>
                  </a:cxn>
                  <a:cxn ang="0">
                    <a:pos x="20" y="122"/>
                  </a:cxn>
                  <a:cxn ang="0">
                    <a:pos x="14" y="115"/>
                  </a:cxn>
                  <a:cxn ang="0">
                    <a:pos x="11" y="118"/>
                  </a:cxn>
                  <a:cxn ang="0">
                    <a:pos x="24" y="125"/>
                  </a:cxn>
                  <a:cxn ang="0">
                    <a:pos x="31" y="126"/>
                  </a:cxn>
                  <a:cxn ang="0">
                    <a:pos x="50" y="133"/>
                  </a:cxn>
                  <a:cxn ang="0">
                    <a:pos x="58" y="139"/>
                  </a:cxn>
                  <a:cxn ang="0">
                    <a:pos x="71" y="140"/>
                  </a:cxn>
                  <a:cxn ang="0">
                    <a:pos x="72" y="139"/>
                  </a:cxn>
                  <a:cxn ang="0">
                    <a:pos x="81" y="152"/>
                  </a:cxn>
                  <a:cxn ang="0">
                    <a:pos x="84" y="172"/>
                  </a:cxn>
                  <a:cxn ang="0">
                    <a:pos x="98" y="172"/>
                  </a:cxn>
                  <a:cxn ang="0">
                    <a:pos x="104" y="172"/>
                  </a:cxn>
                  <a:cxn ang="0">
                    <a:pos x="106" y="176"/>
                  </a:cxn>
                  <a:cxn ang="0">
                    <a:pos x="115" y="175"/>
                  </a:cxn>
                  <a:cxn ang="0">
                    <a:pos x="128" y="175"/>
                  </a:cxn>
                  <a:cxn ang="0">
                    <a:pos x="132" y="173"/>
                  </a:cxn>
                  <a:cxn ang="0">
                    <a:pos x="136" y="167"/>
                  </a:cxn>
                  <a:cxn ang="0">
                    <a:pos x="143" y="169"/>
                  </a:cxn>
                  <a:cxn ang="0">
                    <a:pos x="149" y="166"/>
                  </a:cxn>
                  <a:cxn ang="0">
                    <a:pos x="158" y="165"/>
                  </a:cxn>
                  <a:cxn ang="0">
                    <a:pos x="175" y="155"/>
                  </a:cxn>
                  <a:cxn ang="0">
                    <a:pos x="172" y="150"/>
                  </a:cxn>
                  <a:cxn ang="0">
                    <a:pos x="163" y="143"/>
                  </a:cxn>
                </a:cxnLst>
                <a:rect l="0" t="0" r="r" b="b"/>
                <a:pathLst>
                  <a:path w="175" h="176">
                    <a:moveTo>
                      <a:pt x="163" y="140"/>
                    </a:moveTo>
                    <a:lnTo>
                      <a:pt x="163" y="140"/>
                    </a:lnTo>
                    <a:lnTo>
                      <a:pt x="162" y="135"/>
                    </a:lnTo>
                    <a:lnTo>
                      <a:pt x="161" y="132"/>
                    </a:lnTo>
                    <a:lnTo>
                      <a:pt x="158" y="129"/>
                    </a:lnTo>
                    <a:lnTo>
                      <a:pt x="158" y="125"/>
                    </a:lnTo>
                    <a:lnTo>
                      <a:pt x="158" y="125"/>
                    </a:lnTo>
                    <a:lnTo>
                      <a:pt x="158" y="116"/>
                    </a:lnTo>
                    <a:lnTo>
                      <a:pt x="156" y="112"/>
                    </a:lnTo>
                    <a:lnTo>
                      <a:pt x="156" y="111"/>
                    </a:lnTo>
                    <a:lnTo>
                      <a:pt x="156" y="111"/>
                    </a:lnTo>
                    <a:lnTo>
                      <a:pt x="155" y="109"/>
                    </a:lnTo>
                    <a:lnTo>
                      <a:pt x="155" y="106"/>
                    </a:lnTo>
                    <a:lnTo>
                      <a:pt x="159" y="99"/>
                    </a:lnTo>
                    <a:lnTo>
                      <a:pt x="159" y="99"/>
                    </a:lnTo>
                    <a:lnTo>
                      <a:pt x="159" y="98"/>
                    </a:lnTo>
                    <a:lnTo>
                      <a:pt x="159" y="95"/>
                    </a:lnTo>
                    <a:lnTo>
                      <a:pt x="156" y="94"/>
                    </a:lnTo>
                    <a:lnTo>
                      <a:pt x="152" y="89"/>
                    </a:lnTo>
                    <a:lnTo>
                      <a:pt x="151" y="85"/>
                    </a:lnTo>
                    <a:lnTo>
                      <a:pt x="151" y="85"/>
                    </a:lnTo>
                    <a:lnTo>
                      <a:pt x="151" y="82"/>
                    </a:lnTo>
                    <a:lnTo>
                      <a:pt x="152" y="76"/>
                    </a:lnTo>
                    <a:lnTo>
                      <a:pt x="156" y="61"/>
                    </a:lnTo>
                    <a:lnTo>
                      <a:pt x="156" y="61"/>
                    </a:lnTo>
                    <a:lnTo>
                      <a:pt x="131" y="42"/>
                    </a:lnTo>
                    <a:lnTo>
                      <a:pt x="131" y="32"/>
                    </a:lnTo>
                    <a:lnTo>
                      <a:pt x="71" y="0"/>
                    </a:lnTo>
                    <a:lnTo>
                      <a:pt x="71" y="0"/>
                    </a:lnTo>
                    <a:lnTo>
                      <a:pt x="69" y="5"/>
                    </a:lnTo>
                    <a:lnTo>
                      <a:pt x="68" y="10"/>
                    </a:lnTo>
                    <a:lnTo>
                      <a:pt x="65" y="12"/>
                    </a:lnTo>
                    <a:lnTo>
                      <a:pt x="62" y="15"/>
                    </a:lnTo>
                    <a:lnTo>
                      <a:pt x="62" y="15"/>
                    </a:lnTo>
                    <a:lnTo>
                      <a:pt x="61" y="17"/>
                    </a:lnTo>
                    <a:lnTo>
                      <a:pt x="61" y="18"/>
                    </a:lnTo>
                    <a:lnTo>
                      <a:pt x="64" y="21"/>
                    </a:lnTo>
                    <a:lnTo>
                      <a:pt x="65" y="24"/>
                    </a:lnTo>
                    <a:lnTo>
                      <a:pt x="65" y="24"/>
                    </a:lnTo>
                    <a:lnTo>
                      <a:pt x="64" y="25"/>
                    </a:lnTo>
                    <a:lnTo>
                      <a:pt x="64" y="25"/>
                    </a:lnTo>
                    <a:lnTo>
                      <a:pt x="58" y="25"/>
                    </a:lnTo>
                    <a:lnTo>
                      <a:pt x="52" y="24"/>
                    </a:lnTo>
                    <a:lnTo>
                      <a:pt x="44" y="22"/>
                    </a:lnTo>
                    <a:lnTo>
                      <a:pt x="38" y="24"/>
                    </a:lnTo>
                    <a:lnTo>
                      <a:pt x="38" y="24"/>
                    </a:lnTo>
                    <a:lnTo>
                      <a:pt x="35" y="24"/>
                    </a:lnTo>
                    <a:lnTo>
                      <a:pt x="34" y="22"/>
                    </a:lnTo>
                    <a:lnTo>
                      <a:pt x="34" y="17"/>
                    </a:lnTo>
                    <a:lnTo>
                      <a:pt x="35" y="8"/>
                    </a:lnTo>
                    <a:lnTo>
                      <a:pt x="38" y="0"/>
                    </a:lnTo>
                    <a:lnTo>
                      <a:pt x="24" y="0"/>
                    </a:lnTo>
                    <a:lnTo>
                      <a:pt x="24" y="0"/>
                    </a:lnTo>
                    <a:lnTo>
                      <a:pt x="17" y="2"/>
                    </a:lnTo>
                    <a:lnTo>
                      <a:pt x="20" y="10"/>
                    </a:lnTo>
                    <a:lnTo>
                      <a:pt x="20" y="10"/>
                    </a:lnTo>
                    <a:lnTo>
                      <a:pt x="21" y="12"/>
                    </a:lnTo>
                    <a:lnTo>
                      <a:pt x="21" y="17"/>
                    </a:lnTo>
                    <a:lnTo>
                      <a:pt x="21" y="20"/>
                    </a:lnTo>
                    <a:lnTo>
                      <a:pt x="21" y="20"/>
                    </a:lnTo>
                    <a:lnTo>
                      <a:pt x="20" y="22"/>
                    </a:lnTo>
                    <a:lnTo>
                      <a:pt x="15" y="22"/>
                    </a:lnTo>
                    <a:lnTo>
                      <a:pt x="15" y="22"/>
                    </a:lnTo>
                    <a:lnTo>
                      <a:pt x="15" y="29"/>
                    </a:lnTo>
                    <a:lnTo>
                      <a:pt x="15" y="31"/>
                    </a:lnTo>
                    <a:lnTo>
                      <a:pt x="20" y="34"/>
                    </a:lnTo>
                    <a:lnTo>
                      <a:pt x="20" y="34"/>
                    </a:lnTo>
                    <a:lnTo>
                      <a:pt x="15" y="42"/>
                    </a:lnTo>
                    <a:lnTo>
                      <a:pt x="11" y="49"/>
                    </a:lnTo>
                    <a:lnTo>
                      <a:pt x="7" y="52"/>
                    </a:lnTo>
                    <a:lnTo>
                      <a:pt x="7" y="52"/>
                    </a:lnTo>
                    <a:lnTo>
                      <a:pt x="0" y="57"/>
                    </a:lnTo>
                    <a:lnTo>
                      <a:pt x="0" y="57"/>
                    </a:lnTo>
                    <a:lnTo>
                      <a:pt x="4" y="75"/>
                    </a:lnTo>
                    <a:lnTo>
                      <a:pt x="7" y="82"/>
                    </a:lnTo>
                    <a:lnTo>
                      <a:pt x="10" y="88"/>
                    </a:lnTo>
                    <a:lnTo>
                      <a:pt x="10" y="88"/>
                    </a:lnTo>
                    <a:lnTo>
                      <a:pt x="14" y="94"/>
                    </a:lnTo>
                    <a:lnTo>
                      <a:pt x="17" y="99"/>
                    </a:lnTo>
                    <a:lnTo>
                      <a:pt x="18" y="108"/>
                    </a:lnTo>
                    <a:lnTo>
                      <a:pt x="18" y="108"/>
                    </a:lnTo>
                    <a:lnTo>
                      <a:pt x="23" y="116"/>
                    </a:lnTo>
                    <a:lnTo>
                      <a:pt x="24" y="119"/>
                    </a:lnTo>
                    <a:lnTo>
                      <a:pt x="24" y="121"/>
                    </a:lnTo>
                    <a:lnTo>
                      <a:pt x="23" y="121"/>
                    </a:lnTo>
                    <a:lnTo>
                      <a:pt x="23" y="121"/>
                    </a:lnTo>
                    <a:lnTo>
                      <a:pt x="20" y="122"/>
                    </a:lnTo>
                    <a:lnTo>
                      <a:pt x="18" y="121"/>
                    </a:lnTo>
                    <a:lnTo>
                      <a:pt x="14" y="115"/>
                    </a:lnTo>
                    <a:lnTo>
                      <a:pt x="14" y="115"/>
                    </a:lnTo>
                    <a:lnTo>
                      <a:pt x="13" y="116"/>
                    </a:lnTo>
                    <a:lnTo>
                      <a:pt x="13" y="116"/>
                    </a:lnTo>
                    <a:lnTo>
                      <a:pt x="11" y="118"/>
                    </a:lnTo>
                    <a:lnTo>
                      <a:pt x="11" y="118"/>
                    </a:lnTo>
                    <a:lnTo>
                      <a:pt x="18" y="122"/>
                    </a:lnTo>
                    <a:lnTo>
                      <a:pt x="24" y="125"/>
                    </a:lnTo>
                    <a:lnTo>
                      <a:pt x="24" y="125"/>
                    </a:lnTo>
                    <a:lnTo>
                      <a:pt x="27" y="125"/>
                    </a:lnTo>
                    <a:lnTo>
                      <a:pt x="31" y="126"/>
                    </a:lnTo>
                    <a:lnTo>
                      <a:pt x="38" y="130"/>
                    </a:lnTo>
                    <a:lnTo>
                      <a:pt x="38" y="130"/>
                    </a:lnTo>
                    <a:lnTo>
                      <a:pt x="50" y="133"/>
                    </a:lnTo>
                    <a:lnTo>
                      <a:pt x="55" y="136"/>
                    </a:lnTo>
                    <a:lnTo>
                      <a:pt x="58" y="139"/>
                    </a:lnTo>
                    <a:lnTo>
                      <a:pt x="58" y="139"/>
                    </a:lnTo>
                    <a:lnTo>
                      <a:pt x="60" y="140"/>
                    </a:lnTo>
                    <a:lnTo>
                      <a:pt x="60" y="140"/>
                    </a:lnTo>
                    <a:lnTo>
                      <a:pt x="71" y="140"/>
                    </a:lnTo>
                    <a:lnTo>
                      <a:pt x="71" y="140"/>
                    </a:lnTo>
                    <a:lnTo>
                      <a:pt x="72" y="139"/>
                    </a:lnTo>
                    <a:lnTo>
                      <a:pt x="72" y="139"/>
                    </a:lnTo>
                    <a:lnTo>
                      <a:pt x="75" y="140"/>
                    </a:lnTo>
                    <a:lnTo>
                      <a:pt x="77" y="143"/>
                    </a:lnTo>
                    <a:lnTo>
                      <a:pt x="81" y="152"/>
                    </a:lnTo>
                    <a:lnTo>
                      <a:pt x="84" y="162"/>
                    </a:lnTo>
                    <a:lnTo>
                      <a:pt x="84" y="172"/>
                    </a:lnTo>
                    <a:lnTo>
                      <a:pt x="84" y="172"/>
                    </a:lnTo>
                    <a:lnTo>
                      <a:pt x="94" y="173"/>
                    </a:lnTo>
                    <a:lnTo>
                      <a:pt x="94" y="173"/>
                    </a:lnTo>
                    <a:lnTo>
                      <a:pt x="98" y="172"/>
                    </a:lnTo>
                    <a:lnTo>
                      <a:pt x="99" y="170"/>
                    </a:lnTo>
                    <a:lnTo>
                      <a:pt x="104" y="172"/>
                    </a:lnTo>
                    <a:lnTo>
                      <a:pt x="104" y="172"/>
                    </a:lnTo>
                    <a:lnTo>
                      <a:pt x="105" y="173"/>
                    </a:lnTo>
                    <a:lnTo>
                      <a:pt x="105" y="175"/>
                    </a:lnTo>
                    <a:lnTo>
                      <a:pt x="106" y="176"/>
                    </a:lnTo>
                    <a:lnTo>
                      <a:pt x="108" y="176"/>
                    </a:lnTo>
                    <a:lnTo>
                      <a:pt x="108" y="176"/>
                    </a:lnTo>
                    <a:lnTo>
                      <a:pt x="115" y="175"/>
                    </a:lnTo>
                    <a:lnTo>
                      <a:pt x="122" y="175"/>
                    </a:lnTo>
                    <a:lnTo>
                      <a:pt x="122" y="175"/>
                    </a:lnTo>
                    <a:lnTo>
                      <a:pt x="128" y="175"/>
                    </a:lnTo>
                    <a:lnTo>
                      <a:pt x="131" y="175"/>
                    </a:lnTo>
                    <a:lnTo>
                      <a:pt x="132" y="173"/>
                    </a:lnTo>
                    <a:lnTo>
                      <a:pt x="132" y="173"/>
                    </a:lnTo>
                    <a:lnTo>
                      <a:pt x="133" y="169"/>
                    </a:lnTo>
                    <a:lnTo>
                      <a:pt x="135" y="167"/>
                    </a:lnTo>
                    <a:lnTo>
                      <a:pt x="136" y="167"/>
                    </a:lnTo>
                    <a:lnTo>
                      <a:pt x="136" y="167"/>
                    </a:lnTo>
                    <a:lnTo>
                      <a:pt x="141" y="169"/>
                    </a:lnTo>
                    <a:lnTo>
                      <a:pt x="143" y="169"/>
                    </a:lnTo>
                    <a:lnTo>
                      <a:pt x="146" y="167"/>
                    </a:lnTo>
                    <a:lnTo>
                      <a:pt x="146" y="167"/>
                    </a:lnTo>
                    <a:lnTo>
                      <a:pt x="149" y="166"/>
                    </a:lnTo>
                    <a:lnTo>
                      <a:pt x="152" y="166"/>
                    </a:lnTo>
                    <a:lnTo>
                      <a:pt x="156" y="166"/>
                    </a:lnTo>
                    <a:lnTo>
                      <a:pt x="158" y="165"/>
                    </a:lnTo>
                    <a:lnTo>
                      <a:pt x="158" y="165"/>
                    </a:lnTo>
                    <a:lnTo>
                      <a:pt x="163" y="160"/>
                    </a:lnTo>
                    <a:lnTo>
                      <a:pt x="175" y="155"/>
                    </a:lnTo>
                    <a:lnTo>
                      <a:pt x="175" y="155"/>
                    </a:lnTo>
                    <a:lnTo>
                      <a:pt x="173" y="152"/>
                    </a:lnTo>
                    <a:lnTo>
                      <a:pt x="172" y="150"/>
                    </a:lnTo>
                    <a:lnTo>
                      <a:pt x="169" y="148"/>
                    </a:lnTo>
                    <a:lnTo>
                      <a:pt x="165" y="146"/>
                    </a:lnTo>
                    <a:lnTo>
                      <a:pt x="163" y="143"/>
                    </a:lnTo>
                    <a:lnTo>
                      <a:pt x="163" y="140"/>
                    </a:lnTo>
                    <a:lnTo>
                      <a:pt x="163" y="14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5" name="DR Congo">
                <a:extLst>
                  <a:ext uri="{FF2B5EF4-FFF2-40B4-BE49-F238E27FC236}">
                    <a16:creationId xmlns:a16="http://schemas.microsoft.com/office/drawing/2014/main" id="{F3D8A485-96F4-6A45-93E2-7CFE960DE55A}"/>
                  </a:ext>
                </a:extLst>
              </p:cNvPr>
              <p:cNvSpPr>
                <a:spLocks/>
              </p:cNvSpPr>
              <p:nvPr/>
            </p:nvSpPr>
            <p:spPr bwMode="auto">
              <a:xfrm>
                <a:off x="4610474" y="4180999"/>
                <a:ext cx="436537" cy="451334"/>
              </a:xfrm>
              <a:custGeom>
                <a:avLst/>
                <a:gdLst/>
                <a:ahLst/>
                <a:cxnLst>
                  <a:cxn ang="0">
                    <a:pos x="261" y="151"/>
                  </a:cxn>
                  <a:cxn ang="0">
                    <a:pos x="263" y="131"/>
                  </a:cxn>
                  <a:cxn ang="0">
                    <a:pos x="259" y="124"/>
                  </a:cxn>
                  <a:cxn ang="0">
                    <a:pos x="266" y="111"/>
                  </a:cxn>
                  <a:cxn ang="0">
                    <a:pos x="271" y="98"/>
                  </a:cxn>
                  <a:cxn ang="0">
                    <a:pos x="278" y="73"/>
                  </a:cxn>
                  <a:cxn ang="0">
                    <a:pos x="283" y="64"/>
                  </a:cxn>
                  <a:cxn ang="0">
                    <a:pos x="295" y="51"/>
                  </a:cxn>
                  <a:cxn ang="0">
                    <a:pos x="289" y="43"/>
                  </a:cxn>
                  <a:cxn ang="0">
                    <a:pos x="272" y="13"/>
                  </a:cxn>
                  <a:cxn ang="0">
                    <a:pos x="259" y="13"/>
                  </a:cxn>
                  <a:cxn ang="0">
                    <a:pos x="245" y="14"/>
                  </a:cxn>
                  <a:cxn ang="0">
                    <a:pos x="235" y="3"/>
                  </a:cxn>
                  <a:cxn ang="0">
                    <a:pos x="207" y="2"/>
                  </a:cxn>
                  <a:cxn ang="0">
                    <a:pos x="192" y="4"/>
                  </a:cxn>
                  <a:cxn ang="0">
                    <a:pos x="168" y="10"/>
                  </a:cxn>
                  <a:cxn ang="0">
                    <a:pos x="158" y="22"/>
                  </a:cxn>
                  <a:cxn ang="0">
                    <a:pos x="114" y="6"/>
                  </a:cxn>
                  <a:cxn ang="0">
                    <a:pos x="97" y="30"/>
                  </a:cxn>
                  <a:cxn ang="0">
                    <a:pos x="90" y="57"/>
                  </a:cxn>
                  <a:cxn ang="0">
                    <a:pos x="77" y="97"/>
                  </a:cxn>
                  <a:cxn ang="0">
                    <a:pos x="64" y="113"/>
                  </a:cxn>
                  <a:cxn ang="0">
                    <a:pos x="59" y="148"/>
                  </a:cxn>
                  <a:cxn ang="0">
                    <a:pos x="50" y="160"/>
                  </a:cxn>
                  <a:cxn ang="0">
                    <a:pos x="39" y="164"/>
                  </a:cxn>
                  <a:cxn ang="0">
                    <a:pos x="23" y="164"/>
                  </a:cxn>
                  <a:cxn ang="0">
                    <a:pos x="0" y="169"/>
                  </a:cxn>
                  <a:cxn ang="0">
                    <a:pos x="12" y="185"/>
                  </a:cxn>
                  <a:cxn ang="0">
                    <a:pos x="70" y="188"/>
                  </a:cxn>
                  <a:cxn ang="0">
                    <a:pos x="74" y="205"/>
                  </a:cxn>
                  <a:cxn ang="0">
                    <a:pos x="90" y="219"/>
                  </a:cxn>
                  <a:cxn ang="0">
                    <a:pos x="110" y="215"/>
                  </a:cxn>
                  <a:cxn ang="0">
                    <a:pos x="123" y="201"/>
                  </a:cxn>
                  <a:cxn ang="0">
                    <a:pos x="135" y="205"/>
                  </a:cxn>
                  <a:cxn ang="0">
                    <a:pos x="148" y="218"/>
                  </a:cxn>
                  <a:cxn ang="0">
                    <a:pos x="147" y="242"/>
                  </a:cxn>
                  <a:cxn ang="0">
                    <a:pos x="155" y="256"/>
                  </a:cxn>
                  <a:cxn ang="0">
                    <a:pos x="158" y="268"/>
                  </a:cxn>
                  <a:cxn ang="0">
                    <a:pos x="178" y="263"/>
                  </a:cxn>
                  <a:cxn ang="0">
                    <a:pos x="187" y="268"/>
                  </a:cxn>
                  <a:cxn ang="0">
                    <a:pos x="199" y="269"/>
                  </a:cxn>
                  <a:cxn ang="0">
                    <a:pos x="205" y="278"/>
                  </a:cxn>
                  <a:cxn ang="0">
                    <a:pos x="219" y="282"/>
                  </a:cxn>
                  <a:cxn ang="0">
                    <a:pos x="228" y="278"/>
                  </a:cxn>
                  <a:cxn ang="0">
                    <a:pos x="241" y="286"/>
                  </a:cxn>
                  <a:cxn ang="0">
                    <a:pos x="255" y="296"/>
                  </a:cxn>
                  <a:cxn ang="0">
                    <a:pos x="271" y="303"/>
                  </a:cxn>
                  <a:cxn ang="0">
                    <a:pos x="273" y="289"/>
                  </a:cxn>
                  <a:cxn ang="0">
                    <a:pos x="261" y="288"/>
                  </a:cxn>
                  <a:cxn ang="0">
                    <a:pos x="249" y="273"/>
                  </a:cxn>
                  <a:cxn ang="0">
                    <a:pos x="255" y="245"/>
                  </a:cxn>
                  <a:cxn ang="0">
                    <a:pos x="256" y="233"/>
                  </a:cxn>
                  <a:cxn ang="0">
                    <a:pos x="261" y="224"/>
                  </a:cxn>
                  <a:cxn ang="0">
                    <a:pos x="281" y="219"/>
                  </a:cxn>
                  <a:cxn ang="0">
                    <a:pos x="269" y="201"/>
                  </a:cxn>
                </a:cxnLst>
                <a:rect l="0" t="0" r="r" b="b"/>
                <a:pathLst>
                  <a:path w="295" h="305">
                    <a:moveTo>
                      <a:pt x="269" y="201"/>
                    </a:moveTo>
                    <a:lnTo>
                      <a:pt x="269" y="201"/>
                    </a:lnTo>
                    <a:lnTo>
                      <a:pt x="266" y="198"/>
                    </a:lnTo>
                    <a:lnTo>
                      <a:pt x="265" y="191"/>
                    </a:lnTo>
                    <a:lnTo>
                      <a:pt x="262" y="171"/>
                    </a:lnTo>
                    <a:lnTo>
                      <a:pt x="261" y="151"/>
                    </a:lnTo>
                    <a:lnTo>
                      <a:pt x="262" y="144"/>
                    </a:lnTo>
                    <a:lnTo>
                      <a:pt x="262" y="141"/>
                    </a:lnTo>
                    <a:lnTo>
                      <a:pt x="262" y="141"/>
                    </a:lnTo>
                    <a:lnTo>
                      <a:pt x="263" y="142"/>
                    </a:lnTo>
                    <a:lnTo>
                      <a:pt x="263" y="131"/>
                    </a:lnTo>
                    <a:lnTo>
                      <a:pt x="263" y="131"/>
                    </a:lnTo>
                    <a:lnTo>
                      <a:pt x="262" y="131"/>
                    </a:lnTo>
                    <a:lnTo>
                      <a:pt x="262" y="131"/>
                    </a:lnTo>
                    <a:lnTo>
                      <a:pt x="261" y="130"/>
                    </a:lnTo>
                    <a:lnTo>
                      <a:pt x="259" y="125"/>
                    </a:lnTo>
                    <a:lnTo>
                      <a:pt x="259" y="125"/>
                    </a:lnTo>
                    <a:lnTo>
                      <a:pt x="259" y="124"/>
                    </a:lnTo>
                    <a:lnTo>
                      <a:pt x="261" y="123"/>
                    </a:lnTo>
                    <a:lnTo>
                      <a:pt x="262" y="121"/>
                    </a:lnTo>
                    <a:lnTo>
                      <a:pt x="262" y="121"/>
                    </a:lnTo>
                    <a:lnTo>
                      <a:pt x="262" y="117"/>
                    </a:lnTo>
                    <a:lnTo>
                      <a:pt x="263" y="113"/>
                    </a:lnTo>
                    <a:lnTo>
                      <a:pt x="266" y="111"/>
                    </a:lnTo>
                    <a:lnTo>
                      <a:pt x="266" y="111"/>
                    </a:lnTo>
                    <a:lnTo>
                      <a:pt x="268" y="110"/>
                    </a:lnTo>
                    <a:lnTo>
                      <a:pt x="268" y="110"/>
                    </a:lnTo>
                    <a:lnTo>
                      <a:pt x="269" y="104"/>
                    </a:lnTo>
                    <a:lnTo>
                      <a:pt x="271" y="98"/>
                    </a:lnTo>
                    <a:lnTo>
                      <a:pt x="271" y="98"/>
                    </a:lnTo>
                    <a:lnTo>
                      <a:pt x="271" y="91"/>
                    </a:lnTo>
                    <a:lnTo>
                      <a:pt x="273" y="84"/>
                    </a:lnTo>
                    <a:lnTo>
                      <a:pt x="273" y="84"/>
                    </a:lnTo>
                    <a:lnTo>
                      <a:pt x="275" y="77"/>
                    </a:lnTo>
                    <a:lnTo>
                      <a:pt x="275" y="74"/>
                    </a:lnTo>
                    <a:lnTo>
                      <a:pt x="278" y="73"/>
                    </a:lnTo>
                    <a:lnTo>
                      <a:pt x="278" y="73"/>
                    </a:lnTo>
                    <a:lnTo>
                      <a:pt x="279" y="70"/>
                    </a:lnTo>
                    <a:lnTo>
                      <a:pt x="281" y="68"/>
                    </a:lnTo>
                    <a:lnTo>
                      <a:pt x="281" y="66"/>
                    </a:lnTo>
                    <a:lnTo>
                      <a:pt x="283" y="64"/>
                    </a:lnTo>
                    <a:lnTo>
                      <a:pt x="283" y="64"/>
                    </a:lnTo>
                    <a:lnTo>
                      <a:pt x="288" y="61"/>
                    </a:lnTo>
                    <a:lnTo>
                      <a:pt x="291" y="59"/>
                    </a:lnTo>
                    <a:lnTo>
                      <a:pt x="291" y="59"/>
                    </a:lnTo>
                    <a:lnTo>
                      <a:pt x="292" y="56"/>
                    </a:lnTo>
                    <a:lnTo>
                      <a:pt x="293" y="53"/>
                    </a:lnTo>
                    <a:lnTo>
                      <a:pt x="295" y="51"/>
                    </a:lnTo>
                    <a:lnTo>
                      <a:pt x="295" y="51"/>
                    </a:lnTo>
                    <a:lnTo>
                      <a:pt x="293" y="49"/>
                    </a:lnTo>
                    <a:lnTo>
                      <a:pt x="292" y="47"/>
                    </a:lnTo>
                    <a:lnTo>
                      <a:pt x="291" y="46"/>
                    </a:lnTo>
                    <a:lnTo>
                      <a:pt x="289" y="43"/>
                    </a:lnTo>
                    <a:lnTo>
                      <a:pt x="289" y="43"/>
                    </a:lnTo>
                    <a:lnTo>
                      <a:pt x="291" y="29"/>
                    </a:lnTo>
                    <a:lnTo>
                      <a:pt x="291" y="29"/>
                    </a:lnTo>
                    <a:lnTo>
                      <a:pt x="291" y="29"/>
                    </a:lnTo>
                    <a:lnTo>
                      <a:pt x="291" y="29"/>
                    </a:lnTo>
                    <a:lnTo>
                      <a:pt x="272" y="13"/>
                    </a:lnTo>
                    <a:lnTo>
                      <a:pt x="272" y="13"/>
                    </a:lnTo>
                    <a:lnTo>
                      <a:pt x="269" y="13"/>
                    </a:lnTo>
                    <a:lnTo>
                      <a:pt x="268" y="14"/>
                    </a:lnTo>
                    <a:lnTo>
                      <a:pt x="265" y="16"/>
                    </a:lnTo>
                    <a:lnTo>
                      <a:pt x="265" y="16"/>
                    </a:lnTo>
                    <a:lnTo>
                      <a:pt x="262" y="13"/>
                    </a:lnTo>
                    <a:lnTo>
                      <a:pt x="259" y="13"/>
                    </a:lnTo>
                    <a:lnTo>
                      <a:pt x="255" y="14"/>
                    </a:lnTo>
                    <a:lnTo>
                      <a:pt x="255" y="14"/>
                    </a:lnTo>
                    <a:lnTo>
                      <a:pt x="252" y="16"/>
                    </a:lnTo>
                    <a:lnTo>
                      <a:pt x="249" y="16"/>
                    </a:lnTo>
                    <a:lnTo>
                      <a:pt x="245" y="14"/>
                    </a:lnTo>
                    <a:lnTo>
                      <a:pt x="245" y="14"/>
                    </a:lnTo>
                    <a:lnTo>
                      <a:pt x="244" y="13"/>
                    </a:lnTo>
                    <a:lnTo>
                      <a:pt x="241" y="10"/>
                    </a:lnTo>
                    <a:lnTo>
                      <a:pt x="239" y="6"/>
                    </a:lnTo>
                    <a:lnTo>
                      <a:pt x="239" y="6"/>
                    </a:lnTo>
                    <a:lnTo>
                      <a:pt x="236" y="4"/>
                    </a:lnTo>
                    <a:lnTo>
                      <a:pt x="235" y="3"/>
                    </a:lnTo>
                    <a:lnTo>
                      <a:pt x="235" y="3"/>
                    </a:lnTo>
                    <a:lnTo>
                      <a:pt x="222" y="4"/>
                    </a:lnTo>
                    <a:lnTo>
                      <a:pt x="222" y="4"/>
                    </a:lnTo>
                    <a:lnTo>
                      <a:pt x="215" y="2"/>
                    </a:lnTo>
                    <a:lnTo>
                      <a:pt x="209" y="0"/>
                    </a:lnTo>
                    <a:lnTo>
                      <a:pt x="207" y="2"/>
                    </a:lnTo>
                    <a:lnTo>
                      <a:pt x="205" y="3"/>
                    </a:lnTo>
                    <a:lnTo>
                      <a:pt x="205" y="3"/>
                    </a:lnTo>
                    <a:lnTo>
                      <a:pt x="202" y="6"/>
                    </a:lnTo>
                    <a:lnTo>
                      <a:pt x="199" y="6"/>
                    </a:lnTo>
                    <a:lnTo>
                      <a:pt x="192" y="4"/>
                    </a:lnTo>
                    <a:lnTo>
                      <a:pt x="192" y="4"/>
                    </a:lnTo>
                    <a:lnTo>
                      <a:pt x="187" y="6"/>
                    </a:lnTo>
                    <a:lnTo>
                      <a:pt x="182" y="7"/>
                    </a:lnTo>
                    <a:lnTo>
                      <a:pt x="175" y="10"/>
                    </a:lnTo>
                    <a:lnTo>
                      <a:pt x="175" y="10"/>
                    </a:lnTo>
                    <a:lnTo>
                      <a:pt x="172" y="10"/>
                    </a:lnTo>
                    <a:lnTo>
                      <a:pt x="168" y="10"/>
                    </a:lnTo>
                    <a:lnTo>
                      <a:pt x="165" y="9"/>
                    </a:lnTo>
                    <a:lnTo>
                      <a:pt x="162" y="10"/>
                    </a:lnTo>
                    <a:lnTo>
                      <a:pt x="162" y="10"/>
                    </a:lnTo>
                    <a:lnTo>
                      <a:pt x="161" y="13"/>
                    </a:lnTo>
                    <a:lnTo>
                      <a:pt x="160" y="16"/>
                    </a:lnTo>
                    <a:lnTo>
                      <a:pt x="158" y="22"/>
                    </a:lnTo>
                    <a:lnTo>
                      <a:pt x="127" y="14"/>
                    </a:lnTo>
                    <a:lnTo>
                      <a:pt x="127" y="14"/>
                    </a:lnTo>
                    <a:lnTo>
                      <a:pt x="123" y="10"/>
                    </a:lnTo>
                    <a:lnTo>
                      <a:pt x="118" y="7"/>
                    </a:lnTo>
                    <a:lnTo>
                      <a:pt x="114" y="6"/>
                    </a:lnTo>
                    <a:lnTo>
                      <a:pt x="114" y="6"/>
                    </a:lnTo>
                    <a:lnTo>
                      <a:pt x="111" y="6"/>
                    </a:lnTo>
                    <a:lnTo>
                      <a:pt x="108" y="7"/>
                    </a:lnTo>
                    <a:lnTo>
                      <a:pt x="103" y="13"/>
                    </a:lnTo>
                    <a:lnTo>
                      <a:pt x="97" y="19"/>
                    </a:lnTo>
                    <a:lnTo>
                      <a:pt x="97" y="30"/>
                    </a:lnTo>
                    <a:lnTo>
                      <a:pt x="97" y="30"/>
                    </a:lnTo>
                    <a:lnTo>
                      <a:pt x="97" y="34"/>
                    </a:lnTo>
                    <a:lnTo>
                      <a:pt x="97" y="39"/>
                    </a:lnTo>
                    <a:lnTo>
                      <a:pt x="94" y="46"/>
                    </a:lnTo>
                    <a:lnTo>
                      <a:pt x="94" y="46"/>
                    </a:lnTo>
                    <a:lnTo>
                      <a:pt x="91" y="53"/>
                    </a:lnTo>
                    <a:lnTo>
                      <a:pt x="90" y="57"/>
                    </a:lnTo>
                    <a:lnTo>
                      <a:pt x="89" y="63"/>
                    </a:lnTo>
                    <a:lnTo>
                      <a:pt x="89" y="63"/>
                    </a:lnTo>
                    <a:lnTo>
                      <a:pt x="87" y="71"/>
                    </a:lnTo>
                    <a:lnTo>
                      <a:pt x="83" y="81"/>
                    </a:lnTo>
                    <a:lnTo>
                      <a:pt x="79" y="90"/>
                    </a:lnTo>
                    <a:lnTo>
                      <a:pt x="77" y="97"/>
                    </a:lnTo>
                    <a:lnTo>
                      <a:pt x="77" y="97"/>
                    </a:lnTo>
                    <a:lnTo>
                      <a:pt x="77" y="100"/>
                    </a:lnTo>
                    <a:lnTo>
                      <a:pt x="74" y="103"/>
                    </a:lnTo>
                    <a:lnTo>
                      <a:pt x="70" y="107"/>
                    </a:lnTo>
                    <a:lnTo>
                      <a:pt x="66" y="111"/>
                    </a:lnTo>
                    <a:lnTo>
                      <a:pt x="64" y="113"/>
                    </a:lnTo>
                    <a:lnTo>
                      <a:pt x="63" y="114"/>
                    </a:lnTo>
                    <a:lnTo>
                      <a:pt x="63" y="114"/>
                    </a:lnTo>
                    <a:lnTo>
                      <a:pt x="61" y="141"/>
                    </a:lnTo>
                    <a:lnTo>
                      <a:pt x="61" y="141"/>
                    </a:lnTo>
                    <a:lnTo>
                      <a:pt x="61" y="147"/>
                    </a:lnTo>
                    <a:lnTo>
                      <a:pt x="59" y="148"/>
                    </a:lnTo>
                    <a:lnTo>
                      <a:pt x="57" y="148"/>
                    </a:lnTo>
                    <a:lnTo>
                      <a:pt x="56" y="154"/>
                    </a:lnTo>
                    <a:lnTo>
                      <a:pt x="56" y="154"/>
                    </a:lnTo>
                    <a:lnTo>
                      <a:pt x="56" y="158"/>
                    </a:lnTo>
                    <a:lnTo>
                      <a:pt x="53" y="160"/>
                    </a:lnTo>
                    <a:lnTo>
                      <a:pt x="50" y="160"/>
                    </a:lnTo>
                    <a:lnTo>
                      <a:pt x="46" y="162"/>
                    </a:lnTo>
                    <a:lnTo>
                      <a:pt x="46" y="162"/>
                    </a:lnTo>
                    <a:lnTo>
                      <a:pt x="42" y="167"/>
                    </a:lnTo>
                    <a:lnTo>
                      <a:pt x="40" y="165"/>
                    </a:lnTo>
                    <a:lnTo>
                      <a:pt x="39" y="164"/>
                    </a:lnTo>
                    <a:lnTo>
                      <a:pt x="39" y="164"/>
                    </a:lnTo>
                    <a:lnTo>
                      <a:pt x="39" y="161"/>
                    </a:lnTo>
                    <a:lnTo>
                      <a:pt x="36" y="160"/>
                    </a:lnTo>
                    <a:lnTo>
                      <a:pt x="32" y="160"/>
                    </a:lnTo>
                    <a:lnTo>
                      <a:pt x="26" y="162"/>
                    </a:lnTo>
                    <a:lnTo>
                      <a:pt x="26" y="162"/>
                    </a:lnTo>
                    <a:lnTo>
                      <a:pt x="23" y="164"/>
                    </a:lnTo>
                    <a:lnTo>
                      <a:pt x="20" y="164"/>
                    </a:lnTo>
                    <a:lnTo>
                      <a:pt x="16" y="161"/>
                    </a:lnTo>
                    <a:lnTo>
                      <a:pt x="16" y="161"/>
                    </a:lnTo>
                    <a:lnTo>
                      <a:pt x="10" y="164"/>
                    </a:lnTo>
                    <a:lnTo>
                      <a:pt x="0" y="169"/>
                    </a:lnTo>
                    <a:lnTo>
                      <a:pt x="0" y="169"/>
                    </a:lnTo>
                    <a:lnTo>
                      <a:pt x="5" y="178"/>
                    </a:lnTo>
                    <a:lnTo>
                      <a:pt x="6" y="187"/>
                    </a:lnTo>
                    <a:lnTo>
                      <a:pt x="6" y="187"/>
                    </a:lnTo>
                    <a:lnTo>
                      <a:pt x="6" y="188"/>
                    </a:lnTo>
                    <a:lnTo>
                      <a:pt x="6" y="188"/>
                    </a:lnTo>
                    <a:lnTo>
                      <a:pt x="12" y="185"/>
                    </a:lnTo>
                    <a:lnTo>
                      <a:pt x="16" y="184"/>
                    </a:lnTo>
                    <a:lnTo>
                      <a:pt x="16" y="184"/>
                    </a:lnTo>
                    <a:lnTo>
                      <a:pt x="43" y="184"/>
                    </a:lnTo>
                    <a:lnTo>
                      <a:pt x="67" y="184"/>
                    </a:lnTo>
                    <a:lnTo>
                      <a:pt x="67" y="184"/>
                    </a:lnTo>
                    <a:lnTo>
                      <a:pt x="70" y="188"/>
                    </a:lnTo>
                    <a:lnTo>
                      <a:pt x="70" y="192"/>
                    </a:lnTo>
                    <a:lnTo>
                      <a:pt x="70" y="197"/>
                    </a:lnTo>
                    <a:lnTo>
                      <a:pt x="70" y="197"/>
                    </a:lnTo>
                    <a:lnTo>
                      <a:pt x="70" y="201"/>
                    </a:lnTo>
                    <a:lnTo>
                      <a:pt x="71" y="202"/>
                    </a:lnTo>
                    <a:lnTo>
                      <a:pt x="74" y="205"/>
                    </a:lnTo>
                    <a:lnTo>
                      <a:pt x="77" y="209"/>
                    </a:lnTo>
                    <a:lnTo>
                      <a:pt x="77" y="209"/>
                    </a:lnTo>
                    <a:lnTo>
                      <a:pt x="80" y="215"/>
                    </a:lnTo>
                    <a:lnTo>
                      <a:pt x="83" y="218"/>
                    </a:lnTo>
                    <a:lnTo>
                      <a:pt x="86" y="219"/>
                    </a:lnTo>
                    <a:lnTo>
                      <a:pt x="90" y="219"/>
                    </a:lnTo>
                    <a:lnTo>
                      <a:pt x="90" y="219"/>
                    </a:lnTo>
                    <a:lnTo>
                      <a:pt x="101" y="216"/>
                    </a:lnTo>
                    <a:lnTo>
                      <a:pt x="108" y="216"/>
                    </a:lnTo>
                    <a:lnTo>
                      <a:pt x="108" y="216"/>
                    </a:lnTo>
                    <a:lnTo>
                      <a:pt x="110" y="216"/>
                    </a:lnTo>
                    <a:lnTo>
                      <a:pt x="110" y="215"/>
                    </a:lnTo>
                    <a:lnTo>
                      <a:pt x="111" y="211"/>
                    </a:lnTo>
                    <a:lnTo>
                      <a:pt x="113" y="205"/>
                    </a:lnTo>
                    <a:lnTo>
                      <a:pt x="116" y="202"/>
                    </a:lnTo>
                    <a:lnTo>
                      <a:pt x="116" y="202"/>
                    </a:lnTo>
                    <a:lnTo>
                      <a:pt x="120" y="201"/>
                    </a:lnTo>
                    <a:lnTo>
                      <a:pt x="123" y="201"/>
                    </a:lnTo>
                    <a:lnTo>
                      <a:pt x="128" y="202"/>
                    </a:lnTo>
                    <a:lnTo>
                      <a:pt x="128" y="202"/>
                    </a:lnTo>
                    <a:lnTo>
                      <a:pt x="130" y="204"/>
                    </a:lnTo>
                    <a:lnTo>
                      <a:pt x="131" y="205"/>
                    </a:lnTo>
                    <a:lnTo>
                      <a:pt x="135" y="205"/>
                    </a:lnTo>
                    <a:lnTo>
                      <a:pt x="135" y="205"/>
                    </a:lnTo>
                    <a:lnTo>
                      <a:pt x="144" y="205"/>
                    </a:lnTo>
                    <a:lnTo>
                      <a:pt x="145" y="205"/>
                    </a:lnTo>
                    <a:lnTo>
                      <a:pt x="147" y="208"/>
                    </a:lnTo>
                    <a:lnTo>
                      <a:pt x="147" y="208"/>
                    </a:lnTo>
                    <a:lnTo>
                      <a:pt x="147" y="215"/>
                    </a:lnTo>
                    <a:lnTo>
                      <a:pt x="148" y="218"/>
                    </a:lnTo>
                    <a:lnTo>
                      <a:pt x="150" y="221"/>
                    </a:lnTo>
                    <a:lnTo>
                      <a:pt x="150" y="221"/>
                    </a:lnTo>
                    <a:lnTo>
                      <a:pt x="150" y="225"/>
                    </a:lnTo>
                    <a:lnTo>
                      <a:pt x="148" y="232"/>
                    </a:lnTo>
                    <a:lnTo>
                      <a:pt x="147" y="239"/>
                    </a:lnTo>
                    <a:lnTo>
                      <a:pt x="147" y="242"/>
                    </a:lnTo>
                    <a:lnTo>
                      <a:pt x="147" y="243"/>
                    </a:lnTo>
                    <a:lnTo>
                      <a:pt x="147" y="243"/>
                    </a:lnTo>
                    <a:lnTo>
                      <a:pt x="153" y="249"/>
                    </a:lnTo>
                    <a:lnTo>
                      <a:pt x="155" y="253"/>
                    </a:lnTo>
                    <a:lnTo>
                      <a:pt x="155" y="256"/>
                    </a:lnTo>
                    <a:lnTo>
                      <a:pt x="155" y="256"/>
                    </a:lnTo>
                    <a:lnTo>
                      <a:pt x="154" y="263"/>
                    </a:lnTo>
                    <a:lnTo>
                      <a:pt x="154" y="268"/>
                    </a:lnTo>
                    <a:lnTo>
                      <a:pt x="155" y="269"/>
                    </a:lnTo>
                    <a:lnTo>
                      <a:pt x="155" y="269"/>
                    </a:lnTo>
                    <a:lnTo>
                      <a:pt x="157" y="269"/>
                    </a:lnTo>
                    <a:lnTo>
                      <a:pt x="158" y="268"/>
                    </a:lnTo>
                    <a:lnTo>
                      <a:pt x="161" y="265"/>
                    </a:lnTo>
                    <a:lnTo>
                      <a:pt x="164" y="265"/>
                    </a:lnTo>
                    <a:lnTo>
                      <a:pt x="164" y="265"/>
                    </a:lnTo>
                    <a:lnTo>
                      <a:pt x="171" y="265"/>
                    </a:lnTo>
                    <a:lnTo>
                      <a:pt x="178" y="263"/>
                    </a:lnTo>
                    <a:lnTo>
                      <a:pt x="178" y="263"/>
                    </a:lnTo>
                    <a:lnTo>
                      <a:pt x="180" y="263"/>
                    </a:lnTo>
                    <a:lnTo>
                      <a:pt x="182" y="263"/>
                    </a:lnTo>
                    <a:lnTo>
                      <a:pt x="182" y="263"/>
                    </a:lnTo>
                    <a:lnTo>
                      <a:pt x="185" y="266"/>
                    </a:lnTo>
                    <a:lnTo>
                      <a:pt x="187" y="268"/>
                    </a:lnTo>
                    <a:lnTo>
                      <a:pt x="187" y="268"/>
                    </a:lnTo>
                    <a:lnTo>
                      <a:pt x="188" y="270"/>
                    </a:lnTo>
                    <a:lnTo>
                      <a:pt x="190" y="270"/>
                    </a:lnTo>
                    <a:lnTo>
                      <a:pt x="191" y="270"/>
                    </a:lnTo>
                    <a:lnTo>
                      <a:pt x="191" y="270"/>
                    </a:lnTo>
                    <a:lnTo>
                      <a:pt x="197" y="269"/>
                    </a:lnTo>
                    <a:lnTo>
                      <a:pt x="199" y="269"/>
                    </a:lnTo>
                    <a:lnTo>
                      <a:pt x="201" y="270"/>
                    </a:lnTo>
                    <a:lnTo>
                      <a:pt x="201" y="270"/>
                    </a:lnTo>
                    <a:lnTo>
                      <a:pt x="201" y="273"/>
                    </a:lnTo>
                    <a:lnTo>
                      <a:pt x="202" y="276"/>
                    </a:lnTo>
                    <a:lnTo>
                      <a:pt x="204" y="278"/>
                    </a:lnTo>
                    <a:lnTo>
                      <a:pt x="205" y="278"/>
                    </a:lnTo>
                    <a:lnTo>
                      <a:pt x="205" y="278"/>
                    </a:lnTo>
                    <a:lnTo>
                      <a:pt x="208" y="278"/>
                    </a:lnTo>
                    <a:lnTo>
                      <a:pt x="212" y="280"/>
                    </a:lnTo>
                    <a:lnTo>
                      <a:pt x="217" y="282"/>
                    </a:lnTo>
                    <a:lnTo>
                      <a:pt x="219" y="282"/>
                    </a:lnTo>
                    <a:lnTo>
                      <a:pt x="219" y="282"/>
                    </a:lnTo>
                    <a:lnTo>
                      <a:pt x="224" y="282"/>
                    </a:lnTo>
                    <a:lnTo>
                      <a:pt x="225" y="282"/>
                    </a:lnTo>
                    <a:lnTo>
                      <a:pt x="227" y="280"/>
                    </a:lnTo>
                    <a:lnTo>
                      <a:pt x="227" y="280"/>
                    </a:lnTo>
                    <a:lnTo>
                      <a:pt x="227" y="279"/>
                    </a:lnTo>
                    <a:lnTo>
                      <a:pt x="228" y="278"/>
                    </a:lnTo>
                    <a:lnTo>
                      <a:pt x="231" y="276"/>
                    </a:lnTo>
                    <a:lnTo>
                      <a:pt x="232" y="278"/>
                    </a:lnTo>
                    <a:lnTo>
                      <a:pt x="232" y="278"/>
                    </a:lnTo>
                    <a:lnTo>
                      <a:pt x="235" y="283"/>
                    </a:lnTo>
                    <a:lnTo>
                      <a:pt x="238" y="286"/>
                    </a:lnTo>
                    <a:lnTo>
                      <a:pt x="241" y="286"/>
                    </a:lnTo>
                    <a:lnTo>
                      <a:pt x="241" y="286"/>
                    </a:lnTo>
                    <a:lnTo>
                      <a:pt x="248" y="288"/>
                    </a:lnTo>
                    <a:lnTo>
                      <a:pt x="251" y="288"/>
                    </a:lnTo>
                    <a:lnTo>
                      <a:pt x="252" y="289"/>
                    </a:lnTo>
                    <a:lnTo>
                      <a:pt x="252" y="289"/>
                    </a:lnTo>
                    <a:lnTo>
                      <a:pt x="255" y="296"/>
                    </a:lnTo>
                    <a:lnTo>
                      <a:pt x="256" y="300"/>
                    </a:lnTo>
                    <a:lnTo>
                      <a:pt x="259" y="303"/>
                    </a:lnTo>
                    <a:lnTo>
                      <a:pt x="259" y="303"/>
                    </a:lnTo>
                    <a:lnTo>
                      <a:pt x="262" y="305"/>
                    </a:lnTo>
                    <a:lnTo>
                      <a:pt x="266" y="305"/>
                    </a:lnTo>
                    <a:lnTo>
                      <a:pt x="271" y="303"/>
                    </a:lnTo>
                    <a:lnTo>
                      <a:pt x="271" y="303"/>
                    </a:lnTo>
                    <a:lnTo>
                      <a:pt x="272" y="302"/>
                    </a:lnTo>
                    <a:lnTo>
                      <a:pt x="273" y="299"/>
                    </a:lnTo>
                    <a:lnTo>
                      <a:pt x="273" y="296"/>
                    </a:lnTo>
                    <a:lnTo>
                      <a:pt x="273" y="296"/>
                    </a:lnTo>
                    <a:lnTo>
                      <a:pt x="273" y="289"/>
                    </a:lnTo>
                    <a:lnTo>
                      <a:pt x="272" y="286"/>
                    </a:lnTo>
                    <a:lnTo>
                      <a:pt x="271" y="285"/>
                    </a:lnTo>
                    <a:lnTo>
                      <a:pt x="271" y="285"/>
                    </a:lnTo>
                    <a:lnTo>
                      <a:pt x="266" y="288"/>
                    </a:lnTo>
                    <a:lnTo>
                      <a:pt x="263" y="288"/>
                    </a:lnTo>
                    <a:lnTo>
                      <a:pt x="261" y="288"/>
                    </a:lnTo>
                    <a:lnTo>
                      <a:pt x="261" y="288"/>
                    </a:lnTo>
                    <a:lnTo>
                      <a:pt x="256" y="286"/>
                    </a:lnTo>
                    <a:lnTo>
                      <a:pt x="254" y="282"/>
                    </a:lnTo>
                    <a:lnTo>
                      <a:pt x="249" y="275"/>
                    </a:lnTo>
                    <a:lnTo>
                      <a:pt x="249" y="275"/>
                    </a:lnTo>
                    <a:lnTo>
                      <a:pt x="249" y="273"/>
                    </a:lnTo>
                    <a:lnTo>
                      <a:pt x="251" y="269"/>
                    </a:lnTo>
                    <a:lnTo>
                      <a:pt x="252" y="265"/>
                    </a:lnTo>
                    <a:lnTo>
                      <a:pt x="254" y="261"/>
                    </a:lnTo>
                    <a:lnTo>
                      <a:pt x="254" y="261"/>
                    </a:lnTo>
                    <a:lnTo>
                      <a:pt x="255" y="251"/>
                    </a:lnTo>
                    <a:lnTo>
                      <a:pt x="255" y="245"/>
                    </a:lnTo>
                    <a:lnTo>
                      <a:pt x="254" y="242"/>
                    </a:lnTo>
                    <a:lnTo>
                      <a:pt x="254" y="242"/>
                    </a:lnTo>
                    <a:lnTo>
                      <a:pt x="252" y="241"/>
                    </a:lnTo>
                    <a:lnTo>
                      <a:pt x="252" y="239"/>
                    </a:lnTo>
                    <a:lnTo>
                      <a:pt x="254" y="236"/>
                    </a:lnTo>
                    <a:lnTo>
                      <a:pt x="256" y="233"/>
                    </a:lnTo>
                    <a:lnTo>
                      <a:pt x="256" y="233"/>
                    </a:lnTo>
                    <a:lnTo>
                      <a:pt x="258" y="231"/>
                    </a:lnTo>
                    <a:lnTo>
                      <a:pt x="258" y="228"/>
                    </a:lnTo>
                    <a:lnTo>
                      <a:pt x="258" y="225"/>
                    </a:lnTo>
                    <a:lnTo>
                      <a:pt x="259" y="224"/>
                    </a:lnTo>
                    <a:lnTo>
                      <a:pt x="261" y="224"/>
                    </a:lnTo>
                    <a:lnTo>
                      <a:pt x="261" y="224"/>
                    </a:lnTo>
                    <a:lnTo>
                      <a:pt x="271" y="224"/>
                    </a:lnTo>
                    <a:lnTo>
                      <a:pt x="276" y="222"/>
                    </a:lnTo>
                    <a:lnTo>
                      <a:pt x="279" y="221"/>
                    </a:lnTo>
                    <a:lnTo>
                      <a:pt x="279" y="221"/>
                    </a:lnTo>
                    <a:lnTo>
                      <a:pt x="281" y="219"/>
                    </a:lnTo>
                    <a:lnTo>
                      <a:pt x="281" y="219"/>
                    </a:lnTo>
                    <a:lnTo>
                      <a:pt x="282" y="218"/>
                    </a:lnTo>
                    <a:lnTo>
                      <a:pt x="282" y="218"/>
                    </a:lnTo>
                    <a:lnTo>
                      <a:pt x="276" y="208"/>
                    </a:lnTo>
                    <a:lnTo>
                      <a:pt x="273" y="204"/>
                    </a:lnTo>
                    <a:lnTo>
                      <a:pt x="269" y="201"/>
                    </a:lnTo>
                    <a:lnTo>
                      <a:pt x="269" y="20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6" name="South Africa">
                <a:extLst>
                  <a:ext uri="{FF2B5EF4-FFF2-40B4-BE49-F238E27FC236}">
                    <a16:creationId xmlns:a16="http://schemas.microsoft.com/office/drawing/2014/main" id="{9E614261-5264-0C4A-9B0D-C0FF7E0DFA58}"/>
                  </a:ext>
                </a:extLst>
              </p:cNvPr>
              <p:cNvSpPr>
                <a:spLocks noEditPoints="1"/>
              </p:cNvSpPr>
              <p:nvPr/>
            </p:nvSpPr>
            <p:spPr bwMode="auto">
              <a:xfrm>
                <a:off x="4703701" y="4843941"/>
                <a:ext cx="380305" cy="334431"/>
              </a:xfrm>
              <a:custGeom>
                <a:avLst/>
                <a:gdLst/>
                <a:ahLst/>
                <a:cxnLst>
                  <a:cxn ang="0">
                    <a:pos x="245" y="83"/>
                  </a:cxn>
                  <a:cxn ang="0">
                    <a:pos x="242" y="90"/>
                  </a:cxn>
                  <a:cxn ang="0">
                    <a:pos x="230" y="90"/>
                  </a:cxn>
                  <a:cxn ang="0">
                    <a:pos x="228" y="70"/>
                  </a:cxn>
                  <a:cxn ang="0">
                    <a:pos x="239" y="67"/>
                  </a:cxn>
                  <a:cxn ang="0">
                    <a:pos x="243" y="67"/>
                  </a:cxn>
                  <a:cxn ang="0">
                    <a:pos x="242" y="37"/>
                  </a:cxn>
                  <a:cxn ang="0">
                    <a:pos x="236" y="23"/>
                  </a:cxn>
                  <a:cxn ang="0">
                    <a:pos x="223" y="6"/>
                  </a:cxn>
                  <a:cxn ang="0">
                    <a:pos x="210" y="3"/>
                  </a:cxn>
                  <a:cxn ang="0">
                    <a:pos x="198" y="0"/>
                  </a:cxn>
                  <a:cxn ang="0">
                    <a:pos x="188" y="10"/>
                  </a:cxn>
                  <a:cxn ang="0">
                    <a:pos x="181" y="17"/>
                  </a:cxn>
                  <a:cxn ang="0">
                    <a:pos x="171" y="24"/>
                  </a:cxn>
                  <a:cxn ang="0">
                    <a:pos x="164" y="34"/>
                  </a:cxn>
                  <a:cxn ang="0">
                    <a:pos x="155" y="44"/>
                  </a:cxn>
                  <a:cxn ang="0">
                    <a:pos x="145" y="49"/>
                  </a:cxn>
                  <a:cxn ang="0">
                    <a:pos x="139" y="63"/>
                  </a:cxn>
                  <a:cxn ang="0">
                    <a:pos x="122" y="63"/>
                  </a:cxn>
                  <a:cxn ang="0">
                    <a:pos x="107" y="56"/>
                  </a:cxn>
                  <a:cxn ang="0">
                    <a:pos x="99" y="63"/>
                  </a:cxn>
                  <a:cxn ang="0">
                    <a:pos x="92" y="74"/>
                  </a:cxn>
                  <a:cxn ang="0">
                    <a:pos x="77" y="84"/>
                  </a:cxn>
                  <a:cxn ang="0">
                    <a:pos x="64" y="81"/>
                  </a:cxn>
                  <a:cxn ang="0">
                    <a:pos x="65" y="74"/>
                  </a:cxn>
                  <a:cxn ang="0">
                    <a:pos x="68" y="70"/>
                  </a:cxn>
                  <a:cxn ang="0">
                    <a:pos x="60" y="52"/>
                  </a:cxn>
                  <a:cxn ang="0">
                    <a:pos x="55" y="108"/>
                  </a:cxn>
                  <a:cxn ang="0">
                    <a:pos x="45" y="118"/>
                  </a:cxn>
                  <a:cxn ang="0">
                    <a:pos x="24" y="120"/>
                  </a:cxn>
                  <a:cxn ang="0">
                    <a:pos x="17" y="111"/>
                  </a:cxn>
                  <a:cxn ang="0">
                    <a:pos x="13" y="106"/>
                  </a:cxn>
                  <a:cxn ang="0">
                    <a:pos x="7" y="113"/>
                  </a:cxn>
                  <a:cxn ang="0">
                    <a:pos x="0" y="114"/>
                  </a:cxn>
                  <a:cxn ang="0">
                    <a:pos x="16" y="150"/>
                  </a:cxn>
                  <a:cxn ang="0">
                    <a:pos x="27" y="171"/>
                  </a:cxn>
                  <a:cxn ang="0">
                    <a:pos x="27" y="187"/>
                  </a:cxn>
                  <a:cxn ang="0">
                    <a:pos x="28" y="199"/>
                  </a:cxn>
                  <a:cxn ang="0">
                    <a:pos x="31" y="212"/>
                  </a:cxn>
                  <a:cxn ang="0">
                    <a:pos x="37" y="215"/>
                  </a:cxn>
                  <a:cxn ang="0">
                    <a:pos x="43" y="218"/>
                  </a:cxn>
                  <a:cxn ang="0">
                    <a:pos x="50" y="226"/>
                  </a:cxn>
                  <a:cxn ang="0">
                    <a:pos x="58" y="224"/>
                  </a:cxn>
                  <a:cxn ang="0">
                    <a:pos x="78" y="218"/>
                  </a:cxn>
                  <a:cxn ang="0">
                    <a:pos x="92" y="212"/>
                  </a:cxn>
                  <a:cxn ang="0">
                    <a:pos x="111" y="211"/>
                  </a:cxn>
                  <a:cxn ang="0">
                    <a:pos x="127" y="214"/>
                  </a:cxn>
                  <a:cxn ang="0">
                    <a:pos x="138" y="211"/>
                  </a:cxn>
                  <a:cxn ang="0">
                    <a:pos x="142" y="208"/>
                  </a:cxn>
                  <a:cxn ang="0">
                    <a:pos x="156" y="204"/>
                  </a:cxn>
                  <a:cxn ang="0">
                    <a:pos x="189" y="182"/>
                  </a:cxn>
                  <a:cxn ang="0">
                    <a:pos x="220" y="147"/>
                  </a:cxn>
                  <a:cxn ang="0">
                    <a:pos x="239" y="121"/>
                  </a:cxn>
                  <a:cxn ang="0">
                    <a:pos x="255" y="100"/>
                  </a:cxn>
                  <a:cxn ang="0">
                    <a:pos x="246" y="86"/>
                  </a:cxn>
                  <a:cxn ang="0">
                    <a:pos x="195" y="140"/>
                  </a:cxn>
                  <a:cxn ang="0">
                    <a:pos x="186" y="141"/>
                  </a:cxn>
                  <a:cxn ang="0">
                    <a:pos x="166" y="135"/>
                  </a:cxn>
                  <a:cxn ang="0">
                    <a:pos x="183" y="116"/>
                  </a:cxn>
                  <a:cxn ang="0">
                    <a:pos x="192" y="114"/>
                  </a:cxn>
                  <a:cxn ang="0">
                    <a:pos x="202" y="127"/>
                  </a:cxn>
                  <a:cxn ang="0">
                    <a:pos x="196" y="135"/>
                  </a:cxn>
                </a:cxnLst>
                <a:rect l="0" t="0" r="r" b="b"/>
                <a:pathLst>
                  <a:path w="257" h="226">
                    <a:moveTo>
                      <a:pt x="246" y="86"/>
                    </a:moveTo>
                    <a:lnTo>
                      <a:pt x="246" y="86"/>
                    </a:lnTo>
                    <a:lnTo>
                      <a:pt x="245" y="83"/>
                    </a:lnTo>
                    <a:lnTo>
                      <a:pt x="245" y="83"/>
                    </a:lnTo>
                    <a:lnTo>
                      <a:pt x="243" y="86"/>
                    </a:lnTo>
                    <a:lnTo>
                      <a:pt x="243" y="87"/>
                    </a:lnTo>
                    <a:lnTo>
                      <a:pt x="243" y="87"/>
                    </a:lnTo>
                    <a:lnTo>
                      <a:pt x="242" y="90"/>
                    </a:lnTo>
                    <a:lnTo>
                      <a:pt x="240" y="91"/>
                    </a:lnTo>
                    <a:lnTo>
                      <a:pt x="233" y="91"/>
                    </a:lnTo>
                    <a:lnTo>
                      <a:pt x="233" y="91"/>
                    </a:lnTo>
                    <a:lnTo>
                      <a:pt x="230" y="90"/>
                    </a:lnTo>
                    <a:lnTo>
                      <a:pt x="226" y="84"/>
                    </a:lnTo>
                    <a:lnTo>
                      <a:pt x="223" y="77"/>
                    </a:lnTo>
                    <a:lnTo>
                      <a:pt x="223" y="77"/>
                    </a:lnTo>
                    <a:lnTo>
                      <a:pt x="228" y="70"/>
                    </a:lnTo>
                    <a:lnTo>
                      <a:pt x="232" y="67"/>
                    </a:lnTo>
                    <a:lnTo>
                      <a:pt x="235" y="64"/>
                    </a:lnTo>
                    <a:lnTo>
                      <a:pt x="235" y="64"/>
                    </a:lnTo>
                    <a:lnTo>
                      <a:pt x="239" y="67"/>
                    </a:lnTo>
                    <a:lnTo>
                      <a:pt x="243" y="70"/>
                    </a:lnTo>
                    <a:lnTo>
                      <a:pt x="243" y="70"/>
                    </a:lnTo>
                    <a:lnTo>
                      <a:pt x="243" y="67"/>
                    </a:lnTo>
                    <a:lnTo>
                      <a:pt x="243" y="67"/>
                    </a:lnTo>
                    <a:lnTo>
                      <a:pt x="245" y="53"/>
                    </a:lnTo>
                    <a:lnTo>
                      <a:pt x="245" y="43"/>
                    </a:lnTo>
                    <a:lnTo>
                      <a:pt x="243" y="39"/>
                    </a:lnTo>
                    <a:lnTo>
                      <a:pt x="242" y="37"/>
                    </a:lnTo>
                    <a:lnTo>
                      <a:pt x="242" y="37"/>
                    </a:lnTo>
                    <a:lnTo>
                      <a:pt x="240" y="36"/>
                    </a:lnTo>
                    <a:lnTo>
                      <a:pt x="239" y="32"/>
                    </a:lnTo>
                    <a:lnTo>
                      <a:pt x="236" y="23"/>
                    </a:lnTo>
                    <a:lnTo>
                      <a:pt x="232" y="7"/>
                    </a:lnTo>
                    <a:lnTo>
                      <a:pt x="232" y="7"/>
                    </a:lnTo>
                    <a:lnTo>
                      <a:pt x="229" y="6"/>
                    </a:lnTo>
                    <a:lnTo>
                      <a:pt x="223" y="6"/>
                    </a:lnTo>
                    <a:lnTo>
                      <a:pt x="218" y="5"/>
                    </a:lnTo>
                    <a:lnTo>
                      <a:pt x="213" y="3"/>
                    </a:lnTo>
                    <a:lnTo>
                      <a:pt x="213" y="3"/>
                    </a:lnTo>
                    <a:lnTo>
                      <a:pt x="210" y="3"/>
                    </a:lnTo>
                    <a:lnTo>
                      <a:pt x="205" y="2"/>
                    </a:lnTo>
                    <a:lnTo>
                      <a:pt x="200" y="2"/>
                    </a:lnTo>
                    <a:lnTo>
                      <a:pt x="198" y="0"/>
                    </a:lnTo>
                    <a:lnTo>
                      <a:pt x="198" y="0"/>
                    </a:lnTo>
                    <a:lnTo>
                      <a:pt x="193" y="9"/>
                    </a:lnTo>
                    <a:lnTo>
                      <a:pt x="193" y="9"/>
                    </a:lnTo>
                    <a:lnTo>
                      <a:pt x="191" y="10"/>
                    </a:lnTo>
                    <a:lnTo>
                      <a:pt x="188" y="10"/>
                    </a:lnTo>
                    <a:lnTo>
                      <a:pt x="185" y="12"/>
                    </a:lnTo>
                    <a:lnTo>
                      <a:pt x="183" y="15"/>
                    </a:lnTo>
                    <a:lnTo>
                      <a:pt x="183" y="15"/>
                    </a:lnTo>
                    <a:lnTo>
                      <a:pt x="181" y="17"/>
                    </a:lnTo>
                    <a:lnTo>
                      <a:pt x="178" y="22"/>
                    </a:lnTo>
                    <a:lnTo>
                      <a:pt x="173" y="23"/>
                    </a:lnTo>
                    <a:lnTo>
                      <a:pt x="171" y="24"/>
                    </a:lnTo>
                    <a:lnTo>
                      <a:pt x="171" y="24"/>
                    </a:lnTo>
                    <a:lnTo>
                      <a:pt x="168" y="24"/>
                    </a:lnTo>
                    <a:lnTo>
                      <a:pt x="165" y="27"/>
                    </a:lnTo>
                    <a:lnTo>
                      <a:pt x="164" y="32"/>
                    </a:lnTo>
                    <a:lnTo>
                      <a:pt x="164" y="34"/>
                    </a:lnTo>
                    <a:lnTo>
                      <a:pt x="164" y="34"/>
                    </a:lnTo>
                    <a:lnTo>
                      <a:pt x="162" y="39"/>
                    </a:lnTo>
                    <a:lnTo>
                      <a:pt x="159" y="42"/>
                    </a:lnTo>
                    <a:lnTo>
                      <a:pt x="155" y="44"/>
                    </a:lnTo>
                    <a:lnTo>
                      <a:pt x="149" y="44"/>
                    </a:lnTo>
                    <a:lnTo>
                      <a:pt x="149" y="44"/>
                    </a:lnTo>
                    <a:lnTo>
                      <a:pt x="146" y="46"/>
                    </a:lnTo>
                    <a:lnTo>
                      <a:pt x="145" y="49"/>
                    </a:lnTo>
                    <a:lnTo>
                      <a:pt x="144" y="57"/>
                    </a:lnTo>
                    <a:lnTo>
                      <a:pt x="144" y="57"/>
                    </a:lnTo>
                    <a:lnTo>
                      <a:pt x="142" y="60"/>
                    </a:lnTo>
                    <a:lnTo>
                      <a:pt x="139" y="63"/>
                    </a:lnTo>
                    <a:lnTo>
                      <a:pt x="135" y="63"/>
                    </a:lnTo>
                    <a:lnTo>
                      <a:pt x="128" y="64"/>
                    </a:lnTo>
                    <a:lnTo>
                      <a:pt x="128" y="64"/>
                    </a:lnTo>
                    <a:lnTo>
                      <a:pt x="122" y="63"/>
                    </a:lnTo>
                    <a:lnTo>
                      <a:pt x="118" y="63"/>
                    </a:lnTo>
                    <a:lnTo>
                      <a:pt x="109" y="57"/>
                    </a:lnTo>
                    <a:lnTo>
                      <a:pt x="109" y="57"/>
                    </a:lnTo>
                    <a:lnTo>
                      <a:pt x="107" y="56"/>
                    </a:lnTo>
                    <a:lnTo>
                      <a:pt x="104" y="56"/>
                    </a:lnTo>
                    <a:lnTo>
                      <a:pt x="102" y="57"/>
                    </a:lnTo>
                    <a:lnTo>
                      <a:pt x="101" y="59"/>
                    </a:lnTo>
                    <a:lnTo>
                      <a:pt x="99" y="63"/>
                    </a:lnTo>
                    <a:lnTo>
                      <a:pt x="98" y="66"/>
                    </a:lnTo>
                    <a:lnTo>
                      <a:pt x="98" y="66"/>
                    </a:lnTo>
                    <a:lnTo>
                      <a:pt x="97" y="70"/>
                    </a:lnTo>
                    <a:lnTo>
                      <a:pt x="92" y="74"/>
                    </a:lnTo>
                    <a:lnTo>
                      <a:pt x="84" y="83"/>
                    </a:lnTo>
                    <a:lnTo>
                      <a:pt x="84" y="83"/>
                    </a:lnTo>
                    <a:lnTo>
                      <a:pt x="81" y="84"/>
                    </a:lnTo>
                    <a:lnTo>
                      <a:pt x="77" y="84"/>
                    </a:lnTo>
                    <a:lnTo>
                      <a:pt x="68" y="84"/>
                    </a:lnTo>
                    <a:lnTo>
                      <a:pt x="68" y="84"/>
                    </a:lnTo>
                    <a:lnTo>
                      <a:pt x="65" y="83"/>
                    </a:lnTo>
                    <a:lnTo>
                      <a:pt x="64" y="81"/>
                    </a:lnTo>
                    <a:lnTo>
                      <a:pt x="65" y="77"/>
                    </a:lnTo>
                    <a:lnTo>
                      <a:pt x="65" y="77"/>
                    </a:lnTo>
                    <a:lnTo>
                      <a:pt x="65" y="76"/>
                    </a:lnTo>
                    <a:lnTo>
                      <a:pt x="65" y="74"/>
                    </a:lnTo>
                    <a:lnTo>
                      <a:pt x="67" y="74"/>
                    </a:lnTo>
                    <a:lnTo>
                      <a:pt x="68" y="73"/>
                    </a:lnTo>
                    <a:lnTo>
                      <a:pt x="68" y="73"/>
                    </a:lnTo>
                    <a:lnTo>
                      <a:pt x="68" y="70"/>
                    </a:lnTo>
                    <a:lnTo>
                      <a:pt x="67" y="64"/>
                    </a:lnTo>
                    <a:lnTo>
                      <a:pt x="63" y="54"/>
                    </a:lnTo>
                    <a:lnTo>
                      <a:pt x="63" y="54"/>
                    </a:lnTo>
                    <a:lnTo>
                      <a:pt x="60" y="52"/>
                    </a:lnTo>
                    <a:lnTo>
                      <a:pt x="55" y="50"/>
                    </a:lnTo>
                    <a:lnTo>
                      <a:pt x="55" y="50"/>
                    </a:lnTo>
                    <a:lnTo>
                      <a:pt x="55" y="108"/>
                    </a:lnTo>
                    <a:lnTo>
                      <a:pt x="55" y="108"/>
                    </a:lnTo>
                    <a:lnTo>
                      <a:pt x="54" y="111"/>
                    </a:lnTo>
                    <a:lnTo>
                      <a:pt x="51" y="114"/>
                    </a:lnTo>
                    <a:lnTo>
                      <a:pt x="47" y="117"/>
                    </a:lnTo>
                    <a:lnTo>
                      <a:pt x="45" y="118"/>
                    </a:lnTo>
                    <a:lnTo>
                      <a:pt x="45" y="118"/>
                    </a:lnTo>
                    <a:lnTo>
                      <a:pt x="41" y="120"/>
                    </a:lnTo>
                    <a:lnTo>
                      <a:pt x="37" y="120"/>
                    </a:lnTo>
                    <a:lnTo>
                      <a:pt x="24" y="120"/>
                    </a:lnTo>
                    <a:lnTo>
                      <a:pt x="24" y="120"/>
                    </a:lnTo>
                    <a:lnTo>
                      <a:pt x="21" y="118"/>
                    </a:lnTo>
                    <a:lnTo>
                      <a:pt x="18" y="116"/>
                    </a:lnTo>
                    <a:lnTo>
                      <a:pt x="17" y="111"/>
                    </a:lnTo>
                    <a:lnTo>
                      <a:pt x="16" y="108"/>
                    </a:lnTo>
                    <a:lnTo>
                      <a:pt x="16" y="108"/>
                    </a:lnTo>
                    <a:lnTo>
                      <a:pt x="14" y="107"/>
                    </a:lnTo>
                    <a:lnTo>
                      <a:pt x="13" y="106"/>
                    </a:lnTo>
                    <a:lnTo>
                      <a:pt x="10" y="107"/>
                    </a:lnTo>
                    <a:lnTo>
                      <a:pt x="8" y="110"/>
                    </a:lnTo>
                    <a:lnTo>
                      <a:pt x="7" y="113"/>
                    </a:lnTo>
                    <a:lnTo>
                      <a:pt x="7" y="113"/>
                    </a:lnTo>
                    <a:lnTo>
                      <a:pt x="6" y="114"/>
                    </a:lnTo>
                    <a:lnTo>
                      <a:pt x="4" y="114"/>
                    </a:lnTo>
                    <a:lnTo>
                      <a:pt x="0" y="114"/>
                    </a:lnTo>
                    <a:lnTo>
                      <a:pt x="0" y="114"/>
                    </a:lnTo>
                    <a:lnTo>
                      <a:pt x="7" y="127"/>
                    </a:lnTo>
                    <a:lnTo>
                      <a:pt x="13" y="140"/>
                    </a:lnTo>
                    <a:lnTo>
                      <a:pt x="13" y="140"/>
                    </a:lnTo>
                    <a:lnTo>
                      <a:pt x="16" y="150"/>
                    </a:lnTo>
                    <a:lnTo>
                      <a:pt x="20" y="158"/>
                    </a:lnTo>
                    <a:lnTo>
                      <a:pt x="24" y="165"/>
                    </a:lnTo>
                    <a:lnTo>
                      <a:pt x="27" y="171"/>
                    </a:lnTo>
                    <a:lnTo>
                      <a:pt x="27" y="171"/>
                    </a:lnTo>
                    <a:lnTo>
                      <a:pt x="30" y="181"/>
                    </a:lnTo>
                    <a:lnTo>
                      <a:pt x="30" y="185"/>
                    </a:lnTo>
                    <a:lnTo>
                      <a:pt x="27" y="187"/>
                    </a:lnTo>
                    <a:lnTo>
                      <a:pt x="27" y="187"/>
                    </a:lnTo>
                    <a:lnTo>
                      <a:pt x="24" y="188"/>
                    </a:lnTo>
                    <a:lnTo>
                      <a:pt x="24" y="191"/>
                    </a:lnTo>
                    <a:lnTo>
                      <a:pt x="24" y="194"/>
                    </a:lnTo>
                    <a:lnTo>
                      <a:pt x="28" y="199"/>
                    </a:lnTo>
                    <a:lnTo>
                      <a:pt x="28" y="199"/>
                    </a:lnTo>
                    <a:lnTo>
                      <a:pt x="30" y="205"/>
                    </a:lnTo>
                    <a:lnTo>
                      <a:pt x="31" y="209"/>
                    </a:lnTo>
                    <a:lnTo>
                      <a:pt x="31" y="212"/>
                    </a:lnTo>
                    <a:lnTo>
                      <a:pt x="33" y="214"/>
                    </a:lnTo>
                    <a:lnTo>
                      <a:pt x="33" y="214"/>
                    </a:lnTo>
                    <a:lnTo>
                      <a:pt x="35" y="214"/>
                    </a:lnTo>
                    <a:lnTo>
                      <a:pt x="37" y="215"/>
                    </a:lnTo>
                    <a:lnTo>
                      <a:pt x="38" y="217"/>
                    </a:lnTo>
                    <a:lnTo>
                      <a:pt x="40" y="218"/>
                    </a:lnTo>
                    <a:lnTo>
                      <a:pt x="40" y="218"/>
                    </a:lnTo>
                    <a:lnTo>
                      <a:pt x="43" y="218"/>
                    </a:lnTo>
                    <a:lnTo>
                      <a:pt x="44" y="219"/>
                    </a:lnTo>
                    <a:lnTo>
                      <a:pt x="48" y="224"/>
                    </a:lnTo>
                    <a:lnTo>
                      <a:pt x="48" y="224"/>
                    </a:lnTo>
                    <a:lnTo>
                      <a:pt x="50" y="226"/>
                    </a:lnTo>
                    <a:lnTo>
                      <a:pt x="53" y="226"/>
                    </a:lnTo>
                    <a:lnTo>
                      <a:pt x="55" y="225"/>
                    </a:lnTo>
                    <a:lnTo>
                      <a:pt x="58" y="224"/>
                    </a:lnTo>
                    <a:lnTo>
                      <a:pt x="58" y="224"/>
                    </a:lnTo>
                    <a:lnTo>
                      <a:pt x="61" y="221"/>
                    </a:lnTo>
                    <a:lnTo>
                      <a:pt x="65" y="219"/>
                    </a:lnTo>
                    <a:lnTo>
                      <a:pt x="78" y="218"/>
                    </a:lnTo>
                    <a:lnTo>
                      <a:pt x="78" y="218"/>
                    </a:lnTo>
                    <a:lnTo>
                      <a:pt x="82" y="218"/>
                    </a:lnTo>
                    <a:lnTo>
                      <a:pt x="85" y="217"/>
                    </a:lnTo>
                    <a:lnTo>
                      <a:pt x="88" y="215"/>
                    </a:lnTo>
                    <a:lnTo>
                      <a:pt x="92" y="212"/>
                    </a:lnTo>
                    <a:lnTo>
                      <a:pt x="92" y="212"/>
                    </a:lnTo>
                    <a:lnTo>
                      <a:pt x="98" y="211"/>
                    </a:lnTo>
                    <a:lnTo>
                      <a:pt x="105" y="211"/>
                    </a:lnTo>
                    <a:lnTo>
                      <a:pt x="111" y="211"/>
                    </a:lnTo>
                    <a:lnTo>
                      <a:pt x="117" y="212"/>
                    </a:lnTo>
                    <a:lnTo>
                      <a:pt x="117" y="212"/>
                    </a:lnTo>
                    <a:lnTo>
                      <a:pt x="122" y="214"/>
                    </a:lnTo>
                    <a:lnTo>
                      <a:pt x="127" y="214"/>
                    </a:lnTo>
                    <a:lnTo>
                      <a:pt x="132" y="211"/>
                    </a:lnTo>
                    <a:lnTo>
                      <a:pt x="132" y="211"/>
                    </a:lnTo>
                    <a:lnTo>
                      <a:pt x="135" y="209"/>
                    </a:lnTo>
                    <a:lnTo>
                      <a:pt x="138" y="211"/>
                    </a:lnTo>
                    <a:lnTo>
                      <a:pt x="141" y="211"/>
                    </a:lnTo>
                    <a:lnTo>
                      <a:pt x="142" y="209"/>
                    </a:lnTo>
                    <a:lnTo>
                      <a:pt x="142" y="208"/>
                    </a:lnTo>
                    <a:lnTo>
                      <a:pt x="142" y="208"/>
                    </a:lnTo>
                    <a:lnTo>
                      <a:pt x="144" y="205"/>
                    </a:lnTo>
                    <a:lnTo>
                      <a:pt x="146" y="204"/>
                    </a:lnTo>
                    <a:lnTo>
                      <a:pt x="156" y="204"/>
                    </a:lnTo>
                    <a:lnTo>
                      <a:pt x="156" y="204"/>
                    </a:lnTo>
                    <a:lnTo>
                      <a:pt x="162" y="202"/>
                    </a:lnTo>
                    <a:lnTo>
                      <a:pt x="171" y="198"/>
                    </a:lnTo>
                    <a:lnTo>
                      <a:pt x="179" y="191"/>
                    </a:lnTo>
                    <a:lnTo>
                      <a:pt x="189" y="182"/>
                    </a:lnTo>
                    <a:lnTo>
                      <a:pt x="189" y="182"/>
                    </a:lnTo>
                    <a:lnTo>
                      <a:pt x="199" y="172"/>
                    </a:lnTo>
                    <a:lnTo>
                      <a:pt x="209" y="160"/>
                    </a:lnTo>
                    <a:lnTo>
                      <a:pt x="220" y="147"/>
                    </a:lnTo>
                    <a:lnTo>
                      <a:pt x="228" y="137"/>
                    </a:lnTo>
                    <a:lnTo>
                      <a:pt x="228" y="137"/>
                    </a:lnTo>
                    <a:lnTo>
                      <a:pt x="232" y="128"/>
                    </a:lnTo>
                    <a:lnTo>
                      <a:pt x="239" y="121"/>
                    </a:lnTo>
                    <a:lnTo>
                      <a:pt x="250" y="111"/>
                    </a:lnTo>
                    <a:lnTo>
                      <a:pt x="250" y="111"/>
                    </a:lnTo>
                    <a:lnTo>
                      <a:pt x="253" y="107"/>
                    </a:lnTo>
                    <a:lnTo>
                      <a:pt x="255" y="100"/>
                    </a:lnTo>
                    <a:lnTo>
                      <a:pt x="257" y="84"/>
                    </a:lnTo>
                    <a:lnTo>
                      <a:pt x="257" y="84"/>
                    </a:lnTo>
                    <a:lnTo>
                      <a:pt x="246" y="86"/>
                    </a:lnTo>
                    <a:lnTo>
                      <a:pt x="246" y="86"/>
                    </a:lnTo>
                    <a:close/>
                    <a:moveTo>
                      <a:pt x="196" y="138"/>
                    </a:moveTo>
                    <a:lnTo>
                      <a:pt x="196" y="138"/>
                    </a:lnTo>
                    <a:lnTo>
                      <a:pt x="196" y="140"/>
                    </a:lnTo>
                    <a:lnTo>
                      <a:pt x="195" y="140"/>
                    </a:lnTo>
                    <a:lnTo>
                      <a:pt x="192" y="140"/>
                    </a:lnTo>
                    <a:lnTo>
                      <a:pt x="188" y="140"/>
                    </a:lnTo>
                    <a:lnTo>
                      <a:pt x="186" y="141"/>
                    </a:lnTo>
                    <a:lnTo>
                      <a:pt x="186" y="141"/>
                    </a:lnTo>
                    <a:lnTo>
                      <a:pt x="182" y="150"/>
                    </a:lnTo>
                    <a:lnTo>
                      <a:pt x="175" y="148"/>
                    </a:lnTo>
                    <a:lnTo>
                      <a:pt x="166" y="135"/>
                    </a:lnTo>
                    <a:lnTo>
                      <a:pt x="166" y="135"/>
                    </a:lnTo>
                    <a:lnTo>
                      <a:pt x="175" y="121"/>
                    </a:lnTo>
                    <a:lnTo>
                      <a:pt x="175" y="121"/>
                    </a:lnTo>
                    <a:lnTo>
                      <a:pt x="178" y="118"/>
                    </a:lnTo>
                    <a:lnTo>
                      <a:pt x="183" y="116"/>
                    </a:lnTo>
                    <a:lnTo>
                      <a:pt x="188" y="113"/>
                    </a:lnTo>
                    <a:lnTo>
                      <a:pt x="191" y="114"/>
                    </a:lnTo>
                    <a:lnTo>
                      <a:pt x="192" y="114"/>
                    </a:lnTo>
                    <a:lnTo>
                      <a:pt x="192" y="114"/>
                    </a:lnTo>
                    <a:lnTo>
                      <a:pt x="193" y="117"/>
                    </a:lnTo>
                    <a:lnTo>
                      <a:pt x="198" y="121"/>
                    </a:lnTo>
                    <a:lnTo>
                      <a:pt x="200" y="124"/>
                    </a:lnTo>
                    <a:lnTo>
                      <a:pt x="202" y="127"/>
                    </a:lnTo>
                    <a:lnTo>
                      <a:pt x="202" y="127"/>
                    </a:lnTo>
                    <a:lnTo>
                      <a:pt x="200" y="130"/>
                    </a:lnTo>
                    <a:lnTo>
                      <a:pt x="199" y="133"/>
                    </a:lnTo>
                    <a:lnTo>
                      <a:pt x="196" y="135"/>
                    </a:lnTo>
                    <a:lnTo>
                      <a:pt x="196" y="138"/>
                    </a:lnTo>
                    <a:lnTo>
                      <a:pt x="196" y="13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837" name="Madagascar">
                <a:extLst>
                  <a:ext uri="{FF2B5EF4-FFF2-40B4-BE49-F238E27FC236}">
                    <a16:creationId xmlns:a16="http://schemas.microsoft.com/office/drawing/2014/main" id="{B7F6AD65-EC88-B74E-8893-D864631B86B8}"/>
                  </a:ext>
                </a:extLst>
              </p:cNvPr>
              <p:cNvSpPr>
                <a:spLocks/>
              </p:cNvSpPr>
              <p:nvPr/>
            </p:nvSpPr>
            <p:spPr bwMode="auto">
              <a:xfrm>
                <a:off x="5332609" y="4598298"/>
                <a:ext cx="170176" cy="335911"/>
              </a:xfrm>
              <a:custGeom>
                <a:avLst/>
                <a:gdLst/>
                <a:ahLst/>
                <a:cxnLst>
                  <a:cxn ang="0">
                    <a:pos x="98" y="3"/>
                  </a:cxn>
                  <a:cxn ang="0">
                    <a:pos x="94" y="1"/>
                  </a:cxn>
                  <a:cxn ang="0">
                    <a:pos x="93" y="7"/>
                  </a:cxn>
                  <a:cxn ang="0">
                    <a:pos x="90" y="18"/>
                  </a:cxn>
                  <a:cxn ang="0">
                    <a:pos x="88" y="21"/>
                  </a:cxn>
                  <a:cxn ang="0">
                    <a:pos x="83" y="25"/>
                  </a:cxn>
                  <a:cxn ang="0">
                    <a:pos x="80" y="25"/>
                  </a:cxn>
                  <a:cxn ang="0">
                    <a:pos x="74" y="27"/>
                  </a:cxn>
                  <a:cxn ang="0">
                    <a:pos x="73" y="33"/>
                  </a:cxn>
                  <a:cxn ang="0">
                    <a:pos x="73" y="35"/>
                  </a:cxn>
                  <a:cxn ang="0">
                    <a:pos x="71" y="38"/>
                  </a:cxn>
                  <a:cxn ang="0">
                    <a:pos x="71" y="41"/>
                  </a:cxn>
                  <a:cxn ang="0">
                    <a:pos x="69" y="47"/>
                  </a:cxn>
                  <a:cxn ang="0">
                    <a:pos x="60" y="51"/>
                  </a:cxn>
                  <a:cxn ang="0">
                    <a:pos x="54" y="52"/>
                  </a:cxn>
                  <a:cxn ang="0">
                    <a:pos x="43" y="61"/>
                  </a:cxn>
                  <a:cxn ang="0">
                    <a:pos x="37" y="62"/>
                  </a:cxn>
                  <a:cxn ang="0">
                    <a:pos x="32" y="62"/>
                  </a:cxn>
                  <a:cxn ang="0">
                    <a:pos x="22" y="65"/>
                  </a:cxn>
                  <a:cxn ang="0">
                    <a:pos x="17" y="67"/>
                  </a:cxn>
                  <a:cxn ang="0">
                    <a:pos x="14" y="68"/>
                  </a:cxn>
                  <a:cxn ang="0">
                    <a:pos x="13" y="81"/>
                  </a:cxn>
                  <a:cxn ang="0">
                    <a:pos x="10" y="88"/>
                  </a:cxn>
                  <a:cxn ang="0">
                    <a:pos x="7" y="101"/>
                  </a:cxn>
                  <a:cxn ang="0">
                    <a:pos x="13" y="117"/>
                  </a:cxn>
                  <a:cxn ang="0">
                    <a:pos x="14" y="124"/>
                  </a:cxn>
                  <a:cxn ang="0">
                    <a:pos x="16" y="135"/>
                  </a:cxn>
                  <a:cxn ang="0">
                    <a:pos x="9" y="149"/>
                  </a:cxn>
                  <a:cxn ang="0">
                    <a:pos x="5" y="155"/>
                  </a:cxn>
                  <a:cxn ang="0">
                    <a:pos x="0" y="171"/>
                  </a:cxn>
                  <a:cxn ang="0">
                    <a:pos x="3" y="188"/>
                  </a:cxn>
                  <a:cxn ang="0">
                    <a:pos x="5" y="195"/>
                  </a:cxn>
                  <a:cxn ang="0">
                    <a:pos x="9" y="212"/>
                  </a:cxn>
                  <a:cxn ang="0">
                    <a:pos x="13" y="218"/>
                  </a:cxn>
                  <a:cxn ang="0">
                    <a:pos x="27" y="226"/>
                  </a:cxn>
                  <a:cxn ang="0">
                    <a:pos x="39" y="226"/>
                  </a:cxn>
                  <a:cxn ang="0">
                    <a:pos x="42" y="225"/>
                  </a:cxn>
                  <a:cxn ang="0">
                    <a:pos x="49" y="223"/>
                  </a:cxn>
                  <a:cxn ang="0">
                    <a:pos x="59" y="219"/>
                  </a:cxn>
                  <a:cxn ang="0">
                    <a:pos x="63" y="209"/>
                  </a:cxn>
                  <a:cxn ang="0">
                    <a:pos x="81" y="152"/>
                  </a:cxn>
                  <a:cxn ang="0">
                    <a:pos x="93" y="114"/>
                  </a:cxn>
                  <a:cxn ang="0">
                    <a:pos x="98" y="89"/>
                  </a:cxn>
                  <a:cxn ang="0">
                    <a:pos x="98" y="84"/>
                  </a:cxn>
                  <a:cxn ang="0">
                    <a:pos x="103" y="75"/>
                  </a:cxn>
                  <a:cxn ang="0">
                    <a:pos x="101" y="71"/>
                  </a:cxn>
                  <a:cxn ang="0">
                    <a:pos x="101" y="61"/>
                  </a:cxn>
                  <a:cxn ang="0">
                    <a:pos x="104" y="60"/>
                  </a:cxn>
                  <a:cxn ang="0">
                    <a:pos x="106" y="61"/>
                  </a:cxn>
                  <a:cxn ang="0">
                    <a:pos x="111" y="65"/>
                  </a:cxn>
                  <a:cxn ang="0">
                    <a:pos x="115" y="60"/>
                  </a:cxn>
                  <a:cxn ang="0">
                    <a:pos x="115" y="52"/>
                  </a:cxn>
                  <a:cxn ang="0">
                    <a:pos x="110" y="37"/>
                  </a:cxn>
                  <a:cxn ang="0">
                    <a:pos x="110" y="28"/>
                  </a:cxn>
                  <a:cxn ang="0">
                    <a:pos x="104" y="13"/>
                  </a:cxn>
                  <a:cxn ang="0">
                    <a:pos x="98" y="3"/>
                  </a:cxn>
                </a:cxnLst>
                <a:rect l="0" t="0" r="r" b="b"/>
                <a:pathLst>
                  <a:path w="115" h="227">
                    <a:moveTo>
                      <a:pt x="98" y="3"/>
                    </a:moveTo>
                    <a:lnTo>
                      <a:pt x="98" y="3"/>
                    </a:lnTo>
                    <a:lnTo>
                      <a:pt x="96" y="0"/>
                    </a:lnTo>
                    <a:lnTo>
                      <a:pt x="94" y="1"/>
                    </a:lnTo>
                    <a:lnTo>
                      <a:pt x="93" y="7"/>
                    </a:lnTo>
                    <a:lnTo>
                      <a:pt x="93" y="7"/>
                    </a:lnTo>
                    <a:lnTo>
                      <a:pt x="90" y="11"/>
                    </a:lnTo>
                    <a:lnTo>
                      <a:pt x="90" y="18"/>
                    </a:lnTo>
                    <a:lnTo>
                      <a:pt x="90" y="18"/>
                    </a:lnTo>
                    <a:lnTo>
                      <a:pt x="88" y="21"/>
                    </a:lnTo>
                    <a:lnTo>
                      <a:pt x="87" y="24"/>
                    </a:lnTo>
                    <a:lnTo>
                      <a:pt x="83" y="25"/>
                    </a:lnTo>
                    <a:lnTo>
                      <a:pt x="80" y="25"/>
                    </a:lnTo>
                    <a:lnTo>
                      <a:pt x="80" y="25"/>
                    </a:lnTo>
                    <a:lnTo>
                      <a:pt x="77" y="25"/>
                    </a:lnTo>
                    <a:lnTo>
                      <a:pt x="74" y="27"/>
                    </a:lnTo>
                    <a:lnTo>
                      <a:pt x="71" y="30"/>
                    </a:lnTo>
                    <a:lnTo>
                      <a:pt x="73" y="33"/>
                    </a:lnTo>
                    <a:lnTo>
                      <a:pt x="73" y="33"/>
                    </a:lnTo>
                    <a:lnTo>
                      <a:pt x="73" y="35"/>
                    </a:lnTo>
                    <a:lnTo>
                      <a:pt x="71" y="37"/>
                    </a:lnTo>
                    <a:lnTo>
                      <a:pt x="71" y="38"/>
                    </a:lnTo>
                    <a:lnTo>
                      <a:pt x="71" y="41"/>
                    </a:lnTo>
                    <a:lnTo>
                      <a:pt x="71" y="41"/>
                    </a:lnTo>
                    <a:lnTo>
                      <a:pt x="71" y="44"/>
                    </a:lnTo>
                    <a:lnTo>
                      <a:pt x="69" y="47"/>
                    </a:lnTo>
                    <a:lnTo>
                      <a:pt x="64" y="50"/>
                    </a:lnTo>
                    <a:lnTo>
                      <a:pt x="60" y="51"/>
                    </a:lnTo>
                    <a:lnTo>
                      <a:pt x="60" y="51"/>
                    </a:lnTo>
                    <a:lnTo>
                      <a:pt x="54" y="52"/>
                    </a:lnTo>
                    <a:lnTo>
                      <a:pt x="49" y="57"/>
                    </a:lnTo>
                    <a:lnTo>
                      <a:pt x="43" y="61"/>
                    </a:lnTo>
                    <a:lnTo>
                      <a:pt x="40" y="62"/>
                    </a:lnTo>
                    <a:lnTo>
                      <a:pt x="37" y="62"/>
                    </a:lnTo>
                    <a:lnTo>
                      <a:pt x="37" y="62"/>
                    </a:lnTo>
                    <a:lnTo>
                      <a:pt x="32" y="62"/>
                    </a:lnTo>
                    <a:lnTo>
                      <a:pt x="27" y="64"/>
                    </a:lnTo>
                    <a:lnTo>
                      <a:pt x="22" y="65"/>
                    </a:lnTo>
                    <a:lnTo>
                      <a:pt x="17" y="67"/>
                    </a:lnTo>
                    <a:lnTo>
                      <a:pt x="17" y="67"/>
                    </a:lnTo>
                    <a:lnTo>
                      <a:pt x="16" y="67"/>
                    </a:lnTo>
                    <a:lnTo>
                      <a:pt x="14" y="68"/>
                    </a:lnTo>
                    <a:lnTo>
                      <a:pt x="13" y="74"/>
                    </a:lnTo>
                    <a:lnTo>
                      <a:pt x="13" y="81"/>
                    </a:lnTo>
                    <a:lnTo>
                      <a:pt x="10" y="88"/>
                    </a:lnTo>
                    <a:lnTo>
                      <a:pt x="10" y="88"/>
                    </a:lnTo>
                    <a:lnTo>
                      <a:pt x="9" y="94"/>
                    </a:lnTo>
                    <a:lnTo>
                      <a:pt x="7" y="101"/>
                    </a:lnTo>
                    <a:lnTo>
                      <a:pt x="10" y="108"/>
                    </a:lnTo>
                    <a:lnTo>
                      <a:pt x="13" y="117"/>
                    </a:lnTo>
                    <a:lnTo>
                      <a:pt x="13" y="117"/>
                    </a:lnTo>
                    <a:lnTo>
                      <a:pt x="14" y="124"/>
                    </a:lnTo>
                    <a:lnTo>
                      <a:pt x="16" y="132"/>
                    </a:lnTo>
                    <a:lnTo>
                      <a:pt x="16" y="135"/>
                    </a:lnTo>
                    <a:lnTo>
                      <a:pt x="14" y="139"/>
                    </a:lnTo>
                    <a:lnTo>
                      <a:pt x="9" y="149"/>
                    </a:lnTo>
                    <a:lnTo>
                      <a:pt x="9" y="149"/>
                    </a:lnTo>
                    <a:lnTo>
                      <a:pt x="5" y="155"/>
                    </a:lnTo>
                    <a:lnTo>
                      <a:pt x="2" y="159"/>
                    </a:lnTo>
                    <a:lnTo>
                      <a:pt x="0" y="171"/>
                    </a:lnTo>
                    <a:lnTo>
                      <a:pt x="0" y="179"/>
                    </a:lnTo>
                    <a:lnTo>
                      <a:pt x="3" y="188"/>
                    </a:lnTo>
                    <a:lnTo>
                      <a:pt x="3" y="188"/>
                    </a:lnTo>
                    <a:lnTo>
                      <a:pt x="5" y="195"/>
                    </a:lnTo>
                    <a:lnTo>
                      <a:pt x="7" y="203"/>
                    </a:lnTo>
                    <a:lnTo>
                      <a:pt x="9" y="212"/>
                    </a:lnTo>
                    <a:lnTo>
                      <a:pt x="13" y="218"/>
                    </a:lnTo>
                    <a:lnTo>
                      <a:pt x="13" y="218"/>
                    </a:lnTo>
                    <a:lnTo>
                      <a:pt x="19" y="223"/>
                    </a:lnTo>
                    <a:lnTo>
                      <a:pt x="27" y="226"/>
                    </a:lnTo>
                    <a:lnTo>
                      <a:pt x="36" y="227"/>
                    </a:lnTo>
                    <a:lnTo>
                      <a:pt x="39" y="226"/>
                    </a:lnTo>
                    <a:lnTo>
                      <a:pt x="42" y="225"/>
                    </a:lnTo>
                    <a:lnTo>
                      <a:pt x="42" y="225"/>
                    </a:lnTo>
                    <a:lnTo>
                      <a:pt x="46" y="223"/>
                    </a:lnTo>
                    <a:lnTo>
                      <a:pt x="49" y="223"/>
                    </a:lnTo>
                    <a:lnTo>
                      <a:pt x="53" y="222"/>
                    </a:lnTo>
                    <a:lnTo>
                      <a:pt x="59" y="219"/>
                    </a:lnTo>
                    <a:lnTo>
                      <a:pt x="59" y="219"/>
                    </a:lnTo>
                    <a:lnTo>
                      <a:pt x="63" y="209"/>
                    </a:lnTo>
                    <a:lnTo>
                      <a:pt x="69" y="192"/>
                    </a:lnTo>
                    <a:lnTo>
                      <a:pt x="81" y="152"/>
                    </a:lnTo>
                    <a:lnTo>
                      <a:pt x="81" y="152"/>
                    </a:lnTo>
                    <a:lnTo>
                      <a:pt x="93" y="114"/>
                    </a:lnTo>
                    <a:lnTo>
                      <a:pt x="97" y="98"/>
                    </a:lnTo>
                    <a:lnTo>
                      <a:pt x="98" y="89"/>
                    </a:lnTo>
                    <a:lnTo>
                      <a:pt x="98" y="89"/>
                    </a:lnTo>
                    <a:lnTo>
                      <a:pt x="98" y="84"/>
                    </a:lnTo>
                    <a:lnTo>
                      <a:pt x="101" y="80"/>
                    </a:lnTo>
                    <a:lnTo>
                      <a:pt x="103" y="75"/>
                    </a:lnTo>
                    <a:lnTo>
                      <a:pt x="101" y="71"/>
                    </a:lnTo>
                    <a:lnTo>
                      <a:pt x="101" y="71"/>
                    </a:lnTo>
                    <a:lnTo>
                      <a:pt x="100" y="65"/>
                    </a:lnTo>
                    <a:lnTo>
                      <a:pt x="101" y="61"/>
                    </a:lnTo>
                    <a:lnTo>
                      <a:pt x="103" y="60"/>
                    </a:lnTo>
                    <a:lnTo>
                      <a:pt x="104" y="60"/>
                    </a:lnTo>
                    <a:lnTo>
                      <a:pt x="106" y="61"/>
                    </a:lnTo>
                    <a:lnTo>
                      <a:pt x="106" y="61"/>
                    </a:lnTo>
                    <a:lnTo>
                      <a:pt x="108" y="64"/>
                    </a:lnTo>
                    <a:lnTo>
                      <a:pt x="111" y="65"/>
                    </a:lnTo>
                    <a:lnTo>
                      <a:pt x="114" y="64"/>
                    </a:lnTo>
                    <a:lnTo>
                      <a:pt x="115" y="60"/>
                    </a:lnTo>
                    <a:lnTo>
                      <a:pt x="115" y="60"/>
                    </a:lnTo>
                    <a:lnTo>
                      <a:pt x="115" y="52"/>
                    </a:lnTo>
                    <a:lnTo>
                      <a:pt x="113" y="45"/>
                    </a:lnTo>
                    <a:lnTo>
                      <a:pt x="110" y="37"/>
                    </a:lnTo>
                    <a:lnTo>
                      <a:pt x="110" y="28"/>
                    </a:lnTo>
                    <a:lnTo>
                      <a:pt x="110" y="28"/>
                    </a:lnTo>
                    <a:lnTo>
                      <a:pt x="107" y="21"/>
                    </a:lnTo>
                    <a:lnTo>
                      <a:pt x="104" y="13"/>
                    </a:lnTo>
                    <a:lnTo>
                      <a:pt x="100" y="7"/>
                    </a:lnTo>
                    <a:lnTo>
                      <a:pt x="98" y="3"/>
                    </a:lnTo>
                    <a:lnTo>
                      <a:pt x="98" y="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8" name="Ghana">
                <a:extLst>
                  <a:ext uri="{FF2B5EF4-FFF2-40B4-BE49-F238E27FC236}">
                    <a16:creationId xmlns:a16="http://schemas.microsoft.com/office/drawing/2014/main" id="{45AA0C3C-F60A-3848-89EF-C023DA5B7274}"/>
                  </a:ext>
                </a:extLst>
              </p:cNvPr>
              <p:cNvSpPr>
                <a:spLocks/>
              </p:cNvSpPr>
              <p:nvPr/>
            </p:nvSpPr>
            <p:spPr bwMode="auto">
              <a:xfrm>
                <a:off x="4246448" y="4044859"/>
                <a:ext cx="100626" cy="153897"/>
              </a:xfrm>
              <a:custGeom>
                <a:avLst/>
                <a:gdLst/>
                <a:ahLst/>
                <a:cxnLst>
                  <a:cxn ang="0">
                    <a:pos x="59" y="42"/>
                  </a:cxn>
                  <a:cxn ang="0">
                    <a:pos x="59" y="42"/>
                  </a:cxn>
                  <a:cxn ang="0">
                    <a:pos x="57" y="37"/>
                  </a:cxn>
                  <a:cxn ang="0">
                    <a:pos x="57" y="31"/>
                  </a:cxn>
                  <a:cxn ang="0">
                    <a:pos x="59" y="20"/>
                  </a:cxn>
                  <a:cxn ang="0">
                    <a:pos x="59" y="20"/>
                  </a:cxn>
                  <a:cxn ang="0">
                    <a:pos x="57" y="14"/>
                  </a:cxn>
                  <a:cxn ang="0">
                    <a:pos x="54" y="10"/>
                  </a:cxn>
                  <a:cxn ang="0">
                    <a:pos x="54" y="10"/>
                  </a:cxn>
                  <a:cxn ang="0">
                    <a:pos x="53" y="7"/>
                  </a:cxn>
                  <a:cxn ang="0">
                    <a:pos x="51" y="0"/>
                  </a:cxn>
                  <a:cxn ang="0">
                    <a:pos x="51" y="0"/>
                  </a:cxn>
                  <a:cxn ang="0">
                    <a:pos x="50" y="1"/>
                  </a:cxn>
                  <a:cxn ang="0">
                    <a:pos x="49" y="3"/>
                  </a:cxn>
                  <a:cxn ang="0">
                    <a:pos x="47" y="4"/>
                  </a:cxn>
                  <a:cxn ang="0">
                    <a:pos x="47" y="4"/>
                  </a:cxn>
                  <a:cxn ang="0">
                    <a:pos x="47" y="4"/>
                  </a:cxn>
                  <a:cxn ang="0">
                    <a:pos x="40" y="3"/>
                  </a:cxn>
                  <a:cxn ang="0">
                    <a:pos x="27" y="1"/>
                  </a:cxn>
                  <a:cxn ang="0">
                    <a:pos x="13" y="1"/>
                  </a:cxn>
                  <a:cxn ang="0">
                    <a:pos x="9" y="3"/>
                  </a:cxn>
                  <a:cxn ang="0">
                    <a:pos x="7" y="3"/>
                  </a:cxn>
                  <a:cxn ang="0">
                    <a:pos x="7" y="3"/>
                  </a:cxn>
                  <a:cxn ang="0">
                    <a:pos x="6" y="7"/>
                  </a:cxn>
                  <a:cxn ang="0">
                    <a:pos x="7" y="11"/>
                  </a:cxn>
                  <a:cxn ang="0">
                    <a:pos x="10" y="20"/>
                  </a:cxn>
                  <a:cxn ang="0">
                    <a:pos x="10" y="20"/>
                  </a:cxn>
                  <a:cxn ang="0">
                    <a:pos x="9" y="21"/>
                  </a:cxn>
                  <a:cxn ang="0">
                    <a:pos x="7" y="22"/>
                  </a:cxn>
                  <a:cxn ang="0">
                    <a:pos x="7" y="22"/>
                  </a:cxn>
                  <a:cxn ang="0">
                    <a:pos x="10" y="30"/>
                  </a:cxn>
                  <a:cxn ang="0">
                    <a:pos x="12" y="37"/>
                  </a:cxn>
                  <a:cxn ang="0">
                    <a:pos x="13" y="47"/>
                  </a:cxn>
                  <a:cxn ang="0">
                    <a:pos x="13" y="47"/>
                  </a:cxn>
                  <a:cxn ang="0">
                    <a:pos x="12" y="50"/>
                  </a:cxn>
                  <a:cxn ang="0">
                    <a:pos x="10" y="52"/>
                  </a:cxn>
                  <a:cxn ang="0">
                    <a:pos x="7" y="55"/>
                  </a:cxn>
                  <a:cxn ang="0">
                    <a:pos x="7" y="58"/>
                  </a:cxn>
                  <a:cxn ang="0">
                    <a:pos x="7" y="58"/>
                  </a:cxn>
                  <a:cxn ang="0">
                    <a:pos x="6" y="61"/>
                  </a:cxn>
                  <a:cxn ang="0">
                    <a:pos x="4" y="67"/>
                  </a:cxn>
                  <a:cxn ang="0">
                    <a:pos x="0" y="74"/>
                  </a:cxn>
                  <a:cxn ang="0">
                    <a:pos x="0" y="74"/>
                  </a:cxn>
                  <a:cxn ang="0">
                    <a:pos x="3" y="82"/>
                  </a:cxn>
                  <a:cxn ang="0">
                    <a:pos x="7" y="91"/>
                  </a:cxn>
                  <a:cxn ang="0">
                    <a:pos x="7" y="91"/>
                  </a:cxn>
                  <a:cxn ang="0">
                    <a:pos x="7" y="95"/>
                  </a:cxn>
                  <a:cxn ang="0">
                    <a:pos x="7" y="99"/>
                  </a:cxn>
                  <a:cxn ang="0">
                    <a:pos x="7" y="99"/>
                  </a:cxn>
                  <a:cxn ang="0">
                    <a:pos x="19" y="104"/>
                  </a:cxn>
                  <a:cxn ang="0">
                    <a:pos x="19" y="104"/>
                  </a:cxn>
                  <a:cxn ang="0">
                    <a:pos x="24" y="102"/>
                  </a:cxn>
                  <a:cxn ang="0">
                    <a:pos x="33" y="99"/>
                  </a:cxn>
                  <a:cxn ang="0">
                    <a:pos x="50" y="91"/>
                  </a:cxn>
                  <a:cxn ang="0">
                    <a:pos x="50" y="91"/>
                  </a:cxn>
                  <a:cxn ang="0">
                    <a:pos x="68" y="82"/>
                  </a:cxn>
                  <a:cxn ang="0">
                    <a:pos x="68" y="82"/>
                  </a:cxn>
                  <a:cxn ang="0">
                    <a:pos x="64" y="74"/>
                  </a:cxn>
                  <a:cxn ang="0">
                    <a:pos x="63" y="64"/>
                  </a:cxn>
                  <a:cxn ang="0">
                    <a:pos x="63" y="64"/>
                  </a:cxn>
                  <a:cxn ang="0">
                    <a:pos x="61" y="52"/>
                  </a:cxn>
                  <a:cxn ang="0">
                    <a:pos x="59" y="42"/>
                  </a:cxn>
                  <a:cxn ang="0">
                    <a:pos x="59" y="42"/>
                  </a:cxn>
                </a:cxnLst>
                <a:rect l="0" t="0" r="r" b="b"/>
                <a:pathLst>
                  <a:path w="68" h="104">
                    <a:moveTo>
                      <a:pt x="59" y="42"/>
                    </a:moveTo>
                    <a:lnTo>
                      <a:pt x="59" y="42"/>
                    </a:lnTo>
                    <a:lnTo>
                      <a:pt x="57" y="37"/>
                    </a:lnTo>
                    <a:lnTo>
                      <a:pt x="57" y="31"/>
                    </a:lnTo>
                    <a:lnTo>
                      <a:pt x="59" y="20"/>
                    </a:lnTo>
                    <a:lnTo>
                      <a:pt x="59" y="20"/>
                    </a:lnTo>
                    <a:lnTo>
                      <a:pt x="57" y="14"/>
                    </a:lnTo>
                    <a:lnTo>
                      <a:pt x="54" y="10"/>
                    </a:lnTo>
                    <a:lnTo>
                      <a:pt x="54" y="10"/>
                    </a:lnTo>
                    <a:lnTo>
                      <a:pt x="53" y="7"/>
                    </a:lnTo>
                    <a:lnTo>
                      <a:pt x="51" y="0"/>
                    </a:lnTo>
                    <a:lnTo>
                      <a:pt x="51" y="0"/>
                    </a:lnTo>
                    <a:lnTo>
                      <a:pt x="50" y="1"/>
                    </a:lnTo>
                    <a:lnTo>
                      <a:pt x="49" y="3"/>
                    </a:lnTo>
                    <a:lnTo>
                      <a:pt x="47" y="4"/>
                    </a:lnTo>
                    <a:lnTo>
                      <a:pt x="47" y="4"/>
                    </a:lnTo>
                    <a:lnTo>
                      <a:pt x="47" y="4"/>
                    </a:lnTo>
                    <a:lnTo>
                      <a:pt x="40" y="3"/>
                    </a:lnTo>
                    <a:lnTo>
                      <a:pt x="27" y="1"/>
                    </a:lnTo>
                    <a:lnTo>
                      <a:pt x="13" y="1"/>
                    </a:lnTo>
                    <a:lnTo>
                      <a:pt x="9" y="3"/>
                    </a:lnTo>
                    <a:lnTo>
                      <a:pt x="7" y="3"/>
                    </a:lnTo>
                    <a:lnTo>
                      <a:pt x="7" y="3"/>
                    </a:lnTo>
                    <a:lnTo>
                      <a:pt x="6" y="7"/>
                    </a:lnTo>
                    <a:lnTo>
                      <a:pt x="7" y="11"/>
                    </a:lnTo>
                    <a:lnTo>
                      <a:pt x="10" y="20"/>
                    </a:lnTo>
                    <a:lnTo>
                      <a:pt x="10" y="20"/>
                    </a:lnTo>
                    <a:lnTo>
                      <a:pt x="9" y="21"/>
                    </a:lnTo>
                    <a:lnTo>
                      <a:pt x="7" y="22"/>
                    </a:lnTo>
                    <a:lnTo>
                      <a:pt x="7" y="22"/>
                    </a:lnTo>
                    <a:lnTo>
                      <a:pt x="10" y="30"/>
                    </a:lnTo>
                    <a:lnTo>
                      <a:pt x="12" y="37"/>
                    </a:lnTo>
                    <a:lnTo>
                      <a:pt x="13" y="47"/>
                    </a:lnTo>
                    <a:lnTo>
                      <a:pt x="13" y="47"/>
                    </a:lnTo>
                    <a:lnTo>
                      <a:pt x="12" y="50"/>
                    </a:lnTo>
                    <a:lnTo>
                      <a:pt x="10" y="52"/>
                    </a:lnTo>
                    <a:lnTo>
                      <a:pt x="7" y="55"/>
                    </a:lnTo>
                    <a:lnTo>
                      <a:pt x="7" y="58"/>
                    </a:lnTo>
                    <a:lnTo>
                      <a:pt x="7" y="58"/>
                    </a:lnTo>
                    <a:lnTo>
                      <a:pt x="6" y="61"/>
                    </a:lnTo>
                    <a:lnTo>
                      <a:pt x="4" y="67"/>
                    </a:lnTo>
                    <a:lnTo>
                      <a:pt x="0" y="74"/>
                    </a:lnTo>
                    <a:lnTo>
                      <a:pt x="0" y="74"/>
                    </a:lnTo>
                    <a:lnTo>
                      <a:pt x="3" y="82"/>
                    </a:lnTo>
                    <a:lnTo>
                      <a:pt x="7" y="91"/>
                    </a:lnTo>
                    <a:lnTo>
                      <a:pt x="7" y="91"/>
                    </a:lnTo>
                    <a:lnTo>
                      <a:pt x="7" y="95"/>
                    </a:lnTo>
                    <a:lnTo>
                      <a:pt x="7" y="99"/>
                    </a:lnTo>
                    <a:lnTo>
                      <a:pt x="7" y="99"/>
                    </a:lnTo>
                    <a:lnTo>
                      <a:pt x="19" y="104"/>
                    </a:lnTo>
                    <a:lnTo>
                      <a:pt x="19" y="104"/>
                    </a:lnTo>
                    <a:lnTo>
                      <a:pt x="24" y="102"/>
                    </a:lnTo>
                    <a:lnTo>
                      <a:pt x="33" y="99"/>
                    </a:lnTo>
                    <a:lnTo>
                      <a:pt x="50" y="91"/>
                    </a:lnTo>
                    <a:lnTo>
                      <a:pt x="50" y="91"/>
                    </a:lnTo>
                    <a:lnTo>
                      <a:pt x="68" y="82"/>
                    </a:lnTo>
                    <a:lnTo>
                      <a:pt x="68" y="82"/>
                    </a:lnTo>
                    <a:lnTo>
                      <a:pt x="64" y="74"/>
                    </a:lnTo>
                    <a:lnTo>
                      <a:pt x="63" y="64"/>
                    </a:lnTo>
                    <a:lnTo>
                      <a:pt x="63" y="64"/>
                    </a:lnTo>
                    <a:lnTo>
                      <a:pt x="61" y="52"/>
                    </a:lnTo>
                    <a:lnTo>
                      <a:pt x="59" y="42"/>
                    </a:lnTo>
                    <a:lnTo>
                      <a:pt x="59" y="4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839" name="Liberia">
                <a:extLst>
                  <a:ext uri="{FF2B5EF4-FFF2-40B4-BE49-F238E27FC236}">
                    <a16:creationId xmlns:a16="http://schemas.microsoft.com/office/drawing/2014/main" id="{5A777BE6-5D15-A442-85A3-B96451A13A74}"/>
                  </a:ext>
                </a:extLst>
              </p:cNvPr>
              <p:cNvSpPr>
                <a:spLocks/>
              </p:cNvSpPr>
              <p:nvPr/>
            </p:nvSpPr>
            <p:spPr bwMode="auto">
              <a:xfrm>
                <a:off x="4048156" y="4109969"/>
                <a:ext cx="99146" cy="94706"/>
              </a:xfrm>
              <a:custGeom>
                <a:avLst/>
                <a:gdLst/>
                <a:ahLst/>
                <a:cxnLst>
                  <a:cxn ang="0">
                    <a:pos x="55" y="37"/>
                  </a:cxn>
                  <a:cxn ang="0">
                    <a:pos x="55" y="37"/>
                  </a:cxn>
                  <a:cxn ang="0">
                    <a:pos x="50" y="34"/>
                  </a:cxn>
                  <a:cxn ang="0">
                    <a:pos x="49" y="33"/>
                  </a:cxn>
                  <a:cxn ang="0">
                    <a:pos x="50" y="31"/>
                  </a:cxn>
                  <a:cxn ang="0">
                    <a:pos x="50" y="31"/>
                  </a:cxn>
                  <a:cxn ang="0">
                    <a:pos x="50" y="30"/>
                  </a:cxn>
                  <a:cxn ang="0">
                    <a:pos x="52" y="27"/>
                  </a:cxn>
                  <a:cxn ang="0">
                    <a:pos x="52" y="20"/>
                  </a:cxn>
                  <a:cxn ang="0">
                    <a:pos x="52" y="20"/>
                  </a:cxn>
                  <a:cxn ang="0">
                    <a:pos x="52" y="15"/>
                  </a:cxn>
                  <a:cxn ang="0">
                    <a:pos x="52" y="15"/>
                  </a:cxn>
                  <a:cxn ang="0">
                    <a:pos x="50" y="15"/>
                  </a:cxn>
                  <a:cxn ang="0">
                    <a:pos x="49" y="14"/>
                  </a:cxn>
                  <a:cxn ang="0">
                    <a:pos x="49" y="14"/>
                  </a:cxn>
                  <a:cxn ang="0">
                    <a:pos x="47" y="13"/>
                  </a:cxn>
                  <a:cxn ang="0">
                    <a:pos x="46" y="14"/>
                  </a:cxn>
                  <a:cxn ang="0">
                    <a:pos x="42" y="18"/>
                  </a:cxn>
                  <a:cxn ang="0">
                    <a:pos x="42" y="18"/>
                  </a:cxn>
                  <a:cxn ang="0">
                    <a:pos x="40" y="20"/>
                  </a:cxn>
                  <a:cxn ang="0">
                    <a:pos x="37" y="18"/>
                  </a:cxn>
                  <a:cxn ang="0">
                    <a:pos x="35" y="17"/>
                  </a:cxn>
                  <a:cxn ang="0">
                    <a:pos x="35" y="13"/>
                  </a:cxn>
                  <a:cxn ang="0">
                    <a:pos x="35" y="13"/>
                  </a:cxn>
                  <a:cxn ang="0">
                    <a:pos x="35" y="8"/>
                  </a:cxn>
                  <a:cxn ang="0">
                    <a:pos x="33" y="4"/>
                  </a:cxn>
                  <a:cxn ang="0">
                    <a:pos x="32" y="1"/>
                  </a:cxn>
                  <a:cxn ang="0">
                    <a:pos x="30" y="0"/>
                  </a:cxn>
                  <a:cxn ang="0">
                    <a:pos x="30" y="0"/>
                  </a:cxn>
                  <a:cxn ang="0">
                    <a:pos x="19" y="1"/>
                  </a:cxn>
                  <a:cxn ang="0">
                    <a:pos x="19" y="1"/>
                  </a:cxn>
                  <a:cxn ang="0">
                    <a:pos x="19" y="6"/>
                  </a:cxn>
                  <a:cxn ang="0">
                    <a:pos x="18" y="10"/>
                  </a:cxn>
                  <a:cxn ang="0">
                    <a:pos x="18" y="10"/>
                  </a:cxn>
                  <a:cxn ang="0">
                    <a:pos x="15" y="13"/>
                  </a:cxn>
                  <a:cxn ang="0">
                    <a:pos x="12" y="15"/>
                  </a:cxn>
                  <a:cxn ang="0">
                    <a:pos x="5" y="20"/>
                  </a:cxn>
                  <a:cxn ang="0">
                    <a:pos x="5" y="20"/>
                  </a:cxn>
                  <a:cxn ang="0">
                    <a:pos x="0" y="25"/>
                  </a:cxn>
                  <a:cxn ang="0">
                    <a:pos x="0" y="25"/>
                  </a:cxn>
                  <a:cxn ang="0">
                    <a:pos x="22" y="40"/>
                  </a:cxn>
                  <a:cxn ang="0">
                    <a:pos x="22" y="40"/>
                  </a:cxn>
                  <a:cxn ang="0">
                    <a:pos x="42" y="54"/>
                  </a:cxn>
                  <a:cxn ang="0">
                    <a:pos x="52" y="60"/>
                  </a:cxn>
                  <a:cxn ang="0">
                    <a:pos x="59" y="62"/>
                  </a:cxn>
                  <a:cxn ang="0">
                    <a:pos x="59" y="62"/>
                  </a:cxn>
                  <a:cxn ang="0">
                    <a:pos x="63" y="64"/>
                  </a:cxn>
                  <a:cxn ang="0">
                    <a:pos x="63" y="64"/>
                  </a:cxn>
                  <a:cxn ang="0">
                    <a:pos x="66" y="54"/>
                  </a:cxn>
                  <a:cxn ang="0">
                    <a:pos x="67" y="48"/>
                  </a:cxn>
                  <a:cxn ang="0">
                    <a:pos x="67" y="48"/>
                  </a:cxn>
                  <a:cxn ang="0">
                    <a:pos x="66" y="45"/>
                  </a:cxn>
                  <a:cxn ang="0">
                    <a:pos x="63" y="41"/>
                  </a:cxn>
                  <a:cxn ang="0">
                    <a:pos x="55" y="37"/>
                  </a:cxn>
                  <a:cxn ang="0">
                    <a:pos x="55" y="37"/>
                  </a:cxn>
                </a:cxnLst>
                <a:rect l="0" t="0" r="r" b="b"/>
                <a:pathLst>
                  <a:path w="67" h="64">
                    <a:moveTo>
                      <a:pt x="55" y="37"/>
                    </a:moveTo>
                    <a:lnTo>
                      <a:pt x="55" y="37"/>
                    </a:lnTo>
                    <a:lnTo>
                      <a:pt x="50" y="34"/>
                    </a:lnTo>
                    <a:lnTo>
                      <a:pt x="49" y="33"/>
                    </a:lnTo>
                    <a:lnTo>
                      <a:pt x="50" y="31"/>
                    </a:lnTo>
                    <a:lnTo>
                      <a:pt x="50" y="31"/>
                    </a:lnTo>
                    <a:lnTo>
                      <a:pt x="50" y="30"/>
                    </a:lnTo>
                    <a:lnTo>
                      <a:pt x="52" y="27"/>
                    </a:lnTo>
                    <a:lnTo>
                      <a:pt x="52" y="20"/>
                    </a:lnTo>
                    <a:lnTo>
                      <a:pt x="52" y="20"/>
                    </a:lnTo>
                    <a:lnTo>
                      <a:pt x="52" y="15"/>
                    </a:lnTo>
                    <a:lnTo>
                      <a:pt x="52" y="15"/>
                    </a:lnTo>
                    <a:lnTo>
                      <a:pt x="50" y="15"/>
                    </a:lnTo>
                    <a:lnTo>
                      <a:pt x="49" y="14"/>
                    </a:lnTo>
                    <a:lnTo>
                      <a:pt x="49" y="14"/>
                    </a:lnTo>
                    <a:lnTo>
                      <a:pt x="47" y="13"/>
                    </a:lnTo>
                    <a:lnTo>
                      <a:pt x="46" y="14"/>
                    </a:lnTo>
                    <a:lnTo>
                      <a:pt x="42" y="18"/>
                    </a:lnTo>
                    <a:lnTo>
                      <a:pt x="42" y="18"/>
                    </a:lnTo>
                    <a:lnTo>
                      <a:pt x="40" y="20"/>
                    </a:lnTo>
                    <a:lnTo>
                      <a:pt x="37" y="18"/>
                    </a:lnTo>
                    <a:lnTo>
                      <a:pt x="35" y="17"/>
                    </a:lnTo>
                    <a:lnTo>
                      <a:pt x="35" y="13"/>
                    </a:lnTo>
                    <a:lnTo>
                      <a:pt x="35" y="13"/>
                    </a:lnTo>
                    <a:lnTo>
                      <a:pt x="35" y="8"/>
                    </a:lnTo>
                    <a:lnTo>
                      <a:pt x="33" y="4"/>
                    </a:lnTo>
                    <a:lnTo>
                      <a:pt x="32" y="1"/>
                    </a:lnTo>
                    <a:lnTo>
                      <a:pt x="30" y="0"/>
                    </a:lnTo>
                    <a:lnTo>
                      <a:pt x="30" y="0"/>
                    </a:lnTo>
                    <a:lnTo>
                      <a:pt x="19" y="1"/>
                    </a:lnTo>
                    <a:lnTo>
                      <a:pt x="19" y="1"/>
                    </a:lnTo>
                    <a:lnTo>
                      <a:pt x="19" y="6"/>
                    </a:lnTo>
                    <a:lnTo>
                      <a:pt x="18" y="10"/>
                    </a:lnTo>
                    <a:lnTo>
                      <a:pt x="18" y="10"/>
                    </a:lnTo>
                    <a:lnTo>
                      <a:pt x="15" y="13"/>
                    </a:lnTo>
                    <a:lnTo>
                      <a:pt x="12" y="15"/>
                    </a:lnTo>
                    <a:lnTo>
                      <a:pt x="5" y="20"/>
                    </a:lnTo>
                    <a:lnTo>
                      <a:pt x="5" y="20"/>
                    </a:lnTo>
                    <a:lnTo>
                      <a:pt x="0" y="25"/>
                    </a:lnTo>
                    <a:lnTo>
                      <a:pt x="0" y="25"/>
                    </a:lnTo>
                    <a:lnTo>
                      <a:pt x="22" y="40"/>
                    </a:lnTo>
                    <a:lnTo>
                      <a:pt x="22" y="40"/>
                    </a:lnTo>
                    <a:lnTo>
                      <a:pt x="42" y="54"/>
                    </a:lnTo>
                    <a:lnTo>
                      <a:pt x="52" y="60"/>
                    </a:lnTo>
                    <a:lnTo>
                      <a:pt x="59" y="62"/>
                    </a:lnTo>
                    <a:lnTo>
                      <a:pt x="59" y="62"/>
                    </a:lnTo>
                    <a:lnTo>
                      <a:pt x="63" y="64"/>
                    </a:lnTo>
                    <a:lnTo>
                      <a:pt x="63" y="64"/>
                    </a:lnTo>
                    <a:lnTo>
                      <a:pt x="66" y="54"/>
                    </a:lnTo>
                    <a:lnTo>
                      <a:pt x="67" y="48"/>
                    </a:lnTo>
                    <a:lnTo>
                      <a:pt x="67" y="48"/>
                    </a:lnTo>
                    <a:lnTo>
                      <a:pt x="66" y="45"/>
                    </a:lnTo>
                    <a:lnTo>
                      <a:pt x="63" y="41"/>
                    </a:lnTo>
                    <a:lnTo>
                      <a:pt x="55" y="37"/>
                    </a:lnTo>
                    <a:lnTo>
                      <a:pt x="55" y="3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0" name="Cote d'Ivoire">
                <a:extLst>
                  <a:ext uri="{FF2B5EF4-FFF2-40B4-BE49-F238E27FC236}">
                    <a16:creationId xmlns:a16="http://schemas.microsoft.com/office/drawing/2014/main" id="{BD4E539E-36E0-6845-A474-03FDD6AAE143}"/>
                  </a:ext>
                </a:extLst>
              </p:cNvPr>
              <p:cNvSpPr>
                <a:spLocks/>
              </p:cNvSpPr>
              <p:nvPr/>
            </p:nvSpPr>
            <p:spPr bwMode="auto">
              <a:xfrm>
                <a:off x="4120667" y="4055217"/>
                <a:ext cx="145019" cy="149459"/>
              </a:xfrm>
              <a:custGeom>
                <a:avLst/>
                <a:gdLst/>
                <a:ahLst/>
                <a:cxnLst>
                  <a:cxn ang="0">
                    <a:pos x="92" y="84"/>
                  </a:cxn>
                  <a:cxn ang="0">
                    <a:pos x="85" y="67"/>
                  </a:cxn>
                  <a:cxn ang="0">
                    <a:pos x="89" y="60"/>
                  </a:cxn>
                  <a:cxn ang="0">
                    <a:pos x="92" y="51"/>
                  </a:cxn>
                  <a:cxn ang="0">
                    <a:pos x="92" y="48"/>
                  </a:cxn>
                  <a:cxn ang="0">
                    <a:pos x="97" y="43"/>
                  </a:cxn>
                  <a:cxn ang="0">
                    <a:pos x="98" y="40"/>
                  </a:cxn>
                  <a:cxn ang="0">
                    <a:pos x="95" y="23"/>
                  </a:cxn>
                  <a:cxn ang="0">
                    <a:pos x="92" y="15"/>
                  </a:cxn>
                  <a:cxn ang="0">
                    <a:pos x="89" y="14"/>
                  </a:cxn>
                  <a:cxn ang="0">
                    <a:pos x="81" y="11"/>
                  </a:cxn>
                  <a:cxn ang="0">
                    <a:pos x="71" y="15"/>
                  </a:cxn>
                  <a:cxn ang="0">
                    <a:pos x="68" y="17"/>
                  </a:cxn>
                  <a:cxn ang="0">
                    <a:pos x="62" y="15"/>
                  </a:cxn>
                  <a:cxn ang="0">
                    <a:pos x="57" y="10"/>
                  </a:cxn>
                  <a:cxn ang="0">
                    <a:pos x="54" y="7"/>
                  </a:cxn>
                  <a:cxn ang="0">
                    <a:pos x="47" y="4"/>
                  </a:cxn>
                  <a:cxn ang="0">
                    <a:pos x="44" y="6"/>
                  </a:cxn>
                  <a:cxn ang="0">
                    <a:pos x="38" y="7"/>
                  </a:cxn>
                  <a:cxn ang="0">
                    <a:pos x="38" y="3"/>
                  </a:cxn>
                  <a:cxn ang="0">
                    <a:pos x="37" y="1"/>
                  </a:cxn>
                  <a:cxn ang="0">
                    <a:pos x="31" y="1"/>
                  </a:cxn>
                  <a:cxn ang="0">
                    <a:pos x="30" y="4"/>
                  </a:cxn>
                  <a:cxn ang="0">
                    <a:pos x="25" y="8"/>
                  </a:cxn>
                  <a:cxn ang="0">
                    <a:pos x="21" y="8"/>
                  </a:cxn>
                  <a:cxn ang="0">
                    <a:pos x="17" y="4"/>
                  </a:cxn>
                  <a:cxn ang="0">
                    <a:pos x="13" y="6"/>
                  </a:cxn>
                  <a:cxn ang="0">
                    <a:pos x="11" y="7"/>
                  </a:cxn>
                  <a:cxn ang="0">
                    <a:pos x="7" y="7"/>
                  </a:cxn>
                  <a:cxn ang="0">
                    <a:pos x="6" y="15"/>
                  </a:cxn>
                  <a:cxn ang="0">
                    <a:pos x="7" y="20"/>
                  </a:cxn>
                  <a:cxn ang="0">
                    <a:pos x="10" y="21"/>
                  </a:cxn>
                  <a:cxn ang="0">
                    <a:pos x="10" y="27"/>
                  </a:cxn>
                  <a:cxn ang="0">
                    <a:pos x="11" y="30"/>
                  </a:cxn>
                  <a:cxn ang="0">
                    <a:pos x="14" y="35"/>
                  </a:cxn>
                  <a:cxn ang="0">
                    <a:pos x="13" y="37"/>
                  </a:cxn>
                  <a:cxn ang="0">
                    <a:pos x="10" y="38"/>
                  </a:cxn>
                  <a:cxn ang="0">
                    <a:pos x="6" y="38"/>
                  </a:cxn>
                  <a:cxn ang="0">
                    <a:pos x="6" y="41"/>
                  </a:cxn>
                  <a:cxn ang="0">
                    <a:pos x="7" y="45"/>
                  </a:cxn>
                  <a:cxn ang="0">
                    <a:pos x="7" y="48"/>
                  </a:cxn>
                  <a:cxn ang="0">
                    <a:pos x="3" y="54"/>
                  </a:cxn>
                  <a:cxn ang="0">
                    <a:pos x="3" y="57"/>
                  </a:cxn>
                  <a:cxn ang="0">
                    <a:pos x="1" y="67"/>
                  </a:cxn>
                  <a:cxn ang="0">
                    <a:pos x="1" y="68"/>
                  </a:cxn>
                  <a:cxn ang="0">
                    <a:pos x="1" y="71"/>
                  </a:cxn>
                  <a:cxn ang="0">
                    <a:pos x="6" y="74"/>
                  </a:cxn>
                  <a:cxn ang="0">
                    <a:pos x="17" y="82"/>
                  </a:cxn>
                  <a:cxn ang="0">
                    <a:pos x="18" y="85"/>
                  </a:cxn>
                  <a:cxn ang="0">
                    <a:pos x="14" y="101"/>
                  </a:cxn>
                  <a:cxn ang="0">
                    <a:pos x="23" y="99"/>
                  </a:cxn>
                  <a:cxn ang="0">
                    <a:pos x="47" y="94"/>
                  </a:cxn>
                  <a:cxn ang="0">
                    <a:pos x="61" y="89"/>
                  </a:cxn>
                  <a:cxn ang="0">
                    <a:pos x="78" y="89"/>
                  </a:cxn>
                  <a:cxn ang="0">
                    <a:pos x="92" y="92"/>
                  </a:cxn>
                  <a:cxn ang="0">
                    <a:pos x="92" y="84"/>
                  </a:cxn>
                </a:cxnLst>
                <a:rect l="0" t="0" r="r" b="b"/>
                <a:pathLst>
                  <a:path w="98" h="101">
                    <a:moveTo>
                      <a:pt x="92" y="84"/>
                    </a:moveTo>
                    <a:lnTo>
                      <a:pt x="92" y="84"/>
                    </a:lnTo>
                    <a:lnTo>
                      <a:pt x="88" y="75"/>
                    </a:lnTo>
                    <a:lnTo>
                      <a:pt x="85" y="67"/>
                    </a:lnTo>
                    <a:lnTo>
                      <a:pt x="85" y="67"/>
                    </a:lnTo>
                    <a:lnTo>
                      <a:pt x="89" y="60"/>
                    </a:lnTo>
                    <a:lnTo>
                      <a:pt x="91" y="54"/>
                    </a:lnTo>
                    <a:lnTo>
                      <a:pt x="92" y="51"/>
                    </a:lnTo>
                    <a:lnTo>
                      <a:pt x="92" y="51"/>
                    </a:lnTo>
                    <a:lnTo>
                      <a:pt x="92" y="48"/>
                    </a:lnTo>
                    <a:lnTo>
                      <a:pt x="95" y="45"/>
                    </a:lnTo>
                    <a:lnTo>
                      <a:pt x="97" y="43"/>
                    </a:lnTo>
                    <a:lnTo>
                      <a:pt x="98" y="40"/>
                    </a:lnTo>
                    <a:lnTo>
                      <a:pt x="98" y="40"/>
                    </a:lnTo>
                    <a:lnTo>
                      <a:pt x="97" y="30"/>
                    </a:lnTo>
                    <a:lnTo>
                      <a:pt x="95" y="23"/>
                    </a:lnTo>
                    <a:lnTo>
                      <a:pt x="92" y="15"/>
                    </a:lnTo>
                    <a:lnTo>
                      <a:pt x="92" y="15"/>
                    </a:lnTo>
                    <a:lnTo>
                      <a:pt x="89" y="14"/>
                    </a:lnTo>
                    <a:lnTo>
                      <a:pt x="89" y="14"/>
                    </a:lnTo>
                    <a:lnTo>
                      <a:pt x="85" y="13"/>
                    </a:lnTo>
                    <a:lnTo>
                      <a:pt x="81" y="11"/>
                    </a:lnTo>
                    <a:lnTo>
                      <a:pt x="75" y="13"/>
                    </a:lnTo>
                    <a:lnTo>
                      <a:pt x="71" y="15"/>
                    </a:lnTo>
                    <a:lnTo>
                      <a:pt x="71" y="15"/>
                    </a:lnTo>
                    <a:lnTo>
                      <a:pt x="68" y="17"/>
                    </a:lnTo>
                    <a:lnTo>
                      <a:pt x="67" y="17"/>
                    </a:lnTo>
                    <a:lnTo>
                      <a:pt x="62" y="15"/>
                    </a:lnTo>
                    <a:lnTo>
                      <a:pt x="58" y="11"/>
                    </a:lnTo>
                    <a:lnTo>
                      <a:pt x="57" y="10"/>
                    </a:lnTo>
                    <a:lnTo>
                      <a:pt x="57" y="10"/>
                    </a:lnTo>
                    <a:lnTo>
                      <a:pt x="54" y="7"/>
                    </a:lnTo>
                    <a:lnTo>
                      <a:pt x="51" y="6"/>
                    </a:lnTo>
                    <a:lnTo>
                      <a:pt x="47" y="4"/>
                    </a:lnTo>
                    <a:lnTo>
                      <a:pt x="44" y="6"/>
                    </a:lnTo>
                    <a:lnTo>
                      <a:pt x="44" y="6"/>
                    </a:lnTo>
                    <a:lnTo>
                      <a:pt x="41" y="7"/>
                    </a:lnTo>
                    <a:lnTo>
                      <a:pt x="38" y="7"/>
                    </a:lnTo>
                    <a:lnTo>
                      <a:pt x="38" y="6"/>
                    </a:lnTo>
                    <a:lnTo>
                      <a:pt x="38" y="3"/>
                    </a:lnTo>
                    <a:lnTo>
                      <a:pt x="38" y="3"/>
                    </a:lnTo>
                    <a:lnTo>
                      <a:pt x="37" y="1"/>
                    </a:lnTo>
                    <a:lnTo>
                      <a:pt x="34" y="0"/>
                    </a:lnTo>
                    <a:lnTo>
                      <a:pt x="31" y="1"/>
                    </a:lnTo>
                    <a:lnTo>
                      <a:pt x="30" y="4"/>
                    </a:lnTo>
                    <a:lnTo>
                      <a:pt x="30" y="4"/>
                    </a:lnTo>
                    <a:lnTo>
                      <a:pt x="28" y="7"/>
                    </a:lnTo>
                    <a:lnTo>
                      <a:pt x="25" y="8"/>
                    </a:lnTo>
                    <a:lnTo>
                      <a:pt x="23" y="10"/>
                    </a:lnTo>
                    <a:lnTo>
                      <a:pt x="21" y="8"/>
                    </a:lnTo>
                    <a:lnTo>
                      <a:pt x="21" y="8"/>
                    </a:lnTo>
                    <a:lnTo>
                      <a:pt x="17" y="4"/>
                    </a:lnTo>
                    <a:lnTo>
                      <a:pt x="14" y="4"/>
                    </a:lnTo>
                    <a:lnTo>
                      <a:pt x="13" y="6"/>
                    </a:lnTo>
                    <a:lnTo>
                      <a:pt x="13" y="6"/>
                    </a:lnTo>
                    <a:lnTo>
                      <a:pt x="11" y="7"/>
                    </a:lnTo>
                    <a:lnTo>
                      <a:pt x="10" y="8"/>
                    </a:lnTo>
                    <a:lnTo>
                      <a:pt x="7" y="7"/>
                    </a:lnTo>
                    <a:lnTo>
                      <a:pt x="7" y="7"/>
                    </a:lnTo>
                    <a:lnTo>
                      <a:pt x="6" y="15"/>
                    </a:lnTo>
                    <a:lnTo>
                      <a:pt x="6" y="18"/>
                    </a:lnTo>
                    <a:lnTo>
                      <a:pt x="7" y="20"/>
                    </a:lnTo>
                    <a:lnTo>
                      <a:pt x="7" y="20"/>
                    </a:lnTo>
                    <a:lnTo>
                      <a:pt x="10" y="21"/>
                    </a:lnTo>
                    <a:lnTo>
                      <a:pt x="10" y="24"/>
                    </a:lnTo>
                    <a:lnTo>
                      <a:pt x="10" y="27"/>
                    </a:lnTo>
                    <a:lnTo>
                      <a:pt x="10" y="27"/>
                    </a:lnTo>
                    <a:lnTo>
                      <a:pt x="11" y="30"/>
                    </a:lnTo>
                    <a:lnTo>
                      <a:pt x="13" y="33"/>
                    </a:lnTo>
                    <a:lnTo>
                      <a:pt x="14" y="35"/>
                    </a:lnTo>
                    <a:lnTo>
                      <a:pt x="13" y="37"/>
                    </a:lnTo>
                    <a:lnTo>
                      <a:pt x="13" y="37"/>
                    </a:lnTo>
                    <a:lnTo>
                      <a:pt x="11" y="38"/>
                    </a:lnTo>
                    <a:lnTo>
                      <a:pt x="10" y="38"/>
                    </a:lnTo>
                    <a:lnTo>
                      <a:pt x="7" y="37"/>
                    </a:lnTo>
                    <a:lnTo>
                      <a:pt x="6" y="38"/>
                    </a:lnTo>
                    <a:lnTo>
                      <a:pt x="6" y="38"/>
                    </a:lnTo>
                    <a:lnTo>
                      <a:pt x="6" y="41"/>
                    </a:lnTo>
                    <a:lnTo>
                      <a:pt x="7" y="44"/>
                    </a:lnTo>
                    <a:lnTo>
                      <a:pt x="7" y="45"/>
                    </a:lnTo>
                    <a:lnTo>
                      <a:pt x="7" y="48"/>
                    </a:lnTo>
                    <a:lnTo>
                      <a:pt x="7" y="48"/>
                    </a:lnTo>
                    <a:lnTo>
                      <a:pt x="4" y="51"/>
                    </a:lnTo>
                    <a:lnTo>
                      <a:pt x="3" y="54"/>
                    </a:lnTo>
                    <a:lnTo>
                      <a:pt x="3" y="57"/>
                    </a:lnTo>
                    <a:lnTo>
                      <a:pt x="3" y="57"/>
                    </a:lnTo>
                    <a:lnTo>
                      <a:pt x="3" y="64"/>
                    </a:lnTo>
                    <a:lnTo>
                      <a:pt x="1" y="67"/>
                    </a:lnTo>
                    <a:lnTo>
                      <a:pt x="1" y="68"/>
                    </a:lnTo>
                    <a:lnTo>
                      <a:pt x="1" y="68"/>
                    </a:lnTo>
                    <a:lnTo>
                      <a:pt x="0" y="70"/>
                    </a:lnTo>
                    <a:lnTo>
                      <a:pt x="1" y="71"/>
                    </a:lnTo>
                    <a:lnTo>
                      <a:pt x="6" y="74"/>
                    </a:lnTo>
                    <a:lnTo>
                      <a:pt x="6" y="74"/>
                    </a:lnTo>
                    <a:lnTo>
                      <a:pt x="14" y="78"/>
                    </a:lnTo>
                    <a:lnTo>
                      <a:pt x="17" y="82"/>
                    </a:lnTo>
                    <a:lnTo>
                      <a:pt x="18" y="85"/>
                    </a:lnTo>
                    <a:lnTo>
                      <a:pt x="18" y="85"/>
                    </a:lnTo>
                    <a:lnTo>
                      <a:pt x="17" y="91"/>
                    </a:lnTo>
                    <a:lnTo>
                      <a:pt x="14" y="101"/>
                    </a:lnTo>
                    <a:lnTo>
                      <a:pt x="14" y="101"/>
                    </a:lnTo>
                    <a:lnTo>
                      <a:pt x="23" y="99"/>
                    </a:lnTo>
                    <a:lnTo>
                      <a:pt x="34" y="97"/>
                    </a:lnTo>
                    <a:lnTo>
                      <a:pt x="47" y="94"/>
                    </a:lnTo>
                    <a:lnTo>
                      <a:pt x="61" y="89"/>
                    </a:lnTo>
                    <a:lnTo>
                      <a:pt x="61" y="89"/>
                    </a:lnTo>
                    <a:lnTo>
                      <a:pt x="70" y="89"/>
                    </a:lnTo>
                    <a:lnTo>
                      <a:pt x="78" y="89"/>
                    </a:lnTo>
                    <a:lnTo>
                      <a:pt x="92" y="92"/>
                    </a:lnTo>
                    <a:lnTo>
                      <a:pt x="92" y="92"/>
                    </a:lnTo>
                    <a:lnTo>
                      <a:pt x="92" y="88"/>
                    </a:lnTo>
                    <a:lnTo>
                      <a:pt x="92" y="84"/>
                    </a:lnTo>
                    <a:lnTo>
                      <a:pt x="92" y="8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1" name="Benin">
                <a:extLst>
                  <a:ext uri="{FF2B5EF4-FFF2-40B4-BE49-F238E27FC236}">
                    <a16:creationId xmlns:a16="http://schemas.microsoft.com/office/drawing/2014/main" id="{2DB764B4-D978-F143-B4D8-F46D19ECB56E}"/>
                  </a:ext>
                </a:extLst>
              </p:cNvPr>
              <p:cNvSpPr>
                <a:spLocks/>
              </p:cNvSpPr>
              <p:nvPr/>
            </p:nvSpPr>
            <p:spPr bwMode="auto">
              <a:xfrm>
                <a:off x="4344113" y="4012303"/>
                <a:ext cx="69550" cy="146499"/>
              </a:xfrm>
              <a:custGeom>
                <a:avLst/>
                <a:gdLst/>
                <a:ahLst/>
                <a:cxnLst>
                  <a:cxn ang="0">
                    <a:pos x="31" y="63"/>
                  </a:cxn>
                  <a:cxn ang="0">
                    <a:pos x="35" y="54"/>
                  </a:cxn>
                  <a:cxn ang="0">
                    <a:pos x="38" y="52"/>
                  </a:cxn>
                  <a:cxn ang="0">
                    <a:pos x="44" y="42"/>
                  </a:cxn>
                  <a:cxn ang="0">
                    <a:pos x="47" y="37"/>
                  </a:cxn>
                  <a:cxn ang="0">
                    <a:pos x="47" y="19"/>
                  </a:cxn>
                  <a:cxn ang="0">
                    <a:pos x="44" y="9"/>
                  </a:cxn>
                  <a:cxn ang="0">
                    <a:pos x="42" y="9"/>
                  </a:cxn>
                  <a:cxn ang="0">
                    <a:pos x="39" y="9"/>
                  </a:cxn>
                  <a:cxn ang="0">
                    <a:pos x="37" y="5"/>
                  </a:cxn>
                  <a:cxn ang="0">
                    <a:pos x="34" y="0"/>
                  </a:cxn>
                  <a:cxn ang="0">
                    <a:pos x="31" y="0"/>
                  </a:cxn>
                  <a:cxn ang="0">
                    <a:pos x="28" y="5"/>
                  </a:cxn>
                  <a:cxn ang="0">
                    <a:pos x="28" y="9"/>
                  </a:cxn>
                  <a:cxn ang="0">
                    <a:pos x="27" y="12"/>
                  </a:cxn>
                  <a:cxn ang="0">
                    <a:pos x="24" y="15"/>
                  </a:cxn>
                  <a:cxn ang="0">
                    <a:pos x="18" y="17"/>
                  </a:cxn>
                  <a:cxn ang="0">
                    <a:pos x="11" y="17"/>
                  </a:cxn>
                  <a:cxn ang="0">
                    <a:pos x="7" y="20"/>
                  </a:cxn>
                  <a:cxn ang="0">
                    <a:pos x="2" y="23"/>
                  </a:cxn>
                  <a:cxn ang="0">
                    <a:pos x="0" y="23"/>
                  </a:cxn>
                  <a:cxn ang="0">
                    <a:pos x="1" y="35"/>
                  </a:cxn>
                  <a:cxn ang="0">
                    <a:pos x="8" y="39"/>
                  </a:cxn>
                  <a:cxn ang="0">
                    <a:pos x="11" y="42"/>
                  </a:cxn>
                  <a:cxn ang="0">
                    <a:pos x="11" y="49"/>
                  </a:cxn>
                  <a:cxn ang="0">
                    <a:pos x="11" y="50"/>
                  </a:cxn>
                  <a:cxn ang="0">
                    <a:pos x="14" y="57"/>
                  </a:cxn>
                  <a:cxn ang="0">
                    <a:pos x="14" y="70"/>
                  </a:cxn>
                  <a:cxn ang="0">
                    <a:pos x="15" y="99"/>
                  </a:cxn>
                  <a:cxn ang="0">
                    <a:pos x="25" y="99"/>
                  </a:cxn>
                  <a:cxn ang="0">
                    <a:pos x="32" y="96"/>
                  </a:cxn>
                  <a:cxn ang="0">
                    <a:pos x="37" y="94"/>
                  </a:cxn>
                  <a:cxn ang="0">
                    <a:pos x="34" y="89"/>
                  </a:cxn>
                  <a:cxn ang="0">
                    <a:pos x="32" y="81"/>
                  </a:cxn>
                  <a:cxn ang="0">
                    <a:pos x="31" y="73"/>
                  </a:cxn>
                  <a:cxn ang="0">
                    <a:pos x="31" y="63"/>
                  </a:cxn>
                </a:cxnLst>
                <a:rect l="0" t="0" r="r" b="b"/>
                <a:pathLst>
                  <a:path w="47" h="99">
                    <a:moveTo>
                      <a:pt x="31" y="63"/>
                    </a:moveTo>
                    <a:lnTo>
                      <a:pt x="31" y="63"/>
                    </a:lnTo>
                    <a:lnTo>
                      <a:pt x="32" y="59"/>
                    </a:lnTo>
                    <a:lnTo>
                      <a:pt x="35" y="54"/>
                    </a:lnTo>
                    <a:lnTo>
                      <a:pt x="38" y="52"/>
                    </a:lnTo>
                    <a:lnTo>
                      <a:pt x="38" y="52"/>
                    </a:lnTo>
                    <a:lnTo>
                      <a:pt x="39" y="49"/>
                    </a:lnTo>
                    <a:lnTo>
                      <a:pt x="44" y="42"/>
                    </a:lnTo>
                    <a:lnTo>
                      <a:pt x="44" y="42"/>
                    </a:lnTo>
                    <a:lnTo>
                      <a:pt x="47" y="37"/>
                    </a:lnTo>
                    <a:lnTo>
                      <a:pt x="47" y="30"/>
                    </a:lnTo>
                    <a:lnTo>
                      <a:pt x="47" y="19"/>
                    </a:lnTo>
                    <a:lnTo>
                      <a:pt x="47" y="19"/>
                    </a:lnTo>
                    <a:lnTo>
                      <a:pt x="44" y="9"/>
                    </a:lnTo>
                    <a:lnTo>
                      <a:pt x="44" y="9"/>
                    </a:lnTo>
                    <a:lnTo>
                      <a:pt x="42" y="9"/>
                    </a:lnTo>
                    <a:lnTo>
                      <a:pt x="39" y="9"/>
                    </a:lnTo>
                    <a:lnTo>
                      <a:pt x="39" y="9"/>
                    </a:lnTo>
                    <a:lnTo>
                      <a:pt x="37" y="6"/>
                    </a:lnTo>
                    <a:lnTo>
                      <a:pt x="37" y="5"/>
                    </a:lnTo>
                    <a:lnTo>
                      <a:pt x="37" y="2"/>
                    </a:lnTo>
                    <a:lnTo>
                      <a:pt x="34" y="0"/>
                    </a:lnTo>
                    <a:lnTo>
                      <a:pt x="34" y="0"/>
                    </a:lnTo>
                    <a:lnTo>
                      <a:pt x="31" y="0"/>
                    </a:lnTo>
                    <a:lnTo>
                      <a:pt x="30" y="3"/>
                    </a:lnTo>
                    <a:lnTo>
                      <a:pt x="28" y="5"/>
                    </a:lnTo>
                    <a:lnTo>
                      <a:pt x="28" y="9"/>
                    </a:lnTo>
                    <a:lnTo>
                      <a:pt x="28" y="9"/>
                    </a:lnTo>
                    <a:lnTo>
                      <a:pt x="28" y="10"/>
                    </a:lnTo>
                    <a:lnTo>
                      <a:pt x="27" y="12"/>
                    </a:lnTo>
                    <a:lnTo>
                      <a:pt x="24" y="15"/>
                    </a:lnTo>
                    <a:lnTo>
                      <a:pt x="24" y="15"/>
                    </a:lnTo>
                    <a:lnTo>
                      <a:pt x="21" y="16"/>
                    </a:lnTo>
                    <a:lnTo>
                      <a:pt x="18" y="17"/>
                    </a:lnTo>
                    <a:lnTo>
                      <a:pt x="11" y="17"/>
                    </a:lnTo>
                    <a:lnTo>
                      <a:pt x="11" y="17"/>
                    </a:lnTo>
                    <a:lnTo>
                      <a:pt x="8" y="17"/>
                    </a:lnTo>
                    <a:lnTo>
                      <a:pt x="7" y="20"/>
                    </a:lnTo>
                    <a:lnTo>
                      <a:pt x="2" y="23"/>
                    </a:lnTo>
                    <a:lnTo>
                      <a:pt x="2" y="23"/>
                    </a:lnTo>
                    <a:lnTo>
                      <a:pt x="0" y="23"/>
                    </a:lnTo>
                    <a:lnTo>
                      <a:pt x="0" y="23"/>
                    </a:lnTo>
                    <a:lnTo>
                      <a:pt x="0" y="30"/>
                    </a:lnTo>
                    <a:lnTo>
                      <a:pt x="1" y="35"/>
                    </a:lnTo>
                    <a:lnTo>
                      <a:pt x="4" y="36"/>
                    </a:lnTo>
                    <a:lnTo>
                      <a:pt x="8" y="39"/>
                    </a:lnTo>
                    <a:lnTo>
                      <a:pt x="8" y="39"/>
                    </a:lnTo>
                    <a:lnTo>
                      <a:pt x="11" y="42"/>
                    </a:lnTo>
                    <a:lnTo>
                      <a:pt x="11" y="44"/>
                    </a:lnTo>
                    <a:lnTo>
                      <a:pt x="11" y="49"/>
                    </a:lnTo>
                    <a:lnTo>
                      <a:pt x="11" y="50"/>
                    </a:lnTo>
                    <a:lnTo>
                      <a:pt x="11" y="50"/>
                    </a:lnTo>
                    <a:lnTo>
                      <a:pt x="12" y="53"/>
                    </a:lnTo>
                    <a:lnTo>
                      <a:pt x="14" y="57"/>
                    </a:lnTo>
                    <a:lnTo>
                      <a:pt x="14" y="70"/>
                    </a:lnTo>
                    <a:lnTo>
                      <a:pt x="14" y="70"/>
                    </a:lnTo>
                    <a:lnTo>
                      <a:pt x="15" y="99"/>
                    </a:lnTo>
                    <a:lnTo>
                      <a:pt x="15" y="99"/>
                    </a:lnTo>
                    <a:lnTo>
                      <a:pt x="25" y="99"/>
                    </a:lnTo>
                    <a:lnTo>
                      <a:pt x="25" y="99"/>
                    </a:lnTo>
                    <a:lnTo>
                      <a:pt x="30" y="97"/>
                    </a:lnTo>
                    <a:lnTo>
                      <a:pt x="32" y="96"/>
                    </a:lnTo>
                    <a:lnTo>
                      <a:pt x="35" y="94"/>
                    </a:lnTo>
                    <a:lnTo>
                      <a:pt x="37" y="94"/>
                    </a:lnTo>
                    <a:lnTo>
                      <a:pt x="37" y="94"/>
                    </a:lnTo>
                    <a:lnTo>
                      <a:pt x="34" y="89"/>
                    </a:lnTo>
                    <a:lnTo>
                      <a:pt x="32" y="86"/>
                    </a:lnTo>
                    <a:lnTo>
                      <a:pt x="32" y="81"/>
                    </a:lnTo>
                    <a:lnTo>
                      <a:pt x="32" y="81"/>
                    </a:lnTo>
                    <a:lnTo>
                      <a:pt x="31" y="73"/>
                    </a:lnTo>
                    <a:lnTo>
                      <a:pt x="31" y="63"/>
                    </a:lnTo>
                    <a:lnTo>
                      <a:pt x="31" y="6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2" name="Togo">
                <a:extLst>
                  <a:ext uri="{FF2B5EF4-FFF2-40B4-BE49-F238E27FC236}">
                    <a16:creationId xmlns:a16="http://schemas.microsoft.com/office/drawing/2014/main" id="{FF99142A-4AF5-C44C-A6AF-5617034EC4BB}"/>
                  </a:ext>
                </a:extLst>
              </p:cNvPr>
              <p:cNvSpPr>
                <a:spLocks/>
              </p:cNvSpPr>
              <p:nvPr/>
            </p:nvSpPr>
            <p:spPr bwMode="auto">
              <a:xfrm>
                <a:off x="4321917" y="4044859"/>
                <a:ext cx="44394" cy="121343"/>
              </a:xfrm>
              <a:custGeom>
                <a:avLst/>
                <a:gdLst/>
                <a:ahLst/>
                <a:cxnLst>
                  <a:cxn ang="0">
                    <a:pos x="26" y="28"/>
                  </a:cxn>
                  <a:cxn ang="0">
                    <a:pos x="26" y="28"/>
                  </a:cxn>
                  <a:cxn ang="0">
                    <a:pos x="26" y="27"/>
                  </a:cxn>
                  <a:cxn ang="0">
                    <a:pos x="26" y="22"/>
                  </a:cxn>
                  <a:cxn ang="0">
                    <a:pos x="26" y="20"/>
                  </a:cxn>
                  <a:cxn ang="0">
                    <a:pos x="23" y="17"/>
                  </a:cxn>
                  <a:cxn ang="0">
                    <a:pos x="23" y="17"/>
                  </a:cxn>
                  <a:cxn ang="0">
                    <a:pos x="19" y="14"/>
                  </a:cxn>
                  <a:cxn ang="0">
                    <a:pos x="16" y="13"/>
                  </a:cxn>
                  <a:cxn ang="0">
                    <a:pos x="15" y="8"/>
                  </a:cxn>
                  <a:cxn ang="0">
                    <a:pos x="15" y="1"/>
                  </a:cxn>
                  <a:cxn ang="0">
                    <a:pos x="15" y="1"/>
                  </a:cxn>
                  <a:cxn ang="0">
                    <a:pos x="2" y="0"/>
                  </a:cxn>
                  <a:cxn ang="0">
                    <a:pos x="2" y="0"/>
                  </a:cxn>
                  <a:cxn ang="0">
                    <a:pos x="0" y="0"/>
                  </a:cxn>
                  <a:cxn ang="0">
                    <a:pos x="0" y="0"/>
                  </a:cxn>
                  <a:cxn ang="0">
                    <a:pos x="2" y="7"/>
                  </a:cxn>
                  <a:cxn ang="0">
                    <a:pos x="3" y="10"/>
                  </a:cxn>
                  <a:cxn ang="0">
                    <a:pos x="3" y="10"/>
                  </a:cxn>
                  <a:cxn ang="0">
                    <a:pos x="6" y="14"/>
                  </a:cxn>
                  <a:cxn ang="0">
                    <a:pos x="8" y="20"/>
                  </a:cxn>
                  <a:cxn ang="0">
                    <a:pos x="8" y="20"/>
                  </a:cxn>
                  <a:cxn ang="0">
                    <a:pos x="6" y="31"/>
                  </a:cxn>
                  <a:cxn ang="0">
                    <a:pos x="6" y="37"/>
                  </a:cxn>
                  <a:cxn ang="0">
                    <a:pos x="8" y="42"/>
                  </a:cxn>
                  <a:cxn ang="0">
                    <a:pos x="8" y="42"/>
                  </a:cxn>
                  <a:cxn ang="0">
                    <a:pos x="10" y="52"/>
                  </a:cxn>
                  <a:cxn ang="0">
                    <a:pos x="12" y="64"/>
                  </a:cxn>
                  <a:cxn ang="0">
                    <a:pos x="12" y="64"/>
                  </a:cxn>
                  <a:cxn ang="0">
                    <a:pos x="13" y="74"/>
                  </a:cxn>
                  <a:cxn ang="0">
                    <a:pos x="17" y="82"/>
                  </a:cxn>
                  <a:cxn ang="0">
                    <a:pos x="17" y="82"/>
                  </a:cxn>
                  <a:cxn ang="0">
                    <a:pos x="22" y="81"/>
                  </a:cxn>
                  <a:cxn ang="0">
                    <a:pos x="22" y="81"/>
                  </a:cxn>
                  <a:cxn ang="0">
                    <a:pos x="25" y="78"/>
                  </a:cxn>
                  <a:cxn ang="0">
                    <a:pos x="30" y="77"/>
                  </a:cxn>
                  <a:cxn ang="0">
                    <a:pos x="30" y="77"/>
                  </a:cxn>
                  <a:cxn ang="0">
                    <a:pos x="29" y="48"/>
                  </a:cxn>
                  <a:cxn ang="0">
                    <a:pos x="29" y="48"/>
                  </a:cxn>
                  <a:cxn ang="0">
                    <a:pos x="29" y="35"/>
                  </a:cxn>
                  <a:cxn ang="0">
                    <a:pos x="27" y="31"/>
                  </a:cxn>
                  <a:cxn ang="0">
                    <a:pos x="26" y="28"/>
                  </a:cxn>
                  <a:cxn ang="0">
                    <a:pos x="26" y="28"/>
                  </a:cxn>
                </a:cxnLst>
                <a:rect l="0" t="0" r="r" b="b"/>
                <a:pathLst>
                  <a:path w="30" h="82">
                    <a:moveTo>
                      <a:pt x="26" y="28"/>
                    </a:moveTo>
                    <a:lnTo>
                      <a:pt x="26" y="28"/>
                    </a:lnTo>
                    <a:lnTo>
                      <a:pt x="26" y="27"/>
                    </a:lnTo>
                    <a:lnTo>
                      <a:pt x="26" y="22"/>
                    </a:lnTo>
                    <a:lnTo>
                      <a:pt x="26" y="20"/>
                    </a:lnTo>
                    <a:lnTo>
                      <a:pt x="23" y="17"/>
                    </a:lnTo>
                    <a:lnTo>
                      <a:pt x="23" y="17"/>
                    </a:lnTo>
                    <a:lnTo>
                      <a:pt x="19" y="14"/>
                    </a:lnTo>
                    <a:lnTo>
                      <a:pt x="16" y="13"/>
                    </a:lnTo>
                    <a:lnTo>
                      <a:pt x="15" y="8"/>
                    </a:lnTo>
                    <a:lnTo>
                      <a:pt x="15" y="1"/>
                    </a:lnTo>
                    <a:lnTo>
                      <a:pt x="15" y="1"/>
                    </a:lnTo>
                    <a:lnTo>
                      <a:pt x="2" y="0"/>
                    </a:lnTo>
                    <a:lnTo>
                      <a:pt x="2" y="0"/>
                    </a:lnTo>
                    <a:lnTo>
                      <a:pt x="0" y="0"/>
                    </a:lnTo>
                    <a:lnTo>
                      <a:pt x="0" y="0"/>
                    </a:lnTo>
                    <a:lnTo>
                      <a:pt x="2" y="7"/>
                    </a:lnTo>
                    <a:lnTo>
                      <a:pt x="3" y="10"/>
                    </a:lnTo>
                    <a:lnTo>
                      <a:pt x="3" y="10"/>
                    </a:lnTo>
                    <a:lnTo>
                      <a:pt x="6" y="14"/>
                    </a:lnTo>
                    <a:lnTo>
                      <a:pt x="8" y="20"/>
                    </a:lnTo>
                    <a:lnTo>
                      <a:pt x="8" y="20"/>
                    </a:lnTo>
                    <a:lnTo>
                      <a:pt x="6" y="31"/>
                    </a:lnTo>
                    <a:lnTo>
                      <a:pt x="6" y="37"/>
                    </a:lnTo>
                    <a:lnTo>
                      <a:pt x="8" y="42"/>
                    </a:lnTo>
                    <a:lnTo>
                      <a:pt x="8" y="42"/>
                    </a:lnTo>
                    <a:lnTo>
                      <a:pt x="10" y="52"/>
                    </a:lnTo>
                    <a:lnTo>
                      <a:pt x="12" y="64"/>
                    </a:lnTo>
                    <a:lnTo>
                      <a:pt x="12" y="64"/>
                    </a:lnTo>
                    <a:lnTo>
                      <a:pt x="13" y="74"/>
                    </a:lnTo>
                    <a:lnTo>
                      <a:pt x="17" y="82"/>
                    </a:lnTo>
                    <a:lnTo>
                      <a:pt x="17" y="82"/>
                    </a:lnTo>
                    <a:lnTo>
                      <a:pt x="22" y="81"/>
                    </a:lnTo>
                    <a:lnTo>
                      <a:pt x="22" y="81"/>
                    </a:lnTo>
                    <a:lnTo>
                      <a:pt x="25" y="78"/>
                    </a:lnTo>
                    <a:lnTo>
                      <a:pt x="30" y="77"/>
                    </a:lnTo>
                    <a:lnTo>
                      <a:pt x="30" y="77"/>
                    </a:lnTo>
                    <a:lnTo>
                      <a:pt x="29" y="48"/>
                    </a:lnTo>
                    <a:lnTo>
                      <a:pt x="29" y="48"/>
                    </a:lnTo>
                    <a:lnTo>
                      <a:pt x="29" y="35"/>
                    </a:lnTo>
                    <a:lnTo>
                      <a:pt x="27" y="31"/>
                    </a:lnTo>
                    <a:lnTo>
                      <a:pt x="26" y="28"/>
                    </a:lnTo>
                    <a:lnTo>
                      <a:pt x="26" y="2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3" name="Cameroon">
                <a:extLst>
                  <a:ext uri="{FF2B5EF4-FFF2-40B4-BE49-F238E27FC236}">
                    <a16:creationId xmlns:a16="http://schemas.microsoft.com/office/drawing/2014/main" id="{64B142E0-B389-9440-AF7D-61C27FD158FB}"/>
                  </a:ext>
                </a:extLst>
              </p:cNvPr>
              <p:cNvSpPr>
                <a:spLocks/>
              </p:cNvSpPr>
              <p:nvPr/>
            </p:nvSpPr>
            <p:spPr bwMode="auto">
              <a:xfrm>
                <a:off x="4529086" y="3996026"/>
                <a:ext cx="176094" cy="273761"/>
              </a:xfrm>
              <a:custGeom>
                <a:avLst/>
                <a:gdLst/>
                <a:ahLst/>
                <a:cxnLst>
                  <a:cxn ang="0">
                    <a:pos x="70" y="176"/>
                  </a:cxn>
                  <a:cxn ang="0">
                    <a:pos x="98" y="178"/>
                  </a:cxn>
                  <a:cxn ang="0">
                    <a:pos x="115" y="185"/>
                  </a:cxn>
                  <a:cxn ang="0">
                    <a:pos x="119" y="171"/>
                  </a:cxn>
                  <a:cxn ang="0">
                    <a:pos x="116" y="168"/>
                  </a:cxn>
                  <a:cxn ang="0">
                    <a:pos x="111" y="162"/>
                  </a:cxn>
                  <a:cxn ang="0">
                    <a:pos x="102" y="152"/>
                  </a:cxn>
                  <a:cxn ang="0">
                    <a:pos x="101" y="145"/>
                  </a:cxn>
                  <a:cxn ang="0">
                    <a:pos x="97" y="137"/>
                  </a:cxn>
                  <a:cxn ang="0">
                    <a:pos x="94" y="122"/>
                  </a:cxn>
                  <a:cxn ang="0">
                    <a:pos x="94" y="114"/>
                  </a:cxn>
                  <a:cxn ang="0">
                    <a:pos x="101" y="100"/>
                  </a:cxn>
                  <a:cxn ang="0">
                    <a:pos x="109" y="90"/>
                  </a:cxn>
                  <a:cxn ang="0">
                    <a:pos x="104" y="78"/>
                  </a:cxn>
                  <a:cxn ang="0">
                    <a:pos x="91" y="65"/>
                  </a:cxn>
                  <a:cxn ang="0">
                    <a:pos x="87" y="58"/>
                  </a:cxn>
                  <a:cxn ang="0">
                    <a:pos x="88" y="53"/>
                  </a:cxn>
                  <a:cxn ang="0">
                    <a:pos x="101" y="51"/>
                  </a:cxn>
                  <a:cxn ang="0">
                    <a:pos x="108" y="50"/>
                  </a:cxn>
                  <a:cxn ang="0">
                    <a:pos x="102" y="41"/>
                  </a:cxn>
                  <a:cxn ang="0">
                    <a:pos x="101" y="30"/>
                  </a:cxn>
                  <a:cxn ang="0">
                    <a:pos x="99" y="18"/>
                  </a:cxn>
                  <a:cxn ang="0">
                    <a:pos x="98" y="11"/>
                  </a:cxn>
                  <a:cxn ang="0">
                    <a:pos x="89" y="0"/>
                  </a:cxn>
                  <a:cxn ang="0">
                    <a:pos x="88" y="0"/>
                  </a:cxn>
                  <a:cxn ang="0">
                    <a:pos x="88" y="10"/>
                  </a:cxn>
                  <a:cxn ang="0">
                    <a:pos x="94" y="16"/>
                  </a:cxn>
                  <a:cxn ang="0">
                    <a:pos x="95" y="26"/>
                  </a:cxn>
                  <a:cxn ang="0">
                    <a:pos x="89" y="28"/>
                  </a:cxn>
                  <a:cxn ang="0">
                    <a:pos x="85" y="30"/>
                  </a:cxn>
                  <a:cxn ang="0">
                    <a:pos x="75" y="48"/>
                  </a:cxn>
                  <a:cxn ang="0">
                    <a:pos x="74" y="57"/>
                  </a:cxn>
                  <a:cxn ang="0">
                    <a:pos x="71" y="60"/>
                  </a:cxn>
                  <a:cxn ang="0">
                    <a:pos x="70" y="67"/>
                  </a:cxn>
                  <a:cxn ang="0">
                    <a:pos x="64" y="74"/>
                  </a:cxn>
                  <a:cxn ang="0">
                    <a:pos x="61" y="81"/>
                  </a:cxn>
                  <a:cxn ang="0">
                    <a:pos x="51" y="101"/>
                  </a:cxn>
                  <a:cxn ang="0">
                    <a:pos x="44" y="108"/>
                  </a:cxn>
                  <a:cxn ang="0">
                    <a:pos x="38" y="101"/>
                  </a:cxn>
                  <a:cxn ang="0">
                    <a:pos x="33" y="100"/>
                  </a:cxn>
                  <a:cxn ang="0">
                    <a:pos x="23" y="101"/>
                  </a:cxn>
                  <a:cxn ang="0">
                    <a:pos x="4" y="120"/>
                  </a:cxn>
                  <a:cxn ang="0">
                    <a:pos x="0" y="137"/>
                  </a:cxn>
                  <a:cxn ang="0">
                    <a:pos x="7" y="145"/>
                  </a:cxn>
                  <a:cxn ang="0">
                    <a:pos x="13" y="148"/>
                  </a:cxn>
                  <a:cxn ang="0">
                    <a:pos x="18" y="148"/>
                  </a:cxn>
                  <a:cxn ang="0">
                    <a:pos x="24" y="159"/>
                  </a:cxn>
                  <a:cxn ang="0">
                    <a:pos x="21" y="171"/>
                  </a:cxn>
                  <a:cxn ang="0">
                    <a:pos x="43" y="178"/>
                  </a:cxn>
                </a:cxnLst>
                <a:rect l="0" t="0" r="r" b="b"/>
                <a:pathLst>
                  <a:path w="119" h="185">
                    <a:moveTo>
                      <a:pt x="50" y="175"/>
                    </a:moveTo>
                    <a:lnTo>
                      <a:pt x="50" y="175"/>
                    </a:lnTo>
                    <a:lnTo>
                      <a:pt x="70" y="176"/>
                    </a:lnTo>
                    <a:lnTo>
                      <a:pt x="92" y="176"/>
                    </a:lnTo>
                    <a:lnTo>
                      <a:pt x="92" y="176"/>
                    </a:lnTo>
                    <a:lnTo>
                      <a:pt x="98" y="178"/>
                    </a:lnTo>
                    <a:lnTo>
                      <a:pt x="105" y="181"/>
                    </a:lnTo>
                    <a:lnTo>
                      <a:pt x="115" y="185"/>
                    </a:lnTo>
                    <a:lnTo>
                      <a:pt x="115" y="185"/>
                    </a:lnTo>
                    <a:lnTo>
                      <a:pt x="115" y="179"/>
                    </a:lnTo>
                    <a:lnTo>
                      <a:pt x="116" y="175"/>
                    </a:lnTo>
                    <a:lnTo>
                      <a:pt x="119" y="171"/>
                    </a:lnTo>
                    <a:lnTo>
                      <a:pt x="119" y="171"/>
                    </a:lnTo>
                    <a:lnTo>
                      <a:pt x="116" y="169"/>
                    </a:lnTo>
                    <a:lnTo>
                      <a:pt x="116" y="168"/>
                    </a:lnTo>
                    <a:lnTo>
                      <a:pt x="116" y="168"/>
                    </a:lnTo>
                    <a:lnTo>
                      <a:pt x="114" y="165"/>
                    </a:lnTo>
                    <a:lnTo>
                      <a:pt x="111" y="162"/>
                    </a:lnTo>
                    <a:lnTo>
                      <a:pt x="105" y="156"/>
                    </a:lnTo>
                    <a:lnTo>
                      <a:pt x="105" y="156"/>
                    </a:lnTo>
                    <a:lnTo>
                      <a:pt x="102" y="152"/>
                    </a:lnTo>
                    <a:lnTo>
                      <a:pt x="102" y="152"/>
                    </a:lnTo>
                    <a:lnTo>
                      <a:pt x="102" y="148"/>
                    </a:lnTo>
                    <a:lnTo>
                      <a:pt x="101" y="145"/>
                    </a:lnTo>
                    <a:lnTo>
                      <a:pt x="99" y="142"/>
                    </a:lnTo>
                    <a:lnTo>
                      <a:pt x="99" y="142"/>
                    </a:lnTo>
                    <a:lnTo>
                      <a:pt x="97" y="137"/>
                    </a:lnTo>
                    <a:lnTo>
                      <a:pt x="95" y="129"/>
                    </a:lnTo>
                    <a:lnTo>
                      <a:pt x="95" y="129"/>
                    </a:lnTo>
                    <a:lnTo>
                      <a:pt x="94" y="122"/>
                    </a:lnTo>
                    <a:lnTo>
                      <a:pt x="92" y="117"/>
                    </a:lnTo>
                    <a:lnTo>
                      <a:pt x="92" y="117"/>
                    </a:lnTo>
                    <a:lnTo>
                      <a:pt x="94" y="114"/>
                    </a:lnTo>
                    <a:lnTo>
                      <a:pt x="97" y="110"/>
                    </a:lnTo>
                    <a:lnTo>
                      <a:pt x="98" y="105"/>
                    </a:lnTo>
                    <a:lnTo>
                      <a:pt x="101" y="100"/>
                    </a:lnTo>
                    <a:lnTo>
                      <a:pt x="101" y="100"/>
                    </a:lnTo>
                    <a:lnTo>
                      <a:pt x="104" y="95"/>
                    </a:lnTo>
                    <a:lnTo>
                      <a:pt x="109" y="90"/>
                    </a:lnTo>
                    <a:lnTo>
                      <a:pt x="109" y="90"/>
                    </a:lnTo>
                    <a:lnTo>
                      <a:pt x="104" y="78"/>
                    </a:lnTo>
                    <a:lnTo>
                      <a:pt x="104" y="78"/>
                    </a:lnTo>
                    <a:lnTo>
                      <a:pt x="102" y="74"/>
                    </a:lnTo>
                    <a:lnTo>
                      <a:pt x="99" y="71"/>
                    </a:lnTo>
                    <a:lnTo>
                      <a:pt x="91" y="65"/>
                    </a:lnTo>
                    <a:lnTo>
                      <a:pt x="91" y="65"/>
                    </a:lnTo>
                    <a:lnTo>
                      <a:pt x="88" y="61"/>
                    </a:lnTo>
                    <a:lnTo>
                      <a:pt x="87" y="58"/>
                    </a:lnTo>
                    <a:lnTo>
                      <a:pt x="87" y="54"/>
                    </a:lnTo>
                    <a:lnTo>
                      <a:pt x="87" y="54"/>
                    </a:lnTo>
                    <a:lnTo>
                      <a:pt x="88" y="53"/>
                    </a:lnTo>
                    <a:lnTo>
                      <a:pt x="92" y="51"/>
                    </a:lnTo>
                    <a:lnTo>
                      <a:pt x="101" y="51"/>
                    </a:lnTo>
                    <a:lnTo>
                      <a:pt x="101" y="51"/>
                    </a:lnTo>
                    <a:lnTo>
                      <a:pt x="107" y="51"/>
                    </a:lnTo>
                    <a:lnTo>
                      <a:pt x="108" y="50"/>
                    </a:lnTo>
                    <a:lnTo>
                      <a:pt x="108" y="50"/>
                    </a:lnTo>
                    <a:lnTo>
                      <a:pt x="108" y="50"/>
                    </a:lnTo>
                    <a:lnTo>
                      <a:pt x="105" y="47"/>
                    </a:lnTo>
                    <a:lnTo>
                      <a:pt x="102" y="41"/>
                    </a:lnTo>
                    <a:lnTo>
                      <a:pt x="101" y="36"/>
                    </a:lnTo>
                    <a:lnTo>
                      <a:pt x="101" y="30"/>
                    </a:lnTo>
                    <a:lnTo>
                      <a:pt x="101" y="30"/>
                    </a:lnTo>
                    <a:lnTo>
                      <a:pt x="101" y="24"/>
                    </a:lnTo>
                    <a:lnTo>
                      <a:pt x="99" y="21"/>
                    </a:lnTo>
                    <a:lnTo>
                      <a:pt x="99" y="18"/>
                    </a:lnTo>
                    <a:lnTo>
                      <a:pt x="99" y="16"/>
                    </a:lnTo>
                    <a:lnTo>
                      <a:pt x="99" y="16"/>
                    </a:lnTo>
                    <a:lnTo>
                      <a:pt x="98" y="11"/>
                    </a:lnTo>
                    <a:lnTo>
                      <a:pt x="95" y="6"/>
                    </a:lnTo>
                    <a:lnTo>
                      <a:pt x="92" y="1"/>
                    </a:lnTo>
                    <a:lnTo>
                      <a:pt x="89" y="0"/>
                    </a:lnTo>
                    <a:lnTo>
                      <a:pt x="89" y="0"/>
                    </a:lnTo>
                    <a:lnTo>
                      <a:pt x="88" y="0"/>
                    </a:lnTo>
                    <a:lnTo>
                      <a:pt x="88" y="0"/>
                    </a:lnTo>
                    <a:lnTo>
                      <a:pt x="87" y="9"/>
                    </a:lnTo>
                    <a:lnTo>
                      <a:pt x="87" y="9"/>
                    </a:lnTo>
                    <a:lnTo>
                      <a:pt x="88" y="10"/>
                    </a:lnTo>
                    <a:lnTo>
                      <a:pt x="89" y="13"/>
                    </a:lnTo>
                    <a:lnTo>
                      <a:pt x="94" y="16"/>
                    </a:lnTo>
                    <a:lnTo>
                      <a:pt x="94" y="16"/>
                    </a:lnTo>
                    <a:lnTo>
                      <a:pt x="95" y="17"/>
                    </a:lnTo>
                    <a:lnTo>
                      <a:pt x="95" y="18"/>
                    </a:lnTo>
                    <a:lnTo>
                      <a:pt x="95" y="26"/>
                    </a:lnTo>
                    <a:lnTo>
                      <a:pt x="95" y="26"/>
                    </a:lnTo>
                    <a:lnTo>
                      <a:pt x="92" y="27"/>
                    </a:lnTo>
                    <a:lnTo>
                      <a:pt x="89" y="28"/>
                    </a:lnTo>
                    <a:lnTo>
                      <a:pt x="87" y="30"/>
                    </a:lnTo>
                    <a:lnTo>
                      <a:pt x="85" y="30"/>
                    </a:lnTo>
                    <a:lnTo>
                      <a:pt x="85" y="30"/>
                    </a:lnTo>
                    <a:lnTo>
                      <a:pt x="80" y="38"/>
                    </a:lnTo>
                    <a:lnTo>
                      <a:pt x="77" y="44"/>
                    </a:lnTo>
                    <a:lnTo>
                      <a:pt x="75" y="48"/>
                    </a:lnTo>
                    <a:lnTo>
                      <a:pt x="75" y="48"/>
                    </a:lnTo>
                    <a:lnTo>
                      <a:pt x="75" y="54"/>
                    </a:lnTo>
                    <a:lnTo>
                      <a:pt x="74" y="57"/>
                    </a:lnTo>
                    <a:lnTo>
                      <a:pt x="72" y="58"/>
                    </a:lnTo>
                    <a:lnTo>
                      <a:pt x="72" y="58"/>
                    </a:lnTo>
                    <a:lnTo>
                      <a:pt x="71" y="60"/>
                    </a:lnTo>
                    <a:lnTo>
                      <a:pt x="70" y="63"/>
                    </a:lnTo>
                    <a:lnTo>
                      <a:pt x="70" y="67"/>
                    </a:lnTo>
                    <a:lnTo>
                      <a:pt x="70" y="67"/>
                    </a:lnTo>
                    <a:lnTo>
                      <a:pt x="68" y="68"/>
                    </a:lnTo>
                    <a:lnTo>
                      <a:pt x="67" y="71"/>
                    </a:lnTo>
                    <a:lnTo>
                      <a:pt x="64" y="74"/>
                    </a:lnTo>
                    <a:lnTo>
                      <a:pt x="62" y="77"/>
                    </a:lnTo>
                    <a:lnTo>
                      <a:pt x="62" y="77"/>
                    </a:lnTo>
                    <a:lnTo>
                      <a:pt x="61" y="81"/>
                    </a:lnTo>
                    <a:lnTo>
                      <a:pt x="57" y="88"/>
                    </a:lnTo>
                    <a:lnTo>
                      <a:pt x="51" y="101"/>
                    </a:lnTo>
                    <a:lnTo>
                      <a:pt x="51" y="101"/>
                    </a:lnTo>
                    <a:lnTo>
                      <a:pt x="47" y="108"/>
                    </a:lnTo>
                    <a:lnTo>
                      <a:pt x="45" y="110"/>
                    </a:lnTo>
                    <a:lnTo>
                      <a:pt x="44" y="108"/>
                    </a:lnTo>
                    <a:lnTo>
                      <a:pt x="44" y="108"/>
                    </a:lnTo>
                    <a:lnTo>
                      <a:pt x="43" y="104"/>
                    </a:lnTo>
                    <a:lnTo>
                      <a:pt x="38" y="101"/>
                    </a:lnTo>
                    <a:lnTo>
                      <a:pt x="35" y="100"/>
                    </a:lnTo>
                    <a:lnTo>
                      <a:pt x="33" y="100"/>
                    </a:lnTo>
                    <a:lnTo>
                      <a:pt x="33" y="100"/>
                    </a:lnTo>
                    <a:lnTo>
                      <a:pt x="30" y="101"/>
                    </a:lnTo>
                    <a:lnTo>
                      <a:pt x="27" y="101"/>
                    </a:lnTo>
                    <a:lnTo>
                      <a:pt x="23" y="101"/>
                    </a:lnTo>
                    <a:lnTo>
                      <a:pt x="23" y="101"/>
                    </a:lnTo>
                    <a:lnTo>
                      <a:pt x="13" y="111"/>
                    </a:lnTo>
                    <a:lnTo>
                      <a:pt x="4" y="120"/>
                    </a:lnTo>
                    <a:lnTo>
                      <a:pt x="4" y="120"/>
                    </a:lnTo>
                    <a:lnTo>
                      <a:pt x="4" y="124"/>
                    </a:lnTo>
                    <a:lnTo>
                      <a:pt x="0" y="137"/>
                    </a:lnTo>
                    <a:lnTo>
                      <a:pt x="0" y="137"/>
                    </a:lnTo>
                    <a:lnTo>
                      <a:pt x="3" y="139"/>
                    </a:lnTo>
                    <a:lnTo>
                      <a:pt x="7" y="145"/>
                    </a:lnTo>
                    <a:lnTo>
                      <a:pt x="7" y="145"/>
                    </a:lnTo>
                    <a:lnTo>
                      <a:pt x="10" y="147"/>
                    </a:lnTo>
                    <a:lnTo>
                      <a:pt x="13" y="148"/>
                    </a:lnTo>
                    <a:lnTo>
                      <a:pt x="17" y="148"/>
                    </a:lnTo>
                    <a:lnTo>
                      <a:pt x="18" y="148"/>
                    </a:lnTo>
                    <a:lnTo>
                      <a:pt x="18" y="148"/>
                    </a:lnTo>
                    <a:lnTo>
                      <a:pt x="21" y="151"/>
                    </a:lnTo>
                    <a:lnTo>
                      <a:pt x="23" y="155"/>
                    </a:lnTo>
                    <a:lnTo>
                      <a:pt x="24" y="159"/>
                    </a:lnTo>
                    <a:lnTo>
                      <a:pt x="24" y="164"/>
                    </a:lnTo>
                    <a:lnTo>
                      <a:pt x="24" y="164"/>
                    </a:lnTo>
                    <a:lnTo>
                      <a:pt x="21" y="171"/>
                    </a:lnTo>
                    <a:lnTo>
                      <a:pt x="20" y="174"/>
                    </a:lnTo>
                    <a:lnTo>
                      <a:pt x="20" y="178"/>
                    </a:lnTo>
                    <a:lnTo>
                      <a:pt x="43" y="178"/>
                    </a:lnTo>
                    <a:lnTo>
                      <a:pt x="50" y="17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4" name="Nigeria">
                <a:extLst>
                  <a:ext uri="{FF2B5EF4-FFF2-40B4-BE49-F238E27FC236}">
                    <a16:creationId xmlns:a16="http://schemas.microsoft.com/office/drawing/2014/main" id="{F26AD733-DBA6-C84D-ABFD-8CA81CCE564D}"/>
                  </a:ext>
                </a:extLst>
              </p:cNvPr>
              <p:cNvSpPr>
                <a:spLocks/>
              </p:cNvSpPr>
              <p:nvPr/>
            </p:nvSpPr>
            <p:spPr bwMode="auto">
              <a:xfrm>
                <a:off x="4389987" y="3979748"/>
                <a:ext cx="279679" cy="226408"/>
              </a:xfrm>
              <a:custGeom>
                <a:avLst/>
                <a:gdLst/>
                <a:ahLst/>
                <a:cxnLst>
                  <a:cxn ang="0">
                    <a:pos x="121" y="112"/>
                  </a:cxn>
                  <a:cxn ang="0">
                    <a:pos x="127" y="111"/>
                  </a:cxn>
                  <a:cxn ang="0">
                    <a:pos x="137" y="115"/>
                  </a:cxn>
                  <a:cxn ang="0">
                    <a:pos x="139" y="121"/>
                  </a:cxn>
                  <a:cxn ang="0">
                    <a:pos x="145" y="112"/>
                  </a:cxn>
                  <a:cxn ang="0">
                    <a:pos x="156" y="88"/>
                  </a:cxn>
                  <a:cxn ang="0">
                    <a:pos x="161" y="82"/>
                  </a:cxn>
                  <a:cxn ang="0">
                    <a:pos x="164" y="78"/>
                  </a:cxn>
                  <a:cxn ang="0">
                    <a:pos x="166" y="69"/>
                  </a:cxn>
                  <a:cxn ang="0">
                    <a:pos x="169" y="65"/>
                  </a:cxn>
                  <a:cxn ang="0">
                    <a:pos x="171" y="55"/>
                  </a:cxn>
                  <a:cxn ang="0">
                    <a:pos x="179" y="41"/>
                  </a:cxn>
                  <a:cxn ang="0">
                    <a:pos x="186" y="38"/>
                  </a:cxn>
                  <a:cxn ang="0">
                    <a:pos x="189" y="29"/>
                  </a:cxn>
                  <a:cxn ang="0">
                    <a:pos x="188" y="27"/>
                  </a:cxn>
                  <a:cxn ang="0">
                    <a:pos x="181" y="20"/>
                  </a:cxn>
                  <a:cxn ang="0">
                    <a:pos x="182" y="11"/>
                  </a:cxn>
                  <a:cxn ang="0">
                    <a:pos x="176" y="4"/>
                  </a:cxn>
                  <a:cxn ang="0">
                    <a:pos x="172" y="1"/>
                  </a:cxn>
                  <a:cxn ang="0">
                    <a:pos x="168" y="2"/>
                  </a:cxn>
                  <a:cxn ang="0">
                    <a:pos x="159" y="11"/>
                  </a:cxn>
                  <a:cxn ang="0">
                    <a:pos x="151" y="11"/>
                  </a:cxn>
                  <a:cxn ang="0">
                    <a:pos x="142" y="7"/>
                  </a:cxn>
                  <a:cxn ang="0">
                    <a:pos x="125" y="8"/>
                  </a:cxn>
                  <a:cxn ang="0">
                    <a:pos x="114" y="15"/>
                  </a:cxn>
                  <a:cxn ang="0">
                    <a:pos x="105" y="17"/>
                  </a:cxn>
                  <a:cxn ang="0">
                    <a:pos x="91" y="11"/>
                  </a:cxn>
                  <a:cxn ang="0">
                    <a:pos x="85" y="8"/>
                  </a:cxn>
                  <a:cxn ang="0">
                    <a:pos x="72" y="12"/>
                  </a:cxn>
                  <a:cxn ang="0">
                    <a:pos x="67" y="11"/>
                  </a:cxn>
                  <a:cxn ang="0">
                    <a:pos x="60" y="2"/>
                  </a:cxn>
                  <a:cxn ang="0">
                    <a:pos x="50" y="0"/>
                  </a:cxn>
                  <a:cxn ang="0">
                    <a:pos x="45" y="1"/>
                  </a:cxn>
                  <a:cxn ang="0">
                    <a:pos x="41" y="4"/>
                  </a:cxn>
                  <a:cxn ang="0">
                    <a:pos x="26" y="4"/>
                  </a:cxn>
                  <a:cxn ang="0">
                    <a:pos x="23" y="10"/>
                  </a:cxn>
                  <a:cxn ang="0">
                    <a:pos x="18" y="21"/>
                  </a:cxn>
                  <a:cxn ang="0">
                    <a:pos x="16" y="28"/>
                  </a:cxn>
                  <a:cxn ang="0">
                    <a:pos x="13" y="31"/>
                  </a:cxn>
                  <a:cxn ang="0">
                    <a:pos x="16" y="52"/>
                  </a:cxn>
                  <a:cxn ang="0">
                    <a:pos x="13" y="64"/>
                  </a:cxn>
                  <a:cxn ang="0">
                    <a:pos x="7" y="74"/>
                  </a:cxn>
                  <a:cxn ang="0">
                    <a:pos x="0" y="85"/>
                  </a:cxn>
                  <a:cxn ang="0">
                    <a:pos x="1" y="103"/>
                  </a:cxn>
                  <a:cxn ang="0">
                    <a:pos x="3" y="111"/>
                  </a:cxn>
                  <a:cxn ang="0">
                    <a:pos x="6" y="116"/>
                  </a:cxn>
                  <a:cxn ang="0">
                    <a:pos x="16" y="121"/>
                  </a:cxn>
                  <a:cxn ang="0">
                    <a:pos x="36" y="126"/>
                  </a:cxn>
                  <a:cxn ang="0">
                    <a:pos x="45" y="139"/>
                  </a:cxn>
                  <a:cxn ang="0">
                    <a:pos x="48" y="148"/>
                  </a:cxn>
                  <a:cxn ang="0">
                    <a:pos x="54" y="153"/>
                  </a:cxn>
                  <a:cxn ang="0">
                    <a:pos x="67" y="150"/>
                  </a:cxn>
                  <a:cxn ang="0">
                    <a:pos x="81" y="149"/>
                  </a:cxn>
                  <a:cxn ang="0">
                    <a:pos x="91" y="148"/>
                  </a:cxn>
                  <a:cxn ang="0">
                    <a:pos x="94" y="148"/>
                  </a:cxn>
                  <a:cxn ang="0">
                    <a:pos x="98" y="131"/>
                  </a:cxn>
                  <a:cxn ang="0">
                    <a:pos x="117" y="112"/>
                  </a:cxn>
                </a:cxnLst>
                <a:rect l="0" t="0" r="r" b="b"/>
                <a:pathLst>
                  <a:path w="189" h="153">
                    <a:moveTo>
                      <a:pt x="117" y="112"/>
                    </a:moveTo>
                    <a:lnTo>
                      <a:pt x="117" y="112"/>
                    </a:lnTo>
                    <a:lnTo>
                      <a:pt x="121" y="112"/>
                    </a:lnTo>
                    <a:lnTo>
                      <a:pt x="124" y="112"/>
                    </a:lnTo>
                    <a:lnTo>
                      <a:pt x="127" y="111"/>
                    </a:lnTo>
                    <a:lnTo>
                      <a:pt x="127" y="111"/>
                    </a:lnTo>
                    <a:lnTo>
                      <a:pt x="129" y="111"/>
                    </a:lnTo>
                    <a:lnTo>
                      <a:pt x="132" y="112"/>
                    </a:lnTo>
                    <a:lnTo>
                      <a:pt x="137" y="115"/>
                    </a:lnTo>
                    <a:lnTo>
                      <a:pt x="138" y="119"/>
                    </a:lnTo>
                    <a:lnTo>
                      <a:pt x="138" y="119"/>
                    </a:lnTo>
                    <a:lnTo>
                      <a:pt x="139" y="121"/>
                    </a:lnTo>
                    <a:lnTo>
                      <a:pt x="141" y="119"/>
                    </a:lnTo>
                    <a:lnTo>
                      <a:pt x="145" y="112"/>
                    </a:lnTo>
                    <a:lnTo>
                      <a:pt x="145" y="112"/>
                    </a:lnTo>
                    <a:lnTo>
                      <a:pt x="151" y="99"/>
                    </a:lnTo>
                    <a:lnTo>
                      <a:pt x="155" y="92"/>
                    </a:lnTo>
                    <a:lnTo>
                      <a:pt x="156" y="88"/>
                    </a:lnTo>
                    <a:lnTo>
                      <a:pt x="156" y="88"/>
                    </a:lnTo>
                    <a:lnTo>
                      <a:pt x="158" y="85"/>
                    </a:lnTo>
                    <a:lnTo>
                      <a:pt x="161" y="82"/>
                    </a:lnTo>
                    <a:lnTo>
                      <a:pt x="162" y="79"/>
                    </a:lnTo>
                    <a:lnTo>
                      <a:pt x="164" y="78"/>
                    </a:lnTo>
                    <a:lnTo>
                      <a:pt x="164" y="78"/>
                    </a:lnTo>
                    <a:lnTo>
                      <a:pt x="164" y="74"/>
                    </a:lnTo>
                    <a:lnTo>
                      <a:pt x="165" y="71"/>
                    </a:lnTo>
                    <a:lnTo>
                      <a:pt x="166" y="69"/>
                    </a:lnTo>
                    <a:lnTo>
                      <a:pt x="166" y="69"/>
                    </a:lnTo>
                    <a:lnTo>
                      <a:pt x="168" y="68"/>
                    </a:lnTo>
                    <a:lnTo>
                      <a:pt x="169" y="65"/>
                    </a:lnTo>
                    <a:lnTo>
                      <a:pt x="169" y="59"/>
                    </a:lnTo>
                    <a:lnTo>
                      <a:pt x="169" y="59"/>
                    </a:lnTo>
                    <a:lnTo>
                      <a:pt x="171" y="55"/>
                    </a:lnTo>
                    <a:lnTo>
                      <a:pt x="174" y="49"/>
                    </a:lnTo>
                    <a:lnTo>
                      <a:pt x="179" y="41"/>
                    </a:lnTo>
                    <a:lnTo>
                      <a:pt x="179" y="41"/>
                    </a:lnTo>
                    <a:lnTo>
                      <a:pt x="181" y="41"/>
                    </a:lnTo>
                    <a:lnTo>
                      <a:pt x="183" y="39"/>
                    </a:lnTo>
                    <a:lnTo>
                      <a:pt x="186" y="38"/>
                    </a:lnTo>
                    <a:lnTo>
                      <a:pt x="189" y="37"/>
                    </a:lnTo>
                    <a:lnTo>
                      <a:pt x="189" y="37"/>
                    </a:lnTo>
                    <a:lnTo>
                      <a:pt x="189" y="29"/>
                    </a:lnTo>
                    <a:lnTo>
                      <a:pt x="189" y="28"/>
                    </a:lnTo>
                    <a:lnTo>
                      <a:pt x="188" y="27"/>
                    </a:lnTo>
                    <a:lnTo>
                      <a:pt x="188" y="27"/>
                    </a:lnTo>
                    <a:lnTo>
                      <a:pt x="183" y="24"/>
                    </a:lnTo>
                    <a:lnTo>
                      <a:pt x="182" y="21"/>
                    </a:lnTo>
                    <a:lnTo>
                      <a:pt x="181" y="20"/>
                    </a:lnTo>
                    <a:lnTo>
                      <a:pt x="181" y="20"/>
                    </a:lnTo>
                    <a:lnTo>
                      <a:pt x="182" y="11"/>
                    </a:lnTo>
                    <a:lnTo>
                      <a:pt x="182" y="11"/>
                    </a:lnTo>
                    <a:lnTo>
                      <a:pt x="179" y="10"/>
                    </a:lnTo>
                    <a:lnTo>
                      <a:pt x="178" y="8"/>
                    </a:lnTo>
                    <a:lnTo>
                      <a:pt x="176" y="4"/>
                    </a:lnTo>
                    <a:lnTo>
                      <a:pt x="176" y="4"/>
                    </a:lnTo>
                    <a:lnTo>
                      <a:pt x="174" y="1"/>
                    </a:lnTo>
                    <a:lnTo>
                      <a:pt x="172" y="1"/>
                    </a:lnTo>
                    <a:lnTo>
                      <a:pt x="171" y="1"/>
                    </a:lnTo>
                    <a:lnTo>
                      <a:pt x="171" y="1"/>
                    </a:lnTo>
                    <a:lnTo>
                      <a:pt x="168" y="2"/>
                    </a:lnTo>
                    <a:lnTo>
                      <a:pt x="165" y="5"/>
                    </a:lnTo>
                    <a:lnTo>
                      <a:pt x="162" y="10"/>
                    </a:lnTo>
                    <a:lnTo>
                      <a:pt x="159" y="11"/>
                    </a:lnTo>
                    <a:lnTo>
                      <a:pt x="159" y="11"/>
                    </a:lnTo>
                    <a:lnTo>
                      <a:pt x="155" y="11"/>
                    </a:lnTo>
                    <a:lnTo>
                      <a:pt x="151" y="11"/>
                    </a:lnTo>
                    <a:lnTo>
                      <a:pt x="145" y="8"/>
                    </a:lnTo>
                    <a:lnTo>
                      <a:pt x="145" y="8"/>
                    </a:lnTo>
                    <a:lnTo>
                      <a:pt x="142" y="7"/>
                    </a:lnTo>
                    <a:lnTo>
                      <a:pt x="135" y="7"/>
                    </a:lnTo>
                    <a:lnTo>
                      <a:pt x="125" y="8"/>
                    </a:lnTo>
                    <a:lnTo>
                      <a:pt x="125" y="8"/>
                    </a:lnTo>
                    <a:lnTo>
                      <a:pt x="122" y="8"/>
                    </a:lnTo>
                    <a:lnTo>
                      <a:pt x="118" y="11"/>
                    </a:lnTo>
                    <a:lnTo>
                      <a:pt x="114" y="15"/>
                    </a:lnTo>
                    <a:lnTo>
                      <a:pt x="114" y="15"/>
                    </a:lnTo>
                    <a:lnTo>
                      <a:pt x="109" y="17"/>
                    </a:lnTo>
                    <a:lnTo>
                      <a:pt x="105" y="17"/>
                    </a:lnTo>
                    <a:lnTo>
                      <a:pt x="98" y="15"/>
                    </a:lnTo>
                    <a:lnTo>
                      <a:pt x="98" y="15"/>
                    </a:lnTo>
                    <a:lnTo>
                      <a:pt x="91" y="11"/>
                    </a:lnTo>
                    <a:lnTo>
                      <a:pt x="88" y="10"/>
                    </a:lnTo>
                    <a:lnTo>
                      <a:pt x="85" y="8"/>
                    </a:lnTo>
                    <a:lnTo>
                      <a:pt x="85" y="8"/>
                    </a:lnTo>
                    <a:lnTo>
                      <a:pt x="80" y="10"/>
                    </a:lnTo>
                    <a:lnTo>
                      <a:pt x="72" y="12"/>
                    </a:lnTo>
                    <a:lnTo>
                      <a:pt x="72" y="12"/>
                    </a:lnTo>
                    <a:lnTo>
                      <a:pt x="70" y="12"/>
                    </a:lnTo>
                    <a:lnTo>
                      <a:pt x="68" y="12"/>
                    </a:lnTo>
                    <a:lnTo>
                      <a:pt x="67" y="11"/>
                    </a:lnTo>
                    <a:lnTo>
                      <a:pt x="63" y="4"/>
                    </a:lnTo>
                    <a:lnTo>
                      <a:pt x="63" y="4"/>
                    </a:lnTo>
                    <a:lnTo>
                      <a:pt x="60" y="2"/>
                    </a:lnTo>
                    <a:lnTo>
                      <a:pt x="57" y="2"/>
                    </a:lnTo>
                    <a:lnTo>
                      <a:pt x="53" y="1"/>
                    </a:lnTo>
                    <a:lnTo>
                      <a:pt x="50" y="0"/>
                    </a:lnTo>
                    <a:lnTo>
                      <a:pt x="50" y="0"/>
                    </a:lnTo>
                    <a:lnTo>
                      <a:pt x="47" y="0"/>
                    </a:lnTo>
                    <a:lnTo>
                      <a:pt x="45" y="1"/>
                    </a:lnTo>
                    <a:lnTo>
                      <a:pt x="43" y="2"/>
                    </a:lnTo>
                    <a:lnTo>
                      <a:pt x="41" y="4"/>
                    </a:lnTo>
                    <a:lnTo>
                      <a:pt x="41" y="4"/>
                    </a:lnTo>
                    <a:lnTo>
                      <a:pt x="33" y="2"/>
                    </a:lnTo>
                    <a:lnTo>
                      <a:pt x="28" y="2"/>
                    </a:lnTo>
                    <a:lnTo>
                      <a:pt x="26" y="4"/>
                    </a:lnTo>
                    <a:lnTo>
                      <a:pt x="26" y="4"/>
                    </a:lnTo>
                    <a:lnTo>
                      <a:pt x="24" y="7"/>
                    </a:lnTo>
                    <a:lnTo>
                      <a:pt x="23" y="10"/>
                    </a:lnTo>
                    <a:lnTo>
                      <a:pt x="23" y="17"/>
                    </a:lnTo>
                    <a:lnTo>
                      <a:pt x="23" y="17"/>
                    </a:lnTo>
                    <a:lnTo>
                      <a:pt x="18" y="21"/>
                    </a:lnTo>
                    <a:lnTo>
                      <a:pt x="16" y="24"/>
                    </a:lnTo>
                    <a:lnTo>
                      <a:pt x="16" y="28"/>
                    </a:lnTo>
                    <a:lnTo>
                      <a:pt x="16" y="28"/>
                    </a:lnTo>
                    <a:lnTo>
                      <a:pt x="14" y="29"/>
                    </a:lnTo>
                    <a:lnTo>
                      <a:pt x="13" y="31"/>
                    </a:lnTo>
                    <a:lnTo>
                      <a:pt x="13" y="31"/>
                    </a:lnTo>
                    <a:lnTo>
                      <a:pt x="16" y="41"/>
                    </a:lnTo>
                    <a:lnTo>
                      <a:pt x="16" y="41"/>
                    </a:lnTo>
                    <a:lnTo>
                      <a:pt x="16" y="52"/>
                    </a:lnTo>
                    <a:lnTo>
                      <a:pt x="16" y="59"/>
                    </a:lnTo>
                    <a:lnTo>
                      <a:pt x="13" y="64"/>
                    </a:lnTo>
                    <a:lnTo>
                      <a:pt x="13" y="64"/>
                    </a:lnTo>
                    <a:lnTo>
                      <a:pt x="8" y="71"/>
                    </a:lnTo>
                    <a:lnTo>
                      <a:pt x="7" y="74"/>
                    </a:lnTo>
                    <a:lnTo>
                      <a:pt x="7" y="74"/>
                    </a:lnTo>
                    <a:lnTo>
                      <a:pt x="4" y="76"/>
                    </a:lnTo>
                    <a:lnTo>
                      <a:pt x="1" y="81"/>
                    </a:lnTo>
                    <a:lnTo>
                      <a:pt x="0" y="85"/>
                    </a:lnTo>
                    <a:lnTo>
                      <a:pt x="0" y="85"/>
                    </a:lnTo>
                    <a:lnTo>
                      <a:pt x="0" y="95"/>
                    </a:lnTo>
                    <a:lnTo>
                      <a:pt x="1" y="103"/>
                    </a:lnTo>
                    <a:lnTo>
                      <a:pt x="1" y="103"/>
                    </a:lnTo>
                    <a:lnTo>
                      <a:pt x="1" y="108"/>
                    </a:lnTo>
                    <a:lnTo>
                      <a:pt x="3" y="111"/>
                    </a:lnTo>
                    <a:lnTo>
                      <a:pt x="6" y="116"/>
                    </a:lnTo>
                    <a:lnTo>
                      <a:pt x="6" y="116"/>
                    </a:lnTo>
                    <a:lnTo>
                      <a:pt x="6" y="116"/>
                    </a:lnTo>
                    <a:lnTo>
                      <a:pt x="6" y="116"/>
                    </a:lnTo>
                    <a:lnTo>
                      <a:pt x="10" y="119"/>
                    </a:lnTo>
                    <a:lnTo>
                      <a:pt x="16" y="121"/>
                    </a:lnTo>
                    <a:lnTo>
                      <a:pt x="30" y="123"/>
                    </a:lnTo>
                    <a:lnTo>
                      <a:pt x="30" y="123"/>
                    </a:lnTo>
                    <a:lnTo>
                      <a:pt x="36" y="126"/>
                    </a:lnTo>
                    <a:lnTo>
                      <a:pt x="40" y="131"/>
                    </a:lnTo>
                    <a:lnTo>
                      <a:pt x="44" y="135"/>
                    </a:lnTo>
                    <a:lnTo>
                      <a:pt x="45" y="139"/>
                    </a:lnTo>
                    <a:lnTo>
                      <a:pt x="45" y="139"/>
                    </a:lnTo>
                    <a:lnTo>
                      <a:pt x="45" y="143"/>
                    </a:lnTo>
                    <a:lnTo>
                      <a:pt x="48" y="148"/>
                    </a:lnTo>
                    <a:lnTo>
                      <a:pt x="51" y="150"/>
                    </a:lnTo>
                    <a:lnTo>
                      <a:pt x="54" y="153"/>
                    </a:lnTo>
                    <a:lnTo>
                      <a:pt x="54" y="153"/>
                    </a:lnTo>
                    <a:lnTo>
                      <a:pt x="57" y="153"/>
                    </a:lnTo>
                    <a:lnTo>
                      <a:pt x="61" y="152"/>
                    </a:lnTo>
                    <a:lnTo>
                      <a:pt x="67" y="150"/>
                    </a:lnTo>
                    <a:lnTo>
                      <a:pt x="70" y="149"/>
                    </a:lnTo>
                    <a:lnTo>
                      <a:pt x="70" y="149"/>
                    </a:lnTo>
                    <a:lnTo>
                      <a:pt x="81" y="149"/>
                    </a:lnTo>
                    <a:lnTo>
                      <a:pt x="87" y="149"/>
                    </a:lnTo>
                    <a:lnTo>
                      <a:pt x="91" y="148"/>
                    </a:lnTo>
                    <a:lnTo>
                      <a:pt x="91" y="148"/>
                    </a:lnTo>
                    <a:lnTo>
                      <a:pt x="92" y="146"/>
                    </a:lnTo>
                    <a:lnTo>
                      <a:pt x="94" y="148"/>
                    </a:lnTo>
                    <a:lnTo>
                      <a:pt x="94" y="148"/>
                    </a:lnTo>
                    <a:lnTo>
                      <a:pt x="98" y="135"/>
                    </a:lnTo>
                    <a:lnTo>
                      <a:pt x="98" y="131"/>
                    </a:lnTo>
                    <a:lnTo>
                      <a:pt x="98" y="131"/>
                    </a:lnTo>
                    <a:lnTo>
                      <a:pt x="107" y="122"/>
                    </a:lnTo>
                    <a:lnTo>
                      <a:pt x="117" y="112"/>
                    </a:lnTo>
                    <a:lnTo>
                      <a:pt x="117" y="11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5" name="Equatorial Guinea">
                <a:extLst>
                  <a:ext uri="{FF2B5EF4-FFF2-40B4-BE49-F238E27FC236}">
                    <a16:creationId xmlns:a16="http://schemas.microsoft.com/office/drawing/2014/main" id="{2917CA8F-A9D9-6E44-BF63-93EF6913D608}"/>
                  </a:ext>
                </a:extLst>
              </p:cNvPr>
              <p:cNvSpPr>
                <a:spLocks/>
              </p:cNvSpPr>
              <p:nvPr/>
            </p:nvSpPr>
            <p:spPr bwMode="auto">
              <a:xfrm>
                <a:off x="4548324" y="4256467"/>
                <a:ext cx="50312" cy="34036"/>
              </a:xfrm>
              <a:custGeom>
                <a:avLst/>
                <a:gdLst/>
                <a:ahLst/>
                <a:cxnLst>
                  <a:cxn ang="0">
                    <a:pos x="32" y="20"/>
                  </a:cxn>
                  <a:cxn ang="0">
                    <a:pos x="32" y="20"/>
                  </a:cxn>
                  <a:cxn ang="0">
                    <a:pos x="34" y="15"/>
                  </a:cxn>
                  <a:cxn ang="0">
                    <a:pos x="34" y="0"/>
                  </a:cxn>
                  <a:cxn ang="0">
                    <a:pos x="30" y="2"/>
                  </a:cxn>
                  <a:cxn ang="0">
                    <a:pos x="7" y="2"/>
                  </a:cxn>
                  <a:cxn ang="0">
                    <a:pos x="7" y="2"/>
                  </a:cxn>
                  <a:cxn ang="0">
                    <a:pos x="8" y="2"/>
                  </a:cxn>
                  <a:cxn ang="0">
                    <a:pos x="8" y="2"/>
                  </a:cxn>
                  <a:cxn ang="0">
                    <a:pos x="8" y="5"/>
                  </a:cxn>
                  <a:cxn ang="0">
                    <a:pos x="8" y="8"/>
                  </a:cxn>
                  <a:cxn ang="0">
                    <a:pos x="7" y="10"/>
                  </a:cxn>
                  <a:cxn ang="0">
                    <a:pos x="4" y="12"/>
                  </a:cxn>
                  <a:cxn ang="0">
                    <a:pos x="4" y="12"/>
                  </a:cxn>
                  <a:cxn ang="0">
                    <a:pos x="1" y="15"/>
                  </a:cxn>
                  <a:cxn ang="0">
                    <a:pos x="0" y="16"/>
                  </a:cxn>
                  <a:cxn ang="0">
                    <a:pos x="1" y="17"/>
                  </a:cxn>
                  <a:cxn ang="0">
                    <a:pos x="2" y="19"/>
                  </a:cxn>
                  <a:cxn ang="0">
                    <a:pos x="2" y="19"/>
                  </a:cxn>
                  <a:cxn ang="0">
                    <a:pos x="4" y="19"/>
                  </a:cxn>
                  <a:cxn ang="0">
                    <a:pos x="5" y="20"/>
                  </a:cxn>
                  <a:cxn ang="0">
                    <a:pos x="4" y="23"/>
                  </a:cxn>
                  <a:cxn ang="0">
                    <a:pos x="4" y="23"/>
                  </a:cxn>
                  <a:cxn ang="0">
                    <a:pos x="11" y="22"/>
                  </a:cxn>
                  <a:cxn ang="0">
                    <a:pos x="11" y="22"/>
                  </a:cxn>
                  <a:cxn ang="0">
                    <a:pos x="32" y="20"/>
                  </a:cxn>
                  <a:cxn ang="0">
                    <a:pos x="32" y="20"/>
                  </a:cxn>
                </a:cxnLst>
                <a:rect l="0" t="0" r="r" b="b"/>
                <a:pathLst>
                  <a:path w="34" h="23">
                    <a:moveTo>
                      <a:pt x="32" y="20"/>
                    </a:moveTo>
                    <a:lnTo>
                      <a:pt x="32" y="20"/>
                    </a:lnTo>
                    <a:lnTo>
                      <a:pt x="34" y="15"/>
                    </a:lnTo>
                    <a:lnTo>
                      <a:pt x="34" y="0"/>
                    </a:lnTo>
                    <a:lnTo>
                      <a:pt x="30" y="2"/>
                    </a:lnTo>
                    <a:lnTo>
                      <a:pt x="7" y="2"/>
                    </a:lnTo>
                    <a:lnTo>
                      <a:pt x="7" y="2"/>
                    </a:lnTo>
                    <a:lnTo>
                      <a:pt x="8" y="2"/>
                    </a:lnTo>
                    <a:lnTo>
                      <a:pt x="8" y="2"/>
                    </a:lnTo>
                    <a:lnTo>
                      <a:pt x="8" y="5"/>
                    </a:lnTo>
                    <a:lnTo>
                      <a:pt x="8" y="8"/>
                    </a:lnTo>
                    <a:lnTo>
                      <a:pt x="7" y="10"/>
                    </a:lnTo>
                    <a:lnTo>
                      <a:pt x="4" y="12"/>
                    </a:lnTo>
                    <a:lnTo>
                      <a:pt x="4" y="12"/>
                    </a:lnTo>
                    <a:lnTo>
                      <a:pt x="1" y="15"/>
                    </a:lnTo>
                    <a:lnTo>
                      <a:pt x="0" y="16"/>
                    </a:lnTo>
                    <a:lnTo>
                      <a:pt x="1" y="17"/>
                    </a:lnTo>
                    <a:lnTo>
                      <a:pt x="2" y="19"/>
                    </a:lnTo>
                    <a:lnTo>
                      <a:pt x="2" y="19"/>
                    </a:lnTo>
                    <a:lnTo>
                      <a:pt x="4" y="19"/>
                    </a:lnTo>
                    <a:lnTo>
                      <a:pt x="5" y="20"/>
                    </a:lnTo>
                    <a:lnTo>
                      <a:pt x="4" y="23"/>
                    </a:lnTo>
                    <a:lnTo>
                      <a:pt x="4" y="23"/>
                    </a:lnTo>
                    <a:lnTo>
                      <a:pt x="11" y="22"/>
                    </a:lnTo>
                    <a:lnTo>
                      <a:pt x="11" y="22"/>
                    </a:lnTo>
                    <a:lnTo>
                      <a:pt x="32" y="20"/>
                    </a:lnTo>
                    <a:lnTo>
                      <a:pt x="32" y="2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6" name="Gabon">
                <a:extLst>
                  <a:ext uri="{FF2B5EF4-FFF2-40B4-BE49-F238E27FC236}">
                    <a16:creationId xmlns:a16="http://schemas.microsoft.com/office/drawing/2014/main" id="{96EBBEA9-2196-C74F-AC21-268DE238B04C}"/>
                  </a:ext>
                </a:extLst>
              </p:cNvPr>
              <p:cNvSpPr>
                <a:spLocks/>
              </p:cNvSpPr>
              <p:nvPr/>
            </p:nvSpPr>
            <p:spPr bwMode="auto">
              <a:xfrm>
                <a:off x="4535006" y="4254988"/>
                <a:ext cx="130221" cy="149459"/>
              </a:xfrm>
              <a:custGeom>
                <a:avLst/>
                <a:gdLst/>
                <a:ahLst/>
                <a:cxnLst>
                  <a:cxn ang="0">
                    <a:pos x="44" y="97"/>
                  </a:cxn>
                  <a:cxn ang="0">
                    <a:pos x="48" y="92"/>
                  </a:cxn>
                  <a:cxn ang="0">
                    <a:pos x="46" y="84"/>
                  </a:cxn>
                  <a:cxn ang="0">
                    <a:pos x="46" y="80"/>
                  </a:cxn>
                  <a:cxn ang="0">
                    <a:pos x="51" y="77"/>
                  </a:cxn>
                  <a:cxn ang="0">
                    <a:pos x="56" y="77"/>
                  </a:cxn>
                  <a:cxn ang="0">
                    <a:pos x="58" y="75"/>
                  </a:cxn>
                  <a:cxn ang="0">
                    <a:pos x="60" y="70"/>
                  </a:cxn>
                  <a:cxn ang="0">
                    <a:pos x="63" y="68"/>
                  </a:cxn>
                  <a:cxn ang="0">
                    <a:pos x="67" y="73"/>
                  </a:cxn>
                  <a:cxn ang="0">
                    <a:pos x="70" y="77"/>
                  </a:cxn>
                  <a:cxn ang="0">
                    <a:pos x="71" y="78"/>
                  </a:cxn>
                  <a:cxn ang="0">
                    <a:pos x="77" y="78"/>
                  </a:cxn>
                  <a:cxn ang="0">
                    <a:pos x="84" y="80"/>
                  </a:cxn>
                  <a:cxn ang="0">
                    <a:pos x="85" y="78"/>
                  </a:cxn>
                  <a:cxn ang="0">
                    <a:pos x="88" y="73"/>
                  </a:cxn>
                  <a:cxn ang="0">
                    <a:pos x="88" y="61"/>
                  </a:cxn>
                  <a:cxn ang="0">
                    <a:pos x="87" y="47"/>
                  </a:cxn>
                  <a:cxn ang="0">
                    <a:pos x="84" y="44"/>
                  </a:cxn>
                  <a:cxn ang="0">
                    <a:pos x="78" y="37"/>
                  </a:cxn>
                  <a:cxn ang="0">
                    <a:pos x="81" y="31"/>
                  </a:cxn>
                  <a:cxn ang="0">
                    <a:pos x="85" y="28"/>
                  </a:cxn>
                  <a:cxn ang="0">
                    <a:pos x="85" y="21"/>
                  </a:cxn>
                  <a:cxn ang="0">
                    <a:pos x="84" y="18"/>
                  </a:cxn>
                  <a:cxn ang="0">
                    <a:pos x="78" y="17"/>
                  </a:cxn>
                  <a:cxn ang="0">
                    <a:pos x="70" y="18"/>
                  </a:cxn>
                  <a:cxn ang="0">
                    <a:pos x="67" y="18"/>
                  </a:cxn>
                  <a:cxn ang="0">
                    <a:pos x="70" y="1"/>
                  </a:cxn>
                  <a:cxn ang="0">
                    <a:pos x="46" y="0"/>
                  </a:cxn>
                  <a:cxn ang="0">
                    <a:pos x="43" y="1"/>
                  </a:cxn>
                  <a:cxn ang="0">
                    <a:pos x="41" y="21"/>
                  </a:cxn>
                  <a:cxn ang="0">
                    <a:pos x="20" y="23"/>
                  </a:cxn>
                  <a:cxn ang="0">
                    <a:pos x="13" y="24"/>
                  </a:cxn>
                  <a:cxn ang="0">
                    <a:pos x="10" y="27"/>
                  </a:cxn>
                  <a:cxn ang="0">
                    <a:pos x="10" y="28"/>
                  </a:cxn>
                  <a:cxn ang="0">
                    <a:pos x="14" y="33"/>
                  </a:cxn>
                  <a:cxn ang="0">
                    <a:pos x="16" y="36"/>
                  </a:cxn>
                  <a:cxn ang="0">
                    <a:pos x="16" y="37"/>
                  </a:cxn>
                  <a:cxn ang="0">
                    <a:pos x="9" y="40"/>
                  </a:cxn>
                  <a:cxn ang="0">
                    <a:pos x="7" y="43"/>
                  </a:cxn>
                  <a:cxn ang="0">
                    <a:pos x="7" y="46"/>
                  </a:cxn>
                  <a:cxn ang="0">
                    <a:pos x="2" y="53"/>
                  </a:cxn>
                  <a:cxn ang="0">
                    <a:pos x="0" y="54"/>
                  </a:cxn>
                  <a:cxn ang="0">
                    <a:pos x="3" y="60"/>
                  </a:cxn>
                  <a:cxn ang="0">
                    <a:pos x="9" y="67"/>
                  </a:cxn>
                  <a:cxn ang="0">
                    <a:pos x="9" y="68"/>
                  </a:cxn>
                  <a:cxn ang="0">
                    <a:pos x="20" y="81"/>
                  </a:cxn>
                  <a:cxn ang="0">
                    <a:pos x="24" y="87"/>
                  </a:cxn>
                  <a:cxn ang="0">
                    <a:pos x="30" y="95"/>
                  </a:cxn>
                  <a:cxn ang="0">
                    <a:pos x="36" y="101"/>
                  </a:cxn>
                  <a:cxn ang="0">
                    <a:pos x="44" y="97"/>
                  </a:cxn>
                </a:cxnLst>
                <a:rect l="0" t="0" r="r" b="b"/>
                <a:pathLst>
                  <a:path w="88" h="101">
                    <a:moveTo>
                      <a:pt x="44" y="97"/>
                    </a:moveTo>
                    <a:lnTo>
                      <a:pt x="44" y="97"/>
                    </a:lnTo>
                    <a:lnTo>
                      <a:pt x="48" y="95"/>
                    </a:lnTo>
                    <a:lnTo>
                      <a:pt x="48" y="92"/>
                    </a:lnTo>
                    <a:lnTo>
                      <a:pt x="48" y="88"/>
                    </a:lnTo>
                    <a:lnTo>
                      <a:pt x="46" y="84"/>
                    </a:lnTo>
                    <a:lnTo>
                      <a:pt x="46" y="84"/>
                    </a:lnTo>
                    <a:lnTo>
                      <a:pt x="46" y="80"/>
                    </a:lnTo>
                    <a:lnTo>
                      <a:pt x="47" y="77"/>
                    </a:lnTo>
                    <a:lnTo>
                      <a:pt x="51" y="77"/>
                    </a:lnTo>
                    <a:lnTo>
                      <a:pt x="56" y="77"/>
                    </a:lnTo>
                    <a:lnTo>
                      <a:pt x="56" y="77"/>
                    </a:lnTo>
                    <a:lnTo>
                      <a:pt x="57" y="77"/>
                    </a:lnTo>
                    <a:lnTo>
                      <a:pt x="58" y="75"/>
                    </a:lnTo>
                    <a:lnTo>
                      <a:pt x="60" y="73"/>
                    </a:lnTo>
                    <a:lnTo>
                      <a:pt x="60" y="70"/>
                    </a:lnTo>
                    <a:lnTo>
                      <a:pt x="63" y="68"/>
                    </a:lnTo>
                    <a:lnTo>
                      <a:pt x="63" y="68"/>
                    </a:lnTo>
                    <a:lnTo>
                      <a:pt x="66" y="70"/>
                    </a:lnTo>
                    <a:lnTo>
                      <a:pt x="67" y="73"/>
                    </a:lnTo>
                    <a:lnTo>
                      <a:pt x="68" y="77"/>
                    </a:lnTo>
                    <a:lnTo>
                      <a:pt x="70" y="77"/>
                    </a:lnTo>
                    <a:lnTo>
                      <a:pt x="71" y="78"/>
                    </a:lnTo>
                    <a:lnTo>
                      <a:pt x="71" y="78"/>
                    </a:lnTo>
                    <a:lnTo>
                      <a:pt x="74" y="78"/>
                    </a:lnTo>
                    <a:lnTo>
                      <a:pt x="77" y="78"/>
                    </a:lnTo>
                    <a:lnTo>
                      <a:pt x="80" y="80"/>
                    </a:lnTo>
                    <a:lnTo>
                      <a:pt x="84" y="80"/>
                    </a:lnTo>
                    <a:lnTo>
                      <a:pt x="84" y="80"/>
                    </a:lnTo>
                    <a:lnTo>
                      <a:pt x="85" y="78"/>
                    </a:lnTo>
                    <a:lnTo>
                      <a:pt x="87" y="77"/>
                    </a:lnTo>
                    <a:lnTo>
                      <a:pt x="88" y="73"/>
                    </a:lnTo>
                    <a:lnTo>
                      <a:pt x="88" y="61"/>
                    </a:lnTo>
                    <a:lnTo>
                      <a:pt x="88" y="61"/>
                    </a:lnTo>
                    <a:lnTo>
                      <a:pt x="88" y="50"/>
                    </a:lnTo>
                    <a:lnTo>
                      <a:pt x="87" y="47"/>
                    </a:lnTo>
                    <a:lnTo>
                      <a:pt x="84" y="44"/>
                    </a:lnTo>
                    <a:lnTo>
                      <a:pt x="84" y="44"/>
                    </a:lnTo>
                    <a:lnTo>
                      <a:pt x="81" y="41"/>
                    </a:lnTo>
                    <a:lnTo>
                      <a:pt x="78" y="37"/>
                    </a:lnTo>
                    <a:lnTo>
                      <a:pt x="78" y="34"/>
                    </a:lnTo>
                    <a:lnTo>
                      <a:pt x="81" y="31"/>
                    </a:lnTo>
                    <a:lnTo>
                      <a:pt x="81" y="31"/>
                    </a:lnTo>
                    <a:lnTo>
                      <a:pt x="85" y="28"/>
                    </a:lnTo>
                    <a:lnTo>
                      <a:pt x="87" y="24"/>
                    </a:lnTo>
                    <a:lnTo>
                      <a:pt x="85" y="21"/>
                    </a:lnTo>
                    <a:lnTo>
                      <a:pt x="84" y="18"/>
                    </a:lnTo>
                    <a:lnTo>
                      <a:pt x="84" y="18"/>
                    </a:lnTo>
                    <a:lnTo>
                      <a:pt x="81" y="17"/>
                    </a:lnTo>
                    <a:lnTo>
                      <a:pt x="78" y="17"/>
                    </a:lnTo>
                    <a:lnTo>
                      <a:pt x="74" y="18"/>
                    </a:lnTo>
                    <a:lnTo>
                      <a:pt x="70" y="18"/>
                    </a:lnTo>
                    <a:lnTo>
                      <a:pt x="68" y="18"/>
                    </a:lnTo>
                    <a:lnTo>
                      <a:pt x="67" y="18"/>
                    </a:lnTo>
                    <a:lnTo>
                      <a:pt x="67" y="18"/>
                    </a:lnTo>
                    <a:lnTo>
                      <a:pt x="70" y="1"/>
                    </a:lnTo>
                    <a:lnTo>
                      <a:pt x="70" y="1"/>
                    </a:lnTo>
                    <a:lnTo>
                      <a:pt x="46" y="0"/>
                    </a:lnTo>
                    <a:lnTo>
                      <a:pt x="43" y="1"/>
                    </a:lnTo>
                    <a:lnTo>
                      <a:pt x="43" y="1"/>
                    </a:lnTo>
                    <a:lnTo>
                      <a:pt x="43" y="16"/>
                    </a:lnTo>
                    <a:lnTo>
                      <a:pt x="41" y="21"/>
                    </a:lnTo>
                    <a:lnTo>
                      <a:pt x="41" y="21"/>
                    </a:lnTo>
                    <a:lnTo>
                      <a:pt x="20" y="23"/>
                    </a:lnTo>
                    <a:lnTo>
                      <a:pt x="20" y="23"/>
                    </a:lnTo>
                    <a:lnTo>
                      <a:pt x="13" y="24"/>
                    </a:lnTo>
                    <a:lnTo>
                      <a:pt x="13" y="24"/>
                    </a:lnTo>
                    <a:lnTo>
                      <a:pt x="10" y="27"/>
                    </a:lnTo>
                    <a:lnTo>
                      <a:pt x="10" y="27"/>
                    </a:lnTo>
                    <a:lnTo>
                      <a:pt x="10" y="28"/>
                    </a:lnTo>
                    <a:lnTo>
                      <a:pt x="11" y="31"/>
                    </a:lnTo>
                    <a:lnTo>
                      <a:pt x="14" y="33"/>
                    </a:lnTo>
                    <a:lnTo>
                      <a:pt x="16" y="36"/>
                    </a:lnTo>
                    <a:lnTo>
                      <a:pt x="16" y="36"/>
                    </a:lnTo>
                    <a:lnTo>
                      <a:pt x="16" y="37"/>
                    </a:lnTo>
                    <a:lnTo>
                      <a:pt x="16" y="37"/>
                    </a:lnTo>
                    <a:lnTo>
                      <a:pt x="11" y="38"/>
                    </a:lnTo>
                    <a:lnTo>
                      <a:pt x="9" y="40"/>
                    </a:lnTo>
                    <a:lnTo>
                      <a:pt x="7" y="41"/>
                    </a:lnTo>
                    <a:lnTo>
                      <a:pt x="7" y="43"/>
                    </a:lnTo>
                    <a:lnTo>
                      <a:pt x="7" y="43"/>
                    </a:lnTo>
                    <a:lnTo>
                      <a:pt x="7" y="46"/>
                    </a:lnTo>
                    <a:lnTo>
                      <a:pt x="6" y="48"/>
                    </a:lnTo>
                    <a:lnTo>
                      <a:pt x="2" y="53"/>
                    </a:lnTo>
                    <a:lnTo>
                      <a:pt x="2" y="53"/>
                    </a:lnTo>
                    <a:lnTo>
                      <a:pt x="0" y="54"/>
                    </a:lnTo>
                    <a:lnTo>
                      <a:pt x="2" y="55"/>
                    </a:lnTo>
                    <a:lnTo>
                      <a:pt x="3" y="60"/>
                    </a:lnTo>
                    <a:lnTo>
                      <a:pt x="7" y="63"/>
                    </a:lnTo>
                    <a:lnTo>
                      <a:pt x="9" y="67"/>
                    </a:lnTo>
                    <a:lnTo>
                      <a:pt x="9" y="67"/>
                    </a:lnTo>
                    <a:lnTo>
                      <a:pt x="9" y="68"/>
                    </a:lnTo>
                    <a:lnTo>
                      <a:pt x="11" y="71"/>
                    </a:lnTo>
                    <a:lnTo>
                      <a:pt x="20" y="81"/>
                    </a:lnTo>
                    <a:lnTo>
                      <a:pt x="20" y="81"/>
                    </a:lnTo>
                    <a:lnTo>
                      <a:pt x="24" y="87"/>
                    </a:lnTo>
                    <a:lnTo>
                      <a:pt x="27" y="91"/>
                    </a:lnTo>
                    <a:lnTo>
                      <a:pt x="30" y="95"/>
                    </a:lnTo>
                    <a:lnTo>
                      <a:pt x="36" y="101"/>
                    </a:lnTo>
                    <a:lnTo>
                      <a:pt x="36" y="101"/>
                    </a:lnTo>
                    <a:lnTo>
                      <a:pt x="39" y="98"/>
                    </a:lnTo>
                    <a:lnTo>
                      <a:pt x="44" y="97"/>
                    </a:lnTo>
                    <a:lnTo>
                      <a:pt x="44" y="9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7" name="Mauritania">
                <a:extLst>
                  <a:ext uri="{FF2B5EF4-FFF2-40B4-BE49-F238E27FC236}">
                    <a16:creationId xmlns:a16="http://schemas.microsoft.com/office/drawing/2014/main" id="{93F501F5-5DE0-F947-8B0D-D8FAFF56C1B1}"/>
                  </a:ext>
                </a:extLst>
              </p:cNvPr>
              <p:cNvSpPr>
                <a:spLocks/>
              </p:cNvSpPr>
              <p:nvPr/>
            </p:nvSpPr>
            <p:spPr bwMode="auto">
              <a:xfrm>
                <a:off x="3917936" y="3642358"/>
                <a:ext cx="287078" cy="315194"/>
              </a:xfrm>
              <a:custGeom>
                <a:avLst/>
                <a:gdLst/>
                <a:ahLst/>
                <a:cxnLst>
                  <a:cxn ang="0">
                    <a:pos x="15" y="184"/>
                  </a:cxn>
                  <a:cxn ang="0">
                    <a:pos x="29" y="184"/>
                  </a:cxn>
                  <a:cxn ang="0">
                    <a:pos x="34" y="182"/>
                  </a:cxn>
                  <a:cxn ang="0">
                    <a:pos x="42" y="182"/>
                  </a:cxn>
                  <a:cxn ang="0">
                    <a:pos x="49" y="188"/>
                  </a:cxn>
                  <a:cxn ang="0">
                    <a:pos x="57" y="191"/>
                  </a:cxn>
                  <a:cxn ang="0">
                    <a:pos x="60" y="198"/>
                  </a:cxn>
                  <a:cxn ang="0">
                    <a:pos x="67" y="205"/>
                  </a:cxn>
                  <a:cxn ang="0">
                    <a:pos x="73" y="209"/>
                  </a:cxn>
                  <a:cxn ang="0">
                    <a:pos x="76" y="213"/>
                  </a:cxn>
                  <a:cxn ang="0">
                    <a:pos x="83" y="211"/>
                  </a:cxn>
                  <a:cxn ang="0">
                    <a:pos x="84" y="208"/>
                  </a:cxn>
                  <a:cxn ang="0">
                    <a:pos x="86" y="202"/>
                  </a:cxn>
                  <a:cxn ang="0">
                    <a:pos x="93" y="203"/>
                  </a:cxn>
                  <a:cxn ang="0">
                    <a:pos x="97" y="206"/>
                  </a:cxn>
                  <a:cxn ang="0">
                    <a:pos x="101" y="202"/>
                  </a:cxn>
                  <a:cxn ang="0">
                    <a:pos x="104" y="202"/>
                  </a:cxn>
                  <a:cxn ang="0">
                    <a:pos x="113" y="203"/>
                  </a:cxn>
                  <a:cxn ang="0">
                    <a:pos x="120" y="202"/>
                  </a:cxn>
                  <a:cxn ang="0">
                    <a:pos x="123" y="201"/>
                  </a:cxn>
                  <a:cxn ang="0">
                    <a:pos x="174" y="201"/>
                  </a:cxn>
                  <a:cxn ang="0">
                    <a:pos x="185" y="199"/>
                  </a:cxn>
                  <a:cxn ang="0">
                    <a:pos x="188" y="192"/>
                  </a:cxn>
                  <a:cxn ang="0">
                    <a:pos x="182" y="181"/>
                  </a:cxn>
                  <a:cxn ang="0">
                    <a:pos x="194" y="40"/>
                  </a:cxn>
                  <a:cxn ang="0">
                    <a:pos x="138" y="3"/>
                  </a:cxn>
                  <a:cxn ang="0">
                    <a:pos x="134" y="0"/>
                  </a:cxn>
                  <a:cxn ang="0">
                    <a:pos x="135" y="14"/>
                  </a:cxn>
                  <a:cxn ang="0">
                    <a:pos x="134" y="23"/>
                  </a:cxn>
                  <a:cxn ang="0">
                    <a:pos x="80" y="23"/>
                  </a:cxn>
                  <a:cxn ang="0">
                    <a:pos x="80" y="65"/>
                  </a:cxn>
                  <a:cxn ang="0">
                    <a:pos x="80" y="67"/>
                  </a:cxn>
                  <a:cxn ang="0">
                    <a:pos x="71" y="71"/>
                  </a:cxn>
                  <a:cxn ang="0">
                    <a:pos x="64" y="75"/>
                  </a:cxn>
                  <a:cxn ang="0">
                    <a:pos x="63" y="77"/>
                  </a:cxn>
                  <a:cxn ang="0">
                    <a:pos x="0" y="102"/>
                  </a:cxn>
                  <a:cxn ang="0">
                    <a:pos x="0" y="110"/>
                  </a:cxn>
                  <a:cxn ang="0">
                    <a:pos x="9" y="121"/>
                  </a:cxn>
                  <a:cxn ang="0">
                    <a:pos x="10" y="122"/>
                  </a:cxn>
                  <a:cxn ang="0">
                    <a:pos x="10" y="132"/>
                  </a:cxn>
                  <a:cxn ang="0">
                    <a:pos x="10" y="142"/>
                  </a:cxn>
                  <a:cxn ang="0">
                    <a:pos x="13" y="147"/>
                  </a:cxn>
                  <a:cxn ang="0">
                    <a:pos x="16" y="155"/>
                  </a:cxn>
                  <a:cxn ang="0">
                    <a:pos x="12" y="172"/>
                  </a:cxn>
                  <a:cxn ang="0">
                    <a:pos x="7" y="178"/>
                  </a:cxn>
                  <a:cxn ang="0">
                    <a:pos x="5" y="192"/>
                  </a:cxn>
                  <a:cxn ang="0">
                    <a:pos x="6" y="192"/>
                  </a:cxn>
                  <a:cxn ang="0">
                    <a:pos x="9" y="189"/>
                  </a:cxn>
                  <a:cxn ang="0">
                    <a:pos x="12" y="185"/>
                  </a:cxn>
                  <a:cxn ang="0">
                    <a:pos x="15" y="184"/>
                  </a:cxn>
                </a:cxnLst>
                <a:rect l="0" t="0" r="r" b="b"/>
                <a:pathLst>
                  <a:path w="194" h="213">
                    <a:moveTo>
                      <a:pt x="15" y="184"/>
                    </a:moveTo>
                    <a:lnTo>
                      <a:pt x="15" y="184"/>
                    </a:lnTo>
                    <a:lnTo>
                      <a:pt x="24" y="184"/>
                    </a:lnTo>
                    <a:lnTo>
                      <a:pt x="29" y="184"/>
                    </a:lnTo>
                    <a:lnTo>
                      <a:pt x="29" y="184"/>
                    </a:lnTo>
                    <a:lnTo>
                      <a:pt x="34" y="182"/>
                    </a:lnTo>
                    <a:lnTo>
                      <a:pt x="39" y="182"/>
                    </a:lnTo>
                    <a:lnTo>
                      <a:pt x="42" y="182"/>
                    </a:lnTo>
                    <a:lnTo>
                      <a:pt x="42" y="182"/>
                    </a:lnTo>
                    <a:lnTo>
                      <a:pt x="49" y="188"/>
                    </a:lnTo>
                    <a:lnTo>
                      <a:pt x="52" y="191"/>
                    </a:lnTo>
                    <a:lnTo>
                      <a:pt x="57" y="191"/>
                    </a:lnTo>
                    <a:lnTo>
                      <a:pt x="57" y="191"/>
                    </a:lnTo>
                    <a:lnTo>
                      <a:pt x="60" y="198"/>
                    </a:lnTo>
                    <a:lnTo>
                      <a:pt x="63" y="202"/>
                    </a:lnTo>
                    <a:lnTo>
                      <a:pt x="67" y="205"/>
                    </a:lnTo>
                    <a:lnTo>
                      <a:pt x="67" y="205"/>
                    </a:lnTo>
                    <a:lnTo>
                      <a:pt x="73" y="209"/>
                    </a:lnTo>
                    <a:lnTo>
                      <a:pt x="76" y="213"/>
                    </a:lnTo>
                    <a:lnTo>
                      <a:pt x="76" y="213"/>
                    </a:lnTo>
                    <a:lnTo>
                      <a:pt x="81" y="212"/>
                    </a:lnTo>
                    <a:lnTo>
                      <a:pt x="83" y="211"/>
                    </a:lnTo>
                    <a:lnTo>
                      <a:pt x="84" y="208"/>
                    </a:lnTo>
                    <a:lnTo>
                      <a:pt x="84" y="208"/>
                    </a:lnTo>
                    <a:lnTo>
                      <a:pt x="84" y="205"/>
                    </a:lnTo>
                    <a:lnTo>
                      <a:pt x="86" y="202"/>
                    </a:lnTo>
                    <a:lnTo>
                      <a:pt x="88" y="201"/>
                    </a:lnTo>
                    <a:lnTo>
                      <a:pt x="93" y="203"/>
                    </a:lnTo>
                    <a:lnTo>
                      <a:pt x="93" y="203"/>
                    </a:lnTo>
                    <a:lnTo>
                      <a:pt x="97" y="206"/>
                    </a:lnTo>
                    <a:lnTo>
                      <a:pt x="100" y="206"/>
                    </a:lnTo>
                    <a:lnTo>
                      <a:pt x="101" y="202"/>
                    </a:lnTo>
                    <a:lnTo>
                      <a:pt x="101" y="202"/>
                    </a:lnTo>
                    <a:lnTo>
                      <a:pt x="104" y="202"/>
                    </a:lnTo>
                    <a:lnTo>
                      <a:pt x="106" y="202"/>
                    </a:lnTo>
                    <a:lnTo>
                      <a:pt x="113" y="203"/>
                    </a:lnTo>
                    <a:lnTo>
                      <a:pt x="113" y="203"/>
                    </a:lnTo>
                    <a:lnTo>
                      <a:pt x="120" y="202"/>
                    </a:lnTo>
                    <a:lnTo>
                      <a:pt x="123" y="201"/>
                    </a:lnTo>
                    <a:lnTo>
                      <a:pt x="123" y="201"/>
                    </a:lnTo>
                    <a:lnTo>
                      <a:pt x="153" y="201"/>
                    </a:lnTo>
                    <a:lnTo>
                      <a:pt x="174" y="201"/>
                    </a:lnTo>
                    <a:lnTo>
                      <a:pt x="185" y="199"/>
                    </a:lnTo>
                    <a:lnTo>
                      <a:pt x="185" y="199"/>
                    </a:lnTo>
                    <a:lnTo>
                      <a:pt x="187" y="196"/>
                    </a:lnTo>
                    <a:lnTo>
                      <a:pt x="188" y="192"/>
                    </a:lnTo>
                    <a:lnTo>
                      <a:pt x="188" y="186"/>
                    </a:lnTo>
                    <a:lnTo>
                      <a:pt x="182" y="181"/>
                    </a:lnTo>
                    <a:lnTo>
                      <a:pt x="167" y="40"/>
                    </a:lnTo>
                    <a:lnTo>
                      <a:pt x="194" y="40"/>
                    </a:lnTo>
                    <a:lnTo>
                      <a:pt x="194" y="40"/>
                    </a:lnTo>
                    <a:lnTo>
                      <a:pt x="138" y="3"/>
                    </a:lnTo>
                    <a:lnTo>
                      <a:pt x="138" y="3"/>
                    </a:lnTo>
                    <a:lnTo>
                      <a:pt x="134" y="0"/>
                    </a:lnTo>
                    <a:lnTo>
                      <a:pt x="134" y="0"/>
                    </a:lnTo>
                    <a:lnTo>
                      <a:pt x="135" y="14"/>
                    </a:lnTo>
                    <a:lnTo>
                      <a:pt x="134" y="23"/>
                    </a:lnTo>
                    <a:lnTo>
                      <a:pt x="134" y="23"/>
                    </a:lnTo>
                    <a:lnTo>
                      <a:pt x="107" y="23"/>
                    </a:lnTo>
                    <a:lnTo>
                      <a:pt x="80" y="23"/>
                    </a:lnTo>
                    <a:lnTo>
                      <a:pt x="80" y="23"/>
                    </a:lnTo>
                    <a:lnTo>
                      <a:pt x="80" y="65"/>
                    </a:lnTo>
                    <a:lnTo>
                      <a:pt x="80" y="65"/>
                    </a:lnTo>
                    <a:lnTo>
                      <a:pt x="80" y="67"/>
                    </a:lnTo>
                    <a:lnTo>
                      <a:pt x="77" y="68"/>
                    </a:lnTo>
                    <a:lnTo>
                      <a:pt x="71" y="71"/>
                    </a:lnTo>
                    <a:lnTo>
                      <a:pt x="66" y="74"/>
                    </a:lnTo>
                    <a:lnTo>
                      <a:pt x="64" y="75"/>
                    </a:lnTo>
                    <a:lnTo>
                      <a:pt x="63" y="77"/>
                    </a:lnTo>
                    <a:lnTo>
                      <a:pt x="63" y="77"/>
                    </a:lnTo>
                    <a:lnTo>
                      <a:pt x="63" y="102"/>
                    </a:lnTo>
                    <a:lnTo>
                      <a:pt x="0" y="102"/>
                    </a:lnTo>
                    <a:lnTo>
                      <a:pt x="0" y="102"/>
                    </a:lnTo>
                    <a:lnTo>
                      <a:pt x="0" y="110"/>
                    </a:lnTo>
                    <a:lnTo>
                      <a:pt x="3" y="114"/>
                    </a:lnTo>
                    <a:lnTo>
                      <a:pt x="9" y="121"/>
                    </a:lnTo>
                    <a:lnTo>
                      <a:pt x="9" y="121"/>
                    </a:lnTo>
                    <a:lnTo>
                      <a:pt x="10" y="122"/>
                    </a:lnTo>
                    <a:lnTo>
                      <a:pt x="10" y="125"/>
                    </a:lnTo>
                    <a:lnTo>
                      <a:pt x="10" y="132"/>
                    </a:lnTo>
                    <a:lnTo>
                      <a:pt x="10" y="139"/>
                    </a:lnTo>
                    <a:lnTo>
                      <a:pt x="10" y="142"/>
                    </a:lnTo>
                    <a:lnTo>
                      <a:pt x="13" y="147"/>
                    </a:lnTo>
                    <a:lnTo>
                      <a:pt x="13" y="147"/>
                    </a:lnTo>
                    <a:lnTo>
                      <a:pt x="15" y="151"/>
                    </a:lnTo>
                    <a:lnTo>
                      <a:pt x="16" y="155"/>
                    </a:lnTo>
                    <a:lnTo>
                      <a:pt x="15" y="164"/>
                    </a:lnTo>
                    <a:lnTo>
                      <a:pt x="12" y="172"/>
                    </a:lnTo>
                    <a:lnTo>
                      <a:pt x="7" y="178"/>
                    </a:lnTo>
                    <a:lnTo>
                      <a:pt x="7" y="178"/>
                    </a:lnTo>
                    <a:lnTo>
                      <a:pt x="6" y="184"/>
                    </a:lnTo>
                    <a:lnTo>
                      <a:pt x="5" y="192"/>
                    </a:lnTo>
                    <a:lnTo>
                      <a:pt x="5" y="192"/>
                    </a:lnTo>
                    <a:lnTo>
                      <a:pt x="6" y="192"/>
                    </a:lnTo>
                    <a:lnTo>
                      <a:pt x="6" y="192"/>
                    </a:lnTo>
                    <a:lnTo>
                      <a:pt x="9" y="189"/>
                    </a:lnTo>
                    <a:lnTo>
                      <a:pt x="10" y="186"/>
                    </a:lnTo>
                    <a:lnTo>
                      <a:pt x="12" y="185"/>
                    </a:lnTo>
                    <a:lnTo>
                      <a:pt x="15" y="184"/>
                    </a:lnTo>
                    <a:lnTo>
                      <a:pt x="15" y="18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8" name="Algeria">
                <a:extLst>
                  <a:ext uri="{FF2B5EF4-FFF2-40B4-BE49-F238E27FC236}">
                    <a16:creationId xmlns:a16="http://schemas.microsoft.com/office/drawing/2014/main" id="{26A09682-D584-4341-8348-5D1DA1B05EAD}"/>
                  </a:ext>
                </a:extLst>
              </p:cNvPr>
              <p:cNvSpPr>
                <a:spLocks/>
              </p:cNvSpPr>
              <p:nvPr/>
            </p:nvSpPr>
            <p:spPr bwMode="auto">
              <a:xfrm>
                <a:off x="4116226" y="3381916"/>
                <a:ext cx="494248" cy="473531"/>
              </a:xfrm>
              <a:custGeom>
                <a:avLst/>
                <a:gdLst/>
                <a:ahLst/>
                <a:cxnLst>
                  <a:cxn ang="0">
                    <a:pos x="114" y="72"/>
                  </a:cxn>
                  <a:cxn ang="0">
                    <a:pos x="120" y="79"/>
                  </a:cxn>
                  <a:cxn ang="0">
                    <a:pos x="121" y="91"/>
                  </a:cxn>
                  <a:cxn ang="0">
                    <a:pos x="98" y="91"/>
                  </a:cxn>
                  <a:cxn ang="0">
                    <a:pos x="94" y="95"/>
                  </a:cxn>
                  <a:cxn ang="0">
                    <a:pos x="85" y="98"/>
                  </a:cxn>
                  <a:cxn ang="0">
                    <a:pos x="80" y="109"/>
                  </a:cxn>
                  <a:cxn ang="0">
                    <a:pos x="77" y="113"/>
                  </a:cxn>
                  <a:cxn ang="0">
                    <a:pos x="71" y="116"/>
                  </a:cxn>
                  <a:cxn ang="0">
                    <a:pos x="58" y="121"/>
                  </a:cxn>
                  <a:cxn ang="0">
                    <a:pos x="50" y="130"/>
                  </a:cxn>
                  <a:cxn ang="0">
                    <a:pos x="37" y="132"/>
                  </a:cxn>
                  <a:cxn ang="0">
                    <a:pos x="33" y="136"/>
                  </a:cxn>
                  <a:cxn ang="0">
                    <a:pos x="11" y="145"/>
                  </a:cxn>
                  <a:cxn ang="0">
                    <a:pos x="0" y="176"/>
                  </a:cxn>
                  <a:cxn ang="0">
                    <a:pos x="83" y="230"/>
                  </a:cxn>
                  <a:cxn ang="0">
                    <a:pos x="166" y="291"/>
                  </a:cxn>
                  <a:cxn ang="0">
                    <a:pos x="181" y="300"/>
                  </a:cxn>
                  <a:cxn ang="0">
                    <a:pos x="192" y="307"/>
                  </a:cxn>
                  <a:cxn ang="0">
                    <a:pos x="211" y="315"/>
                  </a:cxn>
                  <a:cxn ang="0">
                    <a:pos x="265" y="284"/>
                  </a:cxn>
                  <a:cxn ang="0">
                    <a:pos x="334" y="241"/>
                  </a:cxn>
                  <a:cxn ang="0">
                    <a:pos x="326" y="227"/>
                  </a:cxn>
                  <a:cxn ang="0">
                    <a:pos x="314" y="224"/>
                  </a:cxn>
                  <a:cxn ang="0">
                    <a:pos x="304" y="220"/>
                  </a:cxn>
                  <a:cxn ang="0">
                    <a:pos x="303" y="209"/>
                  </a:cxn>
                  <a:cxn ang="0">
                    <a:pos x="294" y="197"/>
                  </a:cxn>
                  <a:cxn ang="0">
                    <a:pos x="297" y="190"/>
                  </a:cxn>
                  <a:cxn ang="0">
                    <a:pos x="300" y="185"/>
                  </a:cxn>
                  <a:cxn ang="0">
                    <a:pos x="297" y="172"/>
                  </a:cxn>
                  <a:cxn ang="0">
                    <a:pos x="302" y="163"/>
                  </a:cxn>
                  <a:cxn ang="0">
                    <a:pos x="300" y="152"/>
                  </a:cxn>
                  <a:cxn ang="0">
                    <a:pos x="296" y="133"/>
                  </a:cxn>
                  <a:cxn ang="0">
                    <a:pos x="294" y="126"/>
                  </a:cxn>
                  <a:cxn ang="0">
                    <a:pos x="296" y="121"/>
                  </a:cxn>
                  <a:cxn ang="0">
                    <a:pos x="287" y="92"/>
                  </a:cxn>
                  <a:cxn ang="0">
                    <a:pos x="277" y="84"/>
                  </a:cxn>
                  <a:cxn ang="0">
                    <a:pos x="273" y="74"/>
                  </a:cxn>
                  <a:cxn ang="0">
                    <a:pos x="262" y="62"/>
                  </a:cxn>
                  <a:cxn ang="0">
                    <a:pos x="262" y="55"/>
                  </a:cxn>
                  <a:cxn ang="0">
                    <a:pos x="273" y="44"/>
                  </a:cxn>
                  <a:cxn ang="0">
                    <a:pos x="279" y="32"/>
                  </a:cxn>
                  <a:cxn ang="0">
                    <a:pos x="276" y="17"/>
                  </a:cxn>
                  <a:cxn ang="0">
                    <a:pos x="262" y="0"/>
                  </a:cxn>
                  <a:cxn ang="0">
                    <a:pos x="246" y="1"/>
                  </a:cxn>
                  <a:cxn ang="0">
                    <a:pos x="226" y="7"/>
                  </a:cxn>
                  <a:cxn ang="0">
                    <a:pos x="215" y="4"/>
                  </a:cxn>
                  <a:cxn ang="0">
                    <a:pos x="159" y="10"/>
                  </a:cxn>
                  <a:cxn ang="0">
                    <a:pos x="141" y="21"/>
                  </a:cxn>
                  <a:cxn ang="0">
                    <a:pos x="125" y="27"/>
                  </a:cxn>
                  <a:cxn ang="0">
                    <a:pos x="111" y="37"/>
                  </a:cxn>
                  <a:cxn ang="0">
                    <a:pos x="110" y="42"/>
                  </a:cxn>
                  <a:cxn ang="0">
                    <a:pos x="115" y="59"/>
                  </a:cxn>
                </a:cxnLst>
                <a:rect l="0" t="0" r="r" b="b"/>
                <a:pathLst>
                  <a:path w="334" h="320">
                    <a:moveTo>
                      <a:pt x="115" y="59"/>
                    </a:moveTo>
                    <a:lnTo>
                      <a:pt x="115" y="59"/>
                    </a:lnTo>
                    <a:lnTo>
                      <a:pt x="114" y="69"/>
                    </a:lnTo>
                    <a:lnTo>
                      <a:pt x="114" y="72"/>
                    </a:lnTo>
                    <a:lnTo>
                      <a:pt x="115" y="74"/>
                    </a:lnTo>
                    <a:lnTo>
                      <a:pt x="115" y="74"/>
                    </a:lnTo>
                    <a:lnTo>
                      <a:pt x="118" y="75"/>
                    </a:lnTo>
                    <a:lnTo>
                      <a:pt x="120" y="79"/>
                    </a:lnTo>
                    <a:lnTo>
                      <a:pt x="122" y="85"/>
                    </a:lnTo>
                    <a:lnTo>
                      <a:pt x="122" y="85"/>
                    </a:lnTo>
                    <a:lnTo>
                      <a:pt x="121" y="89"/>
                    </a:lnTo>
                    <a:lnTo>
                      <a:pt x="121" y="91"/>
                    </a:lnTo>
                    <a:lnTo>
                      <a:pt x="118" y="91"/>
                    </a:lnTo>
                    <a:lnTo>
                      <a:pt x="118" y="91"/>
                    </a:lnTo>
                    <a:lnTo>
                      <a:pt x="105" y="91"/>
                    </a:lnTo>
                    <a:lnTo>
                      <a:pt x="98" y="91"/>
                    </a:lnTo>
                    <a:lnTo>
                      <a:pt x="95" y="92"/>
                    </a:lnTo>
                    <a:lnTo>
                      <a:pt x="95" y="92"/>
                    </a:lnTo>
                    <a:lnTo>
                      <a:pt x="95" y="92"/>
                    </a:lnTo>
                    <a:lnTo>
                      <a:pt x="94" y="95"/>
                    </a:lnTo>
                    <a:lnTo>
                      <a:pt x="92" y="96"/>
                    </a:lnTo>
                    <a:lnTo>
                      <a:pt x="88" y="98"/>
                    </a:lnTo>
                    <a:lnTo>
                      <a:pt x="85" y="98"/>
                    </a:lnTo>
                    <a:lnTo>
                      <a:pt x="85" y="98"/>
                    </a:lnTo>
                    <a:lnTo>
                      <a:pt x="81" y="98"/>
                    </a:lnTo>
                    <a:lnTo>
                      <a:pt x="80" y="102"/>
                    </a:lnTo>
                    <a:lnTo>
                      <a:pt x="80" y="102"/>
                    </a:lnTo>
                    <a:lnTo>
                      <a:pt x="80" y="109"/>
                    </a:lnTo>
                    <a:lnTo>
                      <a:pt x="80" y="112"/>
                    </a:lnTo>
                    <a:lnTo>
                      <a:pt x="78" y="112"/>
                    </a:lnTo>
                    <a:lnTo>
                      <a:pt x="78" y="112"/>
                    </a:lnTo>
                    <a:lnTo>
                      <a:pt x="77" y="113"/>
                    </a:lnTo>
                    <a:lnTo>
                      <a:pt x="75" y="115"/>
                    </a:lnTo>
                    <a:lnTo>
                      <a:pt x="74" y="116"/>
                    </a:lnTo>
                    <a:lnTo>
                      <a:pt x="71" y="116"/>
                    </a:lnTo>
                    <a:lnTo>
                      <a:pt x="71" y="116"/>
                    </a:lnTo>
                    <a:lnTo>
                      <a:pt x="63" y="118"/>
                    </a:lnTo>
                    <a:lnTo>
                      <a:pt x="60" y="119"/>
                    </a:lnTo>
                    <a:lnTo>
                      <a:pt x="58" y="121"/>
                    </a:lnTo>
                    <a:lnTo>
                      <a:pt x="58" y="121"/>
                    </a:lnTo>
                    <a:lnTo>
                      <a:pt x="58" y="125"/>
                    </a:lnTo>
                    <a:lnTo>
                      <a:pt x="57" y="128"/>
                    </a:lnTo>
                    <a:lnTo>
                      <a:pt x="54" y="129"/>
                    </a:lnTo>
                    <a:lnTo>
                      <a:pt x="50" y="130"/>
                    </a:lnTo>
                    <a:lnTo>
                      <a:pt x="50" y="130"/>
                    </a:lnTo>
                    <a:lnTo>
                      <a:pt x="41" y="130"/>
                    </a:lnTo>
                    <a:lnTo>
                      <a:pt x="37" y="132"/>
                    </a:lnTo>
                    <a:lnTo>
                      <a:pt x="37" y="132"/>
                    </a:lnTo>
                    <a:lnTo>
                      <a:pt x="36" y="133"/>
                    </a:lnTo>
                    <a:lnTo>
                      <a:pt x="36" y="133"/>
                    </a:lnTo>
                    <a:lnTo>
                      <a:pt x="36" y="136"/>
                    </a:lnTo>
                    <a:lnTo>
                      <a:pt x="33" y="136"/>
                    </a:lnTo>
                    <a:lnTo>
                      <a:pt x="28" y="136"/>
                    </a:lnTo>
                    <a:lnTo>
                      <a:pt x="26" y="136"/>
                    </a:lnTo>
                    <a:lnTo>
                      <a:pt x="26" y="136"/>
                    </a:lnTo>
                    <a:lnTo>
                      <a:pt x="11" y="145"/>
                    </a:lnTo>
                    <a:lnTo>
                      <a:pt x="4" y="150"/>
                    </a:lnTo>
                    <a:lnTo>
                      <a:pt x="0" y="153"/>
                    </a:lnTo>
                    <a:lnTo>
                      <a:pt x="0" y="153"/>
                    </a:lnTo>
                    <a:lnTo>
                      <a:pt x="0" y="176"/>
                    </a:lnTo>
                    <a:lnTo>
                      <a:pt x="0" y="176"/>
                    </a:lnTo>
                    <a:lnTo>
                      <a:pt x="4" y="179"/>
                    </a:lnTo>
                    <a:lnTo>
                      <a:pt x="4" y="179"/>
                    </a:lnTo>
                    <a:lnTo>
                      <a:pt x="83" y="230"/>
                    </a:lnTo>
                    <a:lnTo>
                      <a:pt x="134" y="264"/>
                    </a:lnTo>
                    <a:lnTo>
                      <a:pt x="159" y="283"/>
                    </a:lnTo>
                    <a:lnTo>
                      <a:pt x="159" y="283"/>
                    </a:lnTo>
                    <a:lnTo>
                      <a:pt x="166" y="291"/>
                    </a:lnTo>
                    <a:lnTo>
                      <a:pt x="169" y="297"/>
                    </a:lnTo>
                    <a:lnTo>
                      <a:pt x="169" y="297"/>
                    </a:lnTo>
                    <a:lnTo>
                      <a:pt x="175" y="298"/>
                    </a:lnTo>
                    <a:lnTo>
                      <a:pt x="181" y="300"/>
                    </a:lnTo>
                    <a:lnTo>
                      <a:pt x="188" y="303"/>
                    </a:lnTo>
                    <a:lnTo>
                      <a:pt x="188" y="303"/>
                    </a:lnTo>
                    <a:lnTo>
                      <a:pt x="191" y="304"/>
                    </a:lnTo>
                    <a:lnTo>
                      <a:pt x="192" y="307"/>
                    </a:lnTo>
                    <a:lnTo>
                      <a:pt x="195" y="313"/>
                    </a:lnTo>
                    <a:lnTo>
                      <a:pt x="195" y="320"/>
                    </a:lnTo>
                    <a:lnTo>
                      <a:pt x="195" y="320"/>
                    </a:lnTo>
                    <a:lnTo>
                      <a:pt x="211" y="315"/>
                    </a:lnTo>
                    <a:lnTo>
                      <a:pt x="211" y="315"/>
                    </a:lnTo>
                    <a:lnTo>
                      <a:pt x="226" y="311"/>
                    </a:lnTo>
                    <a:lnTo>
                      <a:pt x="236" y="308"/>
                    </a:lnTo>
                    <a:lnTo>
                      <a:pt x="265" y="284"/>
                    </a:lnTo>
                    <a:lnTo>
                      <a:pt x="334" y="241"/>
                    </a:lnTo>
                    <a:lnTo>
                      <a:pt x="334" y="241"/>
                    </a:lnTo>
                    <a:lnTo>
                      <a:pt x="334" y="241"/>
                    </a:lnTo>
                    <a:lnTo>
                      <a:pt x="334" y="241"/>
                    </a:lnTo>
                    <a:lnTo>
                      <a:pt x="330" y="231"/>
                    </a:lnTo>
                    <a:lnTo>
                      <a:pt x="329" y="229"/>
                    </a:lnTo>
                    <a:lnTo>
                      <a:pt x="326" y="227"/>
                    </a:lnTo>
                    <a:lnTo>
                      <a:pt x="326" y="227"/>
                    </a:lnTo>
                    <a:lnTo>
                      <a:pt x="323" y="227"/>
                    </a:lnTo>
                    <a:lnTo>
                      <a:pt x="320" y="226"/>
                    </a:lnTo>
                    <a:lnTo>
                      <a:pt x="317" y="224"/>
                    </a:lnTo>
                    <a:lnTo>
                      <a:pt x="314" y="224"/>
                    </a:lnTo>
                    <a:lnTo>
                      <a:pt x="314" y="224"/>
                    </a:lnTo>
                    <a:lnTo>
                      <a:pt x="310" y="224"/>
                    </a:lnTo>
                    <a:lnTo>
                      <a:pt x="307" y="223"/>
                    </a:lnTo>
                    <a:lnTo>
                      <a:pt x="304" y="220"/>
                    </a:lnTo>
                    <a:lnTo>
                      <a:pt x="303" y="217"/>
                    </a:lnTo>
                    <a:lnTo>
                      <a:pt x="303" y="217"/>
                    </a:lnTo>
                    <a:lnTo>
                      <a:pt x="303" y="212"/>
                    </a:lnTo>
                    <a:lnTo>
                      <a:pt x="303" y="209"/>
                    </a:lnTo>
                    <a:lnTo>
                      <a:pt x="302" y="206"/>
                    </a:lnTo>
                    <a:lnTo>
                      <a:pt x="302" y="206"/>
                    </a:lnTo>
                    <a:lnTo>
                      <a:pt x="296" y="199"/>
                    </a:lnTo>
                    <a:lnTo>
                      <a:pt x="294" y="197"/>
                    </a:lnTo>
                    <a:lnTo>
                      <a:pt x="294" y="195"/>
                    </a:lnTo>
                    <a:lnTo>
                      <a:pt x="294" y="195"/>
                    </a:lnTo>
                    <a:lnTo>
                      <a:pt x="294" y="193"/>
                    </a:lnTo>
                    <a:lnTo>
                      <a:pt x="297" y="190"/>
                    </a:lnTo>
                    <a:lnTo>
                      <a:pt x="302" y="187"/>
                    </a:lnTo>
                    <a:lnTo>
                      <a:pt x="302" y="187"/>
                    </a:lnTo>
                    <a:lnTo>
                      <a:pt x="302" y="186"/>
                    </a:lnTo>
                    <a:lnTo>
                      <a:pt x="300" y="185"/>
                    </a:lnTo>
                    <a:lnTo>
                      <a:pt x="299" y="180"/>
                    </a:lnTo>
                    <a:lnTo>
                      <a:pt x="299" y="180"/>
                    </a:lnTo>
                    <a:lnTo>
                      <a:pt x="297" y="175"/>
                    </a:lnTo>
                    <a:lnTo>
                      <a:pt x="297" y="172"/>
                    </a:lnTo>
                    <a:lnTo>
                      <a:pt x="299" y="170"/>
                    </a:lnTo>
                    <a:lnTo>
                      <a:pt x="299" y="170"/>
                    </a:lnTo>
                    <a:lnTo>
                      <a:pt x="302" y="166"/>
                    </a:lnTo>
                    <a:lnTo>
                      <a:pt x="302" y="163"/>
                    </a:lnTo>
                    <a:lnTo>
                      <a:pt x="300" y="159"/>
                    </a:lnTo>
                    <a:lnTo>
                      <a:pt x="300" y="159"/>
                    </a:lnTo>
                    <a:lnTo>
                      <a:pt x="299" y="155"/>
                    </a:lnTo>
                    <a:lnTo>
                      <a:pt x="300" y="152"/>
                    </a:lnTo>
                    <a:lnTo>
                      <a:pt x="302" y="148"/>
                    </a:lnTo>
                    <a:lnTo>
                      <a:pt x="300" y="142"/>
                    </a:lnTo>
                    <a:lnTo>
                      <a:pt x="300" y="142"/>
                    </a:lnTo>
                    <a:lnTo>
                      <a:pt x="296" y="133"/>
                    </a:lnTo>
                    <a:lnTo>
                      <a:pt x="293" y="130"/>
                    </a:lnTo>
                    <a:lnTo>
                      <a:pt x="293" y="128"/>
                    </a:lnTo>
                    <a:lnTo>
                      <a:pt x="293" y="128"/>
                    </a:lnTo>
                    <a:lnTo>
                      <a:pt x="294" y="126"/>
                    </a:lnTo>
                    <a:lnTo>
                      <a:pt x="297" y="125"/>
                    </a:lnTo>
                    <a:lnTo>
                      <a:pt x="297" y="125"/>
                    </a:lnTo>
                    <a:lnTo>
                      <a:pt x="296" y="121"/>
                    </a:lnTo>
                    <a:lnTo>
                      <a:pt x="296" y="121"/>
                    </a:lnTo>
                    <a:lnTo>
                      <a:pt x="294" y="113"/>
                    </a:lnTo>
                    <a:lnTo>
                      <a:pt x="293" y="105"/>
                    </a:lnTo>
                    <a:lnTo>
                      <a:pt x="290" y="96"/>
                    </a:lnTo>
                    <a:lnTo>
                      <a:pt x="287" y="92"/>
                    </a:lnTo>
                    <a:lnTo>
                      <a:pt x="287" y="92"/>
                    </a:lnTo>
                    <a:lnTo>
                      <a:pt x="285" y="89"/>
                    </a:lnTo>
                    <a:lnTo>
                      <a:pt x="280" y="86"/>
                    </a:lnTo>
                    <a:lnTo>
                      <a:pt x="277" y="84"/>
                    </a:lnTo>
                    <a:lnTo>
                      <a:pt x="276" y="82"/>
                    </a:lnTo>
                    <a:lnTo>
                      <a:pt x="276" y="82"/>
                    </a:lnTo>
                    <a:lnTo>
                      <a:pt x="275" y="76"/>
                    </a:lnTo>
                    <a:lnTo>
                      <a:pt x="273" y="74"/>
                    </a:lnTo>
                    <a:lnTo>
                      <a:pt x="269" y="72"/>
                    </a:lnTo>
                    <a:lnTo>
                      <a:pt x="269" y="72"/>
                    </a:lnTo>
                    <a:lnTo>
                      <a:pt x="265" y="68"/>
                    </a:lnTo>
                    <a:lnTo>
                      <a:pt x="262" y="62"/>
                    </a:lnTo>
                    <a:lnTo>
                      <a:pt x="260" y="57"/>
                    </a:lnTo>
                    <a:lnTo>
                      <a:pt x="260" y="55"/>
                    </a:lnTo>
                    <a:lnTo>
                      <a:pt x="262" y="55"/>
                    </a:lnTo>
                    <a:lnTo>
                      <a:pt x="262" y="55"/>
                    </a:lnTo>
                    <a:lnTo>
                      <a:pt x="265" y="54"/>
                    </a:lnTo>
                    <a:lnTo>
                      <a:pt x="267" y="49"/>
                    </a:lnTo>
                    <a:lnTo>
                      <a:pt x="270" y="47"/>
                    </a:lnTo>
                    <a:lnTo>
                      <a:pt x="273" y="44"/>
                    </a:lnTo>
                    <a:lnTo>
                      <a:pt x="273" y="44"/>
                    </a:lnTo>
                    <a:lnTo>
                      <a:pt x="276" y="41"/>
                    </a:lnTo>
                    <a:lnTo>
                      <a:pt x="277" y="37"/>
                    </a:lnTo>
                    <a:lnTo>
                      <a:pt x="279" y="32"/>
                    </a:lnTo>
                    <a:lnTo>
                      <a:pt x="277" y="27"/>
                    </a:lnTo>
                    <a:lnTo>
                      <a:pt x="277" y="27"/>
                    </a:lnTo>
                    <a:lnTo>
                      <a:pt x="276" y="22"/>
                    </a:lnTo>
                    <a:lnTo>
                      <a:pt x="276" y="17"/>
                    </a:lnTo>
                    <a:lnTo>
                      <a:pt x="277" y="2"/>
                    </a:lnTo>
                    <a:lnTo>
                      <a:pt x="277" y="2"/>
                    </a:lnTo>
                    <a:lnTo>
                      <a:pt x="267" y="1"/>
                    </a:lnTo>
                    <a:lnTo>
                      <a:pt x="262" y="0"/>
                    </a:lnTo>
                    <a:lnTo>
                      <a:pt x="262" y="0"/>
                    </a:lnTo>
                    <a:lnTo>
                      <a:pt x="255" y="0"/>
                    </a:lnTo>
                    <a:lnTo>
                      <a:pt x="246" y="1"/>
                    </a:lnTo>
                    <a:lnTo>
                      <a:pt x="246" y="1"/>
                    </a:lnTo>
                    <a:lnTo>
                      <a:pt x="240" y="2"/>
                    </a:lnTo>
                    <a:lnTo>
                      <a:pt x="235" y="4"/>
                    </a:lnTo>
                    <a:lnTo>
                      <a:pt x="228" y="7"/>
                    </a:lnTo>
                    <a:lnTo>
                      <a:pt x="226" y="7"/>
                    </a:lnTo>
                    <a:lnTo>
                      <a:pt x="223" y="5"/>
                    </a:lnTo>
                    <a:lnTo>
                      <a:pt x="223" y="5"/>
                    </a:lnTo>
                    <a:lnTo>
                      <a:pt x="221" y="4"/>
                    </a:lnTo>
                    <a:lnTo>
                      <a:pt x="215" y="4"/>
                    </a:lnTo>
                    <a:lnTo>
                      <a:pt x="196" y="5"/>
                    </a:lnTo>
                    <a:lnTo>
                      <a:pt x="164" y="8"/>
                    </a:lnTo>
                    <a:lnTo>
                      <a:pt x="164" y="8"/>
                    </a:lnTo>
                    <a:lnTo>
                      <a:pt x="159" y="10"/>
                    </a:lnTo>
                    <a:lnTo>
                      <a:pt x="155" y="11"/>
                    </a:lnTo>
                    <a:lnTo>
                      <a:pt x="149" y="15"/>
                    </a:lnTo>
                    <a:lnTo>
                      <a:pt x="144" y="20"/>
                    </a:lnTo>
                    <a:lnTo>
                      <a:pt x="141" y="21"/>
                    </a:lnTo>
                    <a:lnTo>
                      <a:pt x="138" y="22"/>
                    </a:lnTo>
                    <a:lnTo>
                      <a:pt x="138" y="22"/>
                    </a:lnTo>
                    <a:lnTo>
                      <a:pt x="132" y="24"/>
                    </a:lnTo>
                    <a:lnTo>
                      <a:pt x="125" y="27"/>
                    </a:lnTo>
                    <a:lnTo>
                      <a:pt x="120" y="29"/>
                    </a:lnTo>
                    <a:lnTo>
                      <a:pt x="114" y="35"/>
                    </a:lnTo>
                    <a:lnTo>
                      <a:pt x="114" y="35"/>
                    </a:lnTo>
                    <a:lnTo>
                      <a:pt x="111" y="37"/>
                    </a:lnTo>
                    <a:lnTo>
                      <a:pt x="107" y="38"/>
                    </a:lnTo>
                    <a:lnTo>
                      <a:pt x="107" y="38"/>
                    </a:lnTo>
                    <a:lnTo>
                      <a:pt x="110" y="42"/>
                    </a:lnTo>
                    <a:lnTo>
                      <a:pt x="110" y="42"/>
                    </a:lnTo>
                    <a:lnTo>
                      <a:pt x="112" y="47"/>
                    </a:lnTo>
                    <a:lnTo>
                      <a:pt x="114" y="51"/>
                    </a:lnTo>
                    <a:lnTo>
                      <a:pt x="115" y="59"/>
                    </a:lnTo>
                    <a:lnTo>
                      <a:pt x="115" y="5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9" name="Niger">
                <a:extLst>
                  <a:ext uri="{FF2B5EF4-FFF2-40B4-BE49-F238E27FC236}">
                    <a16:creationId xmlns:a16="http://schemas.microsoft.com/office/drawing/2014/main" id="{7E12CD82-3E6A-3E4C-8614-8594D631178D}"/>
                  </a:ext>
                </a:extLst>
              </p:cNvPr>
              <p:cNvSpPr>
                <a:spLocks/>
              </p:cNvSpPr>
              <p:nvPr/>
            </p:nvSpPr>
            <p:spPr bwMode="auto">
              <a:xfrm>
                <a:off x="4329316" y="3738543"/>
                <a:ext cx="365507" cy="287078"/>
              </a:xfrm>
              <a:custGeom>
                <a:avLst/>
                <a:gdLst/>
                <a:ahLst/>
                <a:cxnLst>
                  <a:cxn ang="0">
                    <a:pos x="237" y="8"/>
                  </a:cxn>
                  <a:cxn ang="0">
                    <a:pos x="222" y="12"/>
                  </a:cxn>
                  <a:cxn ang="0">
                    <a:pos x="207" y="2"/>
                  </a:cxn>
                  <a:cxn ang="0">
                    <a:pos x="121" y="43"/>
                  </a:cxn>
                  <a:cxn ang="0">
                    <a:pos x="82" y="70"/>
                  </a:cxn>
                  <a:cxn ang="0">
                    <a:pos x="65" y="76"/>
                  </a:cxn>
                  <a:cxn ang="0">
                    <a:pos x="65" y="113"/>
                  </a:cxn>
                  <a:cxn ang="0">
                    <a:pos x="61" y="124"/>
                  </a:cxn>
                  <a:cxn ang="0">
                    <a:pos x="55" y="134"/>
                  </a:cxn>
                  <a:cxn ang="0">
                    <a:pos x="49" y="137"/>
                  </a:cxn>
                  <a:cxn ang="0">
                    <a:pos x="24" y="140"/>
                  </a:cxn>
                  <a:cxn ang="0">
                    <a:pos x="15" y="141"/>
                  </a:cxn>
                  <a:cxn ang="0">
                    <a:pos x="1" y="144"/>
                  </a:cxn>
                  <a:cxn ang="0">
                    <a:pos x="1" y="153"/>
                  </a:cxn>
                  <a:cxn ang="0">
                    <a:pos x="4" y="160"/>
                  </a:cxn>
                  <a:cxn ang="0">
                    <a:pos x="11" y="165"/>
                  </a:cxn>
                  <a:cxn ang="0">
                    <a:pos x="14" y="171"/>
                  </a:cxn>
                  <a:cxn ang="0">
                    <a:pos x="17" y="177"/>
                  </a:cxn>
                  <a:cxn ang="0">
                    <a:pos x="20" y="180"/>
                  </a:cxn>
                  <a:cxn ang="0">
                    <a:pos x="22" y="183"/>
                  </a:cxn>
                  <a:cxn ang="0">
                    <a:pos x="30" y="181"/>
                  </a:cxn>
                  <a:cxn ang="0">
                    <a:pos x="31" y="187"/>
                  </a:cxn>
                  <a:cxn ang="0">
                    <a:pos x="32" y="190"/>
                  </a:cxn>
                  <a:cxn ang="0">
                    <a:pos x="38" y="192"/>
                  </a:cxn>
                  <a:cxn ang="0">
                    <a:pos x="41" y="185"/>
                  </a:cxn>
                  <a:cxn ang="0">
                    <a:pos x="47" y="187"/>
                  </a:cxn>
                  <a:cxn ang="0">
                    <a:pos x="49" y="194"/>
                  </a:cxn>
                  <a:cxn ang="0">
                    <a:pos x="54" y="194"/>
                  </a:cxn>
                  <a:cxn ang="0">
                    <a:pos x="57" y="191"/>
                  </a:cxn>
                  <a:cxn ang="0">
                    <a:pos x="64" y="180"/>
                  </a:cxn>
                  <a:cxn ang="0">
                    <a:pos x="65" y="170"/>
                  </a:cxn>
                  <a:cxn ang="0">
                    <a:pos x="69" y="165"/>
                  </a:cxn>
                  <a:cxn ang="0">
                    <a:pos x="82" y="167"/>
                  </a:cxn>
                  <a:cxn ang="0">
                    <a:pos x="88" y="163"/>
                  </a:cxn>
                  <a:cxn ang="0">
                    <a:pos x="94" y="164"/>
                  </a:cxn>
                  <a:cxn ang="0">
                    <a:pos x="104" y="167"/>
                  </a:cxn>
                  <a:cxn ang="0">
                    <a:pos x="109" y="175"/>
                  </a:cxn>
                  <a:cxn ang="0">
                    <a:pos x="113" y="175"/>
                  </a:cxn>
                  <a:cxn ang="0">
                    <a:pos x="126" y="171"/>
                  </a:cxn>
                  <a:cxn ang="0">
                    <a:pos x="139" y="178"/>
                  </a:cxn>
                  <a:cxn ang="0">
                    <a:pos x="150" y="180"/>
                  </a:cxn>
                  <a:cxn ang="0">
                    <a:pos x="159" y="174"/>
                  </a:cxn>
                  <a:cxn ang="0">
                    <a:pos x="166" y="171"/>
                  </a:cxn>
                  <a:cxn ang="0">
                    <a:pos x="186" y="171"/>
                  </a:cxn>
                  <a:cxn ang="0">
                    <a:pos x="196" y="174"/>
                  </a:cxn>
                  <a:cxn ang="0">
                    <a:pos x="203" y="173"/>
                  </a:cxn>
                  <a:cxn ang="0">
                    <a:pos x="212" y="164"/>
                  </a:cxn>
                  <a:cxn ang="0">
                    <a:pos x="213" y="164"/>
                  </a:cxn>
                  <a:cxn ang="0">
                    <a:pos x="213" y="154"/>
                  </a:cxn>
                  <a:cxn ang="0">
                    <a:pos x="217" y="146"/>
                  </a:cxn>
                  <a:cxn ang="0">
                    <a:pos x="222" y="137"/>
                  </a:cxn>
                  <a:cxn ang="0">
                    <a:pos x="243" y="113"/>
                  </a:cxn>
                  <a:cxn ang="0">
                    <a:pos x="244" y="73"/>
                  </a:cxn>
                  <a:cxn ang="0">
                    <a:pos x="247" y="56"/>
                  </a:cxn>
                  <a:cxn ang="0">
                    <a:pos x="246" y="49"/>
                  </a:cxn>
                  <a:cxn ang="0">
                    <a:pos x="244" y="43"/>
                  </a:cxn>
                  <a:cxn ang="0">
                    <a:pos x="239" y="32"/>
                  </a:cxn>
                </a:cxnLst>
                <a:rect l="0" t="0" r="r" b="b"/>
                <a:pathLst>
                  <a:path w="247" h="194">
                    <a:moveTo>
                      <a:pt x="237" y="29"/>
                    </a:moveTo>
                    <a:lnTo>
                      <a:pt x="237" y="29"/>
                    </a:lnTo>
                    <a:lnTo>
                      <a:pt x="237" y="8"/>
                    </a:lnTo>
                    <a:lnTo>
                      <a:pt x="224" y="15"/>
                    </a:lnTo>
                    <a:lnTo>
                      <a:pt x="224" y="15"/>
                    </a:lnTo>
                    <a:lnTo>
                      <a:pt x="222" y="12"/>
                    </a:lnTo>
                    <a:lnTo>
                      <a:pt x="213" y="5"/>
                    </a:lnTo>
                    <a:lnTo>
                      <a:pt x="213" y="5"/>
                    </a:lnTo>
                    <a:lnTo>
                      <a:pt x="207" y="2"/>
                    </a:lnTo>
                    <a:lnTo>
                      <a:pt x="199" y="0"/>
                    </a:lnTo>
                    <a:lnTo>
                      <a:pt x="190" y="0"/>
                    </a:lnTo>
                    <a:lnTo>
                      <a:pt x="121" y="43"/>
                    </a:lnTo>
                    <a:lnTo>
                      <a:pt x="92" y="67"/>
                    </a:lnTo>
                    <a:lnTo>
                      <a:pt x="92" y="67"/>
                    </a:lnTo>
                    <a:lnTo>
                      <a:pt x="82" y="70"/>
                    </a:lnTo>
                    <a:lnTo>
                      <a:pt x="67" y="74"/>
                    </a:lnTo>
                    <a:lnTo>
                      <a:pt x="67" y="74"/>
                    </a:lnTo>
                    <a:lnTo>
                      <a:pt x="65" y="76"/>
                    </a:lnTo>
                    <a:lnTo>
                      <a:pt x="65" y="76"/>
                    </a:lnTo>
                    <a:lnTo>
                      <a:pt x="65" y="100"/>
                    </a:lnTo>
                    <a:lnTo>
                      <a:pt x="65" y="113"/>
                    </a:lnTo>
                    <a:lnTo>
                      <a:pt x="64" y="119"/>
                    </a:lnTo>
                    <a:lnTo>
                      <a:pt x="64" y="119"/>
                    </a:lnTo>
                    <a:lnTo>
                      <a:pt x="61" y="124"/>
                    </a:lnTo>
                    <a:lnTo>
                      <a:pt x="59" y="130"/>
                    </a:lnTo>
                    <a:lnTo>
                      <a:pt x="59" y="130"/>
                    </a:lnTo>
                    <a:lnTo>
                      <a:pt x="55" y="134"/>
                    </a:lnTo>
                    <a:lnTo>
                      <a:pt x="52" y="136"/>
                    </a:lnTo>
                    <a:lnTo>
                      <a:pt x="49" y="137"/>
                    </a:lnTo>
                    <a:lnTo>
                      <a:pt x="49" y="137"/>
                    </a:lnTo>
                    <a:lnTo>
                      <a:pt x="37" y="138"/>
                    </a:lnTo>
                    <a:lnTo>
                      <a:pt x="30" y="140"/>
                    </a:lnTo>
                    <a:lnTo>
                      <a:pt x="24" y="140"/>
                    </a:lnTo>
                    <a:lnTo>
                      <a:pt x="24" y="140"/>
                    </a:lnTo>
                    <a:lnTo>
                      <a:pt x="20" y="140"/>
                    </a:lnTo>
                    <a:lnTo>
                      <a:pt x="15" y="141"/>
                    </a:lnTo>
                    <a:lnTo>
                      <a:pt x="11" y="144"/>
                    </a:lnTo>
                    <a:lnTo>
                      <a:pt x="11" y="144"/>
                    </a:lnTo>
                    <a:lnTo>
                      <a:pt x="1" y="144"/>
                    </a:lnTo>
                    <a:lnTo>
                      <a:pt x="1" y="144"/>
                    </a:lnTo>
                    <a:lnTo>
                      <a:pt x="0" y="150"/>
                    </a:lnTo>
                    <a:lnTo>
                      <a:pt x="1" y="153"/>
                    </a:lnTo>
                    <a:lnTo>
                      <a:pt x="1" y="153"/>
                    </a:lnTo>
                    <a:lnTo>
                      <a:pt x="3" y="157"/>
                    </a:lnTo>
                    <a:lnTo>
                      <a:pt x="4" y="160"/>
                    </a:lnTo>
                    <a:lnTo>
                      <a:pt x="5" y="163"/>
                    </a:lnTo>
                    <a:lnTo>
                      <a:pt x="5" y="163"/>
                    </a:lnTo>
                    <a:lnTo>
                      <a:pt x="11" y="165"/>
                    </a:lnTo>
                    <a:lnTo>
                      <a:pt x="12" y="168"/>
                    </a:lnTo>
                    <a:lnTo>
                      <a:pt x="14" y="171"/>
                    </a:lnTo>
                    <a:lnTo>
                      <a:pt x="14" y="171"/>
                    </a:lnTo>
                    <a:lnTo>
                      <a:pt x="14" y="175"/>
                    </a:lnTo>
                    <a:lnTo>
                      <a:pt x="15" y="177"/>
                    </a:lnTo>
                    <a:lnTo>
                      <a:pt x="17" y="177"/>
                    </a:lnTo>
                    <a:lnTo>
                      <a:pt x="17" y="177"/>
                    </a:lnTo>
                    <a:lnTo>
                      <a:pt x="18" y="177"/>
                    </a:lnTo>
                    <a:lnTo>
                      <a:pt x="20" y="180"/>
                    </a:lnTo>
                    <a:lnTo>
                      <a:pt x="21" y="181"/>
                    </a:lnTo>
                    <a:lnTo>
                      <a:pt x="22" y="183"/>
                    </a:lnTo>
                    <a:lnTo>
                      <a:pt x="22" y="183"/>
                    </a:lnTo>
                    <a:lnTo>
                      <a:pt x="25" y="183"/>
                    </a:lnTo>
                    <a:lnTo>
                      <a:pt x="28" y="183"/>
                    </a:lnTo>
                    <a:lnTo>
                      <a:pt x="30" y="181"/>
                    </a:lnTo>
                    <a:lnTo>
                      <a:pt x="31" y="181"/>
                    </a:lnTo>
                    <a:lnTo>
                      <a:pt x="31" y="181"/>
                    </a:lnTo>
                    <a:lnTo>
                      <a:pt x="31" y="187"/>
                    </a:lnTo>
                    <a:lnTo>
                      <a:pt x="31" y="190"/>
                    </a:lnTo>
                    <a:lnTo>
                      <a:pt x="32" y="190"/>
                    </a:lnTo>
                    <a:lnTo>
                      <a:pt x="32" y="190"/>
                    </a:lnTo>
                    <a:lnTo>
                      <a:pt x="34" y="191"/>
                    </a:lnTo>
                    <a:lnTo>
                      <a:pt x="38" y="192"/>
                    </a:lnTo>
                    <a:lnTo>
                      <a:pt x="38" y="192"/>
                    </a:lnTo>
                    <a:lnTo>
                      <a:pt x="38" y="190"/>
                    </a:lnTo>
                    <a:lnTo>
                      <a:pt x="40" y="187"/>
                    </a:lnTo>
                    <a:lnTo>
                      <a:pt x="41" y="185"/>
                    </a:lnTo>
                    <a:lnTo>
                      <a:pt x="44" y="185"/>
                    </a:lnTo>
                    <a:lnTo>
                      <a:pt x="44" y="185"/>
                    </a:lnTo>
                    <a:lnTo>
                      <a:pt x="47" y="187"/>
                    </a:lnTo>
                    <a:lnTo>
                      <a:pt x="47" y="190"/>
                    </a:lnTo>
                    <a:lnTo>
                      <a:pt x="47" y="191"/>
                    </a:lnTo>
                    <a:lnTo>
                      <a:pt x="49" y="194"/>
                    </a:lnTo>
                    <a:lnTo>
                      <a:pt x="49" y="194"/>
                    </a:lnTo>
                    <a:lnTo>
                      <a:pt x="52" y="194"/>
                    </a:lnTo>
                    <a:lnTo>
                      <a:pt x="54" y="194"/>
                    </a:lnTo>
                    <a:lnTo>
                      <a:pt x="55" y="192"/>
                    </a:lnTo>
                    <a:lnTo>
                      <a:pt x="57" y="191"/>
                    </a:lnTo>
                    <a:lnTo>
                      <a:pt x="57" y="191"/>
                    </a:lnTo>
                    <a:lnTo>
                      <a:pt x="57" y="187"/>
                    </a:lnTo>
                    <a:lnTo>
                      <a:pt x="59" y="184"/>
                    </a:lnTo>
                    <a:lnTo>
                      <a:pt x="64" y="180"/>
                    </a:lnTo>
                    <a:lnTo>
                      <a:pt x="64" y="180"/>
                    </a:lnTo>
                    <a:lnTo>
                      <a:pt x="64" y="173"/>
                    </a:lnTo>
                    <a:lnTo>
                      <a:pt x="65" y="170"/>
                    </a:lnTo>
                    <a:lnTo>
                      <a:pt x="67" y="167"/>
                    </a:lnTo>
                    <a:lnTo>
                      <a:pt x="67" y="167"/>
                    </a:lnTo>
                    <a:lnTo>
                      <a:pt x="69" y="165"/>
                    </a:lnTo>
                    <a:lnTo>
                      <a:pt x="74" y="165"/>
                    </a:lnTo>
                    <a:lnTo>
                      <a:pt x="82" y="167"/>
                    </a:lnTo>
                    <a:lnTo>
                      <a:pt x="82" y="167"/>
                    </a:lnTo>
                    <a:lnTo>
                      <a:pt x="84" y="165"/>
                    </a:lnTo>
                    <a:lnTo>
                      <a:pt x="86" y="164"/>
                    </a:lnTo>
                    <a:lnTo>
                      <a:pt x="88" y="163"/>
                    </a:lnTo>
                    <a:lnTo>
                      <a:pt x="91" y="163"/>
                    </a:lnTo>
                    <a:lnTo>
                      <a:pt x="91" y="163"/>
                    </a:lnTo>
                    <a:lnTo>
                      <a:pt x="94" y="164"/>
                    </a:lnTo>
                    <a:lnTo>
                      <a:pt x="98" y="165"/>
                    </a:lnTo>
                    <a:lnTo>
                      <a:pt x="101" y="165"/>
                    </a:lnTo>
                    <a:lnTo>
                      <a:pt x="104" y="167"/>
                    </a:lnTo>
                    <a:lnTo>
                      <a:pt x="104" y="167"/>
                    </a:lnTo>
                    <a:lnTo>
                      <a:pt x="108" y="174"/>
                    </a:lnTo>
                    <a:lnTo>
                      <a:pt x="109" y="175"/>
                    </a:lnTo>
                    <a:lnTo>
                      <a:pt x="111" y="175"/>
                    </a:lnTo>
                    <a:lnTo>
                      <a:pt x="113" y="175"/>
                    </a:lnTo>
                    <a:lnTo>
                      <a:pt x="113" y="175"/>
                    </a:lnTo>
                    <a:lnTo>
                      <a:pt x="121" y="173"/>
                    </a:lnTo>
                    <a:lnTo>
                      <a:pt x="126" y="171"/>
                    </a:lnTo>
                    <a:lnTo>
                      <a:pt x="126" y="171"/>
                    </a:lnTo>
                    <a:lnTo>
                      <a:pt x="129" y="173"/>
                    </a:lnTo>
                    <a:lnTo>
                      <a:pt x="132" y="174"/>
                    </a:lnTo>
                    <a:lnTo>
                      <a:pt x="139" y="178"/>
                    </a:lnTo>
                    <a:lnTo>
                      <a:pt x="139" y="178"/>
                    </a:lnTo>
                    <a:lnTo>
                      <a:pt x="146" y="180"/>
                    </a:lnTo>
                    <a:lnTo>
                      <a:pt x="150" y="180"/>
                    </a:lnTo>
                    <a:lnTo>
                      <a:pt x="155" y="178"/>
                    </a:lnTo>
                    <a:lnTo>
                      <a:pt x="155" y="178"/>
                    </a:lnTo>
                    <a:lnTo>
                      <a:pt x="159" y="174"/>
                    </a:lnTo>
                    <a:lnTo>
                      <a:pt x="163" y="171"/>
                    </a:lnTo>
                    <a:lnTo>
                      <a:pt x="166" y="171"/>
                    </a:lnTo>
                    <a:lnTo>
                      <a:pt x="166" y="171"/>
                    </a:lnTo>
                    <a:lnTo>
                      <a:pt x="176" y="170"/>
                    </a:lnTo>
                    <a:lnTo>
                      <a:pt x="183" y="170"/>
                    </a:lnTo>
                    <a:lnTo>
                      <a:pt x="186" y="171"/>
                    </a:lnTo>
                    <a:lnTo>
                      <a:pt x="186" y="171"/>
                    </a:lnTo>
                    <a:lnTo>
                      <a:pt x="192" y="174"/>
                    </a:lnTo>
                    <a:lnTo>
                      <a:pt x="196" y="174"/>
                    </a:lnTo>
                    <a:lnTo>
                      <a:pt x="200" y="174"/>
                    </a:lnTo>
                    <a:lnTo>
                      <a:pt x="200" y="174"/>
                    </a:lnTo>
                    <a:lnTo>
                      <a:pt x="203" y="173"/>
                    </a:lnTo>
                    <a:lnTo>
                      <a:pt x="206" y="168"/>
                    </a:lnTo>
                    <a:lnTo>
                      <a:pt x="209" y="165"/>
                    </a:lnTo>
                    <a:lnTo>
                      <a:pt x="212" y="164"/>
                    </a:lnTo>
                    <a:lnTo>
                      <a:pt x="212" y="164"/>
                    </a:lnTo>
                    <a:lnTo>
                      <a:pt x="213" y="164"/>
                    </a:lnTo>
                    <a:lnTo>
                      <a:pt x="213" y="164"/>
                    </a:lnTo>
                    <a:lnTo>
                      <a:pt x="213" y="158"/>
                    </a:lnTo>
                    <a:lnTo>
                      <a:pt x="213" y="158"/>
                    </a:lnTo>
                    <a:lnTo>
                      <a:pt x="213" y="154"/>
                    </a:lnTo>
                    <a:lnTo>
                      <a:pt x="215" y="151"/>
                    </a:lnTo>
                    <a:lnTo>
                      <a:pt x="216" y="150"/>
                    </a:lnTo>
                    <a:lnTo>
                      <a:pt x="217" y="146"/>
                    </a:lnTo>
                    <a:lnTo>
                      <a:pt x="217" y="146"/>
                    </a:lnTo>
                    <a:lnTo>
                      <a:pt x="219" y="141"/>
                    </a:lnTo>
                    <a:lnTo>
                      <a:pt x="222" y="137"/>
                    </a:lnTo>
                    <a:lnTo>
                      <a:pt x="229" y="126"/>
                    </a:lnTo>
                    <a:lnTo>
                      <a:pt x="243" y="113"/>
                    </a:lnTo>
                    <a:lnTo>
                      <a:pt x="243" y="113"/>
                    </a:lnTo>
                    <a:lnTo>
                      <a:pt x="243" y="107"/>
                    </a:lnTo>
                    <a:lnTo>
                      <a:pt x="244" y="94"/>
                    </a:lnTo>
                    <a:lnTo>
                      <a:pt x="244" y="73"/>
                    </a:lnTo>
                    <a:lnTo>
                      <a:pt x="244" y="73"/>
                    </a:lnTo>
                    <a:lnTo>
                      <a:pt x="244" y="64"/>
                    </a:lnTo>
                    <a:lnTo>
                      <a:pt x="247" y="56"/>
                    </a:lnTo>
                    <a:lnTo>
                      <a:pt x="247" y="56"/>
                    </a:lnTo>
                    <a:lnTo>
                      <a:pt x="247" y="52"/>
                    </a:lnTo>
                    <a:lnTo>
                      <a:pt x="246" y="49"/>
                    </a:lnTo>
                    <a:lnTo>
                      <a:pt x="244" y="47"/>
                    </a:lnTo>
                    <a:lnTo>
                      <a:pt x="244" y="43"/>
                    </a:lnTo>
                    <a:lnTo>
                      <a:pt x="244" y="43"/>
                    </a:lnTo>
                    <a:lnTo>
                      <a:pt x="243" y="39"/>
                    </a:lnTo>
                    <a:lnTo>
                      <a:pt x="242" y="35"/>
                    </a:lnTo>
                    <a:lnTo>
                      <a:pt x="239" y="32"/>
                    </a:lnTo>
                    <a:lnTo>
                      <a:pt x="237" y="29"/>
                    </a:lnTo>
                    <a:lnTo>
                      <a:pt x="237" y="2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0" name="Mali">
                <a:extLst>
                  <a:ext uri="{FF2B5EF4-FFF2-40B4-BE49-F238E27FC236}">
                    <a16:creationId xmlns:a16="http://schemas.microsoft.com/office/drawing/2014/main" id="{EC805547-718A-224D-A3EA-3761B09F9F1E}"/>
                  </a:ext>
                </a:extLst>
              </p:cNvPr>
              <p:cNvSpPr>
                <a:spLocks/>
              </p:cNvSpPr>
              <p:nvPr/>
            </p:nvSpPr>
            <p:spPr bwMode="auto">
              <a:xfrm>
                <a:off x="4030399" y="3701549"/>
                <a:ext cx="395102" cy="368467"/>
              </a:xfrm>
              <a:custGeom>
                <a:avLst/>
                <a:gdLst/>
                <a:ahLst/>
                <a:cxnLst>
                  <a:cxn ang="0">
                    <a:pos x="250" y="91"/>
                  </a:cxn>
                  <a:cxn ang="0">
                    <a:pos x="239" y="84"/>
                  </a:cxn>
                  <a:cxn ang="0">
                    <a:pos x="224" y="75"/>
                  </a:cxn>
                  <a:cxn ang="0">
                    <a:pos x="118" y="0"/>
                  </a:cxn>
                  <a:cxn ang="0">
                    <a:pos x="112" y="146"/>
                  </a:cxn>
                  <a:cxn ang="0">
                    <a:pos x="109" y="159"/>
                  </a:cxn>
                  <a:cxn ang="0">
                    <a:pos x="47" y="161"/>
                  </a:cxn>
                  <a:cxn ang="0">
                    <a:pos x="30" y="162"/>
                  </a:cxn>
                  <a:cxn ang="0">
                    <a:pos x="24" y="166"/>
                  </a:cxn>
                  <a:cxn ang="0">
                    <a:pos x="12" y="161"/>
                  </a:cxn>
                  <a:cxn ang="0">
                    <a:pos x="8" y="168"/>
                  </a:cxn>
                  <a:cxn ang="0">
                    <a:pos x="0" y="173"/>
                  </a:cxn>
                  <a:cxn ang="0">
                    <a:pos x="4" y="185"/>
                  </a:cxn>
                  <a:cxn ang="0">
                    <a:pos x="11" y="196"/>
                  </a:cxn>
                  <a:cxn ang="0">
                    <a:pos x="15" y="215"/>
                  </a:cxn>
                  <a:cxn ang="0">
                    <a:pos x="20" y="219"/>
                  </a:cxn>
                  <a:cxn ang="0">
                    <a:pos x="28" y="217"/>
                  </a:cxn>
                  <a:cxn ang="0">
                    <a:pos x="34" y="216"/>
                  </a:cxn>
                  <a:cxn ang="0">
                    <a:pos x="45" y="213"/>
                  </a:cxn>
                  <a:cxn ang="0">
                    <a:pos x="52" y="212"/>
                  </a:cxn>
                  <a:cxn ang="0">
                    <a:pos x="58" y="225"/>
                  </a:cxn>
                  <a:cxn ang="0">
                    <a:pos x="62" y="229"/>
                  </a:cxn>
                  <a:cxn ang="0">
                    <a:pos x="61" y="235"/>
                  </a:cxn>
                  <a:cxn ang="0">
                    <a:pos x="65" y="239"/>
                  </a:cxn>
                  <a:cxn ang="0">
                    <a:pos x="68" y="246"/>
                  </a:cxn>
                  <a:cxn ang="0">
                    <a:pos x="74" y="245"/>
                  </a:cxn>
                  <a:cxn ang="0">
                    <a:pos x="82" y="247"/>
                  </a:cxn>
                  <a:cxn ang="0">
                    <a:pos x="91" y="243"/>
                  </a:cxn>
                  <a:cxn ang="0">
                    <a:pos x="98" y="240"/>
                  </a:cxn>
                  <a:cxn ang="0">
                    <a:pos x="99" y="246"/>
                  </a:cxn>
                  <a:cxn ang="0">
                    <a:pos x="106" y="243"/>
                  </a:cxn>
                  <a:cxn ang="0">
                    <a:pos x="113" y="230"/>
                  </a:cxn>
                  <a:cxn ang="0">
                    <a:pos x="113" y="220"/>
                  </a:cxn>
                  <a:cxn ang="0">
                    <a:pos x="126" y="215"/>
                  </a:cxn>
                  <a:cxn ang="0">
                    <a:pos x="131" y="205"/>
                  </a:cxn>
                  <a:cxn ang="0">
                    <a:pos x="136" y="193"/>
                  </a:cxn>
                  <a:cxn ang="0">
                    <a:pos x="146" y="193"/>
                  </a:cxn>
                  <a:cxn ang="0">
                    <a:pos x="152" y="188"/>
                  </a:cxn>
                  <a:cxn ang="0">
                    <a:pos x="156" y="182"/>
                  </a:cxn>
                  <a:cxn ang="0">
                    <a:pos x="166" y="181"/>
                  </a:cxn>
                  <a:cxn ang="0">
                    <a:pos x="172" y="176"/>
                  </a:cxn>
                  <a:cxn ang="0">
                    <a:pos x="187" y="168"/>
                  </a:cxn>
                  <a:cxn ang="0">
                    <a:pos x="196" y="169"/>
                  </a:cxn>
                  <a:cxn ang="0">
                    <a:pos x="217" y="166"/>
                  </a:cxn>
                  <a:cxn ang="0">
                    <a:pos x="232" y="165"/>
                  </a:cxn>
                  <a:cxn ang="0">
                    <a:pos x="254" y="161"/>
                  </a:cxn>
                  <a:cxn ang="0">
                    <a:pos x="263" y="149"/>
                  </a:cxn>
                  <a:cxn ang="0">
                    <a:pos x="267" y="125"/>
                  </a:cxn>
                  <a:cxn ang="0">
                    <a:pos x="253" y="104"/>
                  </a:cxn>
                </a:cxnLst>
                <a:rect l="0" t="0" r="r" b="b"/>
                <a:pathLst>
                  <a:path w="267" h="249">
                    <a:moveTo>
                      <a:pt x="253" y="104"/>
                    </a:moveTo>
                    <a:lnTo>
                      <a:pt x="253" y="104"/>
                    </a:lnTo>
                    <a:lnTo>
                      <a:pt x="253" y="97"/>
                    </a:lnTo>
                    <a:lnTo>
                      <a:pt x="250" y="91"/>
                    </a:lnTo>
                    <a:lnTo>
                      <a:pt x="249" y="88"/>
                    </a:lnTo>
                    <a:lnTo>
                      <a:pt x="246" y="87"/>
                    </a:lnTo>
                    <a:lnTo>
                      <a:pt x="246" y="87"/>
                    </a:lnTo>
                    <a:lnTo>
                      <a:pt x="239" y="84"/>
                    </a:lnTo>
                    <a:lnTo>
                      <a:pt x="233" y="82"/>
                    </a:lnTo>
                    <a:lnTo>
                      <a:pt x="227" y="81"/>
                    </a:lnTo>
                    <a:lnTo>
                      <a:pt x="227" y="81"/>
                    </a:lnTo>
                    <a:lnTo>
                      <a:pt x="224" y="75"/>
                    </a:lnTo>
                    <a:lnTo>
                      <a:pt x="217" y="67"/>
                    </a:lnTo>
                    <a:lnTo>
                      <a:pt x="217" y="67"/>
                    </a:lnTo>
                    <a:lnTo>
                      <a:pt x="183" y="43"/>
                    </a:lnTo>
                    <a:lnTo>
                      <a:pt x="118" y="0"/>
                    </a:lnTo>
                    <a:lnTo>
                      <a:pt x="91" y="0"/>
                    </a:lnTo>
                    <a:lnTo>
                      <a:pt x="106" y="141"/>
                    </a:lnTo>
                    <a:lnTo>
                      <a:pt x="112" y="146"/>
                    </a:lnTo>
                    <a:lnTo>
                      <a:pt x="112" y="146"/>
                    </a:lnTo>
                    <a:lnTo>
                      <a:pt x="112" y="152"/>
                    </a:lnTo>
                    <a:lnTo>
                      <a:pt x="111" y="156"/>
                    </a:lnTo>
                    <a:lnTo>
                      <a:pt x="109" y="159"/>
                    </a:lnTo>
                    <a:lnTo>
                      <a:pt x="109" y="159"/>
                    </a:lnTo>
                    <a:lnTo>
                      <a:pt x="98" y="161"/>
                    </a:lnTo>
                    <a:lnTo>
                      <a:pt x="77" y="161"/>
                    </a:lnTo>
                    <a:lnTo>
                      <a:pt x="47" y="161"/>
                    </a:lnTo>
                    <a:lnTo>
                      <a:pt x="47" y="161"/>
                    </a:lnTo>
                    <a:lnTo>
                      <a:pt x="44" y="162"/>
                    </a:lnTo>
                    <a:lnTo>
                      <a:pt x="37" y="163"/>
                    </a:lnTo>
                    <a:lnTo>
                      <a:pt x="37" y="163"/>
                    </a:lnTo>
                    <a:lnTo>
                      <a:pt x="30" y="162"/>
                    </a:lnTo>
                    <a:lnTo>
                      <a:pt x="28" y="162"/>
                    </a:lnTo>
                    <a:lnTo>
                      <a:pt x="25" y="162"/>
                    </a:lnTo>
                    <a:lnTo>
                      <a:pt x="25" y="162"/>
                    </a:lnTo>
                    <a:lnTo>
                      <a:pt x="24" y="166"/>
                    </a:lnTo>
                    <a:lnTo>
                      <a:pt x="21" y="166"/>
                    </a:lnTo>
                    <a:lnTo>
                      <a:pt x="17" y="163"/>
                    </a:lnTo>
                    <a:lnTo>
                      <a:pt x="17" y="163"/>
                    </a:lnTo>
                    <a:lnTo>
                      <a:pt x="12" y="161"/>
                    </a:lnTo>
                    <a:lnTo>
                      <a:pt x="10" y="162"/>
                    </a:lnTo>
                    <a:lnTo>
                      <a:pt x="8" y="165"/>
                    </a:lnTo>
                    <a:lnTo>
                      <a:pt x="8" y="168"/>
                    </a:lnTo>
                    <a:lnTo>
                      <a:pt x="8" y="168"/>
                    </a:lnTo>
                    <a:lnTo>
                      <a:pt x="7" y="171"/>
                    </a:lnTo>
                    <a:lnTo>
                      <a:pt x="5" y="172"/>
                    </a:lnTo>
                    <a:lnTo>
                      <a:pt x="0" y="173"/>
                    </a:lnTo>
                    <a:lnTo>
                      <a:pt x="0" y="173"/>
                    </a:lnTo>
                    <a:lnTo>
                      <a:pt x="1" y="176"/>
                    </a:lnTo>
                    <a:lnTo>
                      <a:pt x="4" y="181"/>
                    </a:lnTo>
                    <a:lnTo>
                      <a:pt x="4" y="181"/>
                    </a:lnTo>
                    <a:lnTo>
                      <a:pt x="4" y="185"/>
                    </a:lnTo>
                    <a:lnTo>
                      <a:pt x="4" y="188"/>
                    </a:lnTo>
                    <a:lnTo>
                      <a:pt x="7" y="190"/>
                    </a:lnTo>
                    <a:lnTo>
                      <a:pt x="7" y="190"/>
                    </a:lnTo>
                    <a:lnTo>
                      <a:pt x="11" y="196"/>
                    </a:lnTo>
                    <a:lnTo>
                      <a:pt x="15" y="202"/>
                    </a:lnTo>
                    <a:lnTo>
                      <a:pt x="15" y="202"/>
                    </a:lnTo>
                    <a:lnTo>
                      <a:pt x="15" y="215"/>
                    </a:lnTo>
                    <a:lnTo>
                      <a:pt x="15" y="215"/>
                    </a:lnTo>
                    <a:lnTo>
                      <a:pt x="15" y="217"/>
                    </a:lnTo>
                    <a:lnTo>
                      <a:pt x="17" y="219"/>
                    </a:lnTo>
                    <a:lnTo>
                      <a:pt x="20" y="219"/>
                    </a:lnTo>
                    <a:lnTo>
                      <a:pt x="20" y="219"/>
                    </a:lnTo>
                    <a:lnTo>
                      <a:pt x="21" y="217"/>
                    </a:lnTo>
                    <a:lnTo>
                      <a:pt x="24" y="217"/>
                    </a:lnTo>
                    <a:lnTo>
                      <a:pt x="27" y="219"/>
                    </a:lnTo>
                    <a:lnTo>
                      <a:pt x="28" y="217"/>
                    </a:lnTo>
                    <a:lnTo>
                      <a:pt x="28" y="217"/>
                    </a:lnTo>
                    <a:lnTo>
                      <a:pt x="30" y="216"/>
                    </a:lnTo>
                    <a:lnTo>
                      <a:pt x="31" y="215"/>
                    </a:lnTo>
                    <a:lnTo>
                      <a:pt x="34" y="216"/>
                    </a:lnTo>
                    <a:lnTo>
                      <a:pt x="40" y="217"/>
                    </a:lnTo>
                    <a:lnTo>
                      <a:pt x="40" y="217"/>
                    </a:lnTo>
                    <a:lnTo>
                      <a:pt x="42" y="216"/>
                    </a:lnTo>
                    <a:lnTo>
                      <a:pt x="45" y="213"/>
                    </a:lnTo>
                    <a:lnTo>
                      <a:pt x="48" y="210"/>
                    </a:lnTo>
                    <a:lnTo>
                      <a:pt x="51" y="210"/>
                    </a:lnTo>
                    <a:lnTo>
                      <a:pt x="51" y="210"/>
                    </a:lnTo>
                    <a:lnTo>
                      <a:pt x="52" y="212"/>
                    </a:lnTo>
                    <a:lnTo>
                      <a:pt x="55" y="215"/>
                    </a:lnTo>
                    <a:lnTo>
                      <a:pt x="57" y="222"/>
                    </a:lnTo>
                    <a:lnTo>
                      <a:pt x="57" y="222"/>
                    </a:lnTo>
                    <a:lnTo>
                      <a:pt x="58" y="225"/>
                    </a:lnTo>
                    <a:lnTo>
                      <a:pt x="61" y="226"/>
                    </a:lnTo>
                    <a:lnTo>
                      <a:pt x="62" y="227"/>
                    </a:lnTo>
                    <a:lnTo>
                      <a:pt x="64" y="229"/>
                    </a:lnTo>
                    <a:lnTo>
                      <a:pt x="62" y="229"/>
                    </a:lnTo>
                    <a:lnTo>
                      <a:pt x="62" y="229"/>
                    </a:lnTo>
                    <a:lnTo>
                      <a:pt x="61" y="230"/>
                    </a:lnTo>
                    <a:lnTo>
                      <a:pt x="61" y="232"/>
                    </a:lnTo>
                    <a:lnTo>
                      <a:pt x="61" y="235"/>
                    </a:lnTo>
                    <a:lnTo>
                      <a:pt x="62" y="235"/>
                    </a:lnTo>
                    <a:lnTo>
                      <a:pt x="62" y="235"/>
                    </a:lnTo>
                    <a:lnTo>
                      <a:pt x="64" y="236"/>
                    </a:lnTo>
                    <a:lnTo>
                      <a:pt x="65" y="239"/>
                    </a:lnTo>
                    <a:lnTo>
                      <a:pt x="65" y="242"/>
                    </a:lnTo>
                    <a:lnTo>
                      <a:pt x="67" y="245"/>
                    </a:lnTo>
                    <a:lnTo>
                      <a:pt x="67" y="245"/>
                    </a:lnTo>
                    <a:lnTo>
                      <a:pt x="68" y="246"/>
                    </a:lnTo>
                    <a:lnTo>
                      <a:pt x="71" y="247"/>
                    </a:lnTo>
                    <a:lnTo>
                      <a:pt x="72" y="247"/>
                    </a:lnTo>
                    <a:lnTo>
                      <a:pt x="74" y="245"/>
                    </a:lnTo>
                    <a:lnTo>
                      <a:pt x="74" y="245"/>
                    </a:lnTo>
                    <a:lnTo>
                      <a:pt x="75" y="243"/>
                    </a:lnTo>
                    <a:lnTo>
                      <a:pt x="78" y="243"/>
                    </a:lnTo>
                    <a:lnTo>
                      <a:pt x="82" y="247"/>
                    </a:lnTo>
                    <a:lnTo>
                      <a:pt x="82" y="247"/>
                    </a:lnTo>
                    <a:lnTo>
                      <a:pt x="84" y="249"/>
                    </a:lnTo>
                    <a:lnTo>
                      <a:pt x="86" y="247"/>
                    </a:lnTo>
                    <a:lnTo>
                      <a:pt x="89" y="246"/>
                    </a:lnTo>
                    <a:lnTo>
                      <a:pt x="91" y="243"/>
                    </a:lnTo>
                    <a:lnTo>
                      <a:pt x="91" y="243"/>
                    </a:lnTo>
                    <a:lnTo>
                      <a:pt x="92" y="240"/>
                    </a:lnTo>
                    <a:lnTo>
                      <a:pt x="95" y="239"/>
                    </a:lnTo>
                    <a:lnTo>
                      <a:pt x="98" y="240"/>
                    </a:lnTo>
                    <a:lnTo>
                      <a:pt x="99" y="242"/>
                    </a:lnTo>
                    <a:lnTo>
                      <a:pt x="99" y="242"/>
                    </a:lnTo>
                    <a:lnTo>
                      <a:pt x="99" y="245"/>
                    </a:lnTo>
                    <a:lnTo>
                      <a:pt x="99" y="246"/>
                    </a:lnTo>
                    <a:lnTo>
                      <a:pt x="102" y="246"/>
                    </a:lnTo>
                    <a:lnTo>
                      <a:pt x="105" y="245"/>
                    </a:lnTo>
                    <a:lnTo>
                      <a:pt x="105" y="245"/>
                    </a:lnTo>
                    <a:lnTo>
                      <a:pt x="106" y="243"/>
                    </a:lnTo>
                    <a:lnTo>
                      <a:pt x="109" y="243"/>
                    </a:lnTo>
                    <a:lnTo>
                      <a:pt x="109" y="243"/>
                    </a:lnTo>
                    <a:lnTo>
                      <a:pt x="113" y="230"/>
                    </a:lnTo>
                    <a:lnTo>
                      <a:pt x="113" y="230"/>
                    </a:lnTo>
                    <a:lnTo>
                      <a:pt x="113" y="227"/>
                    </a:lnTo>
                    <a:lnTo>
                      <a:pt x="113" y="225"/>
                    </a:lnTo>
                    <a:lnTo>
                      <a:pt x="112" y="222"/>
                    </a:lnTo>
                    <a:lnTo>
                      <a:pt x="113" y="220"/>
                    </a:lnTo>
                    <a:lnTo>
                      <a:pt x="113" y="220"/>
                    </a:lnTo>
                    <a:lnTo>
                      <a:pt x="119" y="219"/>
                    </a:lnTo>
                    <a:lnTo>
                      <a:pt x="123" y="217"/>
                    </a:lnTo>
                    <a:lnTo>
                      <a:pt x="126" y="215"/>
                    </a:lnTo>
                    <a:lnTo>
                      <a:pt x="126" y="215"/>
                    </a:lnTo>
                    <a:lnTo>
                      <a:pt x="129" y="208"/>
                    </a:lnTo>
                    <a:lnTo>
                      <a:pt x="131" y="205"/>
                    </a:lnTo>
                    <a:lnTo>
                      <a:pt x="131" y="205"/>
                    </a:lnTo>
                    <a:lnTo>
                      <a:pt x="132" y="198"/>
                    </a:lnTo>
                    <a:lnTo>
                      <a:pt x="133" y="193"/>
                    </a:lnTo>
                    <a:lnTo>
                      <a:pt x="135" y="192"/>
                    </a:lnTo>
                    <a:lnTo>
                      <a:pt x="136" y="193"/>
                    </a:lnTo>
                    <a:lnTo>
                      <a:pt x="136" y="193"/>
                    </a:lnTo>
                    <a:lnTo>
                      <a:pt x="142" y="196"/>
                    </a:lnTo>
                    <a:lnTo>
                      <a:pt x="145" y="196"/>
                    </a:lnTo>
                    <a:lnTo>
                      <a:pt x="146" y="193"/>
                    </a:lnTo>
                    <a:lnTo>
                      <a:pt x="146" y="193"/>
                    </a:lnTo>
                    <a:lnTo>
                      <a:pt x="148" y="190"/>
                    </a:lnTo>
                    <a:lnTo>
                      <a:pt x="149" y="189"/>
                    </a:lnTo>
                    <a:lnTo>
                      <a:pt x="152" y="188"/>
                    </a:lnTo>
                    <a:lnTo>
                      <a:pt x="153" y="186"/>
                    </a:lnTo>
                    <a:lnTo>
                      <a:pt x="153" y="186"/>
                    </a:lnTo>
                    <a:lnTo>
                      <a:pt x="155" y="183"/>
                    </a:lnTo>
                    <a:lnTo>
                      <a:pt x="156" y="182"/>
                    </a:lnTo>
                    <a:lnTo>
                      <a:pt x="160" y="182"/>
                    </a:lnTo>
                    <a:lnTo>
                      <a:pt x="160" y="182"/>
                    </a:lnTo>
                    <a:lnTo>
                      <a:pt x="165" y="182"/>
                    </a:lnTo>
                    <a:lnTo>
                      <a:pt x="166" y="181"/>
                    </a:lnTo>
                    <a:lnTo>
                      <a:pt x="168" y="179"/>
                    </a:lnTo>
                    <a:lnTo>
                      <a:pt x="168" y="179"/>
                    </a:lnTo>
                    <a:lnTo>
                      <a:pt x="168" y="178"/>
                    </a:lnTo>
                    <a:lnTo>
                      <a:pt x="172" y="176"/>
                    </a:lnTo>
                    <a:lnTo>
                      <a:pt x="176" y="175"/>
                    </a:lnTo>
                    <a:lnTo>
                      <a:pt x="180" y="173"/>
                    </a:lnTo>
                    <a:lnTo>
                      <a:pt x="180" y="173"/>
                    </a:lnTo>
                    <a:lnTo>
                      <a:pt x="187" y="168"/>
                    </a:lnTo>
                    <a:lnTo>
                      <a:pt x="190" y="166"/>
                    </a:lnTo>
                    <a:lnTo>
                      <a:pt x="193" y="168"/>
                    </a:lnTo>
                    <a:lnTo>
                      <a:pt x="193" y="168"/>
                    </a:lnTo>
                    <a:lnTo>
                      <a:pt x="196" y="169"/>
                    </a:lnTo>
                    <a:lnTo>
                      <a:pt x="203" y="169"/>
                    </a:lnTo>
                    <a:lnTo>
                      <a:pt x="213" y="169"/>
                    </a:lnTo>
                    <a:lnTo>
                      <a:pt x="213" y="169"/>
                    </a:lnTo>
                    <a:lnTo>
                      <a:pt x="217" y="166"/>
                    </a:lnTo>
                    <a:lnTo>
                      <a:pt x="222" y="165"/>
                    </a:lnTo>
                    <a:lnTo>
                      <a:pt x="226" y="165"/>
                    </a:lnTo>
                    <a:lnTo>
                      <a:pt x="226" y="165"/>
                    </a:lnTo>
                    <a:lnTo>
                      <a:pt x="232" y="165"/>
                    </a:lnTo>
                    <a:lnTo>
                      <a:pt x="239" y="163"/>
                    </a:lnTo>
                    <a:lnTo>
                      <a:pt x="251" y="162"/>
                    </a:lnTo>
                    <a:lnTo>
                      <a:pt x="251" y="162"/>
                    </a:lnTo>
                    <a:lnTo>
                      <a:pt x="254" y="161"/>
                    </a:lnTo>
                    <a:lnTo>
                      <a:pt x="257" y="159"/>
                    </a:lnTo>
                    <a:lnTo>
                      <a:pt x="261" y="155"/>
                    </a:lnTo>
                    <a:lnTo>
                      <a:pt x="261" y="155"/>
                    </a:lnTo>
                    <a:lnTo>
                      <a:pt x="263" y="149"/>
                    </a:lnTo>
                    <a:lnTo>
                      <a:pt x="266" y="144"/>
                    </a:lnTo>
                    <a:lnTo>
                      <a:pt x="266" y="144"/>
                    </a:lnTo>
                    <a:lnTo>
                      <a:pt x="267" y="138"/>
                    </a:lnTo>
                    <a:lnTo>
                      <a:pt x="267" y="125"/>
                    </a:lnTo>
                    <a:lnTo>
                      <a:pt x="267" y="101"/>
                    </a:lnTo>
                    <a:lnTo>
                      <a:pt x="267" y="101"/>
                    </a:lnTo>
                    <a:lnTo>
                      <a:pt x="253" y="104"/>
                    </a:lnTo>
                    <a:lnTo>
                      <a:pt x="253" y="10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1" name="Burkina Faso">
                <a:extLst>
                  <a:ext uri="{FF2B5EF4-FFF2-40B4-BE49-F238E27FC236}">
                    <a16:creationId xmlns:a16="http://schemas.microsoft.com/office/drawing/2014/main" id="{93C5907C-38FD-E34A-91BA-0F7290492B48}"/>
                  </a:ext>
                </a:extLst>
              </p:cNvPr>
              <p:cNvSpPr>
                <a:spLocks/>
              </p:cNvSpPr>
              <p:nvPr/>
            </p:nvSpPr>
            <p:spPr bwMode="auto">
              <a:xfrm>
                <a:off x="4191696" y="3947193"/>
                <a:ext cx="193852" cy="133181"/>
              </a:xfrm>
              <a:custGeom>
                <a:avLst/>
                <a:gdLst/>
                <a:ahLst/>
                <a:cxnLst>
                  <a:cxn ang="0">
                    <a:pos x="127" y="50"/>
                  </a:cxn>
                  <a:cxn ang="0">
                    <a:pos x="124" y="49"/>
                  </a:cxn>
                  <a:cxn ang="0">
                    <a:pos x="124" y="40"/>
                  </a:cxn>
                  <a:cxn ang="0">
                    <a:pos x="118" y="42"/>
                  </a:cxn>
                  <a:cxn ang="0">
                    <a:pos x="114" y="40"/>
                  </a:cxn>
                  <a:cxn ang="0">
                    <a:pos x="110" y="36"/>
                  </a:cxn>
                  <a:cxn ang="0">
                    <a:pos x="107" y="34"/>
                  </a:cxn>
                  <a:cxn ang="0">
                    <a:pos x="105" y="27"/>
                  </a:cxn>
                  <a:cxn ang="0">
                    <a:pos x="98" y="22"/>
                  </a:cxn>
                  <a:cxn ang="0">
                    <a:pos x="94" y="12"/>
                  </a:cxn>
                  <a:cxn ang="0">
                    <a:pos x="94" y="3"/>
                  </a:cxn>
                  <a:cxn ang="0">
                    <a:pos x="84" y="2"/>
                  </a:cxn>
                  <a:cxn ang="0">
                    <a:pos x="78" y="2"/>
                  </a:cxn>
                  <a:cxn ang="0">
                    <a:pos x="67" y="9"/>
                  </a:cxn>
                  <a:cxn ang="0">
                    <a:pos x="59" y="13"/>
                  </a:cxn>
                  <a:cxn ang="0">
                    <a:pos x="56" y="16"/>
                  </a:cxn>
                  <a:cxn ang="0">
                    <a:pos x="47" y="16"/>
                  </a:cxn>
                  <a:cxn ang="0">
                    <a:pos x="44" y="20"/>
                  </a:cxn>
                  <a:cxn ang="0">
                    <a:pos x="39" y="24"/>
                  </a:cxn>
                  <a:cxn ang="0">
                    <a:pos x="36" y="30"/>
                  </a:cxn>
                  <a:cxn ang="0">
                    <a:pos x="27" y="27"/>
                  </a:cxn>
                  <a:cxn ang="0">
                    <a:pos x="23" y="32"/>
                  </a:cxn>
                  <a:cxn ang="0">
                    <a:pos x="20" y="42"/>
                  </a:cxn>
                  <a:cxn ang="0">
                    <a:pos x="14" y="51"/>
                  </a:cxn>
                  <a:cxn ang="0">
                    <a:pos x="4" y="54"/>
                  </a:cxn>
                  <a:cxn ang="0">
                    <a:pos x="4" y="61"/>
                  </a:cxn>
                  <a:cxn ang="0">
                    <a:pos x="0" y="77"/>
                  </a:cxn>
                  <a:cxn ang="0">
                    <a:pos x="9" y="83"/>
                  </a:cxn>
                  <a:cxn ang="0">
                    <a:pos x="14" y="88"/>
                  </a:cxn>
                  <a:cxn ang="0">
                    <a:pos x="23" y="88"/>
                  </a:cxn>
                  <a:cxn ang="0">
                    <a:pos x="33" y="84"/>
                  </a:cxn>
                  <a:cxn ang="0">
                    <a:pos x="41" y="87"/>
                  </a:cxn>
                  <a:cxn ang="0">
                    <a:pos x="46" y="87"/>
                  </a:cxn>
                  <a:cxn ang="0">
                    <a:pos x="44" y="77"/>
                  </a:cxn>
                  <a:cxn ang="0">
                    <a:pos x="44" y="69"/>
                  </a:cxn>
                  <a:cxn ang="0">
                    <a:pos x="64" y="67"/>
                  </a:cxn>
                  <a:cxn ang="0">
                    <a:pos x="84" y="70"/>
                  </a:cxn>
                  <a:cxn ang="0">
                    <a:pos x="87" y="66"/>
                  </a:cxn>
                  <a:cxn ang="0">
                    <a:pos x="98" y="67"/>
                  </a:cxn>
                  <a:cxn ang="0">
                    <a:pos x="110" y="64"/>
                  </a:cxn>
                  <a:cxn ang="0">
                    <a:pos x="114" y="61"/>
                  </a:cxn>
                  <a:cxn ang="0">
                    <a:pos x="127" y="59"/>
                  </a:cxn>
                  <a:cxn ang="0">
                    <a:pos x="131" y="54"/>
                  </a:cxn>
                  <a:cxn ang="0">
                    <a:pos x="131" y="51"/>
                  </a:cxn>
                </a:cxnLst>
                <a:rect l="0" t="0" r="r" b="b"/>
                <a:pathLst>
                  <a:path w="131" h="90">
                    <a:moveTo>
                      <a:pt x="131" y="51"/>
                    </a:moveTo>
                    <a:lnTo>
                      <a:pt x="131" y="51"/>
                    </a:lnTo>
                    <a:lnTo>
                      <a:pt x="127" y="50"/>
                    </a:lnTo>
                    <a:lnTo>
                      <a:pt x="125" y="49"/>
                    </a:lnTo>
                    <a:lnTo>
                      <a:pt x="125" y="49"/>
                    </a:lnTo>
                    <a:lnTo>
                      <a:pt x="124" y="49"/>
                    </a:lnTo>
                    <a:lnTo>
                      <a:pt x="124" y="46"/>
                    </a:lnTo>
                    <a:lnTo>
                      <a:pt x="124" y="40"/>
                    </a:lnTo>
                    <a:lnTo>
                      <a:pt x="124" y="40"/>
                    </a:lnTo>
                    <a:lnTo>
                      <a:pt x="123" y="40"/>
                    </a:lnTo>
                    <a:lnTo>
                      <a:pt x="121" y="42"/>
                    </a:lnTo>
                    <a:lnTo>
                      <a:pt x="118" y="42"/>
                    </a:lnTo>
                    <a:lnTo>
                      <a:pt x="115" y="42"/>
                    </a:lnTo>
                    <a:lnTo>
                      <a:pt x="115" y="42"/>
                    </a:lnTo>
                    <a:lnTo>
                      <a:pt x="114" y="40"/>
                    </a:lnTo>
                    <a:lnTo>
                      <a:pt x="113" y="39"/>
                    </a:lnTo>
                    <a:lnTo>
                      <a:pt x="111" y="36"/>
                    </a:lnTo>
                    <a:lnTo>
                      <a:pt x="110" y="36"/>
                    </a:lnTo>
                    <a:lnTo>
                      <a:pt x="110" y="36"/>
                    </a:lnTo>
                    <a:lnTo>
                      <a:pt x="108" y="36"/>
                    </a:lnTo>
                    <a:lnTo>
                      <a:pt x="107" y="34"/>
                    </a:lnTo>
                    <a:lnTo>
                      <a:pt x="107" y="30"/>
                    </a:lnTo>
                    <a:lnTo>
                      <a:pt x="107" y="30"/>
                    </a:lnTo>
                    <a:lnTo>
                      <a:pt x="105" y="27"/>
                    </a:lnTo>
                    <a:lnTo>
                      <a:pt x="104" y="24"/>
                    </a:lnTo>
                    <a:lnTo>
                      <a:pt x="98" y="22"/>
                    </a:lnTo>
                    <a:lnTo>
                      <a:pt x="98" y="22"/>
                    </a:lnTo>
                    <a:lnTo>
                      <a:pt x="97" y="19"/>
                    </a:lnTo>
                    <a:lnTo>
                      <a:pt x="96" y="16"/>
                    </a:lnTo>
                    <a:lnTo>
                      <a:pt x="94" y="12"/>
                    </a:lnTo>
                    <a:lnTo>
                      <a:pt x="94" y="12"/>
                    </a:lnTo>
                    <a:lnTo>
                      <a:pt x="93" y="9"/>
                    </a:lnTo>
                    <a:lnTo>
                      <a:pt x="94" y="3"/>
                    </a:lnTo>
                    <a:lnTo>
                      <a:pt x="94" y="3"/>
                    </a:lnTo>
                    <a:lnTo>
                      <a:pt x="87" y="3"/>
                    </a:lnTo>
                    <a:lnTo>
                      <a:pt x="84" y="2"/>
                    </a:lnTo>
                    <a:lnTo>
                      <a:pt x="84" y="2"/>
                    </a:lnTo>
                    <a:lnTo>
                      <a:pt x="81" y="0"/>
                    </a:lnTo>
                    <a:lnTo>
                      <a:pt x="78" y="2"/>
                    </a:lnTo>
                    <a:lnTo>
                      <a:pt x="71" y="7"/>
                    </a:lnTo>
                    <a:lnTo>
                      <a:pt x="71" y="7"/>
                    </a:lnTo>
                    <a:lnTo>
                      <a:pt x="67" y="9"/>
                    </a:lnTo>
                    <a:lnTo>
                      <a:pt x="63" y="10"/>
                    </a:lnTo>
                    <a:lnTo>
                      <a:pt x="59" y="12"/>
                    </a:lnTo>
                    <a:lnTo>
                      <a:pt x="59" y="13"/>
                    </a:lnTo>
                    <a:lnTo>
                      <a:pt x="59" y="13"/>
                    </a:lnTo>
                    <a:lnTo>
                      <a:pt x="57" y="15"/>
                    </a:lnTo>
                    <a:lnTo>
                      <a:pt x="56" y="16"/>
                    </a:lnTo>
                    <a:lnTo>
                      <a:pt x="51" y="16"/>
                    </a:lnTo>
                    <a:lnTo>
                      <a:pt x="51" y="16"/>
                    </a:lnTo>
                    <a:lnTo>
                      <a:pt x="47" y="16"/>
                    </a:lnTo>
                    <a:lnTo>
                      <a:pt x="46" y="17"/>
                    </a:lnTo>
                    <a:lnTo>
                      <a:pt x="44" y="20"/>
                    </a:lnTo>
                    <a:lnTo>
                      <a:pt x="44" y="20"/>
                    </a:lnTo>
                    <a:lnTo>
                      <a:pt x="43" y="22"/>
                    </a:lnTo>
                    <a:lnTo>
                      <a:pt x="40" y="23"/>
                    </a:lnTo>
                    <a:lnTo>
                      <a:pt x="39" y="24"/>
                    </a:lnTo>
                    <a:lnTo>
                      <a:pt x="37" y="27"/>
                    </a:lnTo>
                    <a:lnTo>
                      <a:pt x="37" y="27"/>
                    </a:lnTo>
                    <a:lnTo>
                      <a:pt x="36" y="30"/>
                    </a:lnTo>
                    <a:lnTo>
                      <a:pt x="33" y="30"/>
                    </a:lnTo>
                    <a:lnTo>
                      <a:pt x="27" y="27"/>
                    </a:lnTo>
                    <a:lnTo>
                      <a:pt x="27" y="27"/>
                    </a:lnTo>
                    <a:lnTo>
                      <a:pt x="26" y="26"/>
                    </a:lnTo>
                    <a:lnTo>
                      <a:pt x="24" y="27"/>
                    </a:lnTo>
                    <a:lnTo>
                      <a:pt x="23" y="32"/>
                    </a:lnTo>
                    <a:lnTo>
                      <a:pt x="22" y="39"/>
                    </a:lnTo>
                    <a:lnTo>
                      <a:pt x="22" y="39"/>
                    </a:lnTo>
                    <a:lnTo>
                      <a:pt x="20" y="42"/>
                    </a:lnTo>
                    <a:lnTo>
                      <a:pt x="17" y="49"/>
                    </a:lnTo>
                    <a:lnTo>
                      <a:pt x="17" y="49"/>
                    </a:lnTo>
                    <a:lnTo>
                      <a:pt x="14" y="51"/>
                    </a:lnTo>
                    <a:lnTo>
                      <a:pt x="10" y="53"/>
                    </a:lnTo>
                    <a:lnTo>
                      <a:pt x="4" y="54"/>
                    </a:lnTo>
                    <a:lnTo>
                      <a:pt x="4" y="54"/>
                    </a:lnTo>
                    <a:lnTo>
                      <a:pt x="3" y="56"/>
                    </a:lnTo>
                    <a:lnTo>
                      <a:pt x="4" y="59"/>
                    </a:lnTo>
                    <a:lnTo>
                      <a:pt x="4" y="61"/>
                    </a:lnTo>
                    <a:lnTo>
                      <a:pt x="4" y="64"/>
                    </a:lnTo>
                    <a:lnTo>
                      <a:pt x="4" y="64"/>
                    </a:lnTo>
                    <a:lnTo>
                      <a:pt x="0" y="77"/>
                    </a:lnTo>
                    <a:lnTo>
                      <a:pt x="0" y="77"/>
                    </a:lnTo>
                    <a:lnTo>
                      <a:pt x="4" y="79"/>
                    </a:lnTo>
                    <a:lnTo>
                      <a:pt x="9" y="83"/>
                    </a:lnTo>
                    <a:lnTo>
                      <a:pt x="9" y="83"/>
                    </a:lnTo>
                    <a:lnTo>
                      <a:pt x="10" y="84"/>
                    </a:lnTo>
                    <a:lnTo>
                      <a:pt x="14" y="88"/>
                    </a:lnTo>
                    <a:lnTo>
                      <a:pt x="19" y="90"/>
                    </a:lnTo>
                    <a:lnTo>
                      <a:pt x="20" y="90"/>
                    </a:lnTo>
                    <a:lnTo>
                      <a:pt x="23" y="88"/>
                    </a:lnTo>
                    <a:lnTo>
                      <a:pt x="23" y="88"/>
                    </a:lnTo>
                    <a:lnTo>
                      <a:pt x="27" y="86"/>
                    </a:lnTo>
                    <a:lnTo>
                      <a:pt x="33" y="84"/>
                    </a:lnTo>
                    <a:lnTo>
                      <a:pt x="37" y="86"/>
                    </a:lnTo>
                    <a:lnTo>
                      <a:pt x="41" y="87"/>
                    </a:lnTo>
                    <a:lnTo>
                      <a:pt x="41" y="87"/>
                    </a:lnTo>
                    <a:lnTo>
                      <a:pt x="43" y="88"/>
                    </a:lnTo>
                    <a:lnTo>
                      <a:pt x="44" y="88"/>
                    </a:lnTo>
                    <a:lnTo>
                      <a:pt x="46" y="87"/>
                    </a:lnTo>
                    <a:lnTo>
                      <a:pt x="47" y="86"/>
                    </a:lnTo>
                    <a:lnTo>
                      <a:pt x="47" y="86"/>
                    </a:lnTo>
                    <a:lnTo>
                      <a:pt x="44" y="77"/>
                    </a:lnTo>
                    <a:lnTo>
                      <a:pt x="43" y="73"/>
                    </a:lnTo>
                    <a:lnTo>
                      <a:pt x="44" y="69"/>
                    </a:lnTo>
                    <a:lnTo>
                      <a:pt x="44" y="69"/>
                    </a:lnTo>
                    <a:lnTo>
                      <a:pt x="46" y="69"/>
                    </a:lnTo>
                    <a:lnTo>
                      <a:pt x="50" y="67"/>
                    </a:lnTo>
                    <a:lnTo>
                      <a:pt x="64" y="67"/>
                    </a:lnTo>
                    <a:lnTo>
                      <a:pt x="77" y="69"/>
                    </a:lnTo>
                    <a:lnTo>
                      <a:pt x="84" y="70"/>
                    </a:lnTo>
                    <a:lnTo>
                      <a:pt x="84" y="70"/>
                    </a:lnTo>
                    <a:lnTo>
                      <a:pt x="84" y="70"/>
                    </a:lnTo>
                    <a:lnTo>
                      <a:pt x="86" y="69"/>
                    </a:lnTo>
                    <a:lnTo>
                      <a:pt x="87" y="66"/>
                    </a:lnTo>
                    <a:lnTo>
                      <a:pt x="90" y="66"/>
                    </a:lnTo>
                    <a:lnTo>
                      <a:pt x="90" y="66"/>
                    </a:lnTo>
                    <a:lnTo>
                      <a:pt x="98" y="67"/>
                    </a:lnTo>
                    <a:lnTo>
                      <a:pt x="105" y="67"/>
                    </a:lnTo>
                    <a:lnTo>
                      <a:pt x="105" y="67"/>
                    </a:lnTo>
                    <a:lnTo>
                      <a:pt x="110" y="64"/>
                    </a:lnTo>
                    <a:lnTo>
                      <a:pt x="111" y="61"/>
                    </a:lnTo>
                    <a:lnTo>
                      <a:pt x="114" y="61"/>
                    </a:lnTo>
                    <a:lnTo>
                      <a:pt x="114" y="61"/>
                    </a:lnTo>
                    <a:lnTo>
                      <a:pt x="121" y="61"/>
                    </a:lnTo>
                    <a:lnTo>
                      <a:pt x="124" y="60"/>
                    </a:lnTo>
                    <a:lnTo>
                      <a:pt x="127" y="59"/>
                    </a:lnTo>
                    <a:lnTo>
                      <a:pt x="127" y="59"/>
                    </a:lnTo>
                    <a:lnTo>
                      <a:pt x="130" y="56"/>
                    </a:lnTo>
                    <a:lnTo>
                      <a:pt x="131" y="54"/>
                    </a:lnTo>
                    <a:lnTo>
                      <a:pt x="131" y="53"/>
                    </a:lnTo>
                    <a:lnTo>
                      <a:pt x="131" y="53"/>
                    </a:lnTo>
                    <a:lnTo>
                      <a:pt x="131" y="51"/>
                    </a:lnTo>
                    <a:lnTo>
                      <a:pt x="131" y="5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2" name="Chad">
                <a:extLst>
                  <a:ext uri="{FF2B5EF4-FFF2-40B4-BE49-F238E27FC236}">
                    <a16:creationId xmlns:a16="http://schemas.microsoft.com/office/drawing/2014/main" id="{741F2846-0A6A-E944-8670-CCCF5325B7AD}"/>
                  </a:ext>
                </a:extLst>
              </p:cNvPr>
              <p:cNvSpPr>
                <a:spLocks/>
              </p:cNvSpPr>
              <p:nvPr/>
            </p:nvSpPr>
            <p:spPr bwMode="auto">
              <a:xfrm>
                <a:off x="4644510" y="3738543"/>
                <a:ext cx="238246" cy="393622"/>
              </a:xfrm>
              <a:custGeom>
                <a:avLst/>
                <a:gdLst/>
                <a:ahLst/>
                <a:cxnLst>
                  <a:cxn ang="0">
                    <a:pos x="24" y="8"/>
                  </a:cxn>
                  <a:cxn ang="0">
                    <a:pos x="24" y="29"/>
                  </a:cxn>
                  <a:cxn ang="0">
                    <a:pos x="30" y="39"/>
                  </a:cxn>
                  <a:cxn ang="0">
                    <a:pos x="31" y="47"/>
                  </a:cxn>
                  <a:cxn ang="0">
                    <a:pos x="34" y="56"/>
                  </a:cxn>
                  <a:cxn ang="0">
                    <a:pos x="31" y="73"/>
                  </a:cxn>
                  <a:cxn ang="0">
                    <a:pos x="30" y="107"/>
                  </a:cxn>
                  <a:cxn ang="0">
                    <a:pos x="16" y="126"/>
                  </a:cxn>
                  <a:cxn ang="0">
                    <a:pos x="4" y="146"/>
                  </a:cxn>
                  <a:cxn ang="0">
                    <a:pos x="2" y="151"/>
                  </a:cxn>
                  <a:cxn ang="0">
                    <a:pos x="0" y="158"/>
                  </a:cxn>
                  <a:cxn ang="0">
                    <a:pos x="4" y="167"/>
                  </a:cxn>
                  <a:cxn ang="0">
                    <a:pos x="9" y="173"/>
                  </a:cxn>
                  <a:cxn ang="0">
                    <a:pos x="14" y="175"/>
                  </a:cxn>
                  <a:cxn ang="0">
                    <a:pos x="21" y="190"/>
                  </a:cxn>
                  <a:cxn ang="0">
                    <a:pos x="21" y="195"/>
                  </a:cxn>
                  <a:cxn ang="0">
                    <a:pos x="23" y="204"/>
                  </a:cxn>
                  <a:cxn ang="0">
                    <a:pos x="27" y="221"/>
                  </a:cxn>
                  <a:cxn ang="0">
                    <a:pos x="30" y="224"/>
                  </a:cxn>
                  <a:cxn ang="0">
                    <a:pos x="23" y="225"/>
                  </a:cxn>
                  <a:cxn ang="0">
                    <a:pos x="9" y="228"/>
                  </a:cxn>
                  <a:cxn ang="0">
                    <a:pos x="10" y="235"/>
                  </a:cxn>
                  <a:cxn ang="0">
                    <a:pos x="21" y="245"/>
                  </a:cxn>
                  <a:cxn ang="0">
                    <a:pos x="26" y="252"/>
                  </a:cxn>
                  <a:cxn ang="0">
                    <a:pos x="33" y="266"/>
                  </a:cxn>
                  <a:cxn ang="0">
                    <a:pos x="38" y="265"/>
                  </a:cxn>
                  <a:cxn ang="0">
                    <a:pos x="43" y="261"/>
                  </a:cxn>
                  <a:cxn ang="0">
                    <a:pos x="48" y="264"/>
                  </a:cxn>
                  <a:cxn ang="0">
                    <a:pos x="51" y="262"/>
                  </a:cxn>
                  <a:cxn ang="0">
                    <a:pos x="70" y="257"/>
                  </a:cxn>
                  <a:cxn ang="0">
                    <a:pos x="84" y="249"/>
                  </a:cxn>
                  <a:cxn ang="0">
                    <a:pos x="83" y="245"/>
                  </a:cxn>
                  <a:cxn ang="0">
                    <a:pos x="84" y="241"/>
                  </a:cxn>
                  <a:cxn ang="0">
                    <a:pos x="103" y="239"/>
                  </a:cxn>
                  <a:cxn ang="0">
                    <a:pos x="107" y="237"/>
                  </a:cxn>
                  <a:cxn ang="0">
                    <a:pos x="122" y="220"/>
                  </a:cxn>
                  <a:cxn ang="0">
                    <a:pos x="124" y="214"/>
                  </a:cxn>
                  <a:cxn ang="0">
                    <a:pos x="132" y="208"/>
                  </a:cxn>
                  <a:cxn ang="0">
                    <a:pos x="139" y="207"/>
                  </a:cxn>
                  <a:cxn ang="0">
                    <a:pos x="141" y="207"/>
                  </a:cxn>
                  <a:cxn ang="0">
                    <a:pos x="139" y="197"/>
                  </a:cxn>
                  <a:cxn ang="0">
                    <a:pos x="135" y="190"/>
                  </a:cxn>
                  <a:cxn ang="0">
                    <a:pos x="132" y="178"/>
                  </a:cxn>
                  <a:cxn ang="0">
                    <a:pos x="128" y="175"/>
                  </a:cxn>
                  <a:cxn ang="0">
                    <a:pos x="131" y="170"/>
                  </a:cxn>
                  <a:cxn ang="0">
                    <a:pos x="130" y="163"/>
                  </a:cxn>
                  <a:cxn ang="0">
                    <a:pos x="131" y="157"/>
                  </a:cxn>
                  <a:cxn ang="0">
                    <a:pos x="135" y="156"/>
                  </a:cxn>
                  <a:cxn ang="0">
                    <a:pos x="137" y="147"/>
                  </a:cxn>
                  <a:cxn ang="0">
                    <a:pos x="141" y="144"/>
                  </a:cxn>
                  <a:cxn ang="0">
                    <a:pos x="145" y="136"/>
                  </a:cxn>
                  <a:cxn ang="0">
                    <a:pos x="151" y="130"/>
                  </a:cxn>
                  <a:cxn ang="0">
                    <a:pos x="159" y="124"/>
                  </a:cxn>
                  <a:cxn ang="0">
                    <a:pos x="161" y="66"/>
                  </a:cxn>
                </a:cxnLst>
                <a:rect l="0" t="0" r="r" b="b"/>
                <a:pathLst>
                  <a:path w="161" h="266">
                    <a:moveTo>
                      <a:pt x="161" y="66"/>
                    </a:moveTo>
                    <a:lnTo>
                      <a:pt x="38" y="0"/>
                    </a:lnTo>
                    <a:lnTo>
                      <a:pt x="24" y="8"/>
                    </a:lnTo>
                    <a:lnTo>
                      <a:pt x="24" y="8"/>
                    </a:lnTo>
                    <a:lnTo>
                      <a:pt x="24" y="29"/>
                    </a:lnTo>
                    <a:lnTo>
                      <a:pt x="24" y="29"/>
                    </a:lnTo>
                    <a:lnTo>
                      <a:pt x="26" y="32"/>
                    </a:lnTo>
                    <a:lnTo>
                      <a:pt x="29" y="35"/>
                    </a:lnTo>
                    <a:lnTo>
                      <a:pt x="30" y="39"/>
                    </a:lnTo>
                    <a:lnTo>
                      <a:pt x="31" y="43"/>
                    </a:lnTo>
                    <a:lnTo>
                      <a:pt x="31" y="43"/>
                    </a:lnTo>
                    <a:lnTo>
                      <a:pt x="31" y="47"/>
                    </a:lnTo>
                    <a:lnTo>
                      <a:pt x="33" y="49"/>
                    </a:lnTo>
                    <a:lnTo>
                      <a:pt x="34" y="52"/>
                    </a:lnTo>
                    <a:lnTo>
                      <a:pt x="34" y="56"/>
                    </a:lnTo>
                    <a:lnTo>
                      <a:pt x="34" y="56"/>
                    </a:lnTo>
                    <a:lnTo>
                      <a:pt x="31" y="64"/>
                    </a:lnTo>
                    <a:lnTo>
                      <a:pt x="31" y="73"/>
                    </a:lnTo>
                    <a:lnTo>
                      <a:pt x="31" y="73"/>
                    </a:lnTo>
                    <a:lnTo>
                      <a:pt x="31" y="94"/>
                    </a:lnTo>
                    <a:lnTo>
                      <a:pt x="30" y="107"/>
                    </a:lnTo>
                    <a:lnTo>
                      <a:pt x="30" y="113"/>
                    </a:lnTo>
                    <a:lnTo>
                      <a:pt x="30" y="113"/>
                    </a:lnTo>
                    <a:lnTo>
                      <a:pt x="16" y="126"/>
                    </a:lnTo>
                    <a:lnTo>
                      <a:pt x="9" y="137"/>
                    </a:lnTo>
                    <a:lnTo>
                      <a:pt x="6" y="141"/>
                    </a:lnTo>
                    <a:lnTo>
                      <a:pt x="4" y="146"/>
                    </a:lnTo>
                    <a:lnTo>
                      <a:pt x="4" y="146"/>
                    </a:lnTo>
                    <a:lnTo>
                      <a:pt x="3" y="150"/>
                    </a:lnTo>
                    <a:lnTo>
                      <a:pt x="2" y="151"/>
                    </a:lnTo>
                    <a:lnTo>
                      <a:pt x="0" y="154"/>
                    </a:lnTo>
                    <a:lnTo>
                      <a:pt x="0" y="158"/>
                    </a:lnTo>
                    <a:lnTo>
                      <a:pt x="0" y="158"/>
                    </a:lnTo>
                    <a:lnTo>
                      <a:pt x="0" y="164"/>
                    </a:lnTo>
                    <a:lnTo>
                      <a:pt x="0" y="164"/>
                    </a:lnTo>
                    <a:lnTo>
                      <a:pt x="4" y="167"/>
                    </a:lnTo>
                    <a:lnTo>
                      <a:pt x="4" y="167"/>
                    </a:lnTo>
                    <a:lnTo>
                      <a:pt x="6" y="171"/>
                    </a:lnTo>
                    <a:lnTo>
                      <a:pt x="9" y="173"/>
                    </a:lnTo>
                    <a:lnTo>
                      <a:pt x="11" y="174"/>
                    </a:lnTo>
                    <a:lnTo>
                      <a:pt x="11" y="174"/>
                    </a:lnTo>
                    <a:lnTo>
                      <a:pt x="14" y="175"/>
                    </a:lnTo>
                    <a:lnTo>
                      <a:pt x="17" y="180"/>
                    </a:lnTo>
                    <a:lnTo>
                      <a:pt x="20" y="185"/>
                    </a:lnTo>
                    <a:lnTo>
                      <a:pt x="21" y="190"/>
                    </a:lnTo>
                    <a:lnTo>
                      <a:pt x="21" y="190"/>
                    </a:lnTo>
                    <a:lnTo>
                      <a:pt x="21" y="192"/>
                    </a:lnTo>
                    <a:lnTo>
                      <a:pt x="21" y="195"/>
                    </a:lnTo>
                    <a:lnTo>
                      <a:pt x="23" y="198"/>
                    </a:lnTo>
                    <a:lnTo>
                      <a:pt x="23" y="204"/>
                    </a:lnTo>
                    <a:lnTo>
                      <a:pt x="23" y="204"/>
                    </a:lnTo>
                    <a:lnTo>
                      <a:pt x="23" y="210"/>
                    </a:lnTo>
                    <a:lnTo>
                      <a:pt x="24" y="215"/>
                    </a:lnTo>
                    <a:lnTo>
                      <a:pt x="27" y="221"/>
                    </a:lnTo>
                    <a:lnTo>
                      <a:pt x="30" y="224"/>
                    </a:lnTo>
                    <a:lnTo>
                      <a:pt x="30" y="224"/>
                    </a:lnTo>
                    <a:lnTo>
                      <a:pt x="30" y="224"/>
                    </a:lnTo>
                    <a:lnTo>
                      <a:pt x="29" y="225"/>
                    </a:lnTo>
                    <a:lnTo>
                      <a:pt x="23" y="225"/>
                    </a:lnTo>
                    <a:lnTo>
                      <a:pt x="23" y="225"/>
                    </a:lnTo>
                    <a:lnTo>
                      <a:pt x="14" y="225"/>
                    </a:lnTo>
                    <a:lnTo>
                      <a:pt x="10" y="227"/>
                    </a:lnTo>
                    <a:lnTo>
                      <a:pt x="9" y="228"/>
                    </a:lnTo>
                    <a:lnTo>
                      <a:pt x="9" y="228"/>
                    </a:lnTo>
                    <a:lnTo>
                      <a:pt x="9" y="232"/>
                    </a:lnTo>
                    <a:lnTo>
                      <a:pt x="10" y="235"/>
                    </a:lnTo>
                    <a:lnTo>
                      <a:pt x="13" y="239"/>
                    </a:lnTo>
                    <a:lnTo>
                      <a:pt x="13" y="239"/>
                    </a:lnTo>
                    <a:lnTo>
                      <a:pt x="21" y="245"/>
                    </a:lnTo>
                    <a:lnTo>
                      <a:pt x="24" y="248"/>
                    </a:lnTo>
                    <a:lnTo>
                      <a:pt x="26" y="252"/>
                    </a:lnTo>
                    <a:lnTo>
                      <a:pt x="26" y="252"/>
                    </a:lnTo>
                    <a:lnTo>
                      <a:pt x="29" y="261"/>
                    </a:lnTo>
                    <a:lnTo>
                      <a:pt x="33" y="266"/>
                    </a:lnTo>
                    <a:lnTo>
                      <a:pt x="33" y="266"/>
                    </a:lnTo>
                    <a:lnTo>
                      <a:pt x="34" y="266"/>
                    </a:lnTo>
                    <a:lnTo>
                      <a:pt x="36" y="266"/>
                    </a:lnTo>
                    <a:lnTo>
                      <a:pt x="38" y="265"/>
                    </a:lnTo>
                    <a:lnTo>
                      <a:pt x="41" y="262"/>
                    </a:lnTo>
                    <a:lnTo>
                      <a:pt x="41" y="262"/>
                    </a:lnTo>
                    <a:lnTo>
                      <a:pt x="43" y="261"/>
                    </a:lnTo>
                    <a:lnTo>
                      <a:pt x="44" y="261"/>
                    </a:lnTo>
                    <a:lnTo>
                      <a:pt x="47" y="262"/>
                    </a:lnTo>
                    <a:lnTo>
                      <a:pt x="48" y="264"/>
                    </a:lnTo>
                    <a:lnTo>
                      <a:pt x="50" y="264"/>
                    </a:lnTo>
                    <a:lnTo>
                      <a:pt x="51" y="262"/>
                    </a:lnTo>
                    <a:lnTo>
                      <a:pt x="51" y="262"/>
                    </a:lnTo>
                    <a:lnTo>
                      <a:pt x="56" y="259"/>
                    </a:lnTo>
                    <a:lnTo>
                      <a:pt x="60" y="258"/>
                    </a:lnTo>
                    <a:lnTo>
                      <a:pt x="70" y="257"/>
                    </a:lnTo>
                    <a:lnTo>
                      <a:pt x="70" y="257"/>
                    </a:lnTo>
                    <a:lnTo>
                      <a:pt x="77" y="254"/>
                    </a:lnTo>
                    <a:lnTo>
                      <a:pt x="84" y="249"/>
                    </a:lnTo>
                    <a:lnTo>
                      <a:pt x="84" y="249"/>
                    </a:lnTo>
                    <a:lnTo>
                      <a:pt x="84" y="248"/>
                    </a:lnTo>
                    <a:lnTo>
                      <a:pt x="83" y="245"/>
                    </a:lnTo>
                    <a:lnTo>
                      <a:pt x="83" y="242"/>
                    </a:lnTo>
                    <a:lnTo>
                      <a:pt x="84" y="241"/>
                    </a:lnTo>
                    <a:lnTo>
                      <a:pt x="84" y="241"/>
                    </a:lnTo>
                    <a:lnTo>
                      <a:pt x="88" y="239"/>
                    </a:lnTo>
                    <a:lnTo>
                      <a:pt x="95" y="239"/>
                    </a:lnTo>
                    <a:lnTo>
                      <a:pt x="103" y="239"/>
                    </a:lnTo>
                    <a:lnTo>
                      <a:pt x="105" y="238"/>
                    </a:lnTo>
                    <a:lnTo>
                      <a:pt x="107" y="237"/>
                    </a:lnTo>
                    <a:lnTo>
                      <a:pt x="107" y="237"/>
                    </a:lnTo>
                    <a:lnTo>
                      <a:pt x="115" y="227"/>
                    </a:lnTo>
                    <a:lnTo>
                      <a:pt x="122" y="220"/>
                    </a:lnTo>
                    <a:lnTo>
                      <a:pt x="122" y="220"/>
                    </a:lnTo>
                    <a:lnTo>
                      <a:pt x="124" y="218"/>
                    </a:lnTo>
                    <a:lnTo>
                      <a:pt x="124" y="217"/>
                    </a:lnTo>
                    <a:lnTo>
                      <a:pt x="124" y="214"/>
                    </a:lnTo>
                    <a:lnTo>
                      <a:pt x="127" y="212"/>
                    </a:lnTo>
                    <a:lnTo>
                      <a:pt x="127" y="212"/>
                    </a:lnTo>
                    <a:lnTo>
                      <a:pt x="132" y="208"/>
                    </a:lnTo>
                    <a:lnTo>
                      <a:pt x="137" y="207"/>
                    </a:lnTo>
                    <a:lnTo>
                      <a:pt x="139" y="207"/>
                    </a:lnTo>
                    <a:lnTo>
                      <a:pt x="139" y="207"/>
                    </a:lnTo>
                    <a:lnTo>
                      <a:pt x="142" y="208"/>
                    </a:lnTo>
                    <a:lnTo>
                      <a:pt x="142" y="208"/>
                    </a:lnTo>
                    <a:lnTo>
                      <a:pt x="141" y="207"/>
                    </a:lnTo>
                    <a:lnTo>
                      <a:pt x="144" y="200"/>
                    </a:lnTo>
                    <a:lnTo>
                      <a:pt x="144" y="200"/>
                    </a:lnTo>
                    <a:lnTo>
                      <a:pt x="139" y="197"/>
                    </a:lnTo>
                    <a:lnTo>
                      <a:pt x="137" y="194"/>
                    </a:lnTo>
                    <a:lnTo>
                      <a:pt x="135" y="190"/>
                    </a:lnTo>
                    <a:lnTo>
                      <a:pt x="135" y="190"/>
                    </a:lnTo>
                    <a:lnTo>
                      <a:pt x="137" y="183"/>
                    </a:lnTo>
                    <a:lnTo>
                      <a:pt x="135" y="180"/>
                    </a:lnTo>
                    <a:lnTo>
                      <a:pt x="132" y="178"/>
                    </a:lnTo>
                    <a:lnTo>
                      <a:pt x="132" y="178"/>
                    </a:lnTo>
                    <a:lnTo>
                      <a:pt x="130" y="178"/>
                    </a:lnTo>
                    <a:lnTo>
                      <a:pt x="128" y="175"/>
                    </a:lnTo>
                    <a:lnTo>
                      <a:pt x="128" y="173"/>
                    </a:lnTo>
                    <a:lnTo>
                      <a:pt x="131" y="170"/>
                    </a:lnTo>
                    <a:lnTo>
                      <a:pt x="131" y="170"/>
                    </a:lnTo>
                    <a:lnTo>
                      <a:pt x="131" y="168"/>
                    </a:lnTo>
                    <a:lnTo>
                      <a:pt x="131" y="165"/>
                    </a:lnTo>
                    <a:lnTo>
                      <a:pt x="130" y="163"/>
                    </a:lnTo>
                    <a:lnTo>
                      <a:pt x="130" y="158"/>
                    </a:lnTo>
                    <a:lnTo>
                      <a:pt x="130" y="158"/>
                    </a:lnTo>
                    <a:lnTo>
                      <a:pt x="131" y="157"/>
                    </a:lnTo>
                    <a:lnTo>
                      <a:pt x="131" y="157"/>
                    </a:lnTo>
                    <a:lnTo>
                      <a:pt x="134" y="157"/>
                    </a:lnTo>
                    <a:lnTo>
                      <a:pt x="135" y="156"/>
                    </a:lnTo>
                    <a:lnTo>
                      <a:pt x="135" y="153"/>
                    </a:lnTo>
                    <a:lnTo>
                      <a:pt x="137" y="148"/>
                    </a:lnTo>
                    <a:lnTo>
                      <a:pt x="137" y="147"/>
                    </a:lnTo>
                    <a:lnTo>
                      <a:pt x="138" y="146"/>
                    </a:lnTo>
                    <a:lnTo>
                      <a:pt x="138" y="146"/>
                    </a:lnTo>
                    <a:lnTo>
                      <a:pt x="141" y="144"/>
                    </a:lnTo>
                    <a:lnTo>
                      <a:pt x="144" y="143"/>
                    </a:lnTo>
                    <a:lnTo>
                      <a:pt x="145" y="136"/>
                    </a:lnTo>
                    <a:lnTo>
                      <a:pt x="145" y="136"/>
                    </a:lnTo>
                    <a:lnTo>
                      <a:pt x="145" y="134"/>
                    </a:lnTo>
                    <a:lnTo>
                      <a:pt x="147" y="133"/>
                    </a:lnTo>
                    <a:lnTo>
                      <a:pt x="151" y="130"/>
                    </a:lnTo>
                    <a:lnTo>
                      <a:pt x="158" y="127"/>
                    </a:lnTo>
                    <a:lnTo>
                      <a:pt x="158" y="127"/>
                    </a:lnTo>
                    <a:lnTo>
                      <a:pt x="159" y="124"/>
                    </a:lnTo>
                    <a:lnTo>
                      <a:pt x="161" y="119"/>
                    </a:lnTo>
                    <a:lnTo>
                      <a:pt x="161" y="110"/>
                    </a:lnTo>
                    <a:lnTo>
                      <a:pt x="161" y="6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3" name="Western Sahara">
                <a:extLst>
                  <a:ext uri="{FF2B5EF4-FFF2-40B4-BE49-F238E27FC236}">
                    <a16:creationId xmlns:a16="http://schemas.microsoft.com/office/drawing/2014/main" id="{EAFEC65A-0781-874E-821C-BAAEB916765E}"/>
                  </a:ext>
                </a:extLst>
              </p:cNvPr>
              <p:cNvSpPr>
                <a:spLocks/>
              </p:cNvSpPr>
              <p:nvPr/>
            </p:nvSpPr>
            <p:spPr bwMode="auto">
              <a:xfrm>
                <a:off x="3917936" y="3631999"/>
                <a:ext cx="199771" cy="161297"/>
              </a:xfrm>
              <a:custGeom>
                <a:avLst/>
                <a:gdLst/>
                <a:ahLst/>
                <a:cxnLst>
                  <a:cxn ang="0">
                    <a:pos x="63" y="84"/>
                  </a:cxn>
                  <a:cxn ang="0">
                    <a:pos x="63" y="84"/>
                  </a:cxn>
                  <a:cxn ang="0">
                    <a:pos x="64" y="82"/>
                  </a:cxn>
                  <a:cxn ang="0">
                    <a:pos x="66" y="81"/>
                  </a:cxn>
                  <a:cxn ang="0">
                    <a:pos x="71" y="78"/>
                  </a:cxn>
                  <a:cxn ang="0">
                    <a:pos x="77" y="75"/>
                  </a:cxn>
                  <a:cxn ang="0">
                    <a:pos x="80" y="74"/>
                  </a:cxn>
                  <a:cxn ang="0">
                    <a:pos x="80" y="72"/>
                  </a:cxn>
                  <a:cxn ang="0">
                    <a:pos x="80" y="72"/>
                  </a:cxn>
                  <a:cxn ang="0">
                    <a:pos x="80" y="30"/>
                  </a:cxn>
                  <a:cxn ang="0">
                    <a:pos x="80" y="30"/>
                  </a:cxn>
                  <a:cxn ang="0">
                    <a:pos x="107" y="30"/>
                  </a:cxn>
                  <a:cxn ang="0">
                    <a:pos x="134" y="30"/>
                  </a:cxn>
                  <a:cxn ang="0">
                    <a:pos x="134" y="30"/>
                  </a:cxn>
                  <a:cxn ang="0">
                    <a:pos x="135" y="21"/>
                  </a:cxn>
                  <a:cxn ang="0">
                    <a:pos x="134" y="7"/>
                  </a:cxn>
                  <a:cxn ang="0">
                    <a:pos x="134" y="7"/>
                  </a:cxn>
                  <a:cxn ang="0">
                    <a:pos x="133" y="3"/>
                  </a:cxn>
                  <a:cxn ang="0">
                    <a:pos x="130" y="1"/>
                  </a:cxn>
                  <a:cxn ang="0">
                    <a:pos x="123" y="0"/>
                  </a:cxn>
                  <a:cxn ang="0">
                    <a:pos x="123" y="0"/>
                  </a:cxn>
                  <a:cxn ang="0">
                    <a:pos x="63" y="0"/>
                  </a:cxn>
                  <a:cxn ang="0">
                    <a:pos x="63" y="0"/>
                  </a:cxn>
                  <a:cxn ang="0">
                    <a:pos x="59" y="7"/>
                  </a:cxn>
                  <a:cxn ang="0">
                    <a:pos x="54" y="16"/>
                  </a:cxn>
                  <a:cxn ang="0">
                    <a:pos x="54" y="16"/>
                  </a:cxn>
                  <a:cxn ang="0">
                    <a:pos x="50" y="21"/>
                  </a:cxn>
                  <a:cxn ang="0">
                    <a:pos x="43" y="28"/>
                  </a:cxn>
                  <a:cxn ang="0">
                    <a:pos x="36" y="37"/>
                  </a:cxn>
                  <a:cxn ang="0">
                    <a:pos x="34" y="40"/>
                  </a:cxn>
                  <a:cxn ang="0">
                    <a:pos x="33" y="44"/>
                  </a:cxn>
                  <a:cxn ang="0">
                    <a:pos x="33" y="44"/>
                  </a:cxn>
                  <a:cxn ang="0">
                    <a:pos x="33" y="48"/>
                  </a:cxn>
                  <a:cxn ang="0">
                    <a:pos x="30" y="54"/>
                  </a:cxn>
                  <a:cxn ang="0">
                    <a:pos x="23" y="65"/>
                  </a:cxn>
                  <a:cxn ang="0">
                    <a:pos x="15" y="78"/>
                  </a:cxn>
                  <a:cxn ang="0">
                    <a:pos x="5" y="94"/>
                  </a:cxn>
                  <a:cxn ang="0">
                    <a:pos x="5" y="94"/>
                  </a:cxn>
                  <a:cxn ang="0">
                    <a:pos x="2" y="102"/>
                  </a:cxn>
                  <a:cxn ang="0">
                    <a:pos x="0" y="109"/>
                  </a:cxn>
                  <a:cxn ang="0">
                    <a:pos x="63" y="109"/>
                  </a:cxn>
                  <a:cxn ang="0">
                    <a:pos x="63" y="109"/>
                  </a:cxn>
                  <a:cxn ang="0">
                    <a:pos x="63" y="84"/>
                  </a:cxn>
                  <a:cxn ang="0">
                    <a:pos x="63" y="84"/>
                  </a:cxn>
                </a:cxnLst>
                <a:rect l="0" t="0" r="r" b="b"/>
                <a:pathLst>
                  <a:path w="135" h="109">
                    <a:moveTo>
                      <a:pt x="63" y="84"/>
                    </a:moveTo>
                    <a:lnTo>
                      <a:pt x="63" y="84"/>
                    </a:lnTo>
                    <a:lnTo>
                      <a:pt x="64" y="82"/>
                    </a:lnTo>
                    <a:lnTo>
                      <a:pt x="66" y="81"/>
                    </a:lnTo>
                    <a:lnTo>
                      <a:pt x="71" y="78"/>
                    </a:lnTo>
                    <a:lnTo>
                      <a:pt x="77" y="75"/>
                    </a:lnTo>
                    <a:lnTo>
                      <a:pt x="80" y="74"/>
                    </a:lnTo>
                    <a:lnTo>
                      <a:pt x="80" y="72"/>
                    </a:lnTo>
                    <a:lnTo>
                      <a:pt x="80" y="72"/>
                    </a:lnTo>
                    <a:lnTo>
                      <a:pt x="80" y="30"/>
                    </a:lnTo>
                    <a:lnTo>
                      <a:pt x="80" y="30"/>
                    </a:lnTo>
                    <a:lnTo>
                      <a:pt x="107" y="30"/>
                    </a:lnTo>
                    <a:lnTo>
                      <a:pt x="134" y="30"/>
                    </a:lnTo>
                    <a:lnTo>
                      <a:pt x="134" y="30"/>
                    </a:lnTo>
                    <a:lnTo>
                      <a:pt x="135" y="21"/>
                    </a:lnTo>
                    <a:lnTo>
                      <a:pt x="134" y="7"/>
                    </a:lnTo>
                    <a:lnTo>
                      <a:pt x="134" y="7"/>
                    </a:lnTo>
                    <a:lnTo>
                      <a:pt x="133" y="3"/>
                    </a:lnTo>
                    <a:lnTo>
                      <a:pt x="130" y="1"/>
                    </a:lnTo>
                    <a:lnTo>
                      <a:pt x="123" y="0"/>
                    </a:lnTo>
                    <a:lnTo>
                      <a:pt x="123" y="0"/>
                    </a:lnTo>
                    <a:lnTo>
                      <a:pt x="63" y="0"/>
                    </a:lnTo>
                    <a:lnTo>
                      <a:pt x="63" y="0"/>
                    </a:lnTo>
                    <a:lnTo>
                      <a:pt x="59" y="7"/>
                    </a:lnTo>
                    <a:lnTo>
                      <a:pt x="54" y="16"/>
                    </a:lnTo>
                    <a:lnTo>
                      <a:pt x="54" y="16"/>
                    </a:lnTo>
                    <a:lnTo>
                      <a:pt x="50" y="21"/>
                    </a:lnTo>
                    <a:lnTo>
                      <a:pt x="43" y="28"/>
                    </a:lnTo>
                    <a:lnTo>
                      <a:pt x="36" y="37"/>
                    </a:lnTo>
                    <a:lnTo>
                      <a:pt x="34" y="40"/>
                    </a:lnTo>
                    <a:lnTo>
                      <a:pt x="33" y="44"/>
                    </a:lnTo>
                    <a:lnTo>
                      <a:pt x="33" y="44"/>
                    </a:lnTo>
                    <a:lnTo>
                      <a:pt x="33" y="48"/>
                    </a:lnTo>
                    <a:lnTo>
                      <a:pt x="30" y="54"/>
                    </a:lnTo>
                    <a:lnTo>
                      <a:pt x="23" y="65"/>
                    </a:lnTo>
                    <a:lnTo>
                      <a:pt x="15" y="78"/>
                    </a:lnTo>
                    <a:lnTo>
                      <a:pt x="5" y="94"/>
                    </a:lnTo>
                    <a:lnTo>
                      <a:pt x="5" y="94"/>
                    </a:lnTo>
                    <a:lnTo>
                      <a:pt x="2" y="102"/>
                    </a:lnTo>
                    <a:lnTo>
                      <a:pt x="0" y="109"/>
                    </a:lnTo>
                    <a:lnTo>
                      <a:pt x="63" y="109"/>
                    </a:lnTo>
                    <a:lnTo>
                      <a:pt x="63" y="109"/>
                    </a:lnTo>
                    <a:lnTo>
                      <a:pt x="63" y="84"/>
                    </a:lnTo>
                    <a:lnTo>
                      <a:pt x="63" y="8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4" name="Senegal">
                <a:extLst>
                  <a:ext uri="{FF2B5EF4-FFF2-40B4-BE49-F238E27FC236}">
                    <a16:creationId xmlns:a16="http://schemas.microsoft.com/office/drawing/2014/main" id="{4AC916C2-6CE3-0347-BABF-7BBBDF450271}"/>
                  </a:ext>
                </a:extLst>
              </p:cNvPr>
              <p:cNvSpPr>
                <a:spLocks/>
              </p:cNvSpPr>
              <p:nvPr/>
            </p:nvSpPr>
            <p:spPr bwMode="auto">
              <a:xfrm>
                <a:off x="3916456" y="3911678"/>
                <a:ext cx="136140" cy="105065"/>
              </a:xfrm>
              <a:custGeom>
                <a:avLst/>
                <a:gdLst/>
                <a:ahLst/>
                <a:cxnLst>
                  <a:cxn ang="0">
                    <a:pos x="18" y="70"/>
                  </a:cxn>
                  <a:cxn ang="0">
                    <a:pos x="24" y="68"/>
                  </a:cxn>
                  <a:cxn ang="0">
                    <a:pos x="28" y="66"/>
                  </a:cxn>
                  <a:cxn ang="0">
                    <a:pos x="51" y="64"/>
                  </a:cxn>
                  <a:cxn ang="0">
                    <a:pos x="55" y="66"/>
                  </a:cxn>
                  <a:cxn ang="0">
                    <a:pos x="55" y="64"/>
                  </a:cxn>
                  <a:cxn ang="0">
                    <a:pos x="64" y="67"/>
                  </a:cxn>
                  <a:cxn ang="0">
                    <a:pos x="67" y="68"/>
                  </a:cxn>
                  <a:cxn ang="0">
                    <a:pos x="75" y="71"/>
                  </a:cxn>
                  <a:cxn ang="0">
                    <a:pos x="89" y="70"/>
                  </a:cxn>
                  <a:cxn ang="0">
                    <a:pos x="92" y="70"/>
                  </a:cxn>
                  <a:cxn ang="0">
                    <a:pos x="92" y="60"/>
                  </a:cxn>
                  <a:cxn ang="0">
                    <a:pos x="88" y="54"/>
                  </a:cxn>
                  <a:cxn ang="0">
                    <a:pos x="84" y="48"/>
                  </a:cxn>
                  <a:cxn ang="0">
                    <a:pos x="81" y="43"/>
                  </a:cxn>
                  <a:cxn ang="0">
                    <a:pos x="78" y="34"/>
                  </a:cxn>
                  <a:cxn ang="0">
                    <a:pos x="75" y="30"/>
                  </a:cxn>
                  <a:cxn ang="0">
                    <a:pos x="68" y="23"/>
                  </a:cxn>
                  <a:cxn ang="0">
                    <a:pos x="64" y="20"/>
                  </a:cxn>
                  <a:cxn ang="0">
                    <a:pos x="58" y="9"/>
                  </a:cxn>
                  <a:cxn ang="0">
                    <a:pos x="53" y="9"/>
                  </a:cxn>
                  <a:cxn ang="0">
                    <a:pos x="43" y="0"/>
                  </a:cxn>
                  <a:cxn ang="0">
                    <a:pos x="40" y="0"/>
                  </a:cxn>
                  <a:cxn ang="0">
                    <a:pos x="30" y="2"/>
                  </a:cxn>
                  <a:cxn ang="0">
                    <a:pos x="25" y="2"/>
                  </a:cxn>
                  <a:cxn ang="0">
                    <a:pos x="16" y="2"/>
                  </a:cxn>
                  <a:cxn ang="0">
                    <a:pos x="11" y="4"/>
                  </a:cxn>
                  <a:cxn ang="0">
                    <a:pos x="7" y="10"/>
                  </a:cxn>
                  <a:cxn ang="0">
                    <a:pos x="6" y="10"/>
                  </a:cxn>
                  <a:cxn ang="0">
                    <a:pos x="4" y="17"/>
                  </a:cxn>
                  <a:cxn ang="0">
                    <a:pos x="3" y="23"/>
                  </a:cxn>
                  <a:cxn ang="0">
                    <a:pos x="0" y="29"/>
                  </a:cxn>
                  <a:cxn ang="0">
                    <a:pos x="6" y="41"/>
                  </a:cxn>
                  <a:cxn ang="0">
                    <a:pos x="8" y="46"/>
                  </a:cxn>
                  <a:cxn ang="0">
                    <a:pos x="10" y="48"/>
                  </a:cxn>
                  <a:cxn ang="0">
                    <a:pos x="30" y="46"/>
                  </a:cxn>
                  <a:cxn ang="0">
                    <a:pos x="31" y="44"/>
                  </a:cxn>
                  <a:cxn ang="0">
                    <a:pos x="37" y="47"/>
                  </a:cxn>
                  <a:cxn ang="0">
                    <a:pos x="45" y="51"/>
                  </a:cxn>
                  <a:cxn ang="0">
                    <a:pos x="54" y="53"/>
                  </a:cxn>
                  <a:cxn ang="0">
                    <a:pos x="50" y="54"/>
                  </a:cxn>
                  <a:cxn ang="0">
                    <a:pos x="44" y="56"/>
                  </a:cxn>
                  <a:cxn ang="0">
                    <a:pos x="40" y="54"/>
                  </a:cxn>
                  <a:cxn ang="0">
                    <a:pos x="33" y="51"/>
                  </a:cxn>
                  <a:cxn ang="0">
                    <a:pos x="30" y="53"/>
                  </a:cxn>
                  <a:cxn ang="0">
                    <a:pos x="21" y="56"/>
                  </a:cxn>
                  <a:cxn ang="0">
                    <a:pos x="11" y="57"/>
                  </a:cxn>
                  <a:cxn ang="0">
                    <a:pos x="7" y="58"/>
                  </a:cxn>
                  <a:cxn ang="0">
                    <a:pos x="8" y="66"/>
                  </a:cxn>
                  <a:cxn ang="0">
                    <a:pos x="10" y="67"/>
                  </a:cxn>
                  <a:cxn ang="0">
                    <a:pos x="16" y="67"/>
                  </a:cxn>
                  <a:cxn ang="0">
                    <a:pos x="17" y="68"/>
                  </a:cxn>
                  <a:cxn ang="0">
                    <a:pos x="18" y="70"/>
                  </a:cxn>
                </a:cxnLst>
                <a:rect l="0" t="0" r="r" b="b"/>
                <a:pathLst>
                  <a:path w="92" h="71">
                    <a:moveTo>
                      <a:pt x="18" y="70"/>
                    </a:moveTo>
                    <a:lnTo>
                      <a:pt x="18" y="70"/>
                    </a:lnTo>
                    <a:lnTo>
                      <a:pt x="21" y="70"/>
                    </a:lnTo>
                    <a:lnTo>
                      <a:pt x="24" y="68"/>
                    </a:lnTo>
                    <a:lnTo>
                      <a:pt x="28" y="66"/>
                    </a:lnTo>
                    <a:lnTo>
                      <a:pt x="28" y="66"/>
                    </a:lnTo>
                    <a:lnTo>
                      <a:pt x="51" y="64"/>
                    </a:lnTo>
                    <a:lnTo>
                      <a:pt x="51" y="64"/>
                    </a:lnTo>
                    <a:lnTo>
                      <a:pt x="55" y="66"/>
                    </a:lnTo>
                    <a:lnTo>
                      <a:pt x="55" y="66"/>
                    </a:lnTo>
                    <a:lnTo>
                      <a:pt x="55" y="64"/>
                    </a:lnTo>
                    <a:lnTo>
                      <a:pt x="55" y="64"/>
                    </a:lnTo>
                    <a:lnTo>
                      <a:pt x="61" y="66"/>
                    </a:lnTo>
                    <a:lnTo>
                      <a:pt x="64" y="67"/>
                    </a:lnTo>
                    <a:lnTo>
                      <a:pt x="67" y="68"/>
                    </a:lnTo>
                    <a:lnTo>
                      <a:pt x="67" y="68"/>
                    </a:lnTo>
                    <a:lnTo>
                      <a:pt x="70" y="70"/>
                    </a:lnTo>
                    <a:lnTo>
                      <a:pt x="75" y="71"/>
                    </a:lnTo>
                    <a:lnTo>
                      <a:pt x="82" y="71"/>
                    </a:lnTo>
                    <a:lnTo>
                      <a:pt x="89" y="70"/>
                    </a:lnTo>
                    <a:lnTo>
                      <a:pt x="89" y="70"/>
                    </a:lnTo>
                    <a:lnTo>
                      <a:pt x="92" y="70"/>
                    </a:lnTo>
                    <a:lnTo>
                      <a:pt x="92" y="70"/>
                    </a:lnTo>
                    <a:lnTo>
                      <a:pt x="92" y="60"/>
                    </a:lnTo>
                    <a:lnTo>
                      <a:pt x="92" y="60"/>
                    </a:lnTo>
                    <a:lnTo>
                      <a:pt x="88" y="54"/>
                    </a:lnTo>
                    <a:lnTo>
                      <a:pt x="84" y="48"/>
                    </a:lnTo>
                    <a:lnTo>
                      <a:pt x="84" y="48"/>
                    </a:lnTo>
                    <a:lnTo>
                      <a:pt x="81" y="46"/>
                    </a:lnTo>
                    <a:lnTo>
                      <a:pt x="81" y="43"/>
                    </a:lnTo>
                    <a:lnTo>
                      <a:pt x="81" y="39"/>
                    </a:lnTo>
                    <a:lnTo>
                      <a:pt x="78" y="34"/>
                    </a:lnTo>
                    <a:lnTo>
                      <a:pt x="78" y="34"/>
                    </a:lnTo>
                    <a:lnTo>
                      <a:pt x="75" y="30"/>
                    </a:lnTo>
                    <a:lnTo>
                      <a:pt x="72" y="26"/>
                    </a:lnTo>
                    <a:lnTo>
                      <a:pt x="68" y="23"/>
                    </a:lnTo>
                    <a:lnTo>
                      <a:pt x="68" y="23"/>
                    </a:lnTo>
                    <a:lnTo>
                      <a:pt x="64" y="20"/>
                    </a:lnTo>
                    <a:lnTo>
                      <a:pt x="61" y="16"/>
                    </a:lnTo>
                    <a:lnTo>
                      <a:pt x="58" y="9"/>
                    </a:lnTo>
                    <a:lnTo>
                      <a:pt x="53" y="9"/>
                    </a:lnTo>
                    <a:lnTo>
                      <a:pt x="53" y="9"/>
                    </a:lnTo>
                    <a:lnTo>
                      <a:pt x="50" y="6"/>
                    </a:lnTo>
                    <a:lnTo>
                      <a:pt x="43" y="0"/>
                    </a:lnTo>
                    <a:lnTo>
                      <a:pt x="43" y="0"/>
                    </a:lnTo>
                    <a:lnTo>
                      <a:pt x="40" y="0"/>
                    </a:lnTo>
                    <a:lnTo>
                      <a:pt x="35" y="0"/>
                    </a:lnTo>
                    <a:lnTo>
                      <a:pt x="30" y="2"/>
                    </a:lnTo>
                    <a:lnTo>
                      <a:pt x="30" y="2"/>
                    </a:lnTo>
                    <a:lnTo>
                      <a:pt x="25" y="2"/>
                    </a:lnTo>
                    <a:lnTo>
                      <a:pt x="16" y="2"/>
                    </a:lnTo>
                    <a:lnTo>
                      <a:pt x="16" y="2"/>
                    </a:lnTo>
                    <a:lnTo>
                      <a:pt x="13" y="3"/>
                    </a:lnTo>
                    <a:lnTo>
                      <a:pt x="11" y="4"/>
                    </a:lnTo>
                    <a:lnTo>
                      <a:pt x="10" y="7"/>
                    </a:lnTo>
                    <a:lnTo>
                      <a:pt x="7" y="10"/>
                    </a:lnTo>
                    <a:lnTo>
                      <a:pt x="7" y="10"/>
                    </a:lnTo>
                    <a:lnTo>
                      <a:pt x="6" y="10"/>
                    </a:lnTo>
                    <a:lnTo>
                      <a:pt x="6" y="10"/>
                    </a:lnTo>
                    <a:lnTo>
                      <a:pt x="4" y="17"/>
                    </a:lnTo>
                    <a:lnTo>
                      <a:pt x="3" y="23"/>
                    </a:lnTo>
                    <a:lnTo>
                      <a:pt x="3" y="23"/>
                    </a:lnTo>
                    <a:lnTo>
                      <a:pt x="1" y="26"/>
                    </a:lnTo>
                    <a:lnTo>
                      <a:pt x="0" y="29"/>
                    </a:lnTo>
                    <a:lnTo>
                      <a:pt x="1" y="36"/>
                    </a:lnTo>
                    <a:lnTo>
                      <a:pt x="6" y="41"/>
                    </a:lnTo>
                    <a:lnTo>
                      <a:pt x="8" y="46"/>
                    </a:lnTo>
                    <a:lnTo>
                      <a:pt x="8" y="46"/>
                    </a:lnTo>
                    <a:lnTo>
                      <a:pt x="10" y="48"/>
                    </a:lnTo>
                    <a:lnTo>
                      <a:pt x="10" y="48"/>
                    </a:lnTo>
                    <a:lnTo>
                      <a:pt x="20" y="48"/>
                    </a:lnTo>
                    <a:lnTo>
                      <a:pt x="30" y="46"/>
                    </a:lnTo>
                    <a:lnTo>
                      <a:pt x="30" y="46"/>
                    </a:lnTo>
                    <a:lnTo>
                      <a:pt x="31" y="44"/>
                    </a:lnTo>
                    <a:lnTo>
                      <a:pt x="34" y="44"/>
                    </a:lnTo>
                    <a:lnTo>
                      <a:pt x="37" y="47"/>
                    </a:lnTo>
                    <a:lnTo>
                      <a:pt x="40" y="50"/>
                    </a:lnTo>
                    <a:lnTo>
                      <a:pt x="45" y="51"/>
                    </a:lnTo>
                    <a:lnTo>
                      <a:pt x="45" y="51"/>
                    </a:lnTo>
                    <a:lnTo>
                      <a:pt x="54" y="53"/>
                    </a:lnTo>
                    <a:lnTo>
                      <a:pt x="54" y="53"/>
                    </a:lnTo>
                    <a:lnTo>
                      <a:pt x="50" y="54"/>
                    </a:lnTo>
                    <a:lnTo>
                      <a:pt x="47" y="56"/>
                    </a:lnTo>
                    <a:lnTo>
                      <a:pt x="44" y="56"/>
                    </a:lnTo>
                    <a:lnTo>
                      <a:pt x="44" y="56"/>
                    </a:lnTo>
                    <a:lnTo>
                      <a:pt x="40" y="54"/>
                    </a:lnTo>
                    <a:lnTo>
                      <a:pt x="37" y="53"/>
                    </a:lnTo>
                    <a:lnTo>
                      <a:pt x="33" y="51"/>
                    </a:lnTo>
                    <a:lnTo>
                      <a:pt x="30" y="53"/>
                    </a:lnTo>
                    <a:lnTo>
                      <a:pt x="30" y="53"/>
                    </a:lnTo>
                    <a:lnTo>
                      <a:pt x="27" y="54"/>
                    </a:lnTo>
                    <a:lnTo>
                      <a:pt x="21" y="56"/>
                    </a:lnTo>
                    <a:lnTo>
                      <a:pt x="11" y="57"/>
                    </a:lnTo>
                    <a:lnTo>
                      <a:pt x="11" y="57"/>
                    </a:lnTo>
                    <a:lnTo>
                      <a:pt x="7" y="58"/>
                    </a:lnTo>
                    <a:lnTo>
                      <a:pt x="7" y="58"/>
                    </a:lnTo>
                    <a:lnTo>
                      <a:pt x="7" y="63"/>
                    </a:lnTo>
                    <a:lnTo>
                      <a:pt x="8" y="66"/>
                    </a:lnTo>
                    <a:lnTo>
                      <a:pt x="8" y="66"/>
                    </a:lnTo>
                    <a:lnTo>
                      <a:pt x="10" y="67"/>
                    </a:lnTo>
                    <a:lnTo>
                      <a:pt x="10" y="67"/>
                    </a:lnTo>
                    <a:lnTo>
                      <a:pt x="16" y="67"/>
                    </a:lnTo>
                    <a:lnTo>
                      <a:pt x="17" y="68"/>
                    </a:lnTo>
                    <a:lnTo>
                      <a:pt x="17" y="68"/>
                    </a:lnTo>
                    <a:lnTo>
                      <a:pt x="18" y="70"/>
                    </a:lnTo>
                    <a:lnTo>
                      <a:pt x="18" y="7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5" name="Gambia">
                <a:extLst>
                  <a:ext uri="{FF2B5EF4-FFF2-40B4-BE49-F238E27FC236}">
                    <a16:creationId xmlns:a16="http://schemas.microsoft.com/office/drawing/2014/main" id="{54BC8755-A094-694B-9A0A-3196CA629EC3}"/>
                  </a:ext>
                </a:extLst>
              </p:cNvPr>
              <p:cNvSpPr>
                <a:spLocks/>
              </p:cNvSpPr>
              <p:nvPr/>
            </p:nvSpPr>
            <p:spPr bwMode="auto">
              <a:xfrm>
                <a:off x="3926814" y="3976789"/>
                <a:ext cx="69550" cy="20717"/>
              </a:xfrm>
              <a:custGeom>
                <a:avLst/>
                <a:gdLst/>
                <a:ahLst/>
                <a:cxnLst>
                  <a:cxn ang="0">
                    <a:pos x="23" y="9"/>
                  </a:cxn>
                  <a:cxn ang="0">
                    <a:pos x="23" y="9"/>
                  </a:cxn>
                  <a:cxn ang="0">
                    <a:pos x="26" y="7"/>
                  </a:cxn>
                  <a:cxn ang="0">
                    <a:pos x="30" y="9"/>
                  </a:cxn>
                  <a:cxn ang="0">
                    <a:pos x="33" y="10"/>
                  </a:cxn>
                  <a:cxn ang="0">
                    <a:pos x="37" y="12"/>
                  </a:cxn>
                  <a:cxn ang="0">
                    <a:pos x="37" y="12"/>
                  </a:cxn>
                  <a:cxn ang="0">
                    <a:pos x="40" y="12"/>
                  </a:cxn>
                  <a:cxn ang="0">
                    <a:pos x="43" y="10"/>
                  </a:cxn>
                  <a:cxn ang="0">
                    <a:pos x="47" y="9"/>
                  </a:cxn>
                  <a:cxn ang="0">
                    <a:pos x="47" y="9"/>
                  </a:cxn>
                  <a:cxn ang="0">
                    <a:pos x="38" y="7"/>
                  </a:cxn>
                  <a:cxn ang="0">
                    <a:pos x="38" y="7"/>
                  </a:cxn>
                  <a:cxn ang="0">
                    <a:pos x="33" y="6"/>
                  </a:cxn>
                  <a:cxn ang="0">
                    <a:pos x="30" y="3"/>
                  </a:cxn>
                  <a:cxn ang="0">
                    <a:pos x="27" y="0"/>
                  </a:cxn>
                  <a:cxn ang="0">
                    <a:pos x="24" y="0"/>
                  </a:cxn>
                  <a:cxn ang="0">
                    <a:pos x="23" y="2"/>
                  </a:cxn>
                  <a:cxn ang="0">
                    <a:pos x="23" y="2"/>
                  </a:cxn>
                  <a:cxn ang="0">
                    <a:pos x="13" y="4"/>
                  </a:cxn>
                  <a:cxn ang="0">
                    <a:pos x="3" y="4"/>
                  </a:cxn>
                  <a:cxn ang="0">
                    <a:pos x="3" y="4"/>
                  </a:cxn>
                  <a:cxn ang="0">
                    <a:pos x="0" y="14"/>
                  </a:cxn>
                  <a:cxn ang="0">
                    <a:pos x="0" y="14"/>
                  </a:cxn>
                  <a:cxn ang="0">
                    <a:pos x="4" y="13"/>
                  </a:cxn>
                  <a:cxn ang="0">
                    <a:pos x="4" y="13"/>
                  </a:cxn>
                  <a:cxn ang="0">
                    <a:pos x="14" y="12"/>
                  </a:cxn>
                  <a:cxn ang="0">
                    <a:pos x="20" y="10"/>
                  </a:cxn>
                  <a:cxn ang="0">
                    <a:pos x="23" y="9"/>
                  </a:cxn>
                  <a:cxn ang="0">
                    <a:pos x="23" y="9"/>
                  </a:cxn>
                </a:cxnLst>
                <a:rect l="0" t="0" r="r" b="b"/>
                <a:pathLst>
                  <a:path w="47" h="14">
                    <a:moveTo>
                      <a:pt x="23" y="9"/>
                    </a:moveTo>
                    <a:lnTo>
                      <a:pt x="23" y="9"/>
                    </a:lnTo>
                    <a:lnTo>
                      <a:pt x="26" y="7"/>
                    </a:lnTo>
                    <a:lnTo>
                      <a:pt x="30" y="9"/>
                    </a:lnTo>
                    <a:lnTo>
                      <a:pt x="33" y="10"/>
                    </a:lnTo>
                    <a:lnTo>
                      <a:pt x="37" y="12"/>
                    </a:lnTo>
                    <a:lnTo>
                      <a:pt x="37" y="12"/>
                    </a:lnTo>
                    <a:lnTo>
                      <a:pt x="40" y="12"/>
                    </a:lnTo>
                    <a:lnTo>
                      <a:pt x="43" y="10"/>
                    </a:lnTo>
                    <a:lnTo>
                      <a:pt x="47" y="9"/>
                    </a:lnTo>
                    <a:lnTo>
                      <a:pt x="47" y="9"/>
                    </a:lnTo>
                    <a:lnTo>
                      <a:pt x="38" y="7"/>
                    </a:lnTo>
                    <a:lnTo>
                      <a:pt x="38" y="7"/>
                    </a:lnTo>
                    <a:lnTo>
                      <a:pt x="33" y="6"/>
                    </a:lnTo>
                    <a:lnTo>
                      <a:pt x="30" y="3"/>
                    </a:lnTo>
                    <a:lnTo>
                      <a:pt x="27" y="0"/>
                    </a:lnTo>
                    <a:lnTo>
                      <a:pt x="24" y="0"/>
                    </a:lnTo>
                    <a:lnTo>
                      <a:pt x="23" y="2"/>
                    </a:lnTo>
                    <a:lnTo>
                      <a:pt x="23" y="2"/>
                    </a:lnTo>
                    <a:lnTo>
                      <a:pt x="13" y="4"/>
                    </a:lnTo>
                    <a:lnTo>
                      <a:pt x="3" y="4"/>
                    </a:lnTo>
                    <a:lnTo>
                      <a:pt x="3" y="4"/>
                    </a:lnTo>
                    <a:lnTo>
                      <a:pt x="0" y="14"/>
                    </a:lnTo>
                    <a:lnTo>
                      <a:pt x="0" y="14"/>
                    </a:lnTo>
                    <a:lnTo>
                      <a:pt x="4" y="13"/>
                    </a:lnTo>
                    <a:lnTo>
                      <a:pt x="4" y="13"/>
                    </a:lnTo>
                    <a:lnTo>
                      <a:pt x="14" y="12"/>
                    </a:lnTo>
                    <a:lnTo>
                      <a:pt x="20" y="10"/>
                    </a:lnTo>
                    <a:lnTo>
                      <a:pt x="23" y="9"/>
                    </a:lnTo>
                    <a:lnTo>
                      <a:pt x="23" y="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6" name="Guinea-Bissau">
                <a:extLst>
                  <a:ext uri="{FF2B5EF4-FFF2-40B4-BE49-F238E27FC236}">
                    <a16:creationId xmlns:a16="http://schemas.microsoft.com/office/drawing/2014/main" id="{46CB0A92-B75B-E942-8BBF-B6C78BE2207E}"/>
                  </a:ext>
                </a:extLst>
              </p:cNvPr>
              <p:cNvSpPr>
                <a:spLocks/>
              </p:cNvSpPr>
              <p:nvPr/>
            </p:nvSpPr>
            <p:spPr bwMode="auto">
              <a:xfrm>
                <a:off x="3931254" y="4006384"/>
                <a:ext cx="66591" cy="39954"/>
              </a:xfrm>
              <a:custGeom>
                <a:avLst/>
                <a:gdLst/>
                <a:ahLst/>
                <a:cxnLst>
                  <a:cxn ang="0">
                    <a:pos x="24" y="26"/>
                  </a:cxn>
                  <a:cxn ang="0">
                    <a:pos x="24" y="26"/>
                  </a:cxn>
                  <a:cxn ang="0">
                    <a:pos x="31" y="20"/>
                  </a:cxn>
                  <a:cxn ang="0">
                    <a:pos x="34" y="17"/>
                  </a:cxn>
                  <a:cxn ang="0">
                    <a:pos x="37" y="17"/>
                  </a:cxn>
                  <a:cxn ang="0">
                    <a:pos x="37" y="17"/>
                  </a:cxn>
                  <a:cxn ang="0">
                    <a:pos x="38" y="17"/>
                  </a:cxn>
                  <a:cxn ang="0">
                    <a:pos x="41" y="17"/>
                  </a:cxn>
                  <a:cxn ang="0">
                    <a:pos x="43" y="14"/>
                  </a:cxn>
                  <a:cxn ang="0">
                    <a:pos x="43" y="14"/>
                  </a:cxn>
                  <a:cxn ang="0">
                    <a:pos x="41" y="11"/>
                  </a:cxn>
                  <a:cxn ang="0">
                    <a:pos x="40" y="9"/>
                  </a:cxn>
                  <a:cxn ang="0">
                    <a:pos x="41" y="7"/>
                  </a:cxn>
                  <a:cxn ang="0">
                    <a:pos x="41" y="7"/>
                  </a:cxn>
                  <a:cxn ang="0">
                    <a:pos x="44" y="6"/>
                  </a:cxn>
                  <a:cxn ang="0">
                    <a:pos x="44" y="4"/>
                  </a:cxn>
                  <a:cxn ang="0">
                    <a:pos x="45" y="2"/>
                  </a:cxn>
                  <a:cxn ang="0">
                    <a:pos x="45" y="2"/>
                  </a:cxn>
                  <a:cxn ang="0">
                    <a:pos x="41" y="0"/>
                  </a:cxn>
                  <a:cxn ang="0">
                    <a:pos x="41" y="0"/>
                  </a:cxn>
                  <a:cxn ang="0">
                    <a:pos x="18" y="2"/>
                  </a:cxn>
                  <a:cxn ang="0">
                    <a:pos x="18" y="2"/>
                  </a:cxn>
                  <a:cxn ang="0">
                    <a:pos x="14" y="4"/>
                  </a:cxn>
                  <a:cxn ang="0">
                    <a:pos x="11" y="6"/>
                  </a:cxn>
                  <a:cxn ang="0">
                    <a:pos x="8" y="6"/>
                  </a:cxn>
                  <a:cxn ang="0">
                    <a:pos x="8" y="6"/>
                  </a:cxn>
                  <a:cxn ang="0">
                    <a:pos x="7" y="4"/>
                  </a:cxn>
                  <a:cxn ang="0">
                    <a:pos x="7" y="4"/>
                  </a:cxn>
                  <a:cxn ang="0">
                    <a:pos x="6" y="3"/>
                  </a:cxn>
                  <a:cxn ang="0">
                    <a:pos x="0" y="3"/>
                  </a:cxn>
                  <a:cxn ang="0">
                    <a:pos x="0" y="3"/>
                  </a:cxn>
                  <a:cxn ang="0">
                    <a:pos x="6" y="10"/>
                  </a:cxn>
                  <a:cxn ang="0">
                    <a:pos x="8" y="11"/>
                  </a:cxn>
                  <a:cxn ang="0">
                    <a:pos x="14" y="13"/>
                  </a:cxn>
                  <a:cxn ang="0">
                    <a:pos x="14" y="13"/>
                  </a:cxn>
                  <a:cxn ang="0">
                    <a:pos x="15" y="14"/>
                  </a:cxn>
                  <a:cxn ang="0">
                    <a:pos x="17" y="16"/>
                  </a:cxn>
                  <a:cxn ang="0">
                    <a:pos x="17" y="19"/>
                  </a:cxn>
                  <a:cxn ang="0">
                    <a:pos x="17" y="21"/>
                  </a:cxn>
                  <a:cxn ang="0">
                    <a:pos x="18" y="24"/>
                  </a:cxn>
                  <a:cxn ang="0">
                    <a:pos x="20" y="26"/>
                  </a:cxn>
                  <a:cxn ang="0">
                    <a:pos x="20" y="26"/>
                  </a:cxn>
                  <a:cxn ang="0">
                    <a:pos x="23" y="27"/>
                  </a:cxn>
                  <a:cxn ang="0">
                    <a:pos x="23" y="27"/>
                  </a:cxn>
                  <a:cxn ang="0">
                    <a:pos x="24" y="26"/>
                  </a:cxn>
                  <a:cxn ang="0">
                    <a:pos x="24" y="26"/>
                  </a:cxn>
                </a:cxnLst>
                <a:rect l="0" t="0" r="r" b="b"/>
                <a:pathLst>
                  <a:path w="45" h="27">
                    <a:moveTo>
                      <a:pt x="24" y="26"/>
                    </a:moveTo>
                    <a:lnTo>
                      <a:pt x="24" y="26"/>
                    </a:lnTo>
                    <a:lnTo>
                      <a:pt x="31" y="20"/>
                    </a:lnTo>
                    <a:lnTo>
                      <a:pt x="34" y="17"/>
                    </a:lnTo>
                    <a:lnTo>
                      <a:pt x="37" y="17"/>
                    </a:lnTo>
                    <a:lnTo>
                      <a:pt x="37" y="17"/>
                    </a:lnTo>
                    <a:lnTo>
                      <a:pt x="38" y="17"/>
                    </a:lnTo>
                    <a:lnTo>
                      <a:pt x="41" y="17"/>
                    </a:lnTo>
                    <a:lnTo>
                      <a:pt x="43" y="14"/>
                    </a:lnTo>
                    <a:lnTo>
                      <a:pt x="43" y="14"/>
                    </a:lnTo>
                    <a:lnTo>
                      <a:pt x="41" y="11"/>
                    </a:lnTo>
                    <a:lnTo>
                      <a:pt x="40" y="9"/>
                    </a:lnTo>
                    <a:lnTo>
                      <a:pt x="41" y="7"/>
                    </a:lnTo>
                    <a:lnTo>
                      <a:pt x="41" y="7"/>
                    </a:lnTo>
                    <a:lnTo>
                      <a:pt x="44" y="6"/>
                    </a:lnTo>
                    <a:lnTo>
                      <a:pt x="44" y="4"/>
                    </a:lnTo>
                    <a:lnTo>
                      <a:pt x="45" y="2"/>
                    </a:lnTo>
                    <a:lnTo>
                      <a:pt x="45" y="2"/>
                    </a:lnTo>
                    <a:lnTo>
                      <a:pt x="41" y="0"/>
                    </a:lnTo>
                    <a:lnTo>
                      <a:pt x="41" y="0"/>
                    </a:lnTo>
                    <a:lnTo>
                      <a:pt x="18" y="2"/>
                    </a:lnTo>
                    <a:lnTo>
                      <a:pt x="18" y="2"/>
                    </a:lnTo>
                    <a:lnTo>
                      <a:pt x="14" y="4"/>
                    </a:lnTo>
                    <a:lnTo>
                      <a:pt x="11" y="6"/>
                    </a:lnTo>
                    <a:lnTo>
                      <a:pt x="8" y="6"/>
                    </a:lnTo>
                    <a:lnTo>
                      <a:pt x="8" y="6"/>
                    </a:lnTo>
                    <a:lnTo>
                      <a:pt x="7" y="4"/>
                    </a:lnTo>
                    <a:lnTo>
                      <a:pt x="7" y="4"/>
                    </a:lnTo>
                    <a:lnTo>
                      <a:pt x="6" y="3"/>
                    </a:lnTo>
                    <a:lnTo>
                      <a:pt x="0" y="3"/>
                    </a:lnTo>
                    <a:lnTo>
                      <a:pt x="0" y="3"/>
                    </a:lnTo>
                    <a:lnTo>
                      <a:pt x="6" y="10"/>
                    </a:lnTo>
                    <a:lnTo>
                      <a:pt x="8" y="11"/>
                    </a:lnTo>
                    <a:lnTo>
                      <a:pt x="14" y="13"/>
                    </a:lnTo>
                    <a:lnTo>
                      <a:pt x="14" y="13"/>
                    </a:lnTo>
                    <a:lnTo>
                      <a:pt x="15" y="14"/>
                    </a:lnTo>
                    <a:lnTo>
                      <a:pt x="17" y="16"/>
                    </a:lnTo>
                    <a:lnTo>
                      <a:pt x="17" y="19"/>
                    </a:lnTo>
                    <a:lnTo>
                      <a:pt x="17" y="21"/>
                    </a:lnTo>
                    <a:lnTo>
                      <a:pt x="18" y="24"/>
                    </a:lnTo>
                    <a:lnTo>
                      <a:pt x="20" y="26"/>
                    </a:lnTo>
                    <a:lnTo>
                      <a:pt x="20" y="26"/>
                    </a:lnTo>
                    <a:lnTo>
                      <a:pt x="23" y="27"/>
                    </a:lnTo>
                    <a:lnTo>
                      <a:pt x="23" y="27"/>
                    </a:lnTo>
                    <a:lnTo>
                      <a:pt x="24" y="26"/>
                    </a:lnTo>
                    <a:lnTo>
                      <a:pt x="24" y="2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7" name="Guinea">
                <a:extLst>
                  <a:ext uri="{FF2B5EF4-FFF2-40B4-BE49-F238E27FC236}">
                    <a16:creationId xmlns:a16="http://schemas.microsoft.com/office/drawing/2014/main" id="{50C2EF5B-B26E-8943-B19A-638AB913EDC0}"/>
                  </a:ext>
                </a:extLst>
              </p:cNvPr>
              <p:cNvSpPr>
                <a:spLocks/>
              </p:cNvSpPr>
              <p:nvPr/>
            </p:nvSpPr>
            <p:spPr bwMode="auto">
              <a:xfrm>
                <a:off x="3965288" y="4006384"/>
                <a:ext cx="176094" cy="133181"/>
              </a:xfrm>
              <a:custGeom>
                <a:avLst/>
                <a:gdLst/>
                <a:ahLst/>
                <a:cxnLst>
                  <a:cxn ang="0">
                    <a:pos x="41" y="47"/>
                  </a:cxn>
                  <a:cxn ang="0">
                    <a:pos x="47" y="47"/>
                  </a:cxn>
                  <a:cxn ang="0">
                    <a:pos x="59" y="44"/>
                  </a:cxn>
                  <a:cxn ang="0">
                    <a:pos x="66" y="51"/>
                  </a:cxn>
                  <a:cxn ang="0">
                    <a:pos x="72" y="60"/>
                  </a:cxn>
                  <a:cxn ang="0">
                    <a:pos x="74" y="70"/>
                  </a:cxn>
                  <a:cxn ang="0">
                    <a:pos x="86" y="70"/>
                  </a:cxn>
                  <a:cxn ang="0">
                    <a:pos x="89" y="74"/>
                  </a:cxn>
                  <a:cxn ang="0">
                    <a:pos x="91" y="83"/>
                  </a:cxn>
                  <a:cxn ang="0">
                    <a:pos x="96" y="90"/>
                  </a:cxn>
                  <a:cxn ang="0">
                    <a:pos x="102" y="84"/>
                  </a:cxn>
                  <a:cxn ang="0">
                    <a:pos x="105" y="84"/>
                  </a:cxn>
                  <a:cxn ang="0">
                    <a:pos x="108" y="85"/>
                  </a:cxn>
                  <a:cxn ang="0">
                    <a:pos x="112" y="81"/>
                  </a:cxn>
                  <a:cxn ang="0">
                    <a:pos x="111" y="74"/>
                  </a:cxn>
                  <a:cxn ang="0">
                    <a:pos x="112" y="70"/>
                  </a:cxn>
                  <a:cxn ang="0">
                    <a:pos x="118" y="70"/>
                  </a:cxn>
                  <a:cxn ang="0">
                    <a:pos x="118" y="66"/>
                  </a:cxn>
                  <a:cxn ang="0">
                    <a:pos x="115" y="60"/>
                  </a:cxn>
                  <a:cxn ang="0">
                    <a:pos x="112" y="53"/>
                  </a:cxn>
                  <a:cxn ang="0">
                    <a:pos x="111" y="48"/>
                  </a:cxn>
                  <a:cxn ang="0">
                    <a:pos x="111" y="39"/>
                  </a:cxn>
                  <a:cxn ang="0">
                    <a:pos x="109" y="33"/>
                  </a:cxn>
                  <a:cxn ang="0">
                    <a:pos x="106" y="29"/>
                  </a:cxn>
                  <a:cxn ang="0">
                    <a:pos x="105" y="24"/>
                  </a:cxn>
                  <a:cxn ang="0">
                    <a:pos x="108" y="23"/>
                  </a:cxn>
                  <a:cxn ang="0">
                    <a:pos x="102" y="19"/>
                  </a:cxn>
                  <a:cxn ang="0">
                    <a:pos x="99" y="9"/>
                  </a:cxn>
                  <a:cxn ang="0">
                    <a:pos x="95" y="4"/>
                  </a:cxn>
                  <a:cxn ang="0">
                    <a:pos x="86" y="10"/>
                  </a:cxn>
                  <a:cxn ang="0">
                    <a:pos x="78" y="10"/>
                  </a:cxn>
                  <a:cxn ang="0">
                    <a:pos x="72" y="11"/>
                  </a:cxn>
                  <a:cxn ang="0">
                    <a:pos x="68" y="11"/>
                  </a:cxn>
                  <a:cxn ang="0">
                    <a:pos x="64" y="13"/>
                  </a:cxn>
                  <a:cxn ang="0">
                    <a:pos x="59" y="9"/>
                  </a:cxn>
                  <a:cxn ang="0">
                    <a:pos x="59" y="6"/>
                  </a:cxn>
                  <a:cxn ang="0">
                    <a:pos x="49" y="7"/>
                  </a:cxn>
                  <a:cxn ang="0">
                    <a:pos x="34" y="4"/>
                  </a:cxn>
                  <a:cxn ang="0">
                    <a:pos x="28" y="2"/>
                  </a:cxn>
                  <a:cxn ang="0">
                    <a:pos x="22" y="3"/>
                  </a:cxn>
                  <a:cxn ang="0">
                    <a:pos x="18" y="7"/>
                  </a:cxn>
                  <a:cxn ang="0">
                    <a:pos x="20" y="14"/>
                  </a:cxn>
                  <a:cxn ang="0">
                    <a:pos x="15" y="17"/>
                  </a:cxn>
                  <a:cxn ang="0">
                    <a:pos x="11" y="17"/>
                  </a:cxn>
                  <a:cxn ang="0">
                    <a:pos x="1" y="26"/>
                  </a:cxn>
                  <a:cxn ang="0">
                    <a:pos x="2" y="30"/>
                  </a:cxn>
                  <a:cxn ang="0">
                    <a:pos x="11" y="41"/>
                  </a:cxn>
                  <a:cxn ang="0">
                    <a:pos x="25" y="54"/>
                  </a:cxn>
                  <a:cxn ang="0">
                    <a:pos x="35" y="54"/>
                  </a:cxn>
                  <a:cxn ang="0">
                    <a:pos x="39" y="48"/>
                  </a:cxn>
                </a:cxnLst>
                <a:rect l="0" t="0" r="r" b="b"/>
                <a:pathLst>
                  <a:path w="119" h="90">
                    <a:moveTo>
                      <a:pt x="39" y="48"/>
                    </a:moveTo>
                    <a:lnTo>
                      <a:pt x="39" y="48"/>
                    </a:lnTo>
                    <a:lnTo>
                      <a:pt x="41" y="47"/>
                    </a:lnTo>
                    <a:lnTo>
                      <a:pt x="42" y="46"/>
                    </a:lnTo>
                    <a:lnTo>
                      <a:pt x="47" y="47"/>
                    </a:lnTo>
                    <a:lnTo>
                      <a:pt x="47" y="47"/>
                    </a:lnTo>
                    <a:lnTo>
                      <a:pt x="49" y="47"/>
                    </a:lnTo>
                    <a:lnTo>
                      <a:pt x="54" y="46"/>
                    </a:lnTo>
                    <a:lnTo>
                      <a:pt x="59" y="44"/>
                    </a:lnTo>
                    <a:lnTo>
                      <a:pt x="59" y="44"/>
                    </a:lnTo>
                    <a:lnTo>
                      <a:pt x="62" y="47"/>
                    </a:lnTo>
                    <a:lnTo>
                      <a:pt x="66" y="51"/>
                    </a:lnTo>
                    <a:lnTo>
                      <a:pt x="71" y="57"/>
                    </a:lnTo>
                    <a:lnTo>
                      <a:pt x="72" y="60"/>
                    </a:lnTo>
                    <a:lnTo>
                      <a:pt x="72" y="60"/>
                    </a:lnTo>
                    <a:lnTo>
                      <a:pt x="72" y="66"/>
                    </a:lnTo>
                    <a:lnTo>
                      <a:pt x="74" y="70"/>
                    </a:lnTo>
                    <a:lnTo>
                      <a:pt x="74" y="70"/>
                    </a:lnTo>
                    <a:lnTo>
                      <a:pt x="75" y="71"/>
                    </a:lnTo>
                    <a:lnTo>
                      <a:pt x="75" y="71"/>
                    </a:lnTo>
                    <a:lnTo>
                      <a:pt x="86" y="70"/>
                    </a:lnTo>
                    <a:lnTo>
                      <a:pt x="86" y="70"/>
                    </a:lnTo>
                    <a:lnTo>
                      <a:pt x="88" y="71"/>
                    </a:lnTo>
                    <a:lnTo>
                      <a:pt x="89" y="74"/>
                    </a:lnTo>
                    <a:lnTo>
                      <a:pt x="91" y="78"/>
                    </a:lnTo>
                    <a:lnTo>
                      <a:pt x="91" y="83"/>
                    </a:lnTo>
                    <a:lnTo>
                      <a:pt x="91" y="83"/>
                    </a:lnTo>
                    <a:lnTo>
                      <a:pt x="91" y="87"/>
                    </a:lnTo>
                    <a:lnTo>
                      <a:pt x="93" y="88"/>
                    </a:lnTo>
                    <a:lnTo>
                      <a:pt x="96" y="90"/>
                    </a:lnTo>
                    <a:lnTo>
                      <a:pt x="98" y="88"/>
                    </a:lnTo>
                    <a:lnTo>
                      <a:pt x="98" y="88"/>
                    </a:lnTo>
                    <a:lnTo>
                      <a:pt x="102" y="84"/>
                    </a:lnTo>
                    <a:lnTo>
                      <a:pt x="103" y="83"/>
                    </a:lnTo>
                    <a:lnTo>
                      <a:pt x="105" y="84"/>
                    </a:lnTo>
                    <a:lnTo>
                      <a:pt x="105" y="84"/>
                    </a:lnTo>
                    <a:lnTo>
                      <a:pt x="106" y="85"/>
                    </a:lnTo>
                    <a:lnTo>
                      <a:pt x="108" y="85"/>
                    </a:lnTo>
                    <a:lnTo>
                      <a:pt x="108" y="85"/>
                    </a:lnTo>
                    <a:lnTo>
                      <a:pt x="109" y="84"/>
                    </a:lnTo>
                    <a:lnTo>
                      <a:pt x="112" y="81"/>
                    </a:lnTo>
                    <a:lnTo>
                      <a:pt x="112" y="81"/>
                    </a:lnTo>
                    <a:lnTo>
                      <a:pt x="112" y="78"/>
                    </a:lnTo>
                    <a:lnTo>
                      <a:pt x="112" y="77"/>
                    </a:lnTo>
                    <a:lnTo>
                      <a:pt x="111" y="74"/>
                    </a:lnTo>
                    <a:lnTo>
                      <a:pt x="111" y="71"/>
                    </a:lnTo>
                    <a:lnTo>
                      <a:pt x="111" y="71"/>
                    </a:lnTo>
                    <a:lnTo>
                      <a:pt x="112" y="70"/>
                    </a:lnTo>
                    <a:lnTo>
                      <a:pt x="115" y="71"/>
                    </a:lnTo>
                    <a:lnTo>
                      <a:pt x="116" y="71"/>
                    </a:lnTo>
                    <a:lnTo>
                      <a:pt x="118" y="70"/>
                    </a:lnTo>
                    <a:lnTo>
                      <a:pt x="118" y="70"/>
                    </a:lnTo>
                    <a:lnTo>
                      <a:pt x="119" y="68"/>
                    </a:lnTo>
                    <a:lnTo>
                      <a:pt x="118" y="66"/>
                    </a:lnTo>
                    <a:lnTo>
                      <a:pt x="116" y="63"/>
                    </a:lnTo>
                    <a:lnTo>
                      <a:pt x="115" y="60"/>
                    </a:lnTo>
                    <a:lnTo>
                      <a:pt x="115" y="60"/>
                    </a:lnTo>
                    <a:lnTo>
                      <a:pt x="115" y="57"/>
                    </a:lnTo>
                    <a:lnTo>
                      <a:pt x="115" y="54"/>
                    </a:lnTo>
                    <a:lnTo>
                      <a:pt x="112" y="53"/>
                    </a:lnTo>
                    <a:lnTo>
                      <a:pt x="112" y="53"/>
                    </a:lnTo>
                    <a:lnTo>
                      <a:pt x="111" y="51"/>
                    </a:lnTo>
                    <a:lnTo>
                      <a:pt x="111" y="48"/>
                    </a:lnTo>
                    <a:lnTo>
                      <a:pt x="112" y="40"/>
                    </a:lnTo>
                    <a:lnTo>
                      <a:pt x="112" y="40"/>
                    </a:lnTo>
                    <a:lnTo>
                      <a:pt x="111" y="39"/>
                    </a:lnTo>
                    <a:lnTo>
                      <a:pt x="111" y="39"/>
                    </a:lnTo>
                    <a:lnTo>
                      <a:pt x="109" y="36"/>
                    </a:lnTo>
                    <a:lnTo>
                      <a:pt x="109" y="33"/>
                    </a:lnTo>
                    <a:lnTo>
                      <a:pt x="108" y="30"/>
                    </a:lnTo>
                    <a:lnTo>
                      <a:pt x="106" y="29"/>
                    </a:lnTo>
                    <a:lnTo>
                      <a:pt x="106" y="29"/>
                    </a:lnTo>
                    <a:lnTo>
                      <a:pt x="105" y="29"/>
                    </a:lnTo>
                    <a:lnTo>
                      <a:pt x="105" y="26"/>
                    </a:lnTo>
                    <a:lnTo>
                      <a:pt x="105" y="24"/>
                    </a:lnTo>
                    <a:lnTo>
                      <a:pt x="106" y="23"/>
                    </a:lnTo>
                    <a:lnTo>
                      <a:pt x="106" y="23"/>
                    </a:lnTo>
                    <a:lnTo>
                      <a:pt x="108" y="23"/>
                    </a:lnTo>
                    <a:lnTo>
                      <a:pt x="106" y="21"/>
                    </a:lnTo>
                    <a:lnTo>
                      <a:pt x="105" y="20"/>
                    </a:lnTo>
                    <a:lnTo>
                      <a:pt x="102" y="19"/>
                    </a:lnTo>
                    <a:lnTo>
                      <a:pt x="101" y="16"/>
                    </a:lnTo>
                    <a:lnTo>
                      <a:pt x="101" y="16"/>
                    </a:lnTo>
                    <a:lnTo>
                      <a:pt x="99" y="9"/>
                    </a:lnTo>
                    <a:lnTo>
                      <a:pt x="96" y="6"/>
                    </a:lnTo>
                    <a:lnTo>
                      <a:pt x="95" y="4"/>
                    </a:lnTo>
                    <a:lnTo>
                      <a:pt x="95" y="4"/>
                    </a:lnTo>
                    <a:lnTo>
                      <a:pt x="92" y="4"/>
                    </a:lnTo>
                    <a:lnTo>
                      <a:pt x="89" y="7"/>
                    </a:lnTo>
                    <a:lnTo>
                      <a:pt x="86" y="10"/>
                    </a:lnTo>
                    <a:lnTo>
                      <a:pt x="84" y="11"/>
                    </a:lnTo>
                    <a:lnTo>
                      <a:pt x="84" y="11"/>
                    </a:lnTo>
                    <a:lnTo>
                      <a:pt x="78" y="10"/>
                    </a:lnTo>
                    <a:lnTo>
                      <a:pt x="75" y="9"/>
                    </a:lnTo>
                    <a:lnTo>
                      <a:pt x="74" y="10"/>
                    </a:lnTo>
                    <a:lnTo>
                      <a:pt x="72" y="11"/>
                    </a:lnTo>
                    <a:lnTo>
                      <a:pt x="72" y="11"/>
                    </a:lnTo>
                    <a:lnTo>
                      <a:pt x="71" y="13"/>
                    </a:lnTo>
                    <a:lnTo>
                      <a:pt x="68" y="11"/>
                    </a:lnTo>
                    <a:lnTo>
                      <a:pt x="65" y="11"/>
                    </a:lnTo>
                    <a:lnTo>
                      <a:pt x="64" y="13"/>
                    </a:lnTo>
                    <a:lnTo>
                      <a:pt x="64" y="13"/>
                    </a:lnTo>
                    <a:lnTo>
                      <a:pt x="61" y="13"/>
                    </a:lnTo>
                    <a:lnTo>
                      <a:pt x="59" y="11"/>
                    </a:lnTo>
                    <a:lnTo>
                      <a:pt x="59" y="9"/>
                    </a:lnTo>
                    <a:lnTo>
                      <a:pt x="59" y="9"/>
                    </a:lnTo>
                    <a:lnTo>
                      <a:pt x="59" y="6"/>
                    </a:lnTo>
                    <a:lnTo>
                      <a:pt x="59" y="6"/>
                    </a:lnTo>
                    <a:lnTo>
                      <a:pt x="56" y="6"/>
                    </a:lnTo>
                    <a:lnTo>
                      <a:pt x="56" y="6"/>
                    </a:lnTo>
                    <a:lnTo>
                      <a:pt x="49" y="7"/>
                    </a:lnTo>
                    <a:lnTo>
                      <a:pt x="42" y="7"/>
                    </a:lnTo>
                    <a:lnTo>
                      <a:pt x="37" y="6"/>
                    </a:lnTo>
                    <a:lnTo>
                      <a:pt x="34" y="4"/>
                    </a:lnTo>
                    <a:lnTo>
                      <a:pt x="34" y="4"/>
                    </a:lnTo>
                    <a:lnTo>
                      <a:pt x="31" y="3"/>
                    </a:lnTo>
                    <a:lnTo>
                      <a:pt x="28" y="2"/>
                    </a:lnTo>
                    <a:lnTo>
                      <a:pt x="22" y="0"/>
                    </a:lnTo>
                    <a:lnTo>
                      <a:pt x="22" y="0"/>
                    </a:lnTo>
                    <a:lnTo>
                      <a:pt x="22" y="3"/>
                    </a:lnTo>
                    <a:lnTo>
                      <a:pt x="21" y="6"/>
                    </a:lnTo>
                    <a:lnTo>
                      <a:pt x="18" y="7"/>
                    </a:lnTo>
                    <a:lnTo>
                      <a:pt x="18" y="7"/>
                    </a:lnTo>
                    <a:lnTo>
                      <a:pt x="17" y="9"/>
                    </a:lnTo>
                    <a:lnTo>
                      <a:pt x="18" y="11"/>
                    </a:lnTo>
                    <a:lnTo>
                      <a:pt x="20" y="14"/>
                    </a:lnTo>
                    <a:lnTo>
                      <a:pt x="20" y="14"/>
                    </a:lnTo>
                    <a:lnTo>
                      <a:pt x="18" y="17"/>
                    </a:lnTo>
                    <a:lnTo>
                      <a:pt x="15" y="17"/>
                    </a:lnTo>
                    <a:lnTo>
                      <a:pt x="14" y="17"/>
                    </a:lnTo>
                    <a:lnTo>
                      <a:pt x="14" y="17"/>
                    </a:lnTo>
                    <a:lnTo>
                      <a:pt x="11" y="17"/>
                    </a:lnTo>
                    <a:lnTo>
                      <a:pt x="8" y="20"/>
                    </a:lnTo>
                    <a:lnTo>
                      <a:pt x="1" y="26"/>
                    </a:lnTo>
                    <a:lnTo>
                      <a:pt x="1" y="26"/>
                    </a:lnTo>
                    <a:lnTo>
                      <a:pt x="0" y="27"/>
                    </a:lnTo>
                    <a:lnTo>
                      <a:pt x="0" y="27"/>
                    </a:lnTo>
                    <a:lnTo>
                      <a:pt x="2" y="30"/>
                    </a:lnTo>
                    <a:lnTo>
                      <a:pt x="4" y="34"/>
                    </a:lnTo>
                    <a:lnTo>
                      <a:pt x="7" y="37"/>
                    </a:lnTo>
                    <a:lnTo>
                      <a:pt x="11" y="41"/>
                    </a:lnTo>
                    <a:lnTo>
                      <a:pt x="11" y="41"/>
                    </a:lnTo>
                    <a:lnTo>
                      <a:pt x="20" y="48"/>
                    </a:lnTo>
                    <a:lnTo>
                      <a:pt x="25" y="54"/>
                    </a:lnTo>
                    <a:lnTo>
                      <a:pt x="28" y="61"/>
                    </a:lnTo>
                    <a:lnTo>
                      <a:pt x="28" y="61"/>
                    </a:lnTo>
                    <a:lnTo>
                      <a:pt x="35" y="54"/>
                    </a:lnTo>
                    <a:lnTo>
                      <a:pt x="38" y="51"/>
                    </a:lnTo>
                    <a:lnTo>
                      <a:pt x="39" y="48"/>
                    </a:lnTo>
                    <a:lnTo>
                      <a:pt x="39" y="4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8" name="Sierra Leone">
                <a:extLst>
                  <a:ext uri="{FF2B5EF4-FFF2-40B4-BE49-F238E27FC236}">
                    <a16:creationId xmlns:a16="http://schemas.microsoft.com/office/drawing/2014/main" id="{3B2724ED-E389-B04D-A5C0-EFAF37FA2971}"/>
                  </a:ext>
                </a:extLst>
              </p:cNvPr>
              <p:cNvSpPr>
                <a:spLocks/>
              </p:cNvSpPr>
              <p:nvPr/>
            </p:nvSpPr>
            <p:spPr bwMode="auto">
              <a:xfrm>
                <a:off x="4006723" y="4071495"/>
                <a:ext cx="69550" cy="75470"/>
              </a:xfrm>
              <a:custGeom>
                <a:avLst/>
                <a:gdLst/>
                <a:ahLst/>
                <a:cxnLst>
                  <a:cxn ang="0">
                    <a:pos x="46" y="36"/>
                  </a:cxn>
                  <a:cxn ang="0">
                    <a:pos x="46" y="36"/>
                  </a:cxn>
                  <a:cxn ang="0">
                    <a:pos x="47" y="30"/>
                  </a:cxn>
                  <a:cxn ang="0">
                    <a:pos x="47" y="29"/>
                  </a:cxn>
                  <a:cxn ang="0">
                    <a:pos x="46" y="26"/>
                  </a:cxn>
                  <a:cxn ang="0">
                    <a:pos x="46" y="26"/>
                  </a:cxn>
                  <a:cxn ang="0">
                    <a:pos x="44" y="22"/>
                  </a:cxn>
                  <a:cxn ang="0">
                    <a:pos x="44" y="16"/>
                  </a:cxn>
                  <a:cxn ang="0">
                    <a:pos x="44" y="16"/>
                  </a:cxn>
                  <a:cxn ang="0">
                    <a:pos x="43" y="13"/>
                  </a:cxn>
                  <a:cxn ang="0">
                    <a:pos x="38" y="7"/>
                  </a:cxn>
                  <a:cxn ang="0">
                    <a:pos x="34" y="3"/>
                  </a:cxn>
                  <a:cxn ang="0">
                    <a:pos x="31" y="0"/>
                  </a:cxn>
                  <a:cxn ang="0">
                    <a:pos x="31" y="0"/>
                  </a:cxn>
                  <a:cxn ang="0">
                    <a:pos x="26" y="2"/>
                  </a:cxn>
                  <a:cxn ang="0">
                    <a:pos x="21" y="3"/>
                  </a:cxn>
                  <a:cxn ang="0">
                    <a:pos x="19" y="3"/>
                  </a:cxn>
                  <a:cxn ang="0">
                    <a:pos x="19" y="3"/>
                  </a:cxn>
                  <a:cxn ang="0">
                    <a:pos x="14" y="2"/>
                  </a:cxn>
                  <a:cxn ang="0">
                    <a:pos x="13" y="3"/>
                  </a:cxn>
                  <a:cxn ang="0">
                    <a:pos x="11" y="4"/>
                  </a:cxn>
                  <a:cxn ang="0">
                    <a:pos x="11" y="4"/>
                  </a:cxn>
                  <a:cxn ang="0">
                    <a:pos x="10" y="7"/>
                  </a:cxn>
                  <a:cxn ang="0">
                    <a:pos x="7" y="10"/>
                  </a:cxn>
                  <a:cxn ang="0">
                    <a:pos x="0" y="17"/>
                  </a:cxn>
                  <a:cxn ang="0">
                    <a:pos x="0" y="17"/>
                  </a:cxn>
                  <a:cxn ang="0">
                    <a:pos x="3" y="23"/>
                  </a:cxn>
                  <a:cxn ang="0">
                    <a:pos x="3" y="23"/>
                  </a:cxn>
                  <a:cxn ang="0">
                    <a:pos x="6" y="30"/>
                  </a:cxn>
                  <a:cxn ang="0">
                    <a:pos x="9" y="36"/>
                  </a:cxn>
                  <a:cxn ang="0">
                    <a:pos x="11" y="40"/>
                  </a:cxn>
                  <a:cxn ang="0">
                    <a:pos x="16" y="43"/>
                  </a:cxn>
                  <a:cxn ang="0">
                    <a:pos x="16" y="43"/>
                  </a:cxn>
                  <a:cxn ang="0">
                    <a:pos x="28" y="51"/>
                  </a:cxn>
                  <a:cxn ang="0">
                    <a:pos x="28" y="51"/>
                  </a:cxn>
                  <a:cxn ang="0">
                    <a:pos x="33" y="46"/>
                  </a:cxn>
                  <a:cxn ang="0">
                    <a:pos x="33" y="46"/>
                  </a:cxn>
                  <a:cxn ang="0">
                    <a:pos x="40" y="41"/>
                  </a:cxn>
                  <a:cxn ang="0">
                    <a:pos x="43" y="39"/>
                  </a:cxn>
                  <a:cxn ang="0">
                    <a:pos x="46" y="36"/>
                  </a:cxn>
                  <a:cxn ang="0">
                    <a:pos x="46" y="36"/>
                  </a:cxn>
                </a:cxnLst>
                <a:rect l="0" t="0" r="r" b="b"/>
                <a:pathLst>
                  <a:path w="47" h="51">
                    <a:moveTo>
                      <a:pt x="46" y="36"/>
                    </a:moveTo>
                    <a:lnTo>
                      <a:pt x="46" y="36"/>
                    </a:lnTo>
                    <a:lnTo>
                      <a:pt x="47" y="30"/>
                    </a:lnTo>
                    <a:lnTo>
                      <a:pt x="47" y="29"/>
                    </a:lnTo>
                    <a:lnTo>
                      <a:pt x="46" y="26"/>
                    </a:lnTo>
                    <a:lnTo>
                      <a:pt x="46" y="26"/>
                    </a:lnTo>
                    <a:lnTo>
                      <a:pt x="44" y="22"/>
                    </a:lnTo>
                    <a:lnTo>
                      <a:pt x="44" y="16"/>
                    </a:lnTo>
                    <a:lnTo>
                      <a:pt x="44" y="16"/>
                    </a:lnTo>
                    <a:lnTo>
                      <a:pt x="43" y="13"/>
                    </a:lnTo>
                    <a:lnTo>
                      <a:pt x="38" y="7"/>
                    </a:lnTo>
                    <a:lnTo>
                      <a:pt x="34" y="3"/>
                    </a:lnTo>
                    <a:lnTo>
                      <a:pt x="31" y="0"/>
                    </a:lnTo>
                    <a:lnTo>
                      <a:pt x="31" y="0"/>
                    </a:lnTo>
                    <a:lnTo>
                      <a:pt x="26" y="2"/>
                    </a:lnTo>
                    <a:lnTo>
                      <a:pt x="21" y="3"/>
                    </a:lnTo>
                    <a:lnTo>
                      <a:pt x="19" y="3"/>
                    </a:lnTo>
                    <a:lnTo>
                      <a:pt x="19" y="3"/>
                    </a:lnTo>
                    <a:lnTo>
                      <a:pt x="14" y="2"/>
                    </a:lnTo>
                    <a:lnTo>
                      <a:pt x="13" y="3"/>
                    </a:lnTo>
                    <a:lnTo>
                      <a:pt x="11" y="4"/>
                    </a:lnTo>
                    <a:lnTo>
                      <a:pt x="11" y="4"/>
                    </a:lnTo>
                    <a:lnTo>
                      <a:pt x="10" y="7"/>
                    </a:lnTo>
                    <a:lnTo>
                      <a:pt x="7" y="10"/>
                    </a:lnTo>
                    <a:lnTo>
                      <a:pt x="0" y="17"/>
                    </a:lnTo>
                    <a:lnTo>
                      <a:pt x="0" y="17"/>
                    </a:lnTo>
                    <a:lnTo>
                      <a:pt x="3" y="23"/>
                    </a:lnTo>
                    <a:lnTo>
                      <a:pt x="3" y="23"/>
                    </a:lnTo>
                    <a:lnTo>
                      <a:pt x="6" y="30"/>
                    </a:lnTo>
                    <a:lnTo>
                      <a:pt x="9" y="36"/>
                    </a:lnTo>
                    <a:lnTo>
                      <a:pt x="11" y="40"/>
                    </a:lnTo>
                    <a:lnTo>
                      <a:pt x="16" y="43"/>
                    </a:lnTo>
                    <a:lnTo>
                      <a:pt x="16" y="43"/>
                    </a:lnTo>
                    <a:lnTo>
                      <a:pt x="28" y="51"/>
                    </a:lnTo>
                    <a:lnTo>
                      <a:pt x="28" y="51"/>
                    </a:lnTo>
                    <a:lnTo>
                      <a:pt x="33" y="46"/>
                    </a:lnTo>
                    <a:lnTo>
                      <a:pt x="33" y="46"/>
                    </a:lnTo>
                    <a:lnTo>
                      <a:pt x="40" y="41"/>
                    </a:lnTo>
                    <a:lnTo>
                      <a:pt x="43" y="39"/>
                    </a:lnTo>
                    <a:lnTo>
                      <a:pt x="46" y="36"/>
                    </a:lnTo>
                    <a:lnTo>
                      <a:pt x="46" y="3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9" name="Sudan">
                <a:extLst>
                  <a:ext uri="{FF2B5EF4-FFF2-40B4-BE49-F238E27FC236}">
                    <a16:creationId xmlns:a16="http://schemas.microsoft.com/office/drawing/2014/main" id="{30232E00-2ADD-2043-B99E-343E96351990}"/>
                  </a:ext>
                </a:extLst>
              </p:cNvPr>
              <p:cNvSpPr>
                <a:spLocks/>
              </p:cNvSpPr>
              <p:nvPr/>
            </p:nvSpPr>
            <p:spPr bwMode="auto">
              <a:xfrm>
                <a:off x="4833922" y="3741502"/>
                <a:ext cx="389184" cy="483890"/>
              </a:xfrm>
              <a:custGeom>
                <a:avLst/>
                <a:gdLst/>
                <a:ahLst/>
                <a:cxnLst>
                  <a:cxn ang="0">
                    <a:pos x="204" y="13"/>
                  </a:cxn>
                  <a:cxn ang="0">
                    <a:pos x="194" y="20"/>
                  </a:cxn>
                  <a:cxn ang="0">
                    <a:pos x="185" y="25"/>
                  </a:cxn>
                  <a:cxn ang="0">
                    <a:pos x="155" y="18"/>
                  </a:cxn>
                  <a:cxn ang="0">
                    <a:pos x="47" y="23"/>
                  </a:cxn>
                  <a:cxn ang="0">
                    <a:pos x="33" y="108"/>
                  </a:cxn>
                  <a:cxn ang="0">
                    <a:pos x="23" y="128"/>
                  </a:cxn>
                  <a:cxn ang="0">
                    <a:pos x="16" y="141"/>
                  </a:cxn>
                  <a:cxn ang="0">
                    <a:pos x="9" y="146"/>
                  </a:cxn>
                  <a:cxn ang="0">
                    <a:pos x="3" y="155"/>
                  </a:cxn>
                  <a:cxn ang="0">
                    <a:pos x="3" y="166"/>
                  </a:cxn>
                  <a:cxn ang="0">
                    <a:pos x="2" y="176"/>
                  </a:cxn>
                  <a:cxn ang="0">
                    <a:pos x="7" y="188"/>
                  </a:cxn>
                  <a:cxn ang="0">
                    <a:pos x="13" y="205"/>
                  </a:cxn>
                  <a:cxn ang="0">
                    <a:pos x="29" y="227"/>
                  </a:cxn>
                  <a:cxn ang="0">
                    <a:pos x="24" y="237"/>
                  </a:cxn>
                  <a:cxn ang="0">
                    <a:pos x="33" y="246"/>
                  </a:cxn>
                  <a:cxn ang="0">
                    <a:pos x="51" y="259"/>
                  </a:cxn>
                  <a:cxn ang="0">
                    <a:pos x="56" y="266"/>
                  </a:cxn>
                  <a:cxn ang="0">
                    <a:pos x="68" y="282"/>
                  </a:cxn>
                  <a:cxn ang="0">
                    <a:pos x="84" y="300"/>
                  </a:cxn>
                  <a:cxn ang="0">
                    <a:pos x="90" y="307"/>
                  </a:cxn>
                  <a:cxn ang="0">
                    <a:pos x="101" y="313"/>
                  </a:cxn>
                  <a:cxn ang="0">
                    <a:pos x="114" y="313"/>
                  </a:cxn>
                  <a:cxn ang="0">
                    <a:pos x="121" y="310"/>
                  </a:cxn>
                  <a:cxn ang="0">
                    <a:pos x="152" y="323"/>
                  </a:cxn>
                  <a:cxn ang="0">
                    <a:pos x="162" y="326"/>
                  </a:cxn>
                  <a:cxn ang="0">
                    <a:pos x="179" y="323"/>
                  </a:cxn>
                  <a:cxn ang="0">
                    <a:pos x="189" y="317"/>
                  </a:cxn>
                  <a:cxn ang="0">
                    <a:pos x="196" y="309"/>
                  </a:cxn>
                  <a:cxn ang="0">
                    <a:pos x="213" y="306"/>
                  </a:cxn>
                  <a:cxn ang="0">
                    <a:pos x="219" y="296"/>
                  </a:cxn>
                  <a:cxn ang="0">
                    <a:pos x="206" y="289"/>
                  </a:cxn>
                  <a:cxn ang="0">
                    <a:pos x="191" y="269"/>
                  </a:cxn>
                  <a:cxn ang="0">
                    <a:pos x="177" y="259"/>
                  </a:cxn>
                  <a:cxn ang="0">
                    <a:pos x="177" y="252"/>
                  </a:cxn>
                  <a:cxn ang="0">
                    <a:pos x="184" y="245"/>
                  </a:cxn>
                  <a:cxn ang="0">
                    <a:pos x="192" y="227"/>
                  </a:cxn>
                  <a:cxn ang="0">
                    <a:pos x="196" y="212"/>
                  </a:cxn>
                  <a:cxn ang="0">
                    <a:pos x="204" y="205"/>
                  </a:cxn>
                  <a:cxn ang="0">
                    <a:pos x="209" y="189"/>
                  </a:cxn>
                  <a:cxn ang="0">
                    <a:pos x="221" y="178"/>
                  </a:cxn>
                  <a:cxn ang="0">
                    <a:pos x="226" y="166"/>
                  </a:cxn>
                  <a:cxn ang="0">
                    <a:pos x="229" y="139"/>
                  </a:cxn>
                  <a:cxn ang="0">
                    <a:pos x="239" y="117"/>
                  </a:cxn>
                  <a:cxn ang="0">
                    <a:pos x="248" y="104"/>
                  </a:cxn>
                  <a:cxn ang="0">
                    <a:pos x="263" y="89"/>
                  </a:cxn>
                  <a:cxn ang="0">
                    <a:pos x="246" y="72"/>
                  </a:cxn>
                  <a:cxn ang="0">
                    <a:pos x="242" y="40"/>
                  </a:cxn>
                  <a:cxn ang="0">
                    <a:pos x="231" y="17"/>
                  </a:cxn>
                  <a:cxn ang="0">
                    <a:pos x="218" y="4"/>
                  </a:cxn>
                  <a:cxn ang="0">
                    <a:pos x="212" y="7"/>
                  </a:cxn>
                </a:cxnLst>
                <a:rect l="0" t="0" r="r" b="b"/>
                <a:pathLst>
                  <a:path w="263" h="327">
                    <a:moveTo>
                      <a:pt x="208" y="7"/>
                    </a:moveTo>
                    <a:lnTo>
                      <a:pt x="208" y="7"/>
                    </a:lnTo>
                    <a:lnTo>
                      <a:pt x="206" y="7"/>
                    </a:lnTo>
                    <a:lnTo>
                      <a:pt x="205" y="8"/>
                    </a:lnTo>
                    <a:lnTo>
                      <a:pt x="204" y="13"/>
                    </a:lnTo>
                    <a:lnTo>
                      <a:pt x="201" y="17"/>
                    </a:lnTo>
                    <a:lnTo>
                      <a:pt x="199" y="18"/>
                    </a:lnTo>
                    <a:lnTo>
                      <a:pt x="198" y="18"/>
                    </a:lnTo>
                    <a:lnTo>
                      <a:pt x="198" y="18"/>
                    </a:lnTo>
                    <a:lnTo>
                      <a:pt x="194" y="20"/>
                    </a:lnTo>
                    <a:lnTo>
                      <a:pt x="191" y="23"/>
                    </a:lnTo>
                    <a:lnTo>
                      <a:pt x="191" y="24"/>
                    </a:lnTo>
                    <a:lnTo>
                      <a:pt x="188" y="25"/>
                    </a:lnTo>
                    <a:lnTo>
                      <a:pt x="188" y="25"/>
                    </a:lnTo>
                    <a:lnTo>
                      <a:pt x="185" y="25"/>
                    </a:lnTo>
                    <a:lnTo>
                      <a:pt x="182" y="24"/>
                    </a:lnTo>
                    <a:lnTo>
                      <a:pt x="179" y="21"/>
                    </a:lnTo>
                    <a:lnTo>
                      <a:pt x="158" y="21"/>
                    </a:lnTo>
                    <a:lnTo>
                      <a:pt x="158" y="21"/>
                    </a:lnTo>
                    <a:lnTo>
                      <a:pt x="155" y="18"/>
                    </a:lnTo>
                    <a:lnTo>
                      <a:pt x="154" y="18"/>
                    </a:lnTo>
                    <a:lnTo>
                      <a:pt x="151" y="18"/>
                    </a:lnTo>
                    <a:lnTo>
                      <a:pt x="151" y="18"/>
                    </a:lnTo>
                    <a:lnTo>
                      <a:pt x="145" y="23"/>
                    </a:lnTo>
                    <a:lnTo>
                      <a:pt x="47" y="23"/>
                    </a:lnTo>
                    <a:lnTo>
                      <a:pt x="47" y="23"/>
                    </a:lnTo>
                    <a:lnTo>
                      <a:pt x="47" y="55"/>
                    </a:lnTo>
                    <a:lnTo>
                      <a:pt x="33" y="55"/>
                    </a:lnTo>
                    <a:lnTo>
                      <a:pt x="33" y="108"/>
                    </a:lnTo>
                    <a:lnTo>
                      <a:pt x="33" y="108"/>
                    </a:lnTo>
                    <a:lnTo>
                      <a:pt x="33" y="117"/>
                    </a:lnTo>
                    <a:lnTo>
                      <a:pt x="31" y="122"/>
                    </a:lnTo>
                    <a:lnTo>
                      <a:pt x="30" y="125"/>
                    </a:lnTo>
                    <a:lnTo>
                      <a:pt x="30" y="125"/>
                    </a:lnTo>
                    <a:lnTo>
                      <a:pt x="23" y="128"/>
                    </a:lnTo>
                    <a:lnTo>
                      <a:pt x="19" y="131"/>
                    </a:lnTo>
                    <a:lnTo>
                      <a:pt x="17" y="132"/>
                    </a:lnTo>
                    <a:lnTo>
                      <a:pt x="17" y="134"/>
                    </a:lnTo>
                    <a:lnTo>
                      <a:pt x="17" y="134"/>
                    </a:lnTo>
                    <a:lnTo>
                      <a:pt x="16" y="141"/>
                    </a:lnTo>
                    <a:lnTo>
                      <a:pt x="13" y="142"/>
                    </a:lnTo>
                    <a:lnTo>
                      <a:pt x="10" y="144"/>
                    </a:lnTo>
                    <a:lnTo>
                      <a:pt x="10" y="144"/>
                    </a:lnTo>
                    <a:lnTo>
                      <a:pt x="9" y="145"/>
                    </a:lnTo>
                    <a:lnTo>
                      <a:pt x="9" y="146"/>
                    </a:lnTo>
                    <a:lnTo>
                      <a:pt x="7" y="151"/>
                    </a:lnTo>
                    <a:lnTo>
                      <a:pt x="7" y="154"/>
                    </a:lnTo>
                    <a:lnTo>
                      <a:pt x="6" y="155"/>
                    </a:lnTo>
                    <a:lnTo>
                      <a:pt x="3" y="155"/>
                    </a:lnTo>
                    <a:lnTo>
                      <a:pt x="3" y="155"/>
                    </a:lnTo>
                    <a:lnTo>
                      <a:pt x="2" y="156"/>
                    </a:lnTo>
                    <a:lnTo>
                      <a:pt x="2" y="156"/>
                    </a:lnTo>
                    <a:lnTo>
                      <a:pt x="2" y="161"/>
                    </a:lnTo>
                    <a:lnTo>
                      <a:pt x="3" y="163"/>
                    </a:lnTo>
                    <a:lnTo>
                      <a:pt x="3" y="166"/>
                    </a:lnTo>
                    <a:lnTo>
                      <a:pt x="3" y="168"/>
                    </a:lnTo>
                    <a:lnTo>
                      <a:pt x="3" y="168"/>
                    </a:lnTo>
                    <a:lnTo>
                      <a:pt x="0" y="171"/>
                    </a:lnTo>
                    <a:lnTo>
                      <a:pt x="0" y="173"/>
                    </a:lnTo>
                    <a:lnTo>
                      <a:pt x="2" y="176"/>
                    </a:lnTo>
                    <a:lnTo>
                      <a:pt x="4" y="176"/>
                    </a:lnTo>
                    <a:lnTo>
                      <a:pt x="4" y="176"/>
                    </a:lnTo>
                    <a:lnTo>
                      <a:pt x="7" y="178"/>
                    </a:lnTo>
                    <a:lnTo>
                      <a:pt x="9" y="181"/>
                    </a:lnTo>
                    <a:lnTo>
                      <a:pt x="7" y="188"/>
                    </a:lnTo>
                    <a:lnTo>
                      <a:pt x="7" y="188"/>
                    </a:lnTo>
                    <a:lnTo>
                      <a:pt x="9" y="192"/>
                    </a:lnTo>
                    <a:lnTo>
                      <a:pt x="11" y="195"/>
                    </a:lnTo>
                    <a:lnTo>
                      <a:pt x="16" y="198"/>
                    </a:lnTo>
                    <a:lnTo>
                      <a:pt x="13" y="205"/>
                    </a:lnTo>
                    <a:lnTo>
                      <a:pt x="13" y="205"/>
                    </a:lnTo>
                    <a:lnTo>
                      <a:pt x="19" y="212"/>
                    </a:lnTo>
                    <a:lnTo>
                      <a:pt x="26" y="220"/>
                    </a:lnTo>
                    <a:lnTo>
                      <a:pt x="26" y="220"/>
                    </a:lnTo>
                    <a:lnTo>
                      <a:pt x="29" y="227"/>
                    </a:lnTo>
                    <a:lnTo>
                      <a:pt x="29" y="232"/>
                    </a:lnTo>
                    <a:lnTo>
                      <a:pt x="29" y="233"/>
                    </a:lnTo>
                    <a:lnTo>
                      <a:pt x="26" y="235"/>
                    </a:lnTo>
                    <a:lnTo>
                      <a:pt x="26" y="235"/>
                    </a:lnTo>
                    <a:lnTo>
                      <a:pt x="24" y="237"/>
                    </a:lnTo>
                    <a:lnTo>
                      <a:pt x="23" y="239"/>
                    </a:lnTo>
                    <a:lnTo>
                      <a:pt x="24" y="240"/>
                    </a:lnTo>
                    <a:lnTo>
                      <a:pt x="31" y="242"/>
                    </a:lnTo>
                    <a:lnTo>
                      <a:pt x="33" y="246"/>
                    </a:lnTo>
                    <a:lnTo>
                      <a:pt x="33" y="246"/>
                    </a:lnTo>
                    <a:lnTo>
                      <a:pt x="39" y="247"/>
                    </a:lnTo>
                    <a:lnTo>
                      <a:pt x="43" y="249"/>
                    </a:lnTo>
                    <a:lnTo>
                      <a:pt x="46" y="253"/>
                    </a:lnTo>
                    <a:lnTo>
                      <a:pt x="46" y="253"/>
                    </a:lnTo>
                    <a:lnTo>
                      <a:pt x="51" y="259"/>
                    </a:lnTo>
                    <a:lnTo>
                      <a:pt x="53" y="260"/>
                    </a:lnTo>
                    <a:lnTo>
                      <a:pt x="53" y="263"/>
                    </a:lnTo>
                    <a:lnTo>
                      <a:pt x="53" y="263"/>
                    </a:lnTo>
                    <a:lnTo>
                      <a:pt x="54" y="264"/>
                    </a:lnTo>
                    <a:lnTo>
                      <a:pt x="56" y="266"/>
                    </a:lnTo>
                    <a:lnTo>
                      <a:pt x="63" y="272"/>
                    </a:lnTo>
                    <a:lnTo>
                      <a:pt x="63" y="272"/>
                    </a:lnTo>
                    <a:lnTo>
                      <a:pt x="67" y="274"/>
                    </a:lnTo>
                    <a:lnTo>
                      <a:pt x="68" y="277"/>
                    </a:lnTo>
                    <a:lnTo>
                      <a:pt x="68" y="282"/>
                    </a:lnTo>
                    <a:lnTo>
                      <a:pt x="68" y="282"/>
                    </a:lnTo>
                    <a:lnTo>
                      <a:pt x="71" y="284"/>
                    </a:lnTo>
                    <a:lnTo>
                      <a:pt x="74" y="287"/>
                    </a:lnTo>
                    <a:lnTo>
                      <a:pt x="80" y="290"/>
                    </a:lnTo>
                    <a:lnTo>
                      <a:pt x="84" y="300"/>
                    </a:lnTo>
                    <a:lnTo>
                      <a:pt x="84" y="300"/>
                    </a:lnTo>
                    <a:lnTo>
                      <a:pt x="85" y="301"/>
                    </a:lnTo>
                    <a:lnTo>
                      <a:pt x="88" y="303"/>
                    </a:lnTo>
                    <a:lnTo>
                      <a:pt x="88" y="303"/>
                    </a:lnTo>
                    <a:lnTo>
                      <a:pt x="90" y="307"/>
                    </a:lnTo>
                    <a:lnTo>
                      <a:pt x="93" y="310"/>
                    </a:lnTo>
                    <a:lnTo>
                      <a:pt x="94" y="311"/>
                    </a:lnTo>
                    <a:lnTo>
                      <a:pt x="94" y="311"/>
                    </a:lnTo>
                    <a:lnTo>
                      <a:pt x="98" y="313"/>
                    </a:lnTo>
                    <a:lnTo>
                      <a:pt x="101" y="313"/>
                    </a:lnTo>
                    <a:lnTo>
                      <a:pt x="104" y="311"/>
                    </a:lnTo>
                    <a:lnTo>
                      <a:pt x="104" y="311"/>
                    </a:lnTo>
                    <a:lnTo>
                      <a:pt x="108" y="310"/>
                    </a:lnTo>
                    <a:lnTo>
                      <a:pt x="111" y="310"/>
                    </a:lnTo>
                    <a:lnTo>
                      <a:pt x="114" y="313"/>
                    </a:lnTo>
                    <a:lnTo>
                      <a:pt x="114" y="313"/>
                    </a:lnTo>
                    <a:lnTo>
                      <a:pt x="117" y="311"/>
                    </a:lnTo>
                    <a:lnTo>
                      <a:pt x="118" y="310"/>
                    </a:lnTo>
                    <a:lnTo>
                      <a:pt x="121" y="310"/>
                    </a:lnTo>
                    <a:lnTo>
                      <a:pt x="121" y="310"/>
                    </a:lnTo>
                    <a:lnTo>
                      <a:pt x="140" y="326"/>
                    </a:lnTo>
                    <a:lnTo>
                      <a:pt x="140" y="326"/>
                    </a:lnTo>
                    <a:lnTo>
                      <a:pt x="145" y="324"/>
                    </a:lnTo>
                    <a:lnTo>
                      <a:pt x="152" y="323"/>
                    </a:lnTo>
                    <a:lnTo>
                      <a:pt x="152" y="323"/>
                    </a:lnTo>
                    <a:lnTo>
                      <a:pt x="155" y="323"/>
                    </a:lnTo>
                    <a:lnTo>
                      <a:pt x="158" y="326"/>
                    </a:lnTo>
                    <a:lnTo>
                      <a:pt x="159" y="327"/>
                    </a:lnTo>
                    <a:lnTo>
                      <a:pt x="162" y="326"/>
                    </a:lnTo>
                    <a:lnTo>
                      <a:pt x="162" y="326"/>
                    </a:lnTo>
                    <a:lnTo>
                      <a:pt x="167" y="323"/>
                    </a:lnTo>
                    <a:lnTo>
                      <a:pt x="171" y="321"/>
                    </a:lnTo>
                    <a:lnTo>
                      <a:pt x="174" y="323"/>
                    </a:lnTo>
                    <a:lnTo>
                      <a:pt x="174" y="323"/>
                    </a:lnTo>
                    <a:lnTo>
                      <a:pt x="179" y="323"/>
                    </a:lnTo>
                    <a:lnTo>
                      <a:pt x="182" y="323"/>
                    </a:lnTo>
                    <a:lnTo>
                      <a:pt x="184" y="321"/>
                    </a:lnTo>
                    <a:lnTo>
                      <a:pt x="184" y="321"/>
                    </a:lnTo>
                    <a:lnTo>
                      <a:pt x="185" y="319"/>
                    </a:lnTo>
                    <a:lnTo>
                      <a:pt x="189" y="317"/>
                    </a:lnTo>
                    <a:lnTo>
                      <a:pt x="189" y="317"/>
                    </a:lnTo>
                    <a:lnTo>
                      <a:pt x="191" y="314"/>
                    </a:lnTo>
                    <a:lnTo>
                      <a:pt x="191" y="314"/>
                    </a:lnTo>
                    <a:lnTo>
                      <a:pt x="192" y="311"/>
                    </a:lnTo>
                    <a:lnTo>
                      <a:pt x="196" y="309"/>
                    </a:lnTo>
                    <a:lnTo>
                      <a:pt x="204" y="306"/>
                    </a:lnTo>
                    <a:lnTo>
                      <a:pt x="204" y="306"/>
                    </a:lnTo>
                    <a:lnTo>
                      <a:pt x="209" y="304"/>
                    </a:lnTo>
                    <a:lnTo>
                      <a:pt x="212" y="306"/>
                    </a:lnTo>
                    <a:lnTo>
                      <a:pt x="213" y="306"/>
                    </a:lnTo>
                    <a:lnTo>
                      <a:pt x="213" y="306"/>
                    </a:lnTo>
                    <a:lnTo>
                      <a:pt x="218" y="309"/>
                    </a:lnTo>
                    <a:lnTo>
                      <a:pt x="218" y="309"/>
                    </a:lnTo>
                    <a:lnTo>
                      <a:pt x="219" y="299"/>
                    </a:lnTo>
                    <a:lnTo>
                      <a:pt x="219" y="296"/>
                    </a:lnTo>
                    <a:lnTo>
                      <a:pt x="218" y="294"/>
                    </a:lnTo>
                    <a:lnTo>
                      <a:pt x="218" y="294"/>
                    </a:lnTo>
                    <a:lnTo>
                      <a:pt x="213" y="294"/>
                    </a:lnTo>
                    <a:lnTo>
                      <a:pt x="209" y="292"/>
                    </a:lnTo>
                    <a:lnTo>
                      <a:pt x="206" y="289"/>
                    </a:lnTo>
                    <a:lnTo>
                      <a:pt x="202" y="283"/>
                    </a:lnTo>
                    <a:lnTo>
                      <a:pt x="202" y="283"/>
                    </a:lnTo>
                    <a:lnTo>
                      <a:pt x="199" y="277"/>
                    </a:lnTo>
                    <a:lnTo>
                      <a:pt x="195" y="273"/>
                    </a:lnTo>
                    <a:lnTo>
                      <a:pt x="191" y="269"/>
                    </a:lnTo>
                    <a:lnTo>
                      <a:pt x="189" y="264"/>
                    </a:lnTo>
                    <a:lnTo>
                      <a:pt x="189" y="264"/>
                    </a:lnTo>
                    <a:lnTo>
                      <a:pt x="186" y="262"/>
                    </a:lnTo>
                    <a:lnTo>
                      <a:pt x="181" y="260"/>
                    </a:lnTo>
                    <a:lnTo>
                      <a:pt x="177" y="259"/>
                    </a:lnTo>
                    <a:lnTo>
                      <a:pt x="174" y="257"/>
                    </a:lnTo>
                    <a:lnTo>
                      <a:pt x="174" y="257"/>
                    </a:lnTo>
                    <a:lnTo>
                      <a:pt x="174" y="255"/>
                    </a:lnTo>
                    <a:lnTo>
                      <a:pt x="175" y="253"/>
                    </a:lnTo>
                    <a:lnTo>
                      <a:pt x="177" y="252"/>
                    </a:lnTo>
                    <a:lnTo>
                      <a:pt x="177" y="247"/>
                    </a:lnTo>
                    <a:lnTo>
                      <a:pt x="177" y="247"/>
                    </a:lnTo>
                    <a:lnTo>
                      <a:pt x="178" y="246"/>
                    </a:lnTo>
                    <a:lnTo>
                      <a:pt x="179" y="246"/>
                    </a:lnTo>
                    <a:lnTo>
                      <a:pt x="184" y="245"/>
                    </a:lnTo>
                    <a:lnTo>
                      <a:pt x="189" y="245"/>
                    </a:lnTo>
                    <a:lnTo>
                      <a:pt x="189" y="245"/>
                    </a:lnTo>
                    <a:lnTo>
                      <a:pt x="191" y="237"/>
                    </a:lnTo>
                    <a:lnTo>
                      <a:pt x="192" y="227"/>
                    </a:lnTo>
                    <a:lnTo>
                      <a:pt x="192" y="227"/>
                    </a:lnTo>
                    <a:lnTo>
                      <a:pt x="194" y="223"/>
                    </a:lnTo>
                    <a:lnTo>
                      <a:pt x="195" y="219"/>
                    </a:lnTo>
                    <a:lnTo>
                      <a:pt x="198" y="215"/>
                    </a:lnTo>
                    <a:lnTo>
                      <a:pt x="198" y="213"/>
                    </a:lnTo>
                    <a:lnTo>
                      <a:pt x="196" y="212"/>
                    </a:lnTo>
                    <a:lnTo>
                      <a:pt x="196" y="212"/>
                    </a:lnTo>
                    <a:lnTo>
                      <a:pt x="196" y="210"/>
                    </a:lnTo>
                    <a:lnTo>
                      <a:pt x="198" y="209"/>
                    </a:lnTo>
                    <a:lnTo>
                      <a:pt x="204" y="205"/>
                    </a:lnTo>
                    <a:lnTo>
                      <a:pt x="204" y="205"/>
                    </a:lnTo>
                    <a:lnTo>
                      <a:pt x="205" y="202"/>
                    </a:lnTo>
                    <a:lnTo>
                      <a:pt x="206" y="198"/>
                    </a:lnTo>
                    <a:lnTo>
                      <a:pt x="206" y="193"/>
                    </a:lnTo>
                    <a:lnTo>
                      <a:pt x="209" y="189"/>
                    </a:lnTo>
                    <a:lnTo>
                      <a:pt x="209" y="189"/>
                    </a:lnTo>
                    <a:lnTo>
                      <a:pt x="213" y="182"/>
                    </a:lnTo>
                    <a:lnTo>
                      <a:pt x="216" y="179"/>
                    </a:lnTo>
                    <a:lnTo>
                      <a:pt x="219" y="178"/>
                    </a:lnTo>
                    <a:lnTo>
                      <a:pt x="219" y="178"/>
                    </a:lnTo>
                    <a:lnTo>
                      <a:pt x="221" y="178"/>
                    </a:lnTo>
                    <a:lnTo>
                      <a:pt x="223" y="175"/>
                    </a:lnTo>
                    <a:lnTo>
                      <a:pt x="225" y="172"/>
                    </a:lnTo>
                    <a:lnTo>
                      <a:pt x="225" y="169"/>
                    </a:lnTo>
                    <a:lnTo>
                      <a:pt x="225" y="169"/>
                    </a:lnTo>
                    <a:lnTo>
                      <a:pt x="226" y="166"/>
                    </a:lnTo>
                    <a:lnTo>
                      <a:pt x="229" y="162"/>
                    </a:lnTo>
                    <a:lnTo>
                      <a:pt x="231" y="156"/>
                    </a:lnTo>
                    <a:lnTo>
                      <a:pt x="232" y="151"/>
                    </a:lnTo>
                    <a:lnTo>
                      <a:pt x="232" y="151"/>
                    </a:lnTo>
                    <a:lnTo>
                      <a:pt x="229" y="139"/>
                    </a:lnTo>
                    <a:lnTo>
                      <a:pt x="231" y="134"/>
                    </a:lnTo>
                    <a:lnTo>
                      <a:pt x="232" y="129"/>
                    </a:lnTo>
                    <a:lnTo>
                      <a:pt x="232" y="129"/>
                    </a:lnTo>
                    <a:lnTo>
                      <a:pt x="238" y="121"/>
                    </a:lnTo>
                    <a:lnTo>
                      <a:pt x="239" y="117"/>
                    </a:lnTo>
                    <a:lnTo>
                      <a:pt x="238" y="114"/>
                    </a:lnTo>
                    <a:lnTo>
                      <a:pt x="238" y="114"/>
                    </a:lnTo>
                    <a:lnTo>
                      <a:pt x="239" y="111"/>
                    </a:lnTo>
                    <a:lnTo>
                      <a:pt x="242" y="108"/>
                    </a:lnTo>
                    <a:lnTo>
                      <a:pt x="248" y="104"/>
                    </a:lnTo>
                    <a:lnTo>
                      <a:pt x="248" y="104"/>
                    </a:lnTo>
                    <a:lnTo>
                      <a:pt x="253" y="99"/>
                    </a:lnTo>
                    <a:lnTo>
                      <a:pt x="258" y="95"/>
                    </a:lnTo>
                    <a:lnTo>
                      <a:pt x="263" y="89"/>
                    </a:lnTo>
                    <a:lnTo>
                      <a:pt x="263" y="89"/>
                    </a:lnTo>
                    <a:lnTo>
                      <a:pt x="258" y="84"/>
                    </a:lnTo>
                    <a:lnTo>
                      <a:pt x="253" y="81"/>
                    </a:lnTo>
                    <a:lnTo>
                      <a:pt x="253" y="81"/>
                    </a:lnTo>
                    <a:lnTo>
                      <a:pt x="249" y="78"/>
                    </a:lnTo>
                    <a:lnTo>
                      <a:pt x="246" y="72"/>
                    </a:lnTo>
                    <a:lnTo>
                      <a:pt x="243" y="64"/>
                    </a:lnTo>
                    <a:lnTo>
                      <a:pt x="243" y="55"/>
                    </a:lnTo>
                    <a:lnTo>
                      <a:pt x="243" y="55"/>
                    </a:lnTo>
                    <a:lnTo>
                      <a:pt x="243" y="47"/>
                    </a:lnTo>
                    <a:lnTo>
                      <a:pt x="242" y="40"/>
                    </a:lnTo>
                    <a:lnTo>
                      <a:pt x="239" y="30"/>
                    </a:lnTo>
                    <a:lnTo>
                      <a:pt x="239" y="30"/>
                    </a:lnTo>
                    <a:lnTo>
                      <a:pt x="238" y="25"/>
                    </a:lnTo>
                    <a:lnTo>
                      <a:pt x="235" y="21"/>
                    </a:lnTo>
                    <a:lnTo>
                      <a:pt x="231" y="17"/>
                    </a:lnTo>
                    <a:lnTo>
                      <a:pt x="226" y="13"/>
                    </a:lnTo>
                    <a:lnTo>
                      <a:pt x="226" y="13"/>
                    </a:lnTo>
                    <a:lnTo>
                      <a:pt x="222" y="10"/>
                    </a:lnTo>
                    <a:lnTo>
                      <a:pt x="219" y="7"/>
                    </a:lnTo>
                    <a:lnTo>
                      <a:pt x="218" y="4"/>
                    </a:lnTo>
                    <a:lnTo>
                      <a:pt x="216" y="0"/>
                    </a:lnTo>
                    <a:lnTo>
                      <a:pt x="216" y="0"/>
                    </a:lnTo>
                    <a:lnTo>
                      <a:pt x="216" y="1"/>
                    </a:lnTo>
                    <a:lnTo>
                      <a:pt x="216" y="1"/>
                    </a:lnTo>
                    <a:lnTo>
                      <a:pt x="212" y="7"/>
                    </a:lnTo>
                    <a:lnTo>
                      <a:pt x="208" y="7"/>
                    </a:lnTo>
                    <a:lnTo>
                      <a:pt x="208" y="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60" name="Libya">
                <a:extLst>
                  <a:ext uri="{FF2B5EF4-FFF2-40B4-BE49-F238E27FC236}">
                    <a16:creationId xmlns:a16="http://schemas.microsoft.com/office/drawing/2014/main" id="{E66F45C3-A3EB-A648-9097-45D097299629}"/>
                  </a:ext>
                </a:extLst>
              </p:cNvPr>
              <p:cNvSpPr>
                <a:spLocks/>
              </p:cNvSpPr>
              <p:nvPr/>
            </p:nvSpPr>
            <p:spPr bwMode="auto">
              <a:xfrm>
                <a:off x="4549804" y="3491420"/>
                <a:ext cx="359588" cy="344790"/>
              </a:xfrm>
              <a:custGeom>
                <a:avLst/>
                <a:gdLst/>
                <a:ahLst/>
                <a:cxnLst>
                  <a:cxn ang="0">
                    <a:pos x="21" y="18"/>
                  </a:cxn>
                  <a:cxn ang="0">
                    <a:pos x="13" y="28"/>
                  </a:cxn>
                  <a:cxn ang="0">
                    <a:pos x="13" y="37"/>
                  </a:cxn>
                  <a:cxn ang="0">
                    <a:pos x="7" y="47"/>
                  </a:cxn>
                  <a:cxn ang="0">
                    <a:pos x="0" y="54"/>
                  </a:cxn>
                  <a:cxn ang="0">
                    <a:pos x="3" y="59"/>
                  </a:cxn>
                  <a:cxn ang="0">
                    <a:pos x="9" y="74"/>
                  </a:cxn>
                  <a:cxn ang="0">
                    <a:pos x="7" y="85"/>
                  </a:cxn>
                  <a:cxn ang="0">
                    <a:pos x="9" y="92"/>
                  </a:cxn>
                  <a:cxn ang="0">
                    <a:pos x="4" y="98"/>
                  </a:cxn>
                  <a:cxn ang="0">
                    <a:pos x="6" y="106"/>
                  </a:cxn>
                  <a:cxn ang="0">
                    <a:pos x="9" y="113"/>
                  </a:cxn>
                  <a:cxn ang="0">
                    <a:pos x="1" y="119"/>
                  </a:cxn>
                  <a:cxn ang="0">
                    <a:pos x="1" y="123"/>
                  </a:cxn>
                  <a:cxn ang="0">
                    <a:pos x="9" y="132"/>
                  </a:cxn>
                  <a:cxn ang="0">
                    <a:pos x="10" y="143"/>
                  </a:cxn>
                  <a:cxn ang="0">
                    <a:pos x="14" y="149"/>
                  </a:cxn>
                  <a:cxn ang="0">
                    <a:pos x="21" y="150"/>
                  </a:cxn>
                  <a:cxn ang="0">
                    <a:pos x="30" y="153"/>
                  </a:cxn>
                  <a:cxn ang="0">
                    <a:pos x="36" y="155"/>
                  </a:cxn>
                  <a:cxn ang="0">
                    <a:pos x="41" y="167"/>
                  </a:cxn>
                  <a:cxn ang="0">
                    <a:pos x="64" y="172"/>
                  </a:cxn>
                  <a:cxn ang="0">
                    <a:pos x="75" y="182"/>
                  </a:cxn>
                  <a:cxn ang="0">
                    <a:pos x="225" y="224"/>
                  </a:cxn>
                  <a:cxn ang="0">
                    <a:pos x="239" y="68"/>
                  </a:cxn>
                  <a:cxn ang="0">
                    <a:pos x="238" y="54"/>
                  </a:cxn>
                  <a:cxn ang="0">
                    <a:pos x="239" y="44"/>
                  </a:cxn>
                  <a:cxn ang="0">
                    <a:pos x="240" y="31"/>
                  </a:cxn>
                  <a:cxn ang="0">
                    <a:pos x="243" y="20"/>
                  </a:cxn>
                  <a:cxn ang="0">
                    <a:pos x="242" y="20"/>
                  </a:cxn>
                  <a:cxn ang="0">
                    <a:pos x="221" y="14"/>
                  </a:cxn>
                  <a:cxn ang="0">
                    <a:pos x="213" y="11"/>
                  </a:cxn>
                  <a:cxn ang="0">
                    <a:pos x="201" y="2"/>
                  </a:cxn>
                  <a:cxn ang="0">
                    <a:pos x="191" y="1"/>
                  </a:cxn>
                  <a:cxn ang="0">
                    <a:pos x="164" y="14"/>
                  </a:cxn>
                  <a:cxn ang="0">
                    <a:pos x="161" y="20"/>
                  </a:cxn>
                  <a:cxn ang="0">
                    <a:pos x="164" y="35"/>
                  </a:cxn>
                  <a:cxn ang="0">
                    <a:pos x="162" y="41"/>
                  </a:cxn>
                  <a:cxn ang="0">
                    <a:pos x="144" y="45"/>
                  </a:cxn>
                  <a:cxn ang="0">
                    <a:pos x="131" y="35"/>
                  </a:cxn>
                  <a:cxn ang="0">
                    <a:pos x="108" y="29"/>
                  </a:cxn>
                  <a:cxn ang="0">
                    <a:pos x="97" y="27"/>
                  </a:cxn>
                  <a:cxn ang="0">
                    <a:pos x="93" y="18"/>
                  </a:cxn>
                  <a:cxn ang="0">
                    <a:pos x="87" y="11"/>
                  </a:cxn>
                  <a:cxn ang="0">
                    <a:pos x="75" y="7"/>
                  </a:cxn>
                  <a:cxn ang="0">
                    <a:pos x="53" y="4"/>
                  </a:cxn>
                  <a:cxn ang="0">
                    <a:pos x="43" y="2"/>
                  </a:cxn>
                  <a:cxn ang="0">
                    <a:pos x="34" y="8"/>
                  </a:cxn>
                  <a:cxn ang="0">
                    <a:pos x="31" y="12"/>
                  </a:cxn>
                </a:cxnLst>
                <a:rect l="0" t="0" r="r" b="b"/>
                <a:pathLst>
                  <a:path w="243" h="233">
                    <a:moveTo>
                      <a:pt x="27" y="12"/>
                    </a:moveTo>
                    <a:lnTo>
                      <a:pt x="27" y="12"/>
                    </a:lnTo>
                    <a:lnTo>
                      <a:pt x="21" y="18"/>
                    </a:lnTo>
                    <a:lnTo>
                      <a:pt x="14" y="24"/>
                    </a:lnTo>
                    <a:lnTo>
                      <a:pt x="14" y="24"/>
                    </a:lnTo>
                    <a:lnTo>
                      <a:pt x="13" y="28"/>
                    </a:lnTo>
                    <a:lnTo>
                      <a:pt x="13" y="31"/>
                    </a:lnTo>
                    <a:lnTo>
                      <a:pt x="13" y="31"/>
                    </a:lnTo>
                    <a:lnTo>
                      <a:pt x="13" y="37"/>
                    </a:lnTo>
                    <a:lnTo>
                      <a:pt x="10" y="44"/>
                    </a:lnTo>
                    <a:lnTo>
                      <a:pt x="10" y="44"/>
                    </a:lnTo>
                    <a:lnTo>
                      <a:pt x="7" y="47"/>
                    </a:lnTo>
                    <a:lnTo>
                      <a:pt x="4" y="49"/>
                    </a:lnTo>
                    <a:lnTo>
                      <a:pt x="1" y="52"/>
                    </a:lnTo>
                    <a:lnTo>
                      <a:pt x="0" y="54"/>
                    </a:lnTo>
                    <a:lnTo>
                      <a:pt x="0" y="54"/>
                    </a:lnTo>
                    <a:lnTo>
                      <a:pt x="0" y="56"/>
                    </a:lnTo>
                    <a:lnTo>
                      <a:pt x="3" y="59"/>
                    </a:lnTo>
                    <a:lnTo>
                      <a:pt x="7" y="68"/>
                    </a:lnTo>
                    <a:lnTo>
                      <a:pt x="7" y="68"/>
                    </a:lnTo>
                    <a:lnTo>
                      <a:pt x="9" y="74"/>
                    </a:lnTo>
                    <a:lnTo>
                      <a:pt x="7" y="78"/>
                    </a:lnTo>
                    <a:lnTo>
                      <a:pt x="6" y="81"/>
                    </a:lnTo>
                    <a:lnTo>
                      <a:pt x="7" y="85"/>
                    </a:lnTo>
                    <a:lnTo>
                      <a:pt x="7" y="85"/>
                    </a:lnTo>
                    <a:lnTo>
                      <a:pt x="9" y="89"/>
                    </a:lnTo>
                    <a:lnTo>
                      <a:pt x="9" y="92"/>
                    </a:lnTo>
                    <a:lnTo>
                      <a:pt x="6" y="96"/>
                    </a:lnTo>
                    <a:lnTo>
                      <a:pt x="6" y="96"/>
                    </a:lnTo>
                    <a:lnTo>
                      <a:pt x="4" y="98"/>
                    </a:lnTo>
                    <a:lnTo>
                      <a:pt x="4" y="101"/>
                    </a:lnTo>
                    <a:lnTo>
                      <a:pt x="6" y="106"/>
                    </a:lnTo>
                    <a:lnTo>
                      <a:pt x="6" y="106"/>
                    </a:lnTo>
                    <a:lnTo>
                      <a:pt x="7" y="111"/>
                    </a:lnTo>
                    <a:lnTo>
                      <a:pt x="9" y="112"/>
                    </a:lnTo>
                    <a:lnTo>
                      <a:pt x="9" y="113"/>
                    </a:lnTo>
                    <a:lnTo>
                      <a:pt x="9" y="113"/>
                    </a:lnTo>
                    <a:lnTo>
                      <a:pt x="4" y="116"/>
                    </a:lnTo>
                    <a:lnTo>
                      <a:pt x="1" y="119"/>
                    </a:lnTo>
                    <a:lnTo>
                      <a:pt x="1" y="121"/>
                    </a:lnTo>
                    <a:lnTo>
                      <a:pt x="1" y="121"/>
                    </a:lnTo>
                    <a:lnTo>
                      <a:pt x="1" y="123"/>
                    </a:lnTo>
                    <a:lnTo>
                      <a:pt x="3" y="125"/>
                    </a:lnTo>
                    <a:lnTo>
                      <a:pt x="9" y="132"/>
                    </a:lnTo>
                    <a:lnTo>
                      <a:pt x="9" y="132"/>
                    </a:lnTo>
                    <a:lnTo>
                      <a:pt x="10" y="135"/>
                    </a:lnTo>
                    <a:lnTo>
                      <a:pt x="10" y="138"/>
                    </a:lnTo>
                    <a:lnTo>
                      <a:pt x="10" y="143"/>
                    </a:lnTo>
                    <a:lnTo>
                      <a:pt x="10" y="143"/>
                    </a:lnTo>
                    <a:lnTo>
                      <a:pt x="11" y="146"/>
                    </a:lnTo>
                    <a:lnTo>
                      <a:pt x="14" y="149"/>
                    </a:lnTo>
                    <a:lnTo>
                      <a:pt x="17" y="150"/>
                    </a:lnTo>
                    <a:lnTo>
                      <a:pt x="21" y="150"/>
                    </a:lnTo>
                    <a:lnTo>
                      <a:pt x="21" y="150"/>
                    </a:lnTo>
                    <a:lnTo>
                      <a:pt x="24" y="150"/>
                    </a:lnTo>
                    <a:lnTo>
                      <a:pt x="27" y="152"/>
                    </a:lnTo>
                    <a:lnTo>
                      <a:pt x="30" y="153"/>
                    </a:lnTo>
                    <a:lnTo>
                      <a:pt x="33" y="153"/>
                    </a:lnTo>
                    <a:lnTo>
                      <a:pt x="33" y="153"/>
                    </a:lnTo>
                    <a:lnTo>
                      <a:pt x="36" y="155"/>
                    </a:lnTo>
                    <a:lnTo>
                      <a:pt x="37" y="157"/>
                    </a:lnTo>
                    <a:lnTo>
                      <a:pt x="41" y="167"/>
                    </a:lnTo>
                    <a:lnTo>
                      <a:pt x="41" y="167"/>
                    </a:lnTo>
                    <a:lnTo>
                      <a:pt x="51" y="167"/>
                    </a:lnTo>
                    <a:lnTo>
                      <a:pt x="58" y="169"/>
                    </a:lnTo>
                    <a:lnTo>
                      <a:pt x="64" y="172"/>
                    </a:lnTo>
                    <a:lnTo>
                      <a:pt x="64" y="172"/>
                    </a:lnTo>
                    <a:lnTo>
                      <a:pt x="73" y="179"/>
                    </a:lnTo>
                    <a:lnTo>
                      <a:pt x="75" y="182"/>
                    </a:lnTo>
                    <a:lnTo>
                      <a:pt x="102" y="167"/>
                    </a:lnTo>
                    <a:lnTo>
                      <a:pt x="225" y="233"/>
                    </a:lnTo>
                    <a:lnTo>
                      <a:pt x="225" y="224"/>
                    </a:lnTo>
                    <a:lnTo>
                      <a:pt x="239" y="224"/>
                    </a:lnTo>
                    <a:lnTo>
                      <a:pt x="239" y="224"/>
                    </a:lnTo>
                    <a:lnTo>
                      <a:pt x="239" y="68"/>
                    </a:lnTo>
                    <a:lnTo>
                      <a:pt x="239" y="68"/>
                    </a:lnTo>
                    <a:lnTo>
                      <a:pt x="239" y="59"/>
                    </a:lnTo>
                    <a:lnTo>
                      <a:pt x="238" y="54"/>
                    </a:lnTo>
                    <a:lnTo>
                      <a:pt x="238" y="48"/>
                    </a:lnTo>
                    <a:lnTo>
                      <a:pt x="239" y="44"/>
                    </a:lnTo>
                    <a:lnTo>
                      <a:pt x="239" y="44"/>
                    </a:lnTo>
                    <a:lnTo>
                      <a:pt x="240" y="39"/>
                    </a:lnTo>
                    <a:lnTo>
                      <a:pt x="240" y="35"/>
                    </a:lnTo>
                    <a:lnTo>
                      <a:pt x="240" y="31"/>
                    </a:lnTo>
                    <a:lnTo>
                      <a:pt x="240" y="24"/>
                    </a:lnTo>
                    <a:lnTo>
                      <a:pt x="240" y="24"/>
                    </a:lnTo>
                    <a:lnTo>
                      <a:pt x="243" y="20"/>
                    </a:lnTo>
                    <a:lnTo>
                      <a:pt x="243" y="20"/>
                    </a:lnTo>
                    <a:lnTo>
                      <a:pt x="242" y="20"/>
                    </a:lnTo>
                    <a:lnTo>
                      <a:pt x="242" y="20"/>
                    </a:lnTo>
                    <a:lnTo>
                      <a:pt x="240" y="18"/>
                    </a:lnTo>
                    <a:lnTo>
                      <a:pt x="236" y="17"/>
                    </a:lnTo>
                    <a:lnTo>
                      <a:pt x="221" y="14"/>
                    </a:lnTo>
                    <a:lnTo>
                      <a:pt x="221" y="14"/>
                    </a:lnTo>
                    <a:lnTo>
                      <a:pt x="216" y="12"/>
                    </a:lnTo>
                    <a:lnTo>
                      <a:pt x="213" y="11"/>
                    </a:lnTo>
                    <a:lnTo>
                      <a:pt x="209" y="7"/>
                    </a:lnTo>
                    <a:lnTo>
                      <a:pt x="205" y="4"/>
                    </a:lnTo>
                    <a:lnTo>
                      <a:pt x="201" y="2"/>
                    </a:lnTo>
                    <a:lnTo>
                      <a:pt x="196" y="1"/>
                    </a:lnTo>
                    <a:lnTo>
                      <a:pt x="196" y="1"/>
                    </a:lnTo>
                    <a:lnTo>
                      <a:pt x="191" y="1"/>
                    </a:lnTo>
                    <a:lnTo>
                      <a:pt x="184" y="2"/>
                    </a:lnTo>
                    <a:lnTo>
                      <a:pt x="172" y="7"/>
                    </a:lnTo>
                    <a:lnTo>
                      <a:pt x="164" y="14"/>
                    </a:lnTo>
                    <a:lnTo>
                      <a:pt x="161" y="17"/>
                    </a:lnTo>
                    <a:lnTo>
                      <a:pt x="161" y="20"/>
                    </a:lnTo>
                    <a:lnTo>
                      <a:pt x="161" y="20"/>
                    </a:lnTo>
                    <a:lnTo>
                      <a:pt x="161" y="24"/>
                    </a:lnTo>
                    <a:lnTo>
                      <a:pt x="164" y="29"/>
                    </a:lnTo>
                    <a:lnTo>
                      <a:pt x="164" y="35"/>
                    </a:lnTo>
                    <a:lnTo>
                      <a:pt x="164" y="38"/>
                    </a:lnTo>
                    <a:lnTo>
                      <a:pt x="162" y="41"/>
                    </a:lnTo>
                    <a:lnTo>
                      <a:pt x="162" y="41"/>
                    </a:lnTo>
                    <a:lnTo>
                      <a:pt x="158" y="44"/>
                    </a:lnTo>
                    <a:lnTo>
                      <a:pt x="151" y="45"/>
                    </a:lnTo>
                    <a:lnTo>
                      <a:pt x="144" y="45"/>
                    </a:lnTo>
                    <a:lnTo>
                      <a:pt x="138" y="41"/>
                    </a:lnTo>
                    <a:lnTo>
                      <a:pt x="138" y="41"/>
                    </a:lnTo>
                    <a:lnTo>
                      <a:pt x="131" y="35"/>
                    </a:lnTo>
                    <a:lnTo>
                      <a:pt x="124" y="32"/>
                    </a:lnTo>
                    <a:lnTo>
                      <a:pt x="115" y="31"/>
                    </a:lnTo>
                    <a:lnTo>
                      <a:pt x="108" y="29"/>
                    </a:lnTo>
                    <a:lnTo>
                      <a:pt x="108" y="29"/>
                    </a:lnTo>
                    <a:lnTo>
                      <a:pt x="101" y="29"/>
                    </a:lnTo>
                    <a:lnTo>
                      <a:pt x="97" y="27"/>
                    </a:lnTo>
                    <a:lnTo>
                      <a:pt x="93" y="22"/>
                    </a:lnTo>
                    <a:lnTo>
                      <a:pt x="93" y="18"/>
                    </a:lnTo>
                    <a:lnTo>
                      <a:pt x="93" y="18"/>
                    </a:lnTo>
                    <a:lnTo>
                      <a:pt x="93" y="15"/>
                    </a:lnTo>
                    <a:lnTo>
                      <a:pt x="90" y="12"/>
                    </a:lnTo>
                    <a:lnTo>
                      <a:pt x="87" y="11"/>
                    </a:lnTo>
                    <a:lnTo>
                      <a:pt x="83" y="10"/>
                    </a:lnTo>
                    <a:lnTo>
                      <a:pt x="83" y="10"/>
                    </a:lnTo>
                    <a:lnTo>
                      <a:pt x="75" y="7"/>
                    </a:lnTo>
                    <a:lnTo>
                      <a:pt x="70" y="5"/>
                    </a:lnTo>
                    <a:lnTo>
                      <a:pt x="63" y="2"/>
                    </a:lnTo>
                    <a:lnTo>
                      <a:pt x="53" y="4"/>
                    </a:lnTo>
                    <a:lnTo>
                      <a:pt x="53" y="4"/>
                    </a:lnTo>
                    <a:lnTo>
                      <a:pt x="47" y="4"/>
                    </a:lnTo>
                    <a:lnTo>
                      <a:pt x="43" y="2"/>
                    </a:lnTo>
                    <a:lnTo>
                      <a:pt x="34" y="0"/>
                    </a:lnTo>
                    <a:lnTo>
                      <a:pt x="34" y="0"/>
                    </a:lnTo>
                    <a:lnTo>
                      <a:pt x="34" y="8"/>
                    </a:lnTo>
                    <a:lnTo>
                      <a:pt x="34" y="8"/>
                    </a:lnTo>
                    <a:lnTo>
                      <a:pt x="33" y="11"/>
                    </a:lnTo>
                    <a:lnTo>
                      <a:pt x="31" y="12"/>
                    </a:lnTo>
                    <a:lnTo>
                      <a:pt x="27" y="12"/>
                    </a:lnTo>
                    <a:lnTo>
                      <a:pt x="27" y="1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61" name="Eritrea">
                <a:extLst>
                  <a:ext uri="{FF2B5EF4-FFF2-40B4-BE49-F238E27FC236}">
                    <a16:creationId xmlns:a16="http://schemas.microsoft.com/office/drawing/2014/main" id="{3C23E3D8-64CE-4C4E-A6C0-6A75004E67ED}"/>
                  </a:ext>
                </a:extLst>
              </p:cNvPr>
              <p:cNvSpPr>
                <a:spLocks/>
              </p:cNvSpPr>
              <p:nvPr/>
            </p:nvSpPr>
            <p:spPr bwMode="auto">
              <a:xfrm>
                <a:off x="5172792" y="3873204"/>
                <a:ext cx="158338" cy="137620"/>
              </a:xfrm>
              <a:custGeom>
                <a:avLst/>
                <a:gdLst/>
                <a:ahLst/>
                <a:cxnLst>
                  <a:cxn ang="0">
                    <a:pos x="19" y="15"/>
                  </a:cxn>
                  <a:cxn ang="0">
                    <a:pos x="10" y="22"/>
                  </a:cxn>
                  <a:cxn ang="0">
                    <a:pos x="9" y="25"/>
                  </a:cxn>
                  <a:cxn ang="0">
                    <a:pos x="9" y="32"/>
                  </a:cxn>
                  <a:cxn ang="0">
                    <a:pos x="3" y="40"/>
                  </a:cxn>
                  <a:cxn ang="0">
                    <a:pos x="0" y="50"/>
                  </a:cxn>
                  <a:cxn ang="0">
                    <a:pos x="3" y="62"/>
                  </a:cxn>
                  <a:cxn ang="0">
                    <a:pos x="16" y="63"/>
                  </a:cxn>
                  <a:cxn ang="0">
                    <a:pos x="17" y="63"/>
                  </a:cxn>
                  <a:cxn ang="0">
                    <a:pos x="21" y="57"/>
                  </a:cxn>
                  <a:cxn ang="0">
                    <a:pos x="23" y="55"/>
                  </a:cxn>
                  <a:cxn ang="0">
                    <a:pos x="26" y="55"/>
                  </a:cxn>
                  <a:cxn ang="0">
                    <a:pos x="29" y="56"/>
                  </a:cxn>
                  <a:cxn ang="0">
                    <a:pos x="36" y="60"/>
                  </a:cxn>
                  <a:cxn ang="0">
                    <a:pos x="39" y="59"/>
                  </a:cxn>
                  <a:cxn ang="0">
                    <a:pos x="46" y="59"/>
                  </a:cxn>
                  <a:cxn ang="0">
                    <a:pos x="53" y="60"/>
                  </a:cxn>
                  <a:cxn ang="0">
                    <a:pos x="61" y="59"/>
                  </a:cxn>
                  <a:cxn ang="0">
                    <a:pos x="80" y="76"/>
                  </a:cxn>
                  <a:cxn ang="0">
                    <a:pos x="95" y="93"/>
                  </a:cxn>
                  <a:cxn ang="0">
                    <a:pos x="95" y="93"/>
                  </a:cxn>
                  <a:cxn ang="0">
                    <a:pos x="103" y="93"/>
                  </a:cxn>
                  <a:cxn ang="0">
                    <a:pos x="107" y="89"/>
                  </a:cxn>
                  <a:cxn ang="0">
                    <a:pos x="100" y="82"/>
                  </a:cxn>
                  <a:cxn ang="0">
                    <a:pos x="90" y="70"/>
                  </a:cxn>
                  <a:cxn ang="0">
                    <a:pos x="76" y="57"/>
                  </a:cxn>
                  <a:cxn ang="0">
                    <a:pos x="64" y="53"/>
                  </a:cxn>
                  <a:cxn ang="0">
                    <a:pos x="63" y="52"/>
                  </a:cxn>
                  <a:cxn ang="0">
                    <a:pos x="58" y="47"/>
                  </a:cxn>
                  <a:cxn ang="0">
                    <a:pos x="54" y="42"/>
                  </a:cxn>
                  <a:cxn ang="0">
                    <a:pos x="51" y="40"/>
                  </a:cxn>
                  <a:cxn ang="0">
                    <a:pos x="44" y="26"/>
                  </a:cxn>
                  <a:cxn ang="0">
                    <a:pos x="43" y="19"/>
                  </a:cxn>
                  <a:cxn ang="0">
                    <a:pos x="40" y="10"/>
                  </a:cxn>
                  <a:cxn ang="0">
                    <a:pos x="34" y="0"/>
                  </a:cxn>
                  <a:cxn ang="0">
                    <a:pos x="24" y="10"/>
                  </a:cxn>
                  <a:cxn ang="0">
                    <a:pos x="19" y="15"/>
                  </a:cxn>
                </a:cxnLst>
                <a:rect l="0" t="0" r="r" b="b"/>
                <a:pathLst>
                  <a:path w="107" h="93">
                    <a:moveTo>
                      <a:pt x="19" y="15"/>
                    </a:moveTo>
                    <a:lnTo>
                      <a:pt x="19" y="15"/>
                    </a:lnTo>
                    <a:lnTo>
                      <a:pt x="13" y="19"/>
                    </a:lnTo>
                    <a:lnTo>
                      <a:pt x="10" y="22"/>
                    </a:lnTo>
                    <a:lnTo>
                      <a:pt x="9" y="25"/>
                    </a:lnTo>
                    <a:lnTo>
                      <a:pt x="9" y="25"/>
                    </a:lnTo>
                    <a:lnTo>
                      <a:pt x="10" y="28"/>
                    </a:lnTo>
                    <a:lnTo>
                      <a:pt x="9" y="32"/>
                    </a:lnTo>
                    <a:lnTo>
                      <a:pt x="3" y="40"/>
                    </a:lnTo>
                    <a:lnTo>
                      <a:pt x="3" y="40"/>
                    </a:lnTo>
                    <a:lnTo>
                      <a:pt x="2" y="45"/>
                    </a:lnTo>
                    <a:lnTo>
                      <a:pt x="0" y="50"/>
                    </a:lnTo>
                    <a:lnTo>
                      <a:pt x="3" y="62"/>
                    </a:lnTo>
                    <a:lnTo>
                      <a:pt x="3" y="62"/>
                    </a:lnTo>
                    <a:lnTo>
                      <a:pt x="12" y="62"/>
                    </a:lnTo>
                    <a:lnTo>
                      <a:pt x="16" y="63"/>
                    </a:lnTo>
                    <a:lnTo>
                      <a:pt x="16" y="63"/>
                    </a:lnTo>
                    <a:lnTo>
                      <a:pt x="17" y="63"/>
                    </a:lnTo>
                    <a:lnTo>
                      <a:pt x="19" y="63"/>
                    </a:lnTo>
                    <a:lnTo>
                      <a:pt x="21" y="57"/>
                    </a:lnTo>
                    <a:lnTo>
                      <a:pt x="21" y="57"/>
                    </a:lnTo>
                    <a:lnTo>
                      <a:pt x="23" y="55"/>
                    </a:lnTo>
                    <a:lnTo>
                      <a:pt x="24" y="53"/>
                    </a:lnTo>
                    <a:lnTo>
                      <a:pt x="26" y="55"/>
                    </a:lnTo>
                    <a:lnTo>
                      <a:pt x="29" y="56"/>
                    </a:lnTo>
                    <a:lnTo>
                      <a:pt x="29" y="56"/>
                    </a:lnTo>
                    <a:lnTo>
                      <a:pt x="33" y="59"/>
                    </a:lnTo>
                    <a:lnTo>
                      <a:pt x="36" y="60"/>
                    </a:lnTo>
                    <a:lnTo>
                      <a:pt x="39" y="59"/>
                    </a:lnTo>
                    <a:lnTo>
                      <a:pt x="39" y="59"/>
                    </a:lnTo>
                    <a:lnTo>
                      <a:pt x="43" y="59"/>
                    </a:lnTo>
                    <a:lnTo>
                      <a:pt x="46" y="59"/>
                    </a:lnTo>
                    <a:lnTo>
                      <a:pt x="46" y="59"/>
                    </a:lnTo>
                    <a:lnTo>
                      <a:pt x="53" y="60"/>
                    </a:lnTo>
                    <a:lnTo>
                      <a:pt x="61" y="59"/>
                    </a:lnTo>
                    <a:lnTo>
                      <a:pt x="61" y="59"/>
                    </a:lnTo>
                    <a:lnTo>
                      <a:pt x="68" y="65"/>
                    </a:lnTo>
                    <a:lnTo>
                      <a:pt x="80" y="76"/>
                    </a:lnTo>
                    <a:lnTo>
                      <a:pt x="95" y="93"/>
                    </a:lnTo>
                    <a:lnTo>
                      <a:pt x="95" y="93"/>
                    </a:lnTo>
                    <a:lnTo>
                      <a:pt x="95" y="93"/>
                    </a:lnTo>
                    <a:lnTo>
                      <a:pt x="95" y="93"/>
                    </a:lnTo>
                    <a:lnTo>
                      <a:pt x="100" y="93"/>
                    </a:lnTo>
                    <a:lnTo>
                      <a:pt x="103" y="93"/>
                    </a:lnTo>
                    <a:lnTo>
                      <a:pt x="103" y="93"/>
                    </a:lnTo>
                    <a:lnTo>
                      <a:pt x="107" y="89"/>
                    </a:lnTo>
                    <a:lnTo>
                      <a:pt x="107" y="89"/>
                    </a:lnTo>
                    <a:lnTo>
                      <a:pt x="100" y="82"/>
                    </a:lnTo>
                    <a:lnTo>
                      <a:pt x="90" y="70"/>
                    </a:lnTo>
                    <a:lnTo>
                      <a:pt x="90" y="70"/>
                    </a:lnTo>
                    <a:lnTo>
                      <a:pt x="83" y="63"/>
                    </a:lnTo>
                    <a:lnTo>
                      <a:pt x="76" y="57"/>
                    </a:lnTo>
                    <a:lnTo>
                      <a:pt x="70" y="53"/>
                    </a:lnTo>
                    <a:lnTo>
                      <a:pt x="64" y="53"/>
                    </a:lnTo>
                    <a:lnTo>
                      <a:pt x="64" y="53"/>
                    </a:lnTo>
                    <a:lnTo>
                      <a:pt x="63" y="52"/>
                    </a:lnTo>
                    <a:lnTo>
                      <a:pt x="61" y="52"/>
                    </a:lnTo>
                    <a:lnTo>
                      <a:pt x="58" y="47"/>
                    </a:lnTo>
                    <a:lnTo>
                      <a:pt x="57" y="45"/>
                    </a:lnTo>
                    <a:lnTo>
                      <a:pt x="54" y="42"/>
                    </a:lnTo>
                    <a:lnTo>
                      <a:pt x="54" y="42"/>
                    </a:lnTo>
                    <a:lnTo>
                      <a:pt x="51" y="40"/>
                    </a:lnTo>
                    <a:lnTo>
                      <a:pt x="47" y="33"/>
                    </a:lnTo>
                    <a:lnTo>
                      <a:pt x="44" y="26"/>
                    </a:lnTo>
                    <a:lnTo>
                      <a:pt x="43" y="19"/>
                    </a:lnTo>
                    <a:lnTo>
                      <a:pt x="43" y="19"/>
                    </a:lnTo>
                    <a:lnTo>
                      <a:pt x="41" y="15"/>
                    </a:lnTo>
                    <a:lnTo>
                      <a:pt x="40" y="10"/>
                    </a:lnTo>
                    <a:lnTo>
                      <a:pt x="34" y="0"/>
                    </a:lnTo>
                    <a:lnTo>
                      <a:pt x="34" y="0"/>
                    </a:lnTo>
                    <a:lnTo>
                      <a:pt x="29" y="6"/>
                    </a:lnTo>
                    <a:lnTo>
                      <a:pt x="24" y="10"/>
                    </a:lnTo>
                    <a:lnTo>
                      <a:pt x="19" y="15"/>
                    </a:lnTo>
                    <a:lnTo>
                      <a:pt x="19" y="1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86" name="Asia">
              <a:extLst>
                <a:ext uri="{FF2B5EF4-FFF2-40B4-BE49-F238E27FC236}">
                  <a16:creationId xmlns:a16="http://schemas.microsoft.com/office/drawing/2014/main" id="{7B875672-0F66-AB4A-BCB3-C0C0DFBD5D66}"/>
                </a:ext>
              </a:extLst>
            </p:cNvPr>
            <p:cNvGrpSpPr/>
            <p:nvPr/>
          </p:nvGrpSpPr>
          <p:grpSpPr>
            <a:xfrm>
              <a:off x="9205019" y="2342186"/>
              <a:ext cx="1751190" cy="1329174"/>
              <a:chOff x="5943760" y="2896547"/>
              <a:chExt cx="2216715" cy="1682513"/>
            </a:xfrm>
            <a:grpFill/>
          </p:grpSpPr>
          <p:sp>
            <p:nvSpPr>
              <p:cNvPr id="1790" name="China (Aksai Chin)">
                <a:extLst>
                  <a:ext uri="{FF2B5EF4-FFF2-40B4-BE49-F238E27FC236}">
                    <a16:creationId xmlns:a16="http://schemas.microsoft.com/office/drawing/2014/main" id="{EDD8AB33-4E7E-E243-9A1D-AAEC2F5909CE}"/>
                  </a:ext>
                </a:extLst>
              </p:cNvPr>
              <p:cNvSpPr>
                <a:spLocks/>
              </p:cNvSpPr>
              <p:nvPr/>
            </p:nvSpPr>
            <p:spPr bwMode="auto">
              <a:xfrm>
                <a:off x="6174607" y="3417430"/>
                <a:ext cx="54753" cy="50312"/>
              </a:xfrm>
              <a:custGeom>
                <a:avLst/>
                <a:gdLst/>
                <a:ahLst/>
                <a:cxnLst>
                  <a:cxn ang="0">
                    <a:pos x="19" y="0"/>
                  </a:cxn>
                  <a:cxn ang="0">
                    <a:pos x="19" y="0"/>
                  </a:cxn>
                  <a:cxn ang="0">
                    <a:pos x="13" y="0"/>
                  </a:cxn>
                  <a:cxn ang="0">
                    <a:pos x="7" y="3"/>
                  </a:cxn>
                  <a:cxn ang="0">
                    <a:pos x="3" y="5"/>
                  </a:cxn>
                  <a:cxn ang="0">
                    <a:pos x="0" y="10"/>
                  </a:cxn>
                  <a:cxn ang="0">
                    <a:pos x="0" y="10"/>
                  </a:cxn>
                  <a:cxn ang="0">
                    <a:pos x="3" y="14"/>
                  </a:cxn>
                  <a:cxn ang="0">
                    <a:pos x="3" y="14"/>
                  </a:cxn>
                  <a:cxn ang="0">
                    <a:pos x="5" y="17"/>
                  </a:cxn>
                  <a:cxn ang="0">
                    <a:pos x="6" y="20"/>
                  </a:cxn>
                  <a:cxn ang="0">
                    <a:pos x="13" y="25"/>
                  </a:cxn>
                  <a:cxn ang="0">
                    <a:pos x="13" y="25"/>
                  </a:cxn>
                  <a:cxn ang="0">
                    <a:pos x="15" y="27"/>
                  </a:cxn>
                  <a:cxn ang="0">
                    <a:pos x="15" y="28"/>
                  </a:cxn>
                  <a:cxn ang="0">
                    <a:pos x="15" y="34"/>
                  </a:cxn>
                  <a:cxn ang="0">
                    <a:pos x="15" y="34"/>
                  </a:cxn>
                  <a:cxn ang="0">
                    <a:pos x="22" y="34"/>
                  </a:cxn>
                  <a:cxn ang="0">
                    <a:pos x="22" y="34"/>
                  </a:cxn>
                  <a:cxn ang="0">
                    <a:pos x="26" y="31"/>
                  </a:cxn>
                  <a:cxn ang="0">
                    <a:pos x="30" y="25"/>
                  </a:cxn>
                  <a:cxn ang="0">
                    <a:pos x="37" y="14"/>
                  </a:cxn>
                  <a:cxn ang="0">
                    <a:pos x="37" y="14"/>
                  </a:cxn>
                  <a:cxn ang="0">
                    <a:pos x="37" y="13"/>
                  </a:cxn>
                  <a:cxn ang="0">
                    <a:pos x="36" y="11"/>
                  </a:cxn>
                  <a:cxn ang="0">
                    <a:pos x="30" y="5"/>
                  </a:cxn>
                  <a:cxn ang="0">
                    <a:pos x="24" y="1"/>
                  </a:cxn>
                  <a:cxn ang="0">
                    <a:pos x="19" y="0"/>
                  </a:cxn>
                  <a:cxn ang="0">
                    <a:pos x="19" y="0"/>
                  </a:cxn>
                </a:cxnLst>
                <a:rect l="0" t="0" r="r" b="b"/>
                <a:pathLst>
                  <a:path w="37" h="34">
                    <a:moveTo>
                      <a:pt x="19" y="0"/>
                    </a:moveTo>
                    <a:lnTo>
                      <a:pt x="19" y="0"/>
                    </a:lnTo>
                    <a:lnTo>
                      <a:pt x="13" y="0"/>
                    </a:lnTo>
                    <a:lnTo>
                      <a:pt x="7" y="3"/>
                    </a:lnTo>
                    <a:lnTo>
                      <a:pt x="3" y="5"/>
                    </a:lnTo>
                    <a:lnTo>
                      <a:pt x="0" y="10"/>
                    </a:lnTo>
                    <a:lnTo>
                      <a:pt x="0" y="10"/>
                    </a:lnTo>
                    <a:lnTo>
                      <a:pt x="3" y="14"/>
                    </a:lnTo>
                    <a:lnTo>
                      <a:pt x="3" y="14"/>
                    </a:lnTo>
                    <a:lnTo>
                      <a:pt x="5" y="17"/>
                    </a:lnTo>
                    <a:lnTo>
                      <a:pt x="6" y="20"/>
                    </a:lnTo>
                    <a:lnTo>
                      <a:pt x="13" y="25"/>
                    </a:lnTo>
                    <a:lnTo>
                      <a:pt x="13" y="25"/>
                    </a:lnTo>
                    <a:lnTo>
                      <a:pt x="15" y="27"/>
                    </a:lnTo>
                    <a:lnTo>
                      <a:pt x="15" y="28"/>
                    </a:lnTo>
                    <a:lnTo>
                      <a:pt x="15" y="34"/>
                    </a:lnTo>
                    <a:lnTo>
                      <a:pt x="15" y="34"/>
                    </a:lnTo>
                    <a:lnTo>
                      <a:pt x="22" y="34"/>
                    </a:lnTo>
                    <a:lnTo>
                      <a:pt x="22" y="34"/>
                    </a:lnTo>
                    <a:lnTo>
                      <a:pt x="26" y="31"/>
                    </a:lnTo>
                    <a:lnTo>
                      <a:pt x="30" y="25"/>
                    </a:lnTo>
                    <a:lnTo>
                      <a:pt x="37" y="14"/>
                    </a:lnTo>
                    <a:lnTo>
                      <a:pt x="37" y="14"/>
                    </a:lnTo>
                    <a:lnTo>
                      <a:pt x="37" y="13"/>
                    </a:lnTo>
                    <a:lnTo>
                      <a:pt x="36" y="11"/>
                    </a:lnTo>
                    <a:lnTo>
                      <a:pt x="30" y="5"/>
                    </a:lnTo>
                    <a:lnTo>
                      <a:pt x="24" y="1"/>
                    </a:lnTo>
                    <a:lnTo>
                      <a:pt x="19" y="0"/>
                    </a:lnTo>
                    <a:lnTo>
                      <a:pt x="19"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1" name="Indonesia">
                <a:extLst>
                  <a:ext uri="{FF2B5EF4-FFF2-40B4-BE49-F238E27FC236}">
                    <a16:creationId xmlns:a16="http://schemas.microsoft.com/office/drawing/2014/main" id="{3117CF29-2B9D-7244-9CE5-90A57F2D9760}"/>
                  </a:ext>
                </a:extLst>
              </p:cNvPr>
              <p:cNvSpPr>
                <a:spLocks noEditPoints="1"/>
              </p:cNvSpPr>
              <p:nvPr/>
            </p:nvSpPr>
            <p:spPr bwMode="auto">
              <a:xfrm>
                <a:off x="6557870" y="4180999"/>
                <a:ext cx="1086162" cy="383264"/>
              </a:xfrm>
              <a:custGeom>
                <a:avLst/>
                <a:gdLst/>
                <a:ahLst/>
                <a:cxnLst>
                  <a:cxn ang="0">
                    <a:pos x="397" y="182"/>
                  </a:cxn>
                  <a:cxn ang="0">
                    <a:pos x="406" y="138"/>
                  </a:cxn>
                  <a:cxn ang="0">
                    <a:pos x="418" y="167"/>
                  </a:cxn>
                  <a:cxn ang="0">
                    <a:pos x="431" y="135"/>
                  </a:cxn>
                  <a:cxn ang="0">
                    <a:pos x="448" y="103"/>
                  </a:cxn>
                  <a:cxn ang="0">
                    <a:pos x="396" y="103"/>
                  </a:cxn>
                  <a:cxn ang="0">
                    <a:pos x="461" y="84"/>
                  </a:cxn>
                  <a:cxn ang="0">
                    <a:pos x="420" y="71"/>
                  </a:cxn>
                  <a:cxn ang="0">
                    <a:pos x="389" y="103"/>
                  </a:cxn>
                  <a:cxn ang="0">
                    <a:pos x="169" y="162"/>
                  </a:cxn>
                  <a:cxn ang="0">
                    <a:pos x="181" y="134"/>
                  </a:cxn>
                  <a:cxn ang="0">
                    <a:pos x="167" y="127"/>
                  </a:cxn>
                  <a:cxn ang="0">
                    <a:pos x="151" y="123"/>
                  </a:cxn>
                  <a:cxn ang="0">
                    <a:pos x="132" y="97"/>
                  </a:cxn>
                  <a:cxn ang="0">
                    <a:pos x="115" y="74"/>
                  </a:cxn>
                  <a:cxn ang="0">
                    <a:pos x="86" y="57"/>
                  </a:cxn>
                  <a:cxn ang="0">
                    <a:pos x="41" y="13"/>
                  </a:cxn>
                  <a:cxn ang="0">
                    <a:pos x="6" y="19"/>
                  </a:cxn>
                  <a:cxn ang="0">
                    <a:pos x="57" y="81"/>
                  </a:cxn>
                  <a:cxn ang="0">
                    <a:pos x="110" y="152"/>
                  </a:cxn>
                  <a:cxn ang="0">
                    <a:pos x="154" y="184"/>
                  </a:cxn>
                  <a:cxn ang="0">
                    <a:pos x="537" y="74"/>
                  </a:cxn>
                  <a:cxn ang="0">
                    <a:pos x="517" y="64"/>
                  </a:cxn>
                  <a:cxn ang="0">
                    <a:pos x="528" y="86"/>
                  </a:cxn>
                  <a:cxn ang="0">
                    <a:pos x="502" y="142"/>
                  </a:cxn>
                  <a:cxn ang="0">
                    <a:pos x="421" y="228"/>
                  </a:cxn>
                  <a:cxn ang="0">
                    <a:pos x="443" y="232"/>
                  </a:cxn>
                  <a:cxn ang="0">
                    <a:pos x="525" y="144"/>
                  </a:cxn>
                  <a:cxn ang="0">
                    <a:pos x="568" y="148"/>
                  </a:cxn>
                  <a:cxn ang="0">
                    <a:pos x="276" y="214"/>
                  </a:cxn>
                  <a:cxn ang="0">
                    <a:pos x="245" y="199"/>
                  </a:cxn>
                  <a:cxn ang="0">
                    <a:pos x="174" y="188"/>
                  </a:cxn>
                  <a:cxn ang="0">
                    <a:pos x="181" y="211"/>
                  </a:cxn>
                  <a:cxn ang="0">
                    <a:pos x="246" y="225"/>
                  </a:cxn>
                  <a:cxn ang="0">
                    <a:pos x="310" y="231"/>
                  </a:cxn>
                  <a:cxn ang="0">
                    <a:pos x="677" y="117"/>
                  </a:cxn>
                  <a:cxn ang="0">
                    <a:pos x="636" y="145"/>
                  </a:cxn>
                  <a:cxn ang="0">
                    <a:pos x="586" y="101"/>
                  </a:cxn>
                  <a:cxn ang="0">
                    <a:pos x="586" y="120"/>
                  </a:cxn>
                  <a:cxn ang="0">
                    <a:pos x="606" y="134"/>
                  </a:cxn>
                  <a:cxn ang="0">
                    <a:pos x="606" y="158"/>
                  </a:cxn>
                  <a:cxn ang="0">
                    <a:pos x="642" y="165"/>
                  </a:cxn>
                  <a:cxn ang="0">
                    <a:pos x="702" y="211"/>
                  </a:cxn>
                  <a:cxn ang="0">
                    <a:pos x="717" y="224"/>
                  </a:cxn>
                  <a:cxn ang="0">
                    <a:pos x="470" y="239"/>
                  </a:cxn>
                  <a:cxn ang="0">
                    <a:pos x="454" y="259"/>
                  </a:cxn>
                  <a:cxn ang="0">
                    <a:pos x="474" y="236"/>
                  </a:cxn>
                  <a:cxn ang="0">
                    <a:pos x="377" y="76"/>
                  </a:cxn>
                  <a:cxn ang="0">
                    <a:pos x="353" y="37"/>
                  </a:cxn>
                  <a:cxn ang="0">
                    <a:pos x="343" y="22"/>
                  </a:cxn>
                  <a:cxn ang="0">
                    <a:pos x="316" y="50"/>
                  </a:cxn>
                  <a:cxn ang="0">
                    <a:pos x="282" y="67"/>
                  </a:cxn>
                  <a:cxn ang="0">
                    <a:pos x="235" y="71"/>
                  </a:cxn>
                  <a:cxn ang="0">
                    <a:pos x="215" y="81"/>
                  </a:cxn>
                  <a:cxn ang="0">
                    <a:pos x="242" y="135"/>
                  </a:cxn>
                  <a:cxn ang="0">
                    <a:pos x="286" y="145"/>
                  </a:cxn>
                  <a:cxn ang="0">
                    <a:pos x="336" y="134"/>
                  </a:cxn>
                  <a:cxn ang="0">
                    <a:pos x="406" y="259"/>
                  </a:cxn>
                  <a:cxn ang="0">
                    <a:pos x="347" y="228"/>
                  </a:cxn>
                  <a:cxn ang="0">
                    <a:pos x="356" y="239"/>
                  </a:cxn>
                  <a:cxn ang="0">
                    <a:pos x="354" y="225"/>
                  </a:cxn>
                </a:cxnLst>
                <a:rect l="0" t="0" r="r" b="b"/>
                <a:pathLst>
                  <a:path w="734" h="259">
                    <a:moveTo>
                      <a:pt x="386" y="150"/>
                    </a:moveTo>
                    <a:lnTo>
                      <a:pt x="386" y="150"/>
                    </a:lnTo>
                    <a:lnTo>
                      <a:pt x="387" y="150"/>
                    </a:lnTo>
                    <a:lnTo>
                      <a:pt x="390" y="151"/>
                    </a:lnTo>
                    <a:lnTo>
                      <a:pt x="391" y="155"/>
                    </a:lnTo>
                    <a:lnTo>
                      <a:pt x="391" y="161"/>
                    </a:lnTo>
                    <a:lnTo>
                      <a:pt x="390" y="167"/>
                    </a:lnTo>
                    <a:lnTo>
                      <a:pt x="390" y="167"/>
                    </a:lnTo>
                    <a:lnTo>
                      <a:pt x="389" y="179"/>
                    </a:lnTo>
                    <a:lnTo>
                      <a:pt x="389" y="184"/>
                    </a:lnTo>
                    <a:lnTo>
                      <a:pt x="390" y="185"/>
                    </a:lnTo>
                    <a:lnTo>
                      <a:pt x="393" y="185"/>
                    </a:lnTo>
                    <a:lnTo>
                      <a:pt x="393" y="185"/>
                    </a:lnTo>
                    <a:lnTo>
                      <a:pt x="397" y="182"/>
                    </a:lnTo>
                    <a:lnTo>
                      <a:pt x="400" y="178"/>
                    </a:lnTo>
                    <a:lnTo>
                      <a:pt x="401" y="172"/>
                    </a:lnTo>
                    <a:lnTo>
                      <a:pt x="401" y="171"/>
                    </a:lnTo>
                    <a:lnTo>
                      <a:pt x="400" y="169"/>
                    </a:lnTo>
                    <a:lnTo>
                      <a:pt x="400" y="169"/>
                    </a:lnTo>
                    <a:lnTo>
                      <a:pt x="399" y="168"/>
                    </a:lnTo>
                    <a:lnTo>
                      <a:pt x="399" y="164"/>
                    </a:lnTo>
                    <a:lnTo>
                      <a:pt x="397" y="155"/>
                    </a:lnTo>
                    <a:lnTo>
                      <a:pt x="397" y="147"/>
                    </a:lnTo>
                    <a:lnTo>
                      <a:pt x="399" y="140"/>
                    </a:lnTo>
                    <a:lnTo>
                      <a:pt x="399" y="140"/>
                    </a:lnTo>
                    <a:lnTo>
                      <a:pt x="400" y="138"/>
                    </a:lnTo>
                    <a:lnTo>
                      <a:pt x="401" y="138"/>
                    </a:lnTo>
                    <a:lnTo>
                      <a:pt x="406" y="138"/>
                    </a:lnTo>
                    <a:lnTo>
                      <a:pt x="408" y="140"/>
                    </a:lnTo>
                    <a:lnTo>
                      <a:pt x="408" y="141"/>
                    </a:lnTo>
                    <a:lnTo>
                      <a:pt x="410" y="144"/>
                    </a:lnTo>
                    <a:lnTo>
                      <a:pt x="408" y="147"/>
                    </a:lnTo>
                    <a:lnTo>
                      <a:pt x="408" y="147"/>
                    </a:lnTo>
                    <a:lnTo>
                      <a:pt x="408" y="150"/>
                    </a:lnTo>
                    <a:lnTo>
                      <a:pt x="408" y="151"/>
                    </a:lnTo>
                    <a:lnTo>
                      <a:pt x="411" y="154"/>
                    </a:lnTo>
                    <a:lnTo>
                      <a:pt x="416" y="158"/>
                    </a:lnTo>
                    <a:lnTo>
                      <a:pt x="416" y="160"/>
                    </a:lnTo>
                    <a:lnTo>
                      <a:pt x="417" y="162"/>
                    </a:lnTo>
                    <a:lnTo>
                      <a:pt x="417" y="162"/>
                    </a:lnTo>
                    <a:lnTo>
                      <a:pt x="417" y="165"/>
                    </a:lnTo>
                    <a:lnTo>
                      <a:pt x="418" y="167"/>
                    </a:lnTo>
                    <a:lnTo>
                      <a:pt x="420" y="168"/>
                    </a:lnTo>
                    <a:lnTo>
                      <a:pt x="421" y="168"/>
                    </a:lnTo>
                    <a:lnTo>
                      <a:pt x="431" y="165"/>
                    </a:lnTo>
                    <a:lnTo>
                      <a:pt x="431" y="165"/>
                    </a:lnTo>
                    <a:lnTo>
                      <a:pt x="436" y="162"/>
                    </a:lnTo>
                    <a:lnTo>
                      <a:pt x="437" y="160"/>
                    </a:lnTo>
                    <a:lnTo>
                      <a:pt x="436" y="157"/>
                    </a:lnTo>
                    <a:lnTo>
                      <a:pt x="433" y="152"/>
                    </a:lnTo>
                    <a:lnTo>
                      <a:pt x="433" y="152"/>
                    </a:lnTo>
                    <a:lnTo>
                      <a:pt x="431" y="150"/>
                    </a:lnTo>
                    <a:lnTo>
                      <a:pt x="431" y="148"/>
                    </a:lnTo>
                    <a:lnTo>
                      <a:pt x="431" y="142"/>
                    </a:lnTo>
                    <a:lnTo>
                      <a:pt x="431" y="138"/>
                    </a:lnTo>
                    <a:lnTo>
                      <a:pt x="431" y="135"/>
                    </a:lnTo>
                    <a:lnTo>
                      <a:pt x="430" y="134"/>
                    </a:lnTo>
                    <a:lnTo>
                      <a:pt x="430" y="134"/>
                    </a:lnTo>
                    <a:lnTo>
                      <a:pt x="424" y="130"/>
                    </a:lnTo>
                    <a:lnTo>
                      <a:pt x="421" y="125"/>
                    </a:lnTo>
                    <a:lnTo>
                      <a:pt x="421" y="123"/>
                    </a:lnTo>
                    <a:lnTo>
                      <a:pt x="421" y="121"/>
                    </a:lnTo>
                    <a:lnTo>
                      <a:pt x="424" y="121"/>
                    </a:lnTo>
                    <a:lnTo>
                      <a:pt x="424" y="121"/>
                    </a:lnTo>
                    <a:lnTo>
                      <a:pt x="431" y="118"/>
                    </a:lnTo>
                    <a:lnTo>
                      <a:pt x="440" y="113"/>
                    </a:lnTo>
                    <a:lnTo>
                      <a:pt x="447" y="107"/>
                    </a:lnTo>
                    <a:lnTo>
                      <a:pt x="448" y="105"/>
                    </a:lnTo>
                    <a:lnTo>
                      <a:pt x="448" y="103"/>
                    </a:lnTo>
                    <a:lnTo>
                      <a:pt x="448" y="103"/>
                    </a:lnTo>
                    <a:lnTo>
                      <a:pt x="445" y="101"/>
                    </a:lnTo>
                    <a:lnTo>
                      <a:pt x="443" y="101"/>
                    </a:lnTo>
                    <a:lnTo>
                      <a:pt x="431" y="103"/>
                    </a:lnTo>
                    <a:lnTo>
                      <a:pt x="421" y="107"/>
                    </a:lnTo>
                    <a:lnTo>
                      <a:pt x="417" y="110"/>
                    </a:lnTo>
                    <a:lnTo>
                      <a:pt x="416" y="113"/>
                    </a:lnTo>
                    <a:lnTo>
                      <a:pt x="416" y="113"/>
                    </a:lnTo>
                    <a:lnTo>
                      <a:pt x="414" y="115"/>
                    </a:lnTo>
                    <a:lnTo>
                      <a:pt x="411" y="115"/>
                    </a:lnTo>
                    <a:lnTo>
                      <a:pt x="407" y="115"/>
                    </a:lnTo>
                    <a:lnTo>
                      <a:pt x="404" y="114"/>
                    </a:lnTo>
                    <a:lnTo>
                      <a:pt x="400" y="111"/>
                    </a:lnTo>
                    <a:lnTo>
                      <a:pt x="397" y="107"/>
                    </a:lnTo>
                    <a:lnTo>
                      <a:pt x="396" y="103"/>
                    </a:lnTo>
                    <a:lnTo>
                      <a:pt x="396" y="97"/>
                    </a:lnTo>
                    <a:lnTo>
                      <a:pt x="396" y="97"/>
                    </a:lnTo>
                    <a:lnTo>
                      <a:pt x="399" y="91"/>
                    </a:lnTo>
                    <a:lnTo>
                      <a:pt x="403" y="88"/>
                    </a:lnTo>
                    <a:lnTo>
                      <a:pt x="410" y="86"/>
                    </a:lnTo>
                    <a:lnTo>
                      <a:pt x="418" y="83"/>
                    </a:lnTo>
                    <a:lnTo>
                      <a:pt x="427" y="83"/>
                    </a:lnTo>
                    <a:lnTo>
                      <a:pt x="436" y="83"/>
                    </a:lnTo>
                    <a:lnTo>
                      <a:pt x="443" y="83"/>
                    </a:lnTo>
                    <a:lnTo>
                      <a:pt x="448" y="86"/>
                    </a:lnTo>
                    <a:lnTo>
                      <a:pt x="448" y="86"/>
                    </a:lnTo>
                    <a:lnTo>
                      <a:pt x="453" y="86"/>
                    </a:lnTo>
                    <a:lnTo>
                      <a:pt x="457" y="86"/>
                    </a:lnTo>
                    <a:lnTo>
                      <a:pt x="461" y="84"/>
                    </a:lnTo>
                    <a:lnTo>
                      <a:pt x="465" y="81"/>
                    </a:lnTo>
                    <a:lnTo>
                      <a:pt x="472" y="76"/>
                    </a:lnTo>
                    <a:lnTo>
                      <a:pt x="477" y="68"/>
                    </a:lnTo>
                    <a:lnTo>
                      <a:pt x="477" y="68"/>
                    </a:lnTo>
                    <a:lnTo>
                      <a:pt x="477" y="66"/>
                    </a:lnTo>
                    <a:lnTo>
                      <a:pt x="477" y="66"/>
                    </a:lnTo>
                    <a:lnTo>
                      <a:pt x="472" y="67"/>
                    </a:lnTo>
                    <a:lnTo>
                      <a:pt x="460" y="76"/>
                    </a:lnTo>
                    <a:lnTo>
                      <a:pt x="460" y="76"/>
                    </a:lnTo>
                    <a:lnTo>
                      <a:pt x="455" y="77"/>
                    </a:lnTo>
                    <a:lnTo>
                      <a:pt x="451" y="77"/>
                    </a:lnTo>
                    <a:lnTo>
                      <a:pt x="440" y="76"/>
                    </a:lnTo>
                    <a:lnTo>
                      <a:pt x="428" y="74"/>
                    </a:lnTo>
                    <a:lnTo>
                      <a:pt x="420" y="71"/>
                    </a:lnTo>
                    <a:lnTo>
                      <a:pt x="420" y="71"/>
                    </a:lnTo>
                    <a:lnTo>
                      <a:pt x="416" y="70"/>
                    </a:lnTo>
                    <a:lnTo>
                      <a:pt x="413" y="70"/>
                    </a:lnTo>
                    <a:lnTo>
                      <a:pt x="408" y="73"/>
                    </a:lnTo>
                    <a:lnTo>
                      <a:pt x="406" y="77"/>
                    </a:lnTo>
                    <a:lnTo>
                      <a:pt x="403" y="78"/>
                    </a:lnTo>
                    <a:lnTo>
                      <a:pt x="400" y="78"/>
                    </a:lnTo>
                    <a:lnTo>
                      <a:pt x="400" y="78"/>
                    </a:lnTo>
                    <a:lnTo>
                      <a:pt x="397" y="80"/>
                    </a:lnTo>
                    <a:lnTo>
                      <a:pt x="394" y="83"/>
                    </a:lnTo>
                    <a:lnTo>
                      <a:pt x="393" y="90"/>
                    </a:lnTo>
                    <a:lnTo>
                      <a:pt x="390" y="98"/>
                    </a:lnTo>
                    <a:lnTo>
                      <a:pt x="390" y="101"/>
                    </a:lnTo>
                    <a:lnTo>
                      <a:pt x="389" y="103"/>
                    </a:lnTo>
                    <a:lnTo>
                      <a:pt x="389" y="103"/>
                    </a:lnTo>
                    <a:lnTo>
                      <a:pt x="386" y="107"/>
                    </a:lnTo>
                    <a:lnTo>
                      <a:pt x="383" y="114"/>
                    </a:lnTo>
                    <a:lnTo>
                      <a:pt x="380" y="123"/>
                    </a:lnTo>
                    <a:lnTo>
                      <a:pt x="376" y="134"/>
                    </a:lnTo>
                    <a:lnTo>
                      <a:pt x="376" y="134"/>
                    </a:lnTo>
                    <a:lnTo>
                      <a:pt x="373" y="138"/>
                    </a:lnTo>
                    <a:lnTo>
                      <a:pt x="373" y="141"/>
                    </a:lnTo>
                    <a:lnTo>
                      <a:pt x="373" y="144"/>
                    </a:lnTo>
                    <a:lnTo>
                      <a:pt x="374" y="147"/>
                    </a:lnTo>
                    <a:lnTo>
                      <a:pt x="380" y="148"/>
                    </a:lnTo>
                    <a:lnTo>
                      <a:pt x="386" y="150"/>
                    </a:lnTo>
                    <a:lnTo>
                      <a:pt x="386" y="150"/>
                    </a:lnTo>
                    <a:close/>
                    <a:moveTo>
                      <a:pt x="169" y="162"/>
                    </a:moveTo>
                    <a:lnTo>
                      <a:pt x="169" y="162"/>
                    </a:lnTo>
                    <a:lnTo>
                      <a:pt x="169" y="157"/>
                    </a:lnTo>
                    <a:lnTo>
                      <a:pt x="169" y="152"/>
                    </a:lnTo>
                    <a:lnTo>
                      <a:pt x="171" y="145"/>
                    </a:lnTo>
                    <a:lnTo>
                      <a:pt x="171" y="145"/>
                    </a:lnTo>
                    <a:lnTo>
                      <a:pt x="171" y="142"/>
                    </a:lnTo>
                    <a:lnTo>
                      <a:pt x="172" y="141"/>
                    </a:lnTo>
                    <a:lnTo>
                      <a:pt x="175" y="141"/>
                    </a:lnTo>
                    <a:lnTo>
                      <a:pt x="178" y="141"/>
                    </a:lnTo>
                    <a:lnTo>
                      <a:pt x="178" y="141"/>
                    </a:lnTo>
                    <a:lnTo>
                      <a:pt x="179" y="141"/>
                    </a:lnTo>
                    <a:lnTo>
                      <a:pt x="179" y="141"/>
                    </a:lnTo>
                    <a:lnTo>
                      <a:pt x="181" y="137"/>
                    </a:lnTo>
                    <a:lnTo>
                      <a:pt x="181" y="134"/>
                    </a:lnTo>
                    <a:lnTo>
                      <a:pt x="178" y="131"/>
                    </a:lnTo>
                    <a:lnTo>
                      <a:pt x="178" y="131"/>
                    </a:lnTo>
                    <a:lnTo>
                      <a:pt x="177" y="130"/>
                    </a:lnTo>
                    <a:lnTo>
                      <a:pt x="174" y="125"/>
                    </a:lnTo>
                    <a:lnTo>
                      <a:pt x="169" y="121"/>
                    </a:lnTo>
                    <a:lnTo>
                      <a:pt x="168" y="120"/>
                    </a:lnTo>
                    <a:lnTo>
                      <a:pt x="165" y="118"/>
                    </a:lnTo>
                    <a:lnTo>
                      <a:pt x="165" y="118"/>
                    </a:lnTo>
                    <a:lnTo>
                      <a:pt x="161" y="120"/>
                    </a:lnTo>
                    <a:lnTo>
                      <a:pt x="160" y="123"/>
                    </a:lnTo>
                    <a:lnTo>
                      <a:pt x="161" y="124"/>
                    </a:lnTo>
                    <a:lnTo>
                      <a:pt x="164" y="125"/>
                    </a:lnTo>
                    <a:lnTo>
                      <a:pt x="164" y="125"/>
                    </a:lnTo>
                    <a:lnTo>
                      <a:pt x="167" y="127"/>
                    </a:lnTo>
                    <a:lnTo>
                      <a:pt x="168" y="128"/>
                    </a:lnTo>
                    <a:lnTo>
                      <a:pt x="169" y="131"/>
                    </a:lnTo>
                    <a:lnTo>
                      <a:pt x="169" y="134"/>
                    </a:lnTo>
                    <a:lnTo>
                      <a:pt x="169" y="134"/>
                    </a:lnTo>
                    <a:lnTo>
                      <a:pt x="168" y="134"/>
                    </a:lnTo>
                    <a:lnTo>
                      <a:pt x="167" y="132"/>
                    </a:lnTo>
                    <a:lnTo>
                      <a:pt x="164" y="131"/>
                    </a:lnTo>
                    <a:lnTo>
                      <a:pt x="160" y="131"/>
                    </a:lnTo>
                    <a:lnTo>
                      <a:pt x="160" y="131"/>
                    </a:lnTo>
                    <a:lnTo>
                      <a:pt x="157" y="130"/>
                    </a:lnTo>
                    <a:lnTo>
                      <a:pt x="157" y="130"/>
                    </a:lnTo>
                    <a:lnTo>
                      <a:pt x="155" y="127"/>
                    </a:lnTo>
                    <a:lnTo>
                      <a:pt x="154" y="124"/>
                    </a:lnTo>
                    <a:lnTo>
                      <a:pt x="151" y="123"/>
                    </a:lnTo>
                    <a:lnTo>
                      <a:pt x="150" y="123"/>
                    </a:lnTo>
                    <a:lnTo>
                      <a:pt x="150" y="123"/>
                    </a:lnTo>
                    <a:lnTo>
                      <a:pt x="147" y="121"/>
                    </a:lnTo>
                    <a:lnTo>
                      <a:pt x="145" y="120"/>
                    </a:lnTo>
                    <a:lnTo>
                      <a:pt x="142" y="114"/>
                    </a:lnTo>
                    <a:lnTo>
                      <a:pt x="140" y="110"/>
                    </a:lnTo>
                    <a:lnTo>
                      <a:pt x="138" y="108"/>
                    </a:lnTo>
                    <a:lnTo>
                      <a:pt x="135" y="108"/>
                    </a:lnTo>
                    <a:lnTo>
                      <a:pt x="135" y="108"/>
                    </a:lnTo>
                    <a:lnTo>
                      <a:pt x="131" y="107"/>
                    </a:lnTo>
                    <a:lnTo>
                      <a:pt x="128" y="104"/>
                    </a:lnTo>
                    <a:lnTo>
                      <a:pt x="130" y="100"/>
                    </a:lnTo>
                    <a:lnTo>
                      <a:pt x="132" y="97"/>
                    </a:lnTo>
                    <a:lnTo>
                      <a:pt x="132" y="97"/>
                    </a:lnTo>
                    <a:lnTo>
                      <a:pt x="132" y="94"/>
                    </a:lnTo>
                    <a:lnTo>
                      <a:pt x="132" y="93"/>
                    </a:lnTo>
                    <a:lnTo>
                      <a:pt x="130" y="90"/>
                    </a:lnTo>
                    <a:lnTo>
                      <a:pt x="125" y="86"/>
                    </a:lnTo>
                    <a:lnTo>
                      <a:pt x="124" y="84"/>
                    </a:lnTo>
                    <a:lnTo>
                      <a:pt x="124" y="81"/>
                    </a:lnTo>
                    <a:lnTo>
                      <a:pt x="124" y="81"/>
                    </a:lnTo>
                    <a:lnTo>
                      <a:pt x="124" y="80"/>
                    </a:lnTo>
                    <a:lnTo>
                      <a:pt x="123" y="78"/>
                    </a:lnTo>
                    <a:lnTo>
                      <a:pt x="120" y="78"/>
                    </a:lnTo>
                    <a:lnTo>
                      <a:pt x="117" y="77"/>
                    </a:lnTo>
                    <a:lnTo>
                      <a:pt x="115" y="76"/>
                    </a:lnTo>
                    <a:lnTo>
                      <a:pt x="115" y="74"/>
                    </a:lnTo>
                    <a:lnTo>
                      <a:pt x="115" y="74"/>
                    </a:lnTo>
                    <a:lnTo>
                      <a:pt x="114" y="73"/>
                    </a:lnTo>
                    <a:lnTo>
                      <a:pt x="113" y="71"/>
                    </a:lnTo>
                    <a:lnTo>
                      <a:pt x="110" y="70"/>
                    </a:lnTo>
                    <a:lnTo>
                      <a:pt x="107" y="67"/>
                    </a:lnTo>
                    <a:lnTo>
                      <a:pt x="107" y="67"/>
                    </a:lnTo>
                    <a:lnTo>
                      <a:pt x="104" y="64"/>
                    </a:lnTo>
                    <a:lnTo>
                      <a:pt x="103" y="64"/>
                    </a:lnTo>
                    <a:lnTo>
                      <a:pt x="100" y="63"/>
                    </a:lnTo>
                    <a:lnTo>
                      <a:pt x="97" y="61"/>
                    </a:lnTo>
                    <a:lnTo>
                      <a:pt x="97" y="61"/>
                    </a:lnTo>
                    <a:lnTo>
                      <a:pt x="94" y="59"/>
                    </a:lnTo>
                    <a:lnTo>
                      <a:pt x="91" y="57"/>
                    </a:lnTo>
                    <a:lnTo>
                      <a:pt x="87" y="56"/>
                    </a:lnTo>
                    <a:lnTo>
                      <a:pt x="86" y="57"/>
                    </a:lnTo>
                    <a:lnTo>
                      <a:pt x="86" y="57"/>
                    </a:lnTo>
                    <a:lnTo>
                      <a:pt x="81" y="56"/>
                    </a:lnTo>
                    <a:lnTo>
                      <a:pt x="78" y="53"/>
                    </a:lnTo>
                    <a:lnTo>
                      <a:pt x="74" y="49"/>
                    </a:lnTo>
                    <a:lnTo>
                      <a:pt x="71" y="43"/>
                    </a:lnTo>
                    <a:lnTo>
                      <a:pt x="71" y="43"/>
                    </a:lnTo>
                    <a:lnTo>
                      <a:pt x="70" y="40"/>
                    </a:lnTo>
                    <a:lnTo>
                      <a:pt x="66" y="37"/>
                    </a:lnTo>
                    <a:lnTo>
                      <a:pt x="57" y="31"/>
                    </a:lnTo>
                    <a:lnTo>
                      <a:pt x="49" y="24"/>
                    </a:lnTo>
                    <a:lnTo>
                      <a:pt x="46" y="22"/>
                    </a:lnTo>
                    <a:lnTo>
                      <a:pt x="44" y="19"/>
                    </a:lnTo>
                    <a:lnTo>
                      <a:pt x="44" y="19"/>
                    </a:lnTo>
                    <a:lnTo>
                      <a:pt x="41" y="13"/>
                    </a:lnTo>
                    <a:lnTo>
                      <a:pt x="36" y="10"/>
                    </a:lnTo>
                    <a:lnTo>
                      <a:pt x="30" y="9"/>
                    </a:lnTo>
                    <a:lnTo>
                      <a:pt x="22" y="7"/>
                    </a:lnTo>
                    <a:lnTo>
                      <a:pt x="22" y="7"/>
                    </a:lnTo>
                    <a:lnTo>
                      <a:pt x="16" y="7"/>
                    </a:lnTo>
                    <a:lnTo>
                      <a:pt x="13" y="6"/>
                    </a:lnTo>
                    <a:lnTo>
                      <a:pt x="7" y="3"/>
                    </a:lnTo>
                    <a:lnTo>
                      <a:pt x="3" y="0"/>
                    </a:lnTo>
                    <a:lnTo>
                      <a:pt x="2" y="0"/>
                    </a:lnTo>
                    <a:lnTo>
                      <a:pt x="0" y="2"/>
                    </a:lnTo>
                    <a:lnTo>
                      <a:pt x="0" y="2"/>
                    </a:lnTo>
                    <a:lnTo>
                      <a:pt x="0" y="4"/>
                    </a:lnTo>
                    <a:lnTo>
                      <a:pt x="0" y="9"/>
                    </a:lnTo>
                    <a:lnTo>
                      <a:pt x="6" y="19"/>
                    </a:lnTo>
                    <a:lnTo>
                      <a:pt x="14" y="27"/>
                    </a:lnTo>
                    <a:lnTo>
                      <a:pt x="22" y="33"/>
                    </a:lnTo>
                    <a:lnTo>
                      <a:pt x="22" y="33"/>
                    </a:lnTo>
                    <a:lnTo>
                      <a:pt x="24" y="34"/>
                    </a:lnTo>
                    <a:lnTo>
                      <a:pt x="27" y="37"/>
                    </a:lnTo>
                    <a:lnTo>
                      <a:pt x="31" y="46"/>
                    </a:lnTo>
                    <a:lnTo>
                      <a:pt x="37" y="51"/>
                    </a:lnTo>
                    <a:lnTo>
                      <a:pt x="40" y="54"/>
                    </a:lnTo>
                    <a:lnTo>
                      <a:pt x="44" y="56"/>
                    </a:lnTo>
                    <a:lnTo>
                      <a:pt x="44" y="56"/>
                    </a:lnTo>
                    <a:lnTo>
                      <a:pt x="47" y="57"/>
                    </a:lnTo>
                    <a:lnTo>
                      <a:pt x="50" y="60"/>
                    </a:lnTo>
                    <a:lnTo>
                      <a:pt x="53" y="71"/>
                    </a:lnTo>
                    <a:lnTo>
                      <a:pt x="57" y="81"/>
                    </a:lnTo>
                    <a:lnTo>
                      <a:pt x="59" y="86"/>
                    </a:lnTo>
                    <a:lnTo>
                      <a:pt x="61" y="87"/>
                    </a:lnTo>
                    <a:lnTo>
                      <a:pt x="61" y="87"/>
                    </a:lnTo>
                    <a:lnTo>
                      <a:pt x="64" y="88"/>
                    </a:lnTo>
                    <a:lnTo>
                      <a:pt x="67" y="93"/>
                    </a:lnTo>
                    <a:lnTo>
                      <a:pt x="76" y="101"/>
                    </a:lnTo>
                    <a:lnTo>
                      <a:pt x="81" y="114"/>
                    </a:lnTo>
                    <a:lnTo>
                      <a:pt x="86" y="124"/>
                    </a:lnTo>
                    <a:lnTo>
                      <a:pt x="86" y="124"/>
                    </a:lnTo>
                    <a:lnTo>
                      <a:pt x="87" y="128"/>
                    </a:lnTo>
                    <a:lnTo>
                      <a:pt x="90" y="132"/>
                    </a:lnTo>
                    <a:lnTo>
                      <a:pt x="97" y="140"/>
                    </a:lnTo>
                    <a:lnTo>
                      <a:pt x="104" y="145"/>
                    </a:lnTo>
                    <a:lnTo>
                      <a:pt x="110" y="152"/>
                    </a:lnTo>
                    <a:lnTo>
                      <a:pt x="110" y="152"/>
                    </a:lnTo>
                    <a:lnTo>
                      <a:pt x="115" y="160"/>
                    </a:lnTo>
                    <a:lnTo>
                      <a:pt x="124" y="167"/>
                    </a:lnTo>
                    <a:lnTo>
                      <a:pt x="132" y="172"/>
                    </a:lnTo>
                    <a:lnTo>
                      <a:pt x="138" y="177"/>
                    </a:lnTo>
                    <a:lnTo>
                      <a:pt x="138" y="177"/>
                    </a:lnTo>
                    <a:lnTo>
                      <a:pt x="142" y="184"/>
                    </a:lnTo>
                    <a:lnTo>
                      <a:pt x="144" y="187"/>
                    </a:lnTo>
                    <a:lnTo>
                      <a:pt x="145" y="187"/>
                    </a:lnTo>
                    <a:lnTo>
                      <a:pt x="147" y="185"/>
                    </a:lnTo>
                    <a:lnTo>
                      <a:pt x="147" y="185"/>
                    </a:lnTo>
                    <a:lnTo>
                      <a:pt x="147" y="184"/>
                    </a:lnTo>
                    <a:lnTo>
                      <a:pt x="150" y="184"/>
                    </a:lnTo>
                    <a:lnTo>
                      <a:pt x="154" y="184"/>
                    </a:lnTo>
                    <a:lnTo>
                      <a:pt x="164" y="185"/>
                    </a:lnTo>
                    <a:lnTo>
                      <a:pt x="164" y="185"/>
                    </a:lnTo>
                    <a:lnTo>
                      <a:pt x="165" y="185"/>
                    </a:lnTo>
                    <a:lnTo>
                      <a:pt x="167" y="182"/>
                    </a:lnTo>
                    <a:lnTo>
                      <a:pt x="168" y="177"/>
                    </a:lnTo>
                    <a:lnTo>
                      <a:pt x="168" y="168"/>
                    </a:lnTo>
                    <a:lnTo>
                      <a:pt x="169" y="162"/>
                    </a:lnTo>
                    <a:lnTo>
                      <a:pt x="169" y="162"/>
                    </a:lnTo>
                    <a:close/>
                    <a:moveTo>
                      <a:pt x="531" y="86"/>
                    </a:moveTo>
                    <a:lnTo>
                      <a:pt x="531" y="86"/>
                    </a:lnTo>
                    <a:lnTo>
                      <a:pt x="537" y="86"/>
                    </a:lnTo>
                    <a:lnTo>
                      <a:pt x="538" y="84"/>
                    </a:lnTo>
                    <a:lnTo>
                      <a:pt x="538" y="83"/>
                    </a:lnTo>
                    <a:lnTo>
                      <a:pt x="537" y="74"/>
                    </a:lnTo>
                    <a:lnTo>
                      <a:pt x="537" y="74"/>
                    </a:lnTo>
                    <a:lnTo>
                      <a:pt x="537" y="73"/>
                    </a:lnTo>
                    <a:lnTo>
                      <a:pt x="535" y="71"/>
                    </a:lnTo>
                    <a:lnTo>
                      <a:pt x="532" y="71"/>
                    </a:lnTo>
                    <a:lnTo>
                      <a:pt x="529" y="71"/>
                    </a:lnTo>
                    <a:lnTo>
                      <a:pt x="528" y="71"/>
                    </a:lnTo>
                    <a:lnTo>
                      <a:pt x="528" y="70"/>
                    </a:lnTo>
                    <a:lnTo>
                      <a:pt x="528" y="70"/>
                    </a:lnTo>
                    <a:lnTo>
                      <a:pt x="527" y="66"/>
                    </a:lnTo>
                    <a:lnTo>
                      <a:pt x="525" y="61"/>
                    </a:lnTo>
                    <a:lnTo>
                      <a:pt x="524" y="60"/>
                    </a:lnTo>
                    <a:lnTo>
                      <a:pt x="521" y="60"/>
                    </a:lnTo>
                    <a:lnTo>
                      <a:pt x="519" y="61"/>
                    </a:lnTo>
                    <a:lnTo>
                      <a:pt x="517" y="64"/>
                    </a:lnTo>
                    <a:lnTo>
                      <a:pt x="517" y="64"/>
                    </a:lnTo>
                    <a:lnTo>
                      <a:pt x="514" y="68"/>
                    </a:lnTo>
                    <a:lnTo>
                      <a:pt x="514" y="74"/>
                    </a:lnTo>
                    <a:lnTo>
                      <a:pt x="514" y="80"/>
                    </a:lnTo>
                    <a:lnTo>
                      <a:pt x="515" y="86"/>
                    </a:lnTo>
                    <a:lnTo>
                      <a:pt x="519" y="96"/>
                    </a:lnTo>
                    <a:lnTo>
                      <a:pt x="522" y="98"/>
                    </a:lnTo>
                    <a:lnTo>
                      <a:pt x="525" y="98"/>
                    </a:lnTo>
                    <a:lnTo>
                      <a:pt x="525" y="98"/>
                    </a:lnTo>
                    <a:lnTo>
                      <a:pt x="527" y="98"/>
                    </a:lnTo>
                    <a:lnTo>
                      <a:pt x="527" y="96"/>
                    </a:lnTo>
                    <a:lnTo>
                      <a:pt x="527" y="91"/>
                    </a:lnTo>
                    <a:lnTo>
                      <a:pt x="527" y="87"/>
                    </a:lnTo>
                    <a:lnTo>
                      <a:pt x="528" y="86"/>
                    </a:lnTo>
                    <a:lnTo>
                      <a:pt x="531" y="86"/>
                    </a:lnTo>
                    <a:lnTo>
                      <a:pt x="531" y="86"/>
                    </a:lnTo>
                    <a:close/>
                    <a:moveTo>
                      <a:pt x="492" y="145"/>
                    </a:moveTo>
                    <a:lnTo>
                      <a:pt x="492" y="145"/>
                    </a:lnTo>
                    <a:lnTo>
                      <a:pt x="494" y="148"/>
                    </a:lnTo>
                    <a:lnTo>
                      <a:pt x="495" y="150"/>
                    </a:lnTo>
                    <a:lnTo>
                      <a:pt x="501" y="152"/>
                    </a:lnTo>
                    <a:lnTo>
                      <a:pt x="507" y="154"/>
                    </a:lnTo>
                    <a:lnTo>
                      <a:pt x="509" y="152"/>
                    </a:lnTo>
                    <a:lnTo>
                      <a:pt x="512" y="151"/>
                    </a:lnTo>
                    <a:lnTo>
                      <a:pt x="512" y="151"/>
                    </a:lnTo>
                    <a:lnTo>
                      <a:pt x="512" y="148"/>
                    </a:lnTo>
                    <a:lnTo>
                      <a:pt x="509" y="145"/>
                    </a:lnTo>
                    <a:lnTo>
                      <a:pt x="502" y="142"/>
                    </a:lnTo>
                    <a:lnTo>
                      <a:pt x="498" y="141"/>
                    </a:lnTo>
                    <a:lnTo>
                      <a:pt x="495" y="141"/>
                    </a:lnTo>
                    <a:lnTo>
                      <a:pt x="492" y="142"/>
                    </a:lnTo>
                    <a:lnTo>
                      <a:pt x="492" y="145"/>
                    </a:lnTo>
                    <a:lnTo>
                      <a:pt x="492" y="145"/>
                    </a:lnTo>
                    <a:close/>
                    <a:moveTo>
                      <a:pt x="455" y="225"/>
                    </a:moveTo>
                    <a:lnTo>
                      <a:pt x="455" y="225"/>
                    </a:lnTo>
                    <a:lnTo>
                      <a:pt x="450" y="225"/>
                    </a:lnTo>
                    <a:lnTo>
                      <a:pt x="445" y="225"/>
                    </a:lnTo>
                    <a:lnTo>
                      <a:pt x="438" y="228"/>
                    </a:lnTo>
                    <a:lnTo>
                      <a:pt x="430" y="229"/>
                    </a:lnTo>
                    <a:lnTo>
                      <a:pt x="426" y="229"/>
                    </a:lnTo>
                    <a:lnTo>
                      <a:pt x="421" y="228"/>
                    </a:lnTo>
                    <a:lnTo>
                      <a:pt x="421" y="228"/>
                    </a:lnTo>
                    <a:lnTo>
                      <a:pt x="416" y="226"/>
                    </a:lnTo>
                    <a:lnTo>
                      <a:pt x="410" y="226"/>
                    </a:lnTo>
                    <a:lnTo>
                      <a:pt x="400" y="226"/>
                    </a:lnTo>
                    <a:lnTo>
                      <a:pt x="393" y="229"/>
                    </a:lnTo>
                    <a:lnTo>
                      <a:pt x="391" y="231"/>
                    </a:lnTo>
                    <a:lnTo>
                      <a:pt x="391" y="232"/>
                    </a:lnTo>
                    <a:lnTo>
                      <a:pt x="391" y="232"/>
                    </a:lnTo>
                    <a:lnTo>
                      <a:pt x="394" y="235"/>
                    </a:lnTo>
                    <a:lnTo>
                      <a:pt x="400" y="236"/>
                    </a:lnTo>
                    <a:lnTo>
                      <a:pt x="417" y="238"/>
                    </a:lnTo>
                    <a:lnTo>
                      <a:pt x="417" y="238"/>
                    </a:lnTo>
                    <a:lnTo>
                      <a:pt x="426" y="236"/>
                    </a:lnTo>
                    <a:lnTo>
                      <a:pt x="434" y="233"/>
                    </a:lnTo>
                    <a:lnTo>
                      <a:pt x="443" y="232"/>
                    </a:lnTo>
                    <a:lnTo>
                      <a:pt x="450" y="231"/>
                    </a:lnTo>
                    <a:lnTo>
                      <a:pt x="450" y="231"/>
                    </a:lnTo>
                    <a:lnTo>
                      <a:pt x="460" y="228"/>
                    </a:lnTo>
                    <a:lnTo>
                      <a:pt x="461" y="228"/>
                    </a:lnTo>
                    <a:lnTo>
                      <a:pt x="461" y="226"/>
                    </a:lnTo>
                    <a:lnTo>
                      <a:pt x="455" y="225"/>
                    </a:lnTo>
                    <a:lnTo>
                      <a:pt x="455" y="225"/>
                    </a:lnTo>
                    <a:close/>
                    <a:moveTo>
                      <a:pt x="556" y="138"/>
                    </a:moveTo>
                    <a:lnTo>
                      <a:pt x="556" y="138"/>
                    </a:lnTo>
                    <a:lnTo>
                      <a:pt x="546" y="137"/>
                    </a:lnTo>
                    <a:lnTo>
                      <a:pt x="535" y="138"/>
                    </a:lnTo>
                    <a:lnTo>
                      <a:pt x="527" y="140"/>
                    </a:lnTo>
                    <a:lnTo>
                      <a:pt x="525" y="142"/>
                    </a:lnTo>
                    <a:lnTo>
                      <a:pt x="525" y="144"/>
                    </a:lnTo>
                    <a:lnTo>
                      <a:pt x="525" y="144"/>
                    </a:lnTo>
                    <a:lnTo>
                      <a:pt x="527" y="145"/>
                    </a:lnTo>
                    <a:lnTo>
                      <a:pt x="528" y="147"/>
                    </a:lnTo>
                    <a:lnTo>
                      <a:pt x="532" y="148"/>
                    </a:lnTo>
                    <a:lnTo>
                      <a:pt x="546" y="148"/>
                    </a:lnTo>
                    <a:lnTo>
                      <a:pt x="546" y="148"/>
                    </a:lnTo>
                    <a:lnTo>
                      <a:pt x="554" y="148"/>
                    </a:lnTo>
                    <a:lnTo>
                      <a:pt x="559" y="151"/>
                    </a:lnTo>
                    <a:lnTo>
                      <a:pt x="564" y="154"/>
                    </a:lnTo>
                    <a:lnTo>
                      <a:pt x="568" y="155"/>
                    </a:lnTo>
                    <a:lnTo>
                      <a:pt x="568" y="155"/>
                    </a:lnTo>
                    <a:lnTo>
                      <a:pt x="569" y="154"/>
                    </a:lnTo>
                    <a:lnTo>
                      <a:pt x="569" y="152"/>
                    </a:lnTo>
                    <a:lnTo>
                      <a:pt x="568" y="148"/>
                    </a:lnTo>
                    <a:lnTo>
                      <a:pt x="564" y="142"/>
                    </a:lnTo>
                    <a:lnTo>
                      <a:pt x="561" y="141"/>
                    </a:lnTo>
                    <a:lnTo>
                      <a:pt x="556" y="138"/>
                    </a:lnTo>
                    <a:lnTo>
                      <a:pt x="556" y="138"/>
                    </a:lnTo>
                    <a:close/>
                    <a:moveTo>
                      <a:pt x="306" y="221"/>
                    </a:moveTo>
                    <a:lnTo>
                      <a:pt x="306" y="221"/>
                    </a:lnTo>
                    <a:lnTo>
                      <a:pt x="306" y="218"/>
                    </a:lnTo>
                    <a:lnTo>
                      <a:pt x="303" y="218"/>
                    </a:lnTo>
                    <a:lnTo>
                      <a:pt x="296" y="218"/>
                    </a:lnTo>
                    <a:lnTo>
                      <a:pt x="286" y="218"/>
                    </a:lnTo>
                    <a:lnTo>
                      <a:pt x="279" y="216"/>
                    </a:lnTo>
                    <a:lnTo>
                      <a:pt x="279" y="216"/>
                    </a:lnTo>
                    <a:lnTo>
                      <a:pt x="276" y="215"/>
                    </a:lnTo>
                    <a:lnTo>
                      <a:pt x="276" y="214"/>
                    </a:lnTo>
                    <a:lnTo>
                      <a:pt x="280" y="211"/>
                    </a:lnTo>
                    <a:lnTo>
                      <a:pt x="288" y="208"/>
                    </a:lnTo>
                    <a:lnTo>
                      <a:pt x="295" y="205"/>
                    </a:lnTo>
                    <a:lnTo>
                      <a:pt x="295" y="205"/>
                    </a:lnTo>
                    <a:lnTo>
                      <a:pt x="296" y="204"/>
                    </a:lnTo>
                    <a:lnTo>
                      <a:pt x="296" y="202"/>
                    </a:lnTo>
                    <a:lnTo>
                      <a:pt x="293" y="201"/>
                    </a:lnTo>
                    <a:lnTo>
                      <a:pt x="286" y="202"/>
                    </a:lnTo>
                    <a:lnTo>
                      <a:pt x="276" y="205"/>
                    </a:lnTo>
                    <a:lnTo>
                      <a:pt x="276" y="205"/>
                    </a:lnTo>
                    <a:lnTo>
                      <a:pt x="269" y="205"/>
                    </a:lnTo>
                    <a:lnTo>
                      <a:pt x="263" y="205"/>
                    </a:lnTo>
                    <a:lnTo>
                      <a:pt x="253" y="202"/>
                    </a:lnTo>
                    <a:lnTo>
                      <a:pt x="245" y="199"/>
                    </a:lnTo>
                    <a:lnTo>
                      <a:pt x="243" y="199"/>
                    </a:lnTo>
                    <a:lnTo>
                      <a:pt x="242" y="201"/>
                    </a:lnTo>
                    <a:lnTo>
                      <a:pt x="242" y="201"/>
                    </a:lnTo>
                    <a:lnTo>
                      <a:pt x="241" y="202"/>
                    </a:lnTo>
                    <a:lnTo>
                      <a:pt x="238" y="204"/>
                    </a:lnTo>
                    <a:lnTo>
                      <a:pt x="228" y="201"/>
                    </a:lnTo>
                    <a:lnTo>
                      <a:pt x="216" y="197"/>
                    </a:lnTo>
                    <a:lnTo>
                      <a:pt x="208" y="194"/>
                    </a:lnTo>
                    <a:lnTo>
                      <a:pt x="208" y="194"/>
                    </a:lnTo>
                    <a:lnTo>
                      <a:pt x="201" y="189"/>
                    </a:lnTo>
                    <a:lnTo>
                      <a:pt x="189" y="187"/>
                    </a:lnTo>
                    <a:lnTo>
                      <a:pt x="184" y="187"/>
                    </a:lnTo>
                    <a:lnTo>
                      <a:pt x="178" y="187"/>
                    </a:lnTo>
                    <a:lnTo>
                      <a:pt x="174" y="188"/>
                    </a:lnTo>
                    <a:lnTo>
                      <a:pt x="171" y="191"/>
                    </a:lnTo>
                    <a:lnTo>
                      <a:pt x="171" y="191"/>
                    </a:lnTo>
                    <a:lnTo>
                      <a:pt x="167" y="195"/>
                    </a:lnTo>
                    <a:lnTo>
                      <a:pt x="164" y="197"/>
                    </a:lnTo>
                    <a:lnTo>
                      <a:pt x="162" y="197"/>
                    </a:lnTo>
                    <a:lnTo>
                      <a:pt x="164" y="201"/>
                    </a:lnTo>
                    <a:lnTo>
                      <a:pt x="164" y="201"/>
                    </a:lnTo>
                    <a:lnTo>
                      <a:pt x="165" y="204"/>
                    </a:lnTo>
                    <a:lnTo>
                      <a:pt x="168" y="204"/>
                    </a:lnTo>
                    <a:lnTo>
                      <a:pt x="175" y="204"/>
                    </a:lnTo>
                    <a:lnTo>
                      <a:pt x="175" y="204"/>
                    </a:lnTo>
                    <a:lnTo>
                      <a:pt x="177" y="204"/>
                    </a:lnTo>
                    <a:lnTo>
                      <a:pt x="178" y="208"/>
                    </a:lnTo>
                    <a:lnTo>
                      <a:pt x="181" y="211"/>
                    </a:lnTo>
                    <a:lnTo>
                      <a:pt x="184" y="212"/>
                    </a:lnTo>
                    <a:lnTo>
                      <a:pt x="184" y="212"/>
                    </a:lnTo>
                    <a:lnTo>
                      <a:pt x="199" y="215"/>
                    </a:lnTo>
                    <a:lnTo>
                      <a:pt x="208" y="216"/>
                    </a:lnTo>
                    <a:lnTo>
                      <a:pt x="211" y="215"/>
                    </a:lnTo>
                    <a:lnTo>
                      <a:pt x="212" y="215"/>
                    </a:lnTo>
                    <a:lnTo>
                      <a:pt x="212" y="215"/>
                    </a:lnTo>
                    <a:lnTo>
                      <a:pt x="214" y="214"/>
                    </a:lnTo>
                    <a:lnTo>
                      <a:pt x="216" y="212"/>
                    </a:lnTo>
                    <a:lnTo>
                      <a:pt x="225" y="214"/>
                    </a:lnTo>
                    <a:lnTo>
                      <a:pt x="234" y="216"/>
                    </a:lnTo>
                    <a:lnTo>
                      <a:pt x="242" y="222"/>
                    </a:lnTo>
                    <a:lnTo>
                      <a:pt x="242" y="222"/>
                    </a:lnTo>
                    <a:lnTo>
                      <a:pt x="246" y="225"/>
                    </a:lnTo>
                    <a:lnTo>
                      <a:pt x="252" y="226"/>
                    </a:lnTo>
                    <a:lnTo>
                      <a:pt x="262" y="229"/>
                    </a:lnTo>
                    <a:lnTo>
                      <a:pt x="273" y="229"/>
                    </a:lnTo>
                    <a:lnTo>
                      <a:pt x="282" y="229"/>
                    </a:lnTo>
                    <a:lnTo>
                      <a:pt x="282" y="229"/>
                    </a:lnTo>
                    <a:lnTo>
                      <a:pt x="289" y="229"/>
                    </a:lnTo>
                    <a:lnTo>
                      <a:pt x="295" y="231"/>
                    </a:lnTo>
                    <a:lnTo>
                      <a:pt x="300" y="231"/>
                    </a:lnTo>
                    <a:lnTo>
                      <a:pt x="302" y="231"/>
                    </a:lnTo>
                    <a:lnTo>
                      <a:pt x="303" y="229"/>
                    </a:lnTo>
                    <a:lnTo>
                      <a:pt x="303" y="229"/>
                    </a:lnTo>
                    <a:lnTo>
                      <a:pt x="305" y="229"/>
                    </a:lnTo>
                    <a:lnTo>
                      <a:pt x="306" y="229"/>
                    </a:lnTo>
                    <a:lnTo>
                      <a:pt x="310" y="231"/>
                    </a:lnTo>
                    <a:lnTo>
                      <a:pt x="316" y="232"/>
                    </a:lnTo>
                    <a:lnTo>
                      <a:pt x="319" y="232"/>
                    </a:lnTo>
                    <a:lnTo>
                      <a:pt x="323" y="231"/>
                    </a:lnTo>
                    <a:lnTo>
                      <a:pt x="323" y="231"/>
                    </a:lnTo>
                    <a:lnTo>
                      <a:pt x="325" y="228"/>
                    </a:lnTo>
                    <a:lnTo>
                      <a:pt x="325" y="226"/>
                    </a:lnTo>
                    <a:lnTo>
                      <a:pt x="317" y="225"/>
                    </a:lnTo>
                    <a:lnTo>
                      <a:pt x="310" y="224"/>
                    </a:lnTo>
                    <a:lnTo>
                      <a:pt x="307" y="222"/>
                    </a:lnTo>
                    <a:lnTo>
                      <a:pt x="306" y="221"/>
                    </a:lnTo>
                    <a:lnTo>
                      <a:pt x="306" y="221"/>
                    </a:lnTo>
                    <a:close/>
                    <a:moveTo>
                      <a:pt x="680" y="117"/>
                    </a:moveTo>
                    <a:lnTo>
                      <a:pt x="680" y="117"/>
                    </a:lnTo>
                    <a:lnTo>
                      <a:pt x="677" y="117"/>
                    </a:lnTo>
                    <a:lnTo>
                      <a:pt x="674" y="118"/>
                    </a:lnTo>
                    <a:lnTo>
                      <a:pt x="672" y="124"/>
                    </a:lnTo>
                    <a:lnTo>
                      <a:pt x="669" y="128"/>
                    </a:lnTo>
                    <a:lnTo>
                      <a:pt x="667" y="130"/>
                    </a:lnTo>
                    <a:lnTo>
                      <a:pt x="666" y="130"/>
                    </a:lnTo>
                    <a:lnTo>
                      <a:pt x="666" y="130"/>
                    </a:lnTo>
                    <a:lnTo>
                      <a:pt x="663" y="130"/>
                    </a:lnTo>
                    <a:lnTo>
                      <a:pt x="660" y="131"/>
                    </a:lnTo>
                    <a:lnTo>
                      <a:pt x="655" y="137"/>
                    </a:lnTo>
                    <a:lnTo>
                      <a:pt x="647" y="142"/>
                    </a:lnTo>
                    <a:lnTo>
                      <a:pt x="639" y="147"/>
                    </a:lnTo>
                    <a:lnTo>
                      <a:pt x="639" y="147"/>
                    </a:lnTo>
                    <a:lnTo>
                      <a:pt x="638" y="147"/>
                    </a:lnTo>
                    <a:lnTo>
                      <a:pt x="636" y="145"/>
                    </a:lnTo>
                    <a:lnTo>
                      <a:pt x="632" y="142"/>
                    </a:lnTo>
                    <a:lnTo>
                      <a:pt x="630" y="137"/>
                    </a:lnTo>
                    <a:lnTo>
                      <a:pt x="629" y="130"/>
                    </a:lnTo>
                    <a:lnTo>
                      <a:pt x="625" y="115"/>
                    </a:lnTo>
                    <a:lnTo>
                      <a:pt x="623" y="110"/>
                    </a:lnTo>
                    <a:lnTo>
                      <a:pt x="622" y="107"/>
                    </a:lnTo>
                    <a:lnTo>
                      <a:pt x="622" y="107"/>
                    </a:lnTo>
                    <a:lnTo>
                      <a:pt x="619" y="104"/>
                    </a:lnTo>
                    <a:lnTo>
                      <a:pt x="615" y="101"/>
                    </a:lnTo>
                    <a:lnTo>
                      <a:pt x="603" y="98"/>
                    </a:lnTo>
                    <a:lnTo>
                      <a:pt x="598" y="97"/>
                    </a:lnTo>
                    <a:lnTo>
                      <a:pt x="592" y="98"/>
                    </a:lnTo>
                    <a:lnTo>
                      <a:pt x="588" y="100"/>
                    </a:lnTo>
                    <a:lnTo>
                      <a:pt x="586" y="101"/>
                    </a:lnTo>
                    <a:lnTo>
                      <a:pt x="586" y="101"/>
                    </a:lnTo>
                    <a:lnTo>
                      <a:pt x="585" y="104"/>
                    </a:lnTo>
                    <a:lnTo>
                      <a:pt x="582" y="105"/>
                    </a:lnTo>
                    <a:lnTo>
                      <a:pt x="578" y="107"/>
                    </a:lnTo>
                    <a:lnTo>
                      <a:pt x="573" y="108"/>
                    </a:lnTo>
                    <a:lnTo>
                      <a:pt x="572" y="110"/>
                    </a:lnTo>
                    <a:lnTo>
                      <a:pt x="572" y="113"/>
                    </a:lnTo>
                    <a:lnTo>
                      <a:pt x="572" y="113"/>
                    </a:lnTo>
                    <a:lnTo>
                      <a:pt x="572" y="115"/>
                    </a:lnTo>
                    <a:lnTo>
                      <a:pt x="573" y="117"/>
                    </a:lnTo>
                    <a:lnTo>
                      <a:pt x="581" y="117"/>
                    </a:lnTo>
                    <a:lnTo>
                      <a:pt x="581" y="117"/>
                    </a:lnTo>
                    <a:lnTo>
                      <a:pt x="583" y="117"/>
                    </a:lnTo>
                    <a:lnTo>
                      <a:pt x="586" y="120"/>
                    </a:lnTo>
                    <a:lnTo>
                      <a:pt x="589" y="127"/>
                    </a:lnTo>
                    <a:lnTo>
                      <a:pt x="589" y="127"/>
                    </a:lnTo>
                    <a:lnTo>
                      <a:pt x="591" y="130"/>
                    </a:lnTo>
                    <a:lnTo>
                      <a:pt x="593" y="130"/>
                    </a:lnTo>
                    <a:lnTo>
                      <a:pt x="601" y="131"/>
                    </a:lnTo>
                    <a:lnTo>
                      <a:pt x="615" y="128"/>
                    </a:lnTo>
                    <a:lnTo>
                      <a:pt x="615" y="128"/>
                    </a:lnTo>
                    <a:lnTo>
                      <a:pt x="619" y="130"/>
                    </a:lnTo>
                    <a:lnTo>
                      <a:pt x="619" y="132"/>
                    </a:lnTo>
                    <a:lnTo>
                      <a:pt x="618" y="134"/>
                    </a:lnTo>
                    <a:lnTo>
                      <a:pt x="613" y="134"/>
                    </a:lnTo>
                    <a:lnTo>
                      <a:pt x="613" y="134"/>
                    </a:lnTo>
                    <a:lnTo>
                      <a:pt x="609" y="132"/>
                    </a:lnTo>
                    <a:lnTo>
                      <a:pt x="606" y="134"/>
                    </a:lnTo>
                    <a:lnTo>
                      <a:pt x="603" y="135"/>
                    </a:lnTo>
                    <a:lnTo>
                      <a:pt x="601" y="135"/>
                    </a:lnTo>
                    <a:lnTo>
                      <a:pt x="601" y="135"/>
                    </a:lnTo>
                    <a:lnTo>
                      <a:pt x="592" y="135"/>
                    </a:lnTo>
                    <a:lnTo>
                      <a:pt x="589" y="137"/>
                    </a:lnTo>
                    <a:lnTo>
                      <a:pt x="591" y="138"/>
                    </a:lnTo>
                    <a:lnTo>
                      <a:pt x="591" y="138"/>
                    </a:lnTo>
                    <a:lnTo>
                      <a:pt x="596" y="144"/>
                    </a:lnTo>
                    <a:lnTo>
                      <a:pt x="599" y="147"/>
                    </a:lnTo>
                    <a:lnTo>
                      <a:pt x="601" y="152"/>
                    </a:lnTo>
                    <a:lnTo>
                      <a:pt x="601" y="152"/>
                    </a:lnTo>
                    <a:lnTo>
                      <a:pt x="601" y="155"/>
                    </a:lnTo>
                    <a:lnTo>
                      <a:pt x="602" y="157"/>
                    </a:lnTo>
                    <a:lnTo>
                      <a:pt x="606" y="158"/>
                    </a:lnTo>
                    <a:lnTo>
                      <a:pt x="609" y="155"/>
                    </a:lnTo>
                    <a:lnTo>
                      <a:pt x="610" y="154"/>
                    </a:lnTo>
                    <a:lnTo>
                      <a:pt x="612" y="152"/>
                    </a:lnTo>
                    <a:lnTo>
                      <a:pt x="612" y="152"/>
                    </a:lnTo>
                    <a:lnTo>
                      <a:pt x="612" y="151"/>
                    </a:lnTo>
                    <a:lnTo>
                      <a:pt x="612" y="150"/>
                    </a:lnTo>
                    <a:lnTo>
                      <a:pt x="615" y="151"/>
                    </a:lnTo>
                    <a:lnTo>
                      <a:pt x="620" y="154"/>
                    </a:lnTo>
                    <a:lnTo>
                      <a:pt x="628" y="157"/>
                    </a:lnTo>
                    <a:lnTo>
                      <a:pt x="628" y="157"/>
                    </a:lnTo>
                    <a:lnTo>
                      <a:pt x="633" y="160"/>
                    </a:lnTo>
                    <a:lnTo>
                      <a:pt x="635" y="162"/>
                    </a:lnTo>
                    <a:lnTo>
                      <a:pt x="636" y="164"/>
                    </a:lnTo>
                    <a:lnTo>
                      <a:pt x="642" y="165"/>
                    </a:lnTo>
                    <a:lnTo>
                      <a:pt x="642" y="165"/>
                    </a:lnTo>
                    <a:lnTo>
                      <a:pt x="652" y="167"/>
                    </a:lnTo>
                    <a:lnTo>
                      <a:pt x="665" y="169"/>
                    </a:lnTo>
                    <a:lnTo>
                      <a:pt x="677" y="175"/>
                    </a:lnTo>
                    <a:lnTo>
                      <a:pt x="687" y="181"/>
                    </a:lnTo>
                    <a:lnTo>
                      <a:pt x="687" y="181"/>
                    </a:lnTo>
                    <a:lnTo>
                      <a:pt x="692" y="185"/>
                    </a:lnTo>
                    <a:lnTo>
                      <a:pt x="693" y="189"/>
                    </a:lnTo>
                    <a:lnTo>
                      <a:pt x="693" y="194"/>
                    </a:lnTo>
                    <a:lnTo>
                      <a:pt x="696" y="199"/>
                    </a:lnTo>
                    <a:lnTo>
                      <a:pt x="696" y="199"/>
                    </a:lnTo>
                    <a:lnTo>
                      <a:pt x="700" y="204"/>
                    </a:lnTo>
                    <a:lnTo>
                      <a:pt x="702" y="208"/>
                    </a:lnTo>
                    <a:lnTo>
                      <a:pt x="702" y="211"/>
                    </a:lnTo>
                    <a:lnTo>
                      <a:pt x="700" y="212"/>
                    </a:lnTo>
                    <a:lnTo>
                      <a:pt x="699" y="212"/>
                    </a:lnTo>
                    <a:lnTo>
                      <a:pt x="696" y="214"/>
                    </a:lnTo>
                    <a:lnTo>
                      <a:pt x="696" y="214"/>
                    </a:lnTo>
                    <a:lnTo>
                      <a:pt x="689" y="215"/>
                    </a:lnTo>
                    <a:lnTo>
                      <a:pt x="684" y="218"/>
                    </a:lnTo>
                    <a:lnTo>
                      <a:pt x="680" y="222"/>
                    </a:lnTo>
                    <a:lnTo>
                      <a:pt x="680" y="224"/>
                    </a:lnTo>
                    <a:lnTo>
                      <a:pt x="680" y="226"/>
                    </a:lnTo>
                    <a:lnTo>
                      <a:pt x="680" y="226"/>
                    </a:lnTo>
                    <a:lnTo>
                      <a:pt x="683" y="226"/>
                    </a:lnTo>
                    <a:lnTo>
                      <a:pt x="686" y="228"/>
                    </a:lnTo>
                    <a:lnTo>
                      <a:pt x="697" y="226"/>
                    </a:lnTo>
                    <a:lnTo>
                      <a:pt x="717" y="224"/>
                    </a:lnTo>
                    <a:lnTo>
                      <a:pt x="717" y="224"/>
                    </a:lnTo>
                    <a:lnTo>
                      <a:pt x="721" y="225"/>
                    </a:lnTo>
                    <a:lnTo>
                      <a:pt x="724" y="228"/>
                    </a:lnTo>
                    <a:lnTo>
                      <a:pt x="729" y="232"/>
                    </a:lnTo>
                    <a:lnTo>
                      <a:pt x="734" y="238"/>
                    </a:lnTo>
                    <a:lnTo>
                      <a:pt x="734" y="135"/>
                    </a:lnTo>
                    <a:lnTo>
                      <a:pt x="734" y="135"/>
                    </a:lnTo>
                    <a:lnTo>
                      <a:pt x="702" y="124"/>
                    </a:lnTo>
                    <a:lnTo>
                      <a:pt x="687" y="118"/>
                    </a:lnTo>
                    <a:lnTo>
                      <a:pt x="680" y="117"/>
                    </a:lnTo>
                    <a:lnTo>
                      <a:pt x="680" y="117"/>
                    </a:lnTo>
                    <a:close/>
                    <a:moveTo>
                      <a:pt x="474" y="236"/>
                    </a:moveTo>
                    <a:lnTo>
                      <a:pt x="474" y="236"/>
                    </a:lnTo>
                    <a:lnTo>
                      <a:pt x="470" y="239"/>
                    </a:lnTo>
                    <a:lnTo>
                      <a:pt x="470" y="239"/>
                    </a:lnTo>
                    <a:lnTo>
                      <a:pt x="468" y="242"/>
                    </a:lnTo>
                    <a:lnTo>
                      <a:pt x="467" y="243"/>
                    </a:lnTo>
                    <a:lnTo>
                      <a:pt x="467" y="243"/>
                    </a:lnTo>
                    <a:lnTo>
                      <a:pt x="465" y="243"/>
                    </a:lnTo>
                    <a:lnTo>
                      <a:pt x="464" y="243"/>
                    </a:lnTo>
                    <a:lnTo>
                      <a:pt x="461" y="241"/>
                    </a:lnTo>
                    <a:lnTo>
                      <a:pt x="461" y="241"/>
                    </a:lnTo>
                    <a:lnTo>
                      <a:pt x="455" y="245"/>
                    </a:lnTo>
                    <a:lnTo>
                      <a:pt x="451" y="251"/>
                    </a:lnTo>
                    <a:lnTo>
                      <a:pt x="451" y="255"/>
                    </a:lnTo>
                    <a:lnTo>
                      <a:pt x="453" y="258"/>
                    </a:lnTo>
                    <a:lnTo>
                      <a:pt x="454" y="259"/>
                    </a:lnTo>
                    <a:lnTo>
                      <a:pt x="454" y="259"/>
                    </a:lnTo>
                    <a:lnTo>
                      <a:pt x="457" y="259"/>
                    </a:lnTo>
                    <a:lnTo>
                      <a:pt x="458" y="259"/>
                    </a:lnTo>
                    <a:lnTo>
                      <a:pt x="464" y="256"/>
                    </a:lnTo>
                    <a:lnTo>
                      <a:pt x="470" y="252"/>
                    </a:lnTo>
                    <a:lnTo>
                      <a:pt x="474" y="248"/>
                    </a:lnTo>
                    <a:lnTo>
                      <a:pt x="474" y="248"/>
                    </a:lnTo>
                    <a:lnTo>
                      <a:pt x="477" y="245"/>
                    </a:lnTo>
                    <a:lnTo>
                      <a:pt x="477" y="245"/>
                    </a:lnTo>
                    <a:lnTo>
                      <a:pt x="478" y="243"/>
                    </a:lnTo>
                    <a:lnTo>
                      <a:pt x="478" y="243"/>
                    </a:lnTo>
                    <a:lnTo>
                      <a:pt x="480" y="242"/>
                    </a:lnTo>
                    <a:lnTo>
                      <a:pt x="480" y="242"/>
                    </a:lnTo>
                    <a:lnTo>
                      <a:pt x="474" y="236"/>
                    </a:lnTo>
                    <a:lnTo>
                      <a:pt x="474" y="236"/>
                    </a:lnTo>
                    <a:close/>
                    <a:moveTo>
                      <a:pt x="343" y="115"/>
                    </a:moveTo>
                    <a:lnTo>
                      <a:pt x="343" y="115"/>
                    </a:lnTo>
                    <a:lnTo>
                      <a:pt x="347" y="110"/>
                    </a:lnTo>
                    <a:lnTo>
                      <a:pt x="350" y="104"/>
                    </a:lnTo>
                    <a:lnTo>
                      <a:pt x="352" y="97"/>
                    </a:lnTo>
                    <a:lnTo>
                      <a:pt x="352" y="90"/>
                    </a:lnTo>
                    <a:lnTo>
                      <a:pt x="352" y="90"/>
                    </a:lnTo>
                    <a:lnTo>
                      <a:pt x="353" y="87"/>
                    </a:lnTo>
                    <a:lnTo>
                      <a:pt x="354" y="84"/>
                    </a:lnTo>
                    <a:lnTo>
                      <a:pt x="363" y="81"/>
                    </a:lnTo>
                    <a:lnTo>
                      <a:pt x="370" y="78"/>
                    </a:lnTo>
                    <a:lnTo>
                      <a:pt x="376" y="77"/>
                    </a:lnTo>
                    <a:lnTo>
                      <a:pt x="376" y="77"/>
                    </a:lnTo>
                    <a:lnTo>
                      <a:pt x="377" y="76"/>
                    </a:lnTo>
                    <a:lnTo>
                      <a:pt x="377" y="73"/>
                    </a:lnTo>
                    <a:lnTo>
                      <a:pt x="374" y="70"/>
                    </a:lnTo>
                    <a:lnTo>
                      <a:pt x="370" y="66"/>
                    </a:lnTo>
                    <a:lnTo>
                      <a:pt x="366" y="64"/>
                    </a:lnTo>
                    <a:lnTo>
                      <a:pt x="366" y="64"/>
                    </a:lnTo>
                    <a:lnTo>
                      <a:pt x="363" y="61"/>
                    </a:lnTo>
                    <a:lnTo>
                      <a:pt x="362" y="57"/>
                    </a:lnTo>
                    <a:lnTo>
                      <a:pt x="362" y="54"/>
                    </a:lnTo>
                    <a:lnTo>
                      <a:pt x="360" y="51"/>
                    </a:lnTo>
                    <a:lnTo>
                      <a:pt x="360" y="51"/>
                    </a:lnTo>
                    <a:lnTo>
                      <a:pt x="356" y="47"/>
                    </a:lnTo>
                    <a:lnTo>
                      <a:pt x="353" y="43"/>
                    </a:lnTo>
                    <a:lnTo>
                      <a:pt x="353" y="39"/>
                    </a:lnTo>
                    <a:lnTo>
                      <a:pt x="353" y="37"/>
                    </a:lnTo>
                    <a:lnTo>
                      <a:pt x="354" y="37"/>
                    </a:lnTo>
                    <a:lnTo>
                      <a:pt x="354" y="37"/>
                    </a:lnTo>
                    <a:lnTo>
                      <a:pt x="356" y="36"/>
                    </a:lnTo>
                    <a:lnTo>
                      <a:pt x="357" y="34"/>
                    </a:lnTo>
                    <a:lnTo>
                      <a:pt x="356" y="31"/>
                    </a:lnTo>
                    <a:lnTo>
                      <a:pt x="354" y="27"/>
                    </a:lnTo>
                    <a:lnTo>
                      <a:pt x="354" y="26"/>
                    </a:lnTo>
                    <a:lnTo>
                      <a:pt x="356" y="24"/>
                    </a:lnTo>
                    <a:lnTo>
                      <a:pt x="356" y="24"/>
                    </a:lnTo>
                    <a:lnTo>
                      <a:pt x="359" y="23"/>
                    </a:lnTo>
                    <a:lnTo>
                      <a:pt x="359" y="23"/>
                    </a:lnTo>
                    <a:lnTo>
                      <a:pt x="350" y="22"/>
                    </a:lnTo>
                    <a:lnTo>
                      <a:pt x="350" y="22"/>
                    </a:lnTo>
                    <a:lnTo>
                      <a:pt x="343" y="22"/>
                    </a:lnTo>
                    <a:lnTo>
                      <a:pt x="335" y="22"/>
                    </a:lnTo>
                    <a:lnTo>
                      <a:pt x="332" y="23"/>
                    </a:lnTo>
                    <a:lnTo>
                      <a:pt x="329" y="24"/>
                    </a:lnTo>
                    <a:lnTo>
                      <a:pt x="326" y="27"/>
                    </a:lnTo>
                    <a:lnTo>
                      <a:pt x="326" y="31"/>
                    </a:lnTo>
                    <a:lnTo>
                      <a:pt x="326" y="31"/>
                    </a:lnTo>
                    <a:lnTo>
                      <a:pt x="326" y="36"/>
                    </a:lnTo>
                    <a:lnTo>
                      <a:pt x="325" y="37"/>
                    </a:lnTo>
                    <a:lnTo>
                      <a:pt x="322" y="40"/>
                    </a:lnTo>
                    <a:lnTo>
                      <a:pt x="317" y="43"/>
                    </a:lnTo>
                    <a:lnTo>
                      <a:pt x="316" y="44"/>
                    </a:lnTo>
                    <a:lnTo>
                      <a:pt x="316" y="46"/>
                    </a:lnTo>
                    <a:lnTo>
                      <a:pt x="316" y="46"/>
                    </a:lnTo>
                    <a:lnTo>
                      <a:pt x="316" y="50"/>
                    </a:lnTo>
                    <a:lnTo>
                      <a:pt x="315" y="53"/>
                    </a:lnTo>
                    <a:lnTo>
                      <a:pt x="312" y="56"/>
                    </a:lnTo>
                    <a:lnTo>
                      <a:pt x="312" y="61"/>
                    </a:lnTo>
                    <a:lnTo>
                      <a:pt x="312" y="61"/>
                    </a:lnTo>
                    <a:lnTo>
                      <a:pt x="312" y="66"/>
                    </a:lnTo>
                    <a:lnTo>
                      <a:pt x="309" y="67"/>
                    </a:lnTo>
                    <a:lnTo>
                      <a:pt x="303" y="68"/>
                    </a:lnTo>
                    <a:lnTo>
                      <a:pt x="298" y="70"/>
                    </a:lnTo>
                    <a:lnTo>
                      <a:pt x="298" y="70"/>
                    </a:lnTo>
                    <a:lnTo>
                      <a:pt x="292" y="71"/>
                    </a:lnTo>
                    <a:lnTo>
                      <a:pt x="290" y="71"/>
                    </a:lnTo>
                    <a:lnTo>
                      <a:pt x="288" y="68"/>
                    </a:lnTo>
                    <a:lnTo>
                      <a:pt x="282" y="67"/>
                    </a:lnTo>
                    <a:lnTo>
                      <a:pt x="282" y="67"/>
                    </a:lnTo>
                    <a:lnTo>
                      <a:pt x="276" y="68"/>
                    </a:lnTo>
                    <a:lnTo>
                      <a:pt x="273" y="70"/>
                    </a:lnTo>
                    <a:lnTo>
                      <a:pt x="269" y="73"/>
                    </a:lnTo>
                    <a:lnTo>
                      <a:pt x="266" y="74"/>
                    </a:lnTo>
                    <a:lnTo>
                      <a:pt x="266" y="74"/>
                    </a:lnTo>
                    <a:lnTo>
                      <a:pt x="261" y="74"/>
                    </a:lnTo>
                    <a:lnTo>
                      <a:pt x="255" y="74"/>
                    </a:lnTo>
                    <a:lnTo>
                      <a:pt x="249" y="74"/>
                    </a:lnTo>
                    <a:lnTo>
                      <a:pt x="245" y="76"/>
                    </a:lnTo>
                    <a:lnTo>
                      <a:pt x="245" y="76"/>
                    </a:lnTo>
                    <a:lnTo>
                      <a:pt x="243" y="77"/>
                    </a:lnTo>
                    <a:lnTo>
                      <a:pt x="242" y="76"/>
                    </a:lnTo>
                    <a:lnTo>
                      <a:pt x="239" y="74"/>
                    </a:lnTo>
                    <a:lnTo>
                      <a:pt x="235" y="71"/>
                    </a:lnTo>
                    <a:lnTo>
                      <a:pt x="232" y="70"/>
                    </a:lnTo>
                    <a:lnTo>
                      <a:pt x="232" y="70"/>
                    </a:lnTo>
                    <a:lnTo>
                      <a:pt x="231" y="68"/>
                    </a:lnTo>
                    <a:lnTo>
                      <a:pt x="229" y="66"/>
                    </a:lnTo>
                    <a:lnTo>
                      <a:pt x="226" y="59"/>
                    </a:lnTo>
                    <a:lnTo>
                      <a:pt x="226" y="59"/>
                    </a:lnTo>
                    <a:lnTo>
                      <a:pt x="225" y="59"/>
                    </a:lnTo>
                    <a:lnTo>
                      <a:pt x="225" y="59"/>
                    </a:lnTo>
                    <a:lnTo>
                      <a:pt x="222" y="60"/>
                    </a:lnTo>
                    <a:lnTo>
                      <a:pt x="221" y="61"/>
                    </a:lnTo>
                    <a:lnTo>
                      <a:pt x="215" y="68"/>
                    </a:lnTo>
                    <a:lnTo>
                      <a:pt x="214" y="76"/>
                    </a:lnTo>
                    <a:lnTo>
                      <a:pt x="214" y="78"/>
                    </a:lnTo>
                    <a:lnTo>
                      <a:pt x="215" y="81"/>
                    </a:lnTo>
                    <a:lnTo>
                      <a:pt x="215" y="81"/>
                    </a:lnTo>
                    <a:lnTo>
                      <a:pt x="219" y="87"/>
                    </a:lnTo>
                    <a:lnTo>
                      <a:pt x="221" y="93"/>
                    </a:lnTo>
                    <a:lnTo>
                      <a:pt x="222" y="98"/>
                    </a:lnTo>
                    <a:lnTo>
                      <a:pt x="224" y="104"/>
                    </a:lnTo>
                    <a:lnTo>
                      <a:pt x="224" y="104"/>
                    </a:lnTo>
                    <a:lnTo>
                      <a:pt x="226" y="107"/>
                    </a:lnTo>
                    <a:lnTo>
                      <a:pt x="232" y="110"/>
                    </a:lnTo>
                    <a:lnTo>
                      <a:pt x="235" y="114"/>
                    </a:lnTo>
                    <a:lnTo>
                      <a:pt x="236" y="117"/>
                    </a:lnTo>
                    <a:lnTo>
                      <a:pt x="238" y="120"/>
                    </a:lnTo>
                    <a:lnTo>
                      <a:pt x="238" y="120"/>
                    </a:lnTo>
                    <a:lnTo>
                      <a:pt x="239" y="128"/>
                    </a:lnTo>
                    <a:lnTo>
                      <a:pt x="242" y="135"/>
                    </a:lnTo>
                    <a:lnTo>
                      <a:pt x="248" y="141"/>
                    </a:lnTo>
                    <a:lnTo>
                      <a:pt x="249" y="141"/>
                    </a:lnTo>
                    <a:lnTo>
                      <a:pt x="252" y="141"/>
                    </a:lnTo>
                    <a:lnTo>
                      <a:pt x="252" y="141"/>
                    </a:lnTo>
                    <a:lnTo>
                      <a:pt x="256" y="140"/>
                    </a:lnTo>
                    <a:lnTo>
                      <a:pt x="261" y="141"/>
                    </a:lnTo>
                    <a:lnTo>
                      <a:pt x="263" y="144"/>
                    </a:lnTo>
                    <a:lnTo>
                      <a:pt x="265" y="147"/>
                    </a:lnTo>
                    <a:lnTo>
                      <a:pt x="265" y="147"/>
                    </a:lnTo>
                    <a:lnTo>
                      <a:pt x="266" y="148"/>
                    </a:lnTo>
                    <a:lnTo>
                      <a:pt x="269" y="148"/>
                    </a:lnTo>
                    <a:lnTo>
                      <a:pt x="275" y="147"/>
                    </a:lnTo>
                    <a:lnTo>
                      <a:pt x="282" y="145"/>
                    </a:lnTo>
                    <a:lnTo>
                      <a:pt x="286" y="145"/>
                    </a:lnTo>
                    <a:lnTo>
                      <a:pt x="286" y="145"/>
                    </a:lnTo>
                    <a:lnTo>
                      <a:pt x="298" y="148"/>
                    </a:lnTo>
                    <a:lnTo>
                      <a:pt x="303" y="151"/>
                    </a:lnTo>
                    <a:lnTo>
                      <a:pt x="306" y="152"/>
                    </a:lnTo>
                    <a:lnTo>
                      <a:pt x="307" y="154"/>
                    </a:lnTo>
                    <a:lnTo>
                      <a:pt x="307" y="154"/>
                    </a:lnTo>
                    <a:lnTo>
                      <a:pt x="307" y="155"/>
                    </a:lnTo>
                    <a:lnTo>
                      <a:pt x="309" y="157"/>
                    </a:lnTo>
                    <a:lnTo>
                      <a:pt x="316" y="155"/>
                    </a:lnTo>
                    <a:lnTo>
                      <a:pt x="330" y="151"/>
                    </a:lnTo>
                    <a:lnTo>
                      <a:pt x="330" y="151"/>
                    </a:lnTo>
                    <a:lnTo>
                      <a:pt x="333" y="148"/>
                    </a:lnTo>
                    <a:lnTo>
                      <a:pt x="335" y="144"/>
                    </a:lnTo>
                    <a:lnTo>
                      <a:pt x="336" y="134"/>
                    </a:lnTo>
                    <a:lnTo>
                      <a:pt x="339" y="123"/>
                    </a:lnTo>
                    <a:lnTo>
                      <a:pt x="340" y="118"/>
                    </a:lnTo>
                    <a:lnTo>
                      <a:pt x="343" y="115"/>
                    </a:lnTo>
                    <a:lnTo>
                      <a:pt x="343" y="115"/>
                    </a:lnTo>
                    <a:close/>
                    <a:moveTo>
                      <a:pt x="379" y="248"/>
                    </a:moveTo>
                    <a:lnTo>
                      <a:pt x="379" y="248"/>
                    </a:lnTo>
                    <a:lnTo>
                      <a:pt x="381" y="251"/>
                    </a:lnTo>
                    <a:lnTo>
                      <a:pt x="384" y="252"/>
                    </a:lnTo>
                    <a:lnTo>
                      <a:pt x="389" y="253"/>
                    </a:lnTo>
                    <a:lnTo>
                      <a:pt x="393" y="255"/>
                    </a:lnTo>
                    <a:lnTo>
                      <a:pt x="393" y="255"/>
                    </a:lnTo>
                    <a:lnTo>
                      <a:pt x="396" y="258"/>
                    </a:lnTo>
                    <a:lnTo>
                      <a:pt x="401" y="259"/>
                    </a:lnTo>
                    <a:lnTo>
                      <a:pt x="406" y="259"/>
                    </a:lnTo>
                    <a:lnTo>
                      <a:pt x="407" y="258"/>
                    </a:lnTo>
                    <a:lnTo>
                      <a:pt x="407" y="256"/>
                    </a:lnTo>
                    <a:lnTo>
                      <a:pt x="407" y="256"/>
                    </a:lnTo>
                    <a:lnTo>
                      <a:pt x="406" y="253"/>
                    </a:lnTo>
                    <a:lnTo>
                      <a:pt x="403" y="251"/>
                    </a:lnTo>
                    <a:lnTo>
                      <a:pt x="391" y="246"/>
                    </a:lnTo>
                    <a:lnTo>
                      <a:pt x="381" y="246"/>
                    </a:lnTo>
                    <a:lnTo>
                      <a:pt x="379" y="246"/>
                    </a:lnTo>
                    <a:lnTo>
                      <a:pt x="379" y="248"/>
                    </a:lnTo>
                    <a:lnTo>
                      <a:pt x="379" y="248"/>
                    </a:lnTo>
                    <a:close/>
                    <a:moveTo>
                      <a:pt x="354" y="225"/>
                    </a:moveTo>
                    <a:lnTo>
                      <a:pt x="354" y="225"/>
                    </a:lnTo>
                    <a:lnTo>
                      <a:pt x="352" y="226"/>
                    </a:lnTo>
                    <a:lnTo>
                      <a:pt x="347" y="228"/>
                    </a:lnTo>
                    <a:lnTo>
                      <a:pt x="343" y="228"/>
                    </a:lnTo>
                    <a:lnTo>
                      <a:pt x="340" y="226"/>
                    </a:lnTo>
                    <a:lnTo>
                      <a:pt x="340" y="226"/>
                    </a:lnTo>
                    <a:lnTo>
                      <a:pt x="337" y="225"/>
                    </a:lnTo>
                    <a:lnTo>
                      <a:pt x="336" y="225"/>
                    </a:lnTo>
                    <a:lnTo>
                      <a:pt x="333" y="228"/>
                    </a:lnTo>
                    <a:lnTo>
                      <a:pt x="332" y="231"/>
                    </a:lnTo>
                    <a:lnTo>
                      <a:pt x="332" y="235"/>
                    </a:lnTo>
                    <a:lnTo>
                      <a:pt x="332" y="235"/>
                    </a:lnTo>
                    <a:lnTo>
                      <a:pt x="335" y="236"/>
                    </a:lnTo>
                    <a:lnTo>
                      <a:pt x="340" y="239"/>
                    </a:lnTo>
                    <a:lnTo>
                      <a:pt x="347" y="241"/>
                    </a:lnTo>
                    <a:lnTo>
                      <a:pt x="350" y="241"/>
                    </a:lnTo>
                    <a:lnTo>
                      <a:pt x="356" y="239"/>
                    </a:lnTo>
                    <a:lnTo>
                      <a:pt x="356" y="239"/>
                    </a:lnTo>
                    <a:lnTo>
                      <a:pt x="363" y="236"/>
                    </a:lnTo>
                    <a:lnTo>
                      <a:pt x="370" y="235"/>
                    </a:lnTo>
                    <a:lnTo>
                      <a:pt x="374" y="235"/>
                    </a:lnTo>
                    <a:lnTo>
                      <a:pt x="377" y="233"/>
                    </a:lnTo>
                    <a:lnTo>
                      <a:pt x="379" y="232"/>
                    </a:lnTo>
                    <a:lnTo>
                      <a:pt x="379" y="232"/>
                    </a:lnTo>
                    <a:lnTo>
                      <a:pt x="377" y="229"/>
                    </a:lnTo>
                    <a:lnTo>
                      <a:pt x="376" y="228"/>
                    </a:lnTo>
                    <a:lnTo>
                      <a:pt x="367" y="225"/>
                    </a:lnTo>
                    <a:lnTo>
                      <a:pt x="359" y="224"/>
                    </a:lnTo>
                    <a:lnTo>
                      <a:pt x="356" y="224"/>
                    </a:lnTo>
                    <a:lnTo>
                      <a:pt x="354" y="225"/>
                    </a:lnTo>
                    <a:lnTo>
                      <a:pt x="354" y="2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2" name="China">
                <a:extLst>
                  <a:ext uri="{FF2B5EF4-FFF2-40B4-BE49-F238E27FC236}">
                    <a16:creationId xmlns:a16="http://schemas.microsoft.com/office/drawing/2014/main" id="{392FB34B-9BDA-994D-AB4D-54D651D4EAAC}"/>
                  </a:ext>
                </a:extLst>
              </p:cNvPr>
              <p:cNvSpPr>
                <a:spLocks noEditPoints="1"/>
              </p:cNvSpPr>
              <p:nvPr/>
            </p:nvSpPr>
            <p:spPr bwMode="auto">
              <a:xfrm>
                <a:off x="6075460" y="2896547"/>
                <a:ext cx="1422073" cy="976657"/>
              </a:xfrm>
              <a:custGeom>
                <a:avLst/>
                <a:gdLst/>
                <a:ahLst/>
                <a:cxnLst>
                  <a:cxn ang="0">
                    <a:pos x="911" y="124"/>
                  </a:cxn>
                  <a:cxn ang="0">
                    <a:pos x="870" y="89"/>
                  </a:cxn>
                  <a:cxn ang="0">
                    <a:pos x="833" y="43"/>
                  </a:cxn>
                  <a:cxn ang="0">
                    <a:pos x="793" y="3"/>
                  </a:cxn>
                  <a:cxn ang="0">
                    <a:pos x="732" y="17"/>
                  </a:cxn>
                  <a:cxn ang="0">
                    <a:pos x="712" y="72"/>
                  </a:cxn>
                  <a:cxn ang="0">
                    <a:pos x="655" y="120"/>
                  </a:cxn>
                  <a:cxn ang="0">
                    <a:pos x="707" y="126"/>
                  </a:cxn>
                  <a:cxn ang="0">
                    <a:pos x="676" y="150"/>
                  </a:cxn>
                  <a:cxn ang="0">
                    <a:pos x="598" y="178"/>
                  </a:cxn>
                  <a:cxn ang="0">
                    <a:pos x="557" y="228"/>
                  </a:cxn>
                  <a:cxn ang="0">
                    <a:pos x="466" y="239"/>
                  </a:cxn>
                  <a:cxn ang="0">
                    <a:pos x="346" y="224"/>
                  </a:cxn>
                  <a:cxn ang="0">
                    <a:pos x="312" y="184"/>
                  </a:cxn>
                  <a:cxn ang="0">
                    <a:pos x="269" y="141"/>
                  </a:cxn>
                  <a:cxn ang="0">
                    <a:pos x="220" y="93"/>
                  </a:cxn>
                  <a:cxn ang="0">
                    <a:pos x="197" y="107"/>
                  </a:cxn>
                  <a:cxn ang="0">
                    <a:pos x="158" y="137"/>
                  </a:cxn>
                  <a:cxn ang="0">
                    <a:pos x="126" y="171"/>
                  </a:cxn>
                  <a:cxn ang="0">
                    <a:pos x="111" y="212"/>
                  </a:cxn>
                  <a:cxn ang="0">
                    <a:pos x="74" y="252"/>
                  </a:cxn>
                  <a:cxn ang="0">
                    <a:pos x="23" y="265"/>
                  </a:cxn>
                  <a:cxn ang="0">
                    <a:pos x="16" y="305"/>
                  </a:cxn>
                  <a:cxn ang="0">
                    <a:pos x="57" y="359"/>
                  </a:cxn>
                  <a:cxn ang="0">
                    <a:pos x="89" y="386"/>
                  </a:cxn>
                  <a:cxn ang="0">
                    <a:pos x="74" y="416"/>
                  </a:cxn>
                  <a:cxn ang="0">
                    <a:pos x="110" y="454"/>
                  </a:cxn>
                  <a:cxn ang="0">
                    <a:pos x="183" y="488"/>
                  </a:cxn>
                  <a:cxn ang="0">
                    <a:pos x="232" y="501"/>
                  </a:cxn>
                  <a:cxn ang="0">
                    <a:pos x="279" y="498"/>
                  </a:cxn>
                  <a:cxn ang="0">
                    <a:pos x="332" y="474"/>
                  </a:cxn>
                  <a:cxn ang="0">
                    <a:pos x="369" y="488"/>
                  </a:cxn>
                  <a:cxn ang="0">
                    <a:pos x="363" y="550"/>
                  </a:cxn>
                  <a:cxn ang="0">
                    <a:pos x="385" y="578"/>
                  </a:cxn>
                  <a:cxn ang="0">
                    <a:pos x="410" y="605"/>
                  </a:cxn>
                  <a:cxn ang="0">
                    <a:pos x="426" y="591"/>
                  </a:cxn>
                  <a:cxn ang="0">
                    <a:pos x="460" y="587"/>
                  </a:cxn>
                  <a:cxn ang="0">
                    <a:pos x="507" y="587"/>
                  </a:cxn>
                  <a:cxn ang="0">
                    <a:pos x="544" y="604"/>
                  </a:cxn>
                  <a:cxn ang="0">
                    <a:pos x="564" y="626"/>
                  </a:cxn>
                  <a:cxn ang="0">
                    <a:pos x="632" y="588"/>
                  </a:cxn>
                  <a:cxn ang="0">
                    <a:pos x="690" y="557"/>
                  </a:cxn>
                  <a:cxn ang="0">
                    <a:pos x="716" y="530"/>
                  </a:cxn>
                  <a:cxn ang="0">
                    <a:pos x="744" y="490"/>
                  </a:cxn>
                  <a:cxn ang="0">
                    <a:pos x="752" y="458"/>
                  </a:cxn>
                  <a:cxn ang="0">
                    <a:pos x="754" y="443"/>
                  </a:cxn>
                  <a:cxn ang="0">
                    <a:pos x="753" y="427"/>
                  </a:cxn>
                  <a:cxn ang="0">
                    <a:pos x="715" y="375"/>
                  </a:cxn>
                  <a:cxn ang="0">
                    <a:pos x="737" y="340"/>
                  </a:cxn>
                  <a:cxn ang="0">
                    <a:pos x="742" y="319"/>
                  </a:cxn>
                  <a:cxn ang="0">
                    <a:pos x="697" y="312"/>
                  </a:cxn>
                  <a:cxn ang="0">
                    <a:pos x="712" y="282"/>
                  </a:cxn>
                  <a:cxn ang="0">
                    <a:pos x="749" y="279"/>
                  </a:cxn>
                  <a:cxn ang="0">
                    <a:pos x="791" y="278"/>
                  </a:cxn>
                  <a:cxn ang="0">
                    <a:pos x="858" y="247"/>
                  </a:cxn>
                  <a:cxn ang="0">
                    <a:pos x="884" y="218"/>
                  </a:cxn>
                  <a:cxn ang="0">
                    <a:pos x="904" y="183"/>
                  </a:cxn>
                  <a:cxn ang="0">
                    <a:pos x="941" y="164"/>
                  </a:cxn>
                  <a:cxn ang="0">
                    <a:pos x="725" y="574"/>
                  </a:cxn>
                  <a:cxn ang="0">
                    <a:pos x="732" y="555"/>
                  </a:cxn>
                  <a:cxn ang="0">
                    <a:pos x="567" y="653"/>
                  </a:cxn>
                </a:cxnLst>
                <a:rect l="0" t="0" r="r" b="b"/>
                <a:pathLst>
                  <a:path w="961" h="660">
                    <a:moveTo>
                      <a:pt x="959" y="118"/>
                    </a:moveTo>
                    <a:lnTo>
                      <a:pt x="959" y="118"/>
                    </a:lnTo>
                    <a:lnTo>
                      <a:pt x="958" y="116"/>
                    </a:lnTo>
                    <a:lnTo>
                      <a:pt x="958" y="113"/>
                    </a:lnTo>
                    <a:lnTo>
                      <a:pt x="954" y="113"/>
                    </a:lnTo>
                    <a:lnTo>
                      <a:pt x="949" y="113"/>
                    </a:lnTo>
                    <a:lnTo>
                      <a:pt x="946" y="114"/>
                    </a:lnTo>
                    <a:lnTo>
                      <a:pt x="946" y="114"/>
                    </a:lnTo>
                    <a:lnTo>
                      <a:pt x="942" y="116"/>
                    </a:lnTo>
                    <a:lnTo>
                      <a:pt x="938" y="116"/>
                    </a:lnTo>
                    <a:lnTo>
                      <a:pt x="934" y="117"/>
                    </a:lnTo>
                    <a:lnTo>
                      <a:pt x="931" y="120"/>
                    </a:lnTo>
                    <a:lnTo>
                      <a:pt x="931" y="120"/>
                    </a:lnTo>
                    <a:lnTo>
                      <a:pt x="928" y="123"/>
                    </a:lnTo>
                    <a:lnTo>
                      <a:pt x="925" y="124"/>
                    </a:lnTo>
                    <a:lnTo>
                      <a:pt x="917" y="124"/>
                    </a:lnTo>
                    <a:lnTo>
                      <a:pt x="917" y="124"/>
                    </a:lnTo>
                    <a:lnTo>
                      <a:pt x="911" y="124"/>
                    </a:lnTo>
                    <a:lnTo>
                      <a:pt x="905" y="123"/>
                    </a:lnTo>
                    <a:lnTo>
                      <a:pt x="901" y="120"/>
                    </a:lnTo>
                    <a:lnTo>
                      <a:pt x="901" y="117"/>
                    </a:lnTo>
                    <a:lnTo>
                      <a:pt x="901" y="117"/>
                    </a:lnTo>
                    <a:lnTo>
                      <a:pt x="899" y="114"/>
                    </a:lnTo>
                    <a:lnTo>
                      <a:pt x="898" y="111"/>
                    </a:lnTo>
                    <a:lnTo>
                      <a:pt x="897" y="107"/>
                    </a:lnTo>
                    <a:lnTo>
                      <a:pt x="897" y="104"/>
                    </a:lnTo>
                    <a:lnTo>
                      <a:pt x="897" y="104"/>
                    </a:lnTo>
                    <a:lnTo>
                      <a:pt x="897" y="101"/>
                    </a:lnTo>
                    <a:lnTo>
                      <a:pt x="894" y="100"/>
                    </a:lnTo>
                    <a:lnTo>
                      <a:pt x="890" y="99"/>
                    </a:lnTo>
                    <a:lnTo>
                      <a:pt x="885" y="96"/>
                    </a:lnTo>
                    <a:lnTo>
                      <a:pt x="885" y="96"/>
                    </a:lnTo>
                    <a:lnTo>
                      <a:pt x="881" y="93"/>
                    </a:lnTo>
                    <a:lnTo>
                      <a:pt x="877" y="90"/>
                    </a:lnTo>
                    <a:lnTo>
                      <a:pt x="872" y="89"/>
                    </a:lnTo>
                    <a:lnTo>
                      <a:pt x="870" y="89"/>
                    </a:lnTo>
                    <a:lnTo>
                      <a:pt x="870" y="89"/>
                    </a:lnTo>
                    <a:lnTo>
                      <a:pt x="867" y="89"/>
                    </a:lnTo>
                    <a:lnTo>
                      <a:pt x="864" y="87"/>
                    </a:lnTo>
                    <a:lnTo>
                      <a:pt x="860" y="84"/>
                    </a:lnTo>
                    <a:lnTo>
                      <a:pt x="854" y="83"/>
                    </a:lnTo>
                    <a:lnTo>
                      <a:pt x="854" y="83"/>
                    </a:lnTo>
                    <a:lnTo>
                      <a:pt x="850" y="82"/>
                    </a:lnTo>
                    <a:lnTo>
                      <a:pt x="847" y="80"/>
                    </a:lnTo>
                    <a:lnTo>
                      <a:pt x="847" y="77"/>
                    </a:lnTo>
                    <a:lnTo>
                      <a:pt x="848" y="74"/>
                    </a:lnTo>
                    <a:lnTo>
                      <a:pt x="848" y="74"/>
                    </a:lnTo>
                    <a:lnTo>
                      <a:pt x="847" y="70"/>
                    </a:lnTo>
                    <a:lnTo>
                      <a:pt x="844" y="66"/>
                    </a:lnTo>
                    <a:lnTo>
                      <a:pt x="840" y="54"/>
                    </a:lnTo>
                    <a:lnTo>
                      <a:pt x="840" y="54"/>
                    </a:lnTo>
                    <a:lnTo>
                      <a:pt x="838" y="52"/>
                    </a:lnTo>
                    <a:lnTo>
                      <a:pt x="835" y="47"/>
                    </a:lnTo>
                    <a:lnTo>
                      <a:pt x="833" y="43"/>
                    </a:lnTo>
                    <a:lnTo>
                      <a:pt x="830" y="36"/>
                    </a:lnTo>
                    <a:lnTo>
                      <a:pt x="830" y="36"/>
                    </a:lnTo>
                    <a:lnTo>
                      <a:pt x="828" y="29"/>
                    </a:lnTo>
                    <a:lnTo>
                      <a:pt x="826" y="26"/>
                    </a:lnTo>
                    <a:lnTo>
                      <a:pt x="823" y="25"/>
                    </a:lnTo>
                    <a:lnTo>
                      <a:pt x="823" y="22"/>
                    </a:lnTo>
                    <a:lnTo>
                      <a:pt x="823" y="22"/>
                    </a:lnTo>
                    <a:lnTo>
                      <a:pt x="823" y="19"/>
                    </a:lnTo>
                    <a:lnTo>
                      <a:pt x="821" y="17"/>
                    </a:lnTo>
                    <a:lnTo>
                      <a:pt x="818" y="15"/>
                    </a:lnTo>
                    <a:lnTo>
                      <a:pt x="816" y="12"/>
                    </a:lnTo>
                    <a:lnTo>
                      <a:pt x="813" y="9"/>
                    </a:lnTo>
                    <a:lnTo>
                      <a:pt x="813" y="9"/>
                    </a:lnTo>
                    <a:lnTo>
                      <a:pt x="808" y="8"/>
                    </a:lnTo>
                    <a:lnTo>
                      <a:pt x="804" y="6"/>
                    </a:lnTo>
                    <a:lnTo>
                      <a:pt x="798" y="6"/>
                    </a:lnTo>
                    <a:lnTo>
                      <a:pt x="793" y="3"/>
                    </a:lnTo>
                    <a:lnTo>
                      <a:pt x="793" y="3"/>
                    </a:lnTo>
                    <a:lnTo>
                      <a:pt x="787" y="2"/>
                    </a:lnTo>
                    <a:lnTo>
                      <a:pt x="783" y="2"/>
                    </a:lnTo>
                    <a:lnTo>
                      <a:pt x="779" y="2"/>
                    </a:lnTo>
                    <a:lnTo>
                      <a:pt x="774" y="0"/>
                    </a:lnTo>
                    <a:lnTo>
                      <a:pt x="774" y="0"/>
                    </a:lnTo>
                    <a:lnTo>
                      <a:pt x="769" y="0"/>
                    </a:lnTo>
                    <a:lnTo>
                      <a:pt x="762" y="0"/>
                    </a:lnTo>
                    <a:lnTo>
                      <a:pt x="752" y="3"/>
                    </a:lnTo>
                    <a:lnTo>
                      <a:pt x="752" y="3"/>
                    </a:lnTo>
                    <a:lnTo>
                      <a:pt x="743" y="3"/>
                    </a:lnTo>
                    <a:lnTo>
                      <a:pt x="736" y="5"/>
                    </a:lnTo>
                    <a:lnTo>
                      <a:pt x="733" y="6"/>
                    </a:lnTo>
                    <a:lnTo>
                      <a:pt x="730" y="9"/>
                    </a:lnTo>
                    <a:lnTo>
                      <a:pt x="730" y="9"/>
                    </a:lnTo>
                    <a:lnTo>
                      <a:pt x="727" y="15"/>
                    </a:lnTo>
                    <a:lnTo>
                      <a:pt x="727" y="17"/>
                    </a:lnTo>
                    <a:lnTo>
                      <a:pt x="730" y="17"/>
                    </a:lnTo>
                    <a:lnTo>
                      <a:pt x="732" y="17"/>
                    </a:lnTo>
                    <a:lnTo>
                      <a:pt x="732" y="17"/>
                    </a:lnTo>
                    <a:lnTo>
                      <a:pt x="733" y="19"/>
                    </a:lnTo>
                    <a:lnTo>
                      <a:pt x="734" y="22"/>
                    </a:lnTo>
                    <a:lnTo>
                      <a:pt x="737" y="29"/>
                    </a:lnTo>
                    <a:lnTo>
                      <a:pt x="737" y="29"/>
                    </a:lnTo>
                    <a:lnTo>
                      <a:pt x="736" y="32"/>
                    </a:lnTo>
                    <a:lnTo>
                      <a:pt x="734" y="35"/>
                    </a:lnTo>
                    <a:lnTo>
                      <a:pt x="730" y="37"/>
                    </a:lnTo>
                    <a:lnTo>
                      <a:pt x="730" y="37"/>
                    </a:lnTo>
                    <a:lnTo>
                      <a:pt x="727" y="39"/>
                    </a:lnTo>
                    <a:lnTo>
                      <a:pt x="725" y="43"/>
                    </a:lnTo>
                    <a:lnTo>
                      <a:pt x="720" y="53"/>
                    </a:lnTo>
                    <a:lnTo>
                      <a:pt x="720" y="53"/>
                    </a:lnTo>
                    <a:lnTo>
                      <a:pt x="715" y="62"/>
                    </a:lnTo>
                    <a:lnTo>
                      <a:pt x="713" y="66"/>
                    </a:lnTo>
                    <a:lnTo>
                      <a:pt x="712" y="69"/>
                    </a:lnTo>
                    <a:lnTo>
                      <a:pt x="712" y="69"/>
                    </a:lnTo>
                    <a:lnTo>
                      <a:pt x="712" y="72"/>
                    </a:lnTo>
                    <a:lnTo>
                      <a:pt x="710" y="73"/>
                    </a:lnTo>
                    <a:lnTo>
                      <a:pt x="705" y="76"/>
                    </a:lnTo>
                    <a:lnTo>
                      <a:pt x="705" y="76"/>
                    </a:lnTo>
                    <a:lnTo>
                      <a:pt x="697" y="80"/>
                    </a:lnTo>
                    <a:lnTo>
                      <a:pt x="690" y="84"/>
                    </a:lnTo>
                    <a:lnTo>
                      <a:pt x="690" y="84"/>
                    </a:lnTo>
                    <a:lnTo>
                      <a:pt x="682" y="84"/>
                    </a:lnTo>
                    <a:lnTo>
                      <a:pt x="676" y="82"/>
                    </a:lnTo>
                    <a:lnTo>
                      <a:pt x="675" y="80"/>
                    </a:lnTo>
                    <a:lnTo>
                      <a:pt x="675" y="80"/>
                    </a:lnTo>
                    <a:lnTo>
                      <a:pt x="673" y="79"/>
                    </a:lnTo>
                    <a:lnTo>
                      <a:pt x="670" y="77"/>
                    </a:lnTo>
                    <a:lnTo>
                      <a:pt x="658" y="103"/>
                    </a:lnTo>
                    <a:lnTo>
                      <a:pt x="656" y="111"/>
                    </a:lnTo>
                    <a:lnTo>
                      <a:pt x="656" y="111"/>
                    </a:lnTo>
                    <a:lnTo>
                      <a:pt x="653" y="113"/>
                    </a:lnTo>
                    <a:lnTo>
                      <a:pt x="652" y="116"/>
                    </a:lnTo>
                    <a:lnTo>
                      <a:pt x="655" y="120"/>
                    </a:lnTo>
                    <a:lnTo>
                      <a:pt x="655" y="120"/>
                    </a:lnTo>
                    <a:lnTo>
                      <a:pt x="659" y="123"/>
                    </a:lnTo>
                    <a:lnTo>
                      <a:pt x="662" y="123"/>
                    </a:lnTo>
                    <a:lnTo>
                      <a:pt x="665" y="121"/>
                    </a:lnTo>
                    <a:lnTo>
                      <a:pt x="670" y="120"/>
                    </a:lnTo>
                    <a:lnTo>
                      <a:pt x="670" y="120"/>
                    </a:lnTo>
                    <a:lnTo>
                      <a:pt x="678" y="121"/>
                    </a:lnTo>
                    <a:lnTo>
                      <a:pt x="682" y="124"/>
                    </a:lnTo>
                    <a:lnTo>
                      <a:pt x="685" y="124"/>
                    </a:lnTo>
                    <a:lnTo>
                      <a:pt x="686" y="124"/>
                    </a:lnTo>
                    <a:lnTo>
                      <a:pt x="686" y="123"/>
                    </a:lnTo>
                    <a:lnTo>
                      <a:pt x="686" y="123"/>
                    </a:lnTo>
                    <a:lnTo>
                      <a:pt x="689" y="118"/>
                    </a:lnTo>
                    <a:lnTo>
                      <a:pt x="693" y="117"/>
                    </a:lnTo>
                    <a:lnTo>
                      <a:pt x="697" y="117"/>
                    </a:lnTo>
                    <a:lnTo>
                      <a:pt x="702" y="120"/>
                    </a:lnTo>
                    <a:lnTo>
                      <a:pt x="702" y="120"/>
                    </a:lnTo>
                    <a:lnTo>
                      <a:pt x="707" y="126"/>
                    </a:lnTo>
                    <a:lnTo>
                      <a:pt x="715" y="131"/>
                    </a:lnTo>
                    <a:lnTo>
                      <a:pt x="720" y="137"/>
                    </a:lnTo>
                    <a:lnTo>
                      <a:pt x="722" y="140"/>
                    </a:lnTo>
                    <a:lnTo>
                      <a:pt x="723" y="143"/>
                    </a:lnTo>
                    <a:lnTo>
                      <a:pt x="723" y="143"/>
                    </a:lnTo>
                    <a:lnTo>
                      <a:pt x="722" y="144"/>
                    </a:lnTo>
                    <a:lnTo>
                      <a:pt x="720" y="146"/>
                    </a:lnTo>
                    <a:lnTo>
                      <a:pt x="716" y="146"/>
                    </a:lnTo>
                    <a:lnTo>
                      <a:pt x="712" y="146"/>
                    </a:lnTo>
                    <a:lnTo>
                      <a:pt x="706" y="144"/>
                    </a:lnTo>
                    <a:lnTo>
                      <a:pt x="706" y="144"/>
                    </a:lnTo>
                    <a:lnTo>
                      <a:pt x="702" y="144"/>
                    </a:lnTo>
                    <a:lnTo>
                      <a:pt x="696" y="146"/>
                    </a:lnTo>
                    <a:lnTo>
                      <a:pt x="690" y="147"/>
                    </a:lnTo>
                    <a:lnTo>
                      <a:pt x="686" y="148"/>
                    </a:lnTo>
                    <a:lnTo>
                      <a:pt x="686" y="148"/>
                    </a:lnTo>
                    <a:lnTo>
                      <a:pt x="680" y="148"/>
                    </a:lnTo>
                    <a:lnTo>
                      <a:pt x="676" y="150"/>
                    </a:lnTo>
                    <a:lnTo>
                      <a:pt x="670" y="153"/>
                    </a:lnTo>
                    <a:lnTo>
                      <a:pt x="666" y="157"/>
                    </a:lnTo>
                    <a:lnTo>
                      <a:pt x="666" y="157"/>
                    </a:lnTo>
                    <a:lnTo>
                      <a:pt x="662" y="161"/>
                    </a:lnTo>
                    <a:lnTo>
                      <a:pt x="661" y="165"/>
                    </a:lnTo>
                    <a:lnTo>
                      <a:pt x="656" y="168"/>
                    </a:lnTo>
                    <a:lnTo>
                      <a:pt x="652" y="170"/>
                    </a:lnTo>
                    <a:lnTo>
                      <a:pt x="652" y="170"/>
                    </a:lnTo>
                    <a:lnTo>
                      <a:pt x="641" y="171"/>
                    </a:lnTo>
                    <a:lnTo>
                      <a:pt x="635" y="174"/>
                    </a:lnTo>
                    <a:lnTo>
                      <a:pt x="628" y="177"/>
                    </a:lnTo>
                    <a:lnTo>
                      <a:pt x="628" y="177"/>
                    </a:lnTo>
                    <a:lnTo>
                      <a:pt x="619" y="181"/>
                    </a:lnTo>
                    <a:lnTo>
                      <a:pt x="612" y="183"/>
                    </a:lnTo>
                    <a:lnTo>
                      <a:pt x="606" y="181"/>
                    </a:lnTo>
                    <a:lnTo>
                      <a:pt x="602" y="180"/>
                    </a:lnTo>
                    <a:lnTo>
                      <a:pt x="602" y="180"/>
                    </a:lnTo>
                    <a:lnTo>
                      <a:pt x="598" y="178"/>
                    </a:lnTo>
                    <a:lnTo>
                      <a:pt x="594" y="178"/>
                    </a:lnTo>
                    <a:lnTo>
                      <a:pt x="589" y="180"/>
                    </a:lnTo>
                    <a:lnTo>
                      <a:pt x="587" y="184"/>
                    </a:lnTo>
                    <a:lnTo>
                      <a:pt x="587" y="184"/>
                    </a:lnTo>
                    <a:lnTo>
                      <a:pt x="585" y="185"/>
                    </a:lnTo>
                    <a:lnTo>
                      <a:pt x="585" y="188"/>
                    </a:lnTo>
                    <a:lnTo>
                      <a:pt x="588" y="192"/>
                    </a:lnTo>
                    <a:lnTo>
                      <a:pt x="589" y="197"/>
                    </a:lnTo>
                    <a:lnTo>
                      <a:pt x="591" y="202"/>
                    </a:lnTo>
                    <a:lnTo>
                      <a:pt x="591" y="202"/>
                    </a:lnTo>
                    <a:lnTo>
                      <a:pt x="589" y="205"/>
                    </a:lnTo>
                    <a:lnTo>
                      <a:pt x="588" y="207"/>
                    </a:lnTo>
                    <a:lnTo>
                      <a:pt x="584" y="210"/>
                    </a:lnTo>
                    <a:lnTo>
                      <a:pt x="577" y="212"/>
                    </a:lnTo>
                    <a:lnTo>
                      <a:pt x="571" y="218"/>
                    </a:lnTo>
                    <a:lnTo>
                      <a:pt x="571" y="218"/>
                    </a:lnTo>
                    <a:lnTo>
                      <a:pt x="564" y="224"/>
                    </a:lnTo>
                    <a:lnTo>
                      <a:pt x="557" y="228"/>
                    </a:lnTo>
                    <a:lnTo>
                      <a:pt x="548" y="229"/>
                    </a:lnTo>
                    <a:lnTo>
                      <a:pt x="542" y="229"/>
                    </a:lnTo>
                    <a:lnTo>
                      <a:pt x="542" y="229"/>
                    </a:lnTo>
                    <a:lnTo>
                      <a:pt x="527" y="228"/>
                    </a:lnTo>
                    <a:lnTo>
                      <a:pt x="515" y="228"/>
                    </a:lnTo>
                    <a:lnTo>
                      <a:pt x="511" y="229"/>
                    </a:lnTo>
                    <a:lnTo>
                      <a:pt x="505" y="231"/>
                    </a:lnTo>
                    <a:lnTo>
                      <a:pt x="505" y="231"/>
                    </a:lnTo>
                    <a:lnTo>
                      <a:pt x="497" y="237"/>
                    </a:lnTo>
                    <a:lnTo>
                      <a:pt x="488" y="241"/>
                    </a:lnTo>
                    <a:lnTo>
                      <a:pt x="483" y="245"/>
                    </a:lnTo>
                    <a:lnTo>
                      <a:pt x="478" y="245"/>
                    </a:lnTo>
                    <a:lnTo>
                      <a:pt x="478" y="245"/>
                    </a:lnTo>
                    <a:lnTo>
                      <a:pt x="474" y="244"/>
                    </a:lnTo>
                    <a:lnTo>
                      <a:pt x="473" y="242"/>
                    </a:lnTo>
                    <a:lnTo>
                      <a:pt x="470" y="239"/>
                    </a:lnTo>
                    <a:lnTo>
                      <a:pt x="466" y="239"/>
                    </a:lnTo>
                    <a:lnTo>
                      <a:pt x="466" y="239"/>
                    </a:lnTo>
                    <a:lnTo>
                      <a:pt x="460" y="239"/>
                    </a:lnTo>
                    <a:lnTo>
                      <a:pt x="457" y="239"/>
                    </a:lnTo>
                    <a:lnTo>
                      <a:pt x="449" y="235"/>
                    </a:lnTo>
                    <a:lnTo>
                      <a:pt x="449" y="235"/>
                    </a:lnTo>
                    <a:lnTo>
                      <a:pt x="446" y="234"/>
                    </a:lnTo>
                    <a:lnTo>
                      <a:pt x="441" y="234"/>
                    </a:lnTo>
                    <a:lnTo>
                      <a:pt x="437" y="234"/>
                    </a:lnTo>
                    <a:lnTo>
                      <a:pt x="431" y="231"/>
                    </a:lnTo>
                    <a:lnTo>
                      <a:pt x="431" y="231"/>
                    </a:lnTo>
                    <a:lnTo>
                      <a:pt x="424" y="228"/>
                    </a:lnTo>
                    <a:lnTo>
                      <a:pt x="416" y="227"/>
                    </a:lnTo>
                    <a:lnTo>
                      <a:pt x="403" y="225"/>
                    </a:lnTo>
                    <a:lnTo>
                      <a:pt x="403" y="225"/>
                    </a:lnTo>
                    <a:lnTo>
                      <a:pt x="385" y="224"/>
                    </a:lnTo>
                    <a:lnTo>
                      <a:pt x="365" y="224"/>
                    </a:lnTo>
                    <a:lnTo>
                      <a:pt x="365" y="224"/>
                    </a:lnTo>
                    <a:lnTo>
                      <a:pt x="352" y="224"/>
                    </a:lnTo>
                    <a:lnTo>
                      <a:pt x="346" y="224"/>
                    </a:lnTo>
                    <a:lnTo>
                      <a:pt x="345" y="222"/>
                    </a:lnTo>
                    <a:lnTo>
                      <a:pt x="343" y="222"/>
                    </a:lnTo>
                    <a:lnTo>
                      <a:pt x="343" y="222"/>
                    </a:lnTo>
                    <a:lnTo>
                      <a:pt x="342" y="218"/>
                    </a:lnTo>
                    <a:lnTo>
                      <a:pt x="339" y="215"/>
                    </a:lnTo>
                    <a:lnTo>
                      <a:pt x="336" y="211"/>
                    </a:lnTo>
                    <a:lnTo>
                      <a:pt x="335" y="205"/>
                    </a:lnTo>
                    <a:lnTo>
                      <a:pt x="335" y="205"/>
                    </a:lnTo>
                    <a:lnTo>
                      <a:pt x="332" y="200"/>
                    </a:lnTo>
                    <a:lnTo>
                      <a:pt x="329" y="195"/>
                    </a:lnTo>
                    <a:lnTo>
                      <a:pt x="326" y="192"/>
                    </a:lnTo>
                    <a:lnTo>
                      <a:pt x="322" y="192"/>
                    </a:lnTo>
                    <a:lnTo>
                      <a:pt x="322" y="192"/>
                    </a:lnTo>
                    <a:lnTo>
                      <a:pt x="319" y="190"/>
                    </a:lnTo>
                    <a:lnTo>
                      <a:pt x="316" y="188"/>
                    </a:lnTo>
                    <a:lnTo>
                      <a:pt x="315" y="185"/>
                    </a:lnTo>
                    <a:lnTo>
                      <a:pt x="312" y="184"/>
                    </a:lnTo>
                    <a:lnTo>
                      <a:pt x="312" y="184"/>
                    </a:lnTo>
                    <a:lnTo>
                      <a:pt x="309" y="184"/>
                    </a:lnTo>
                    <a:lnTo>
                      <a:pt x="308" y="181"/>
                    </a:lnTo>
                    <a:lnTo>
                      <a:pt x="303" y="178"/>
                    </a:lnTo>
                    <a:lnTo>
                      <a:pt x="299" y="177"/>
                    </a:lnTo>
                    <a:lnTo>
                      <a:pt x="299" y="177"/>
                    </a:lnTo>
                    <a:lnTo>
                      <a:pt x="292" y="177"/>
                    </a:lnTo>
                    <a:lnTo>
                      <a:pt x="281" y="175"/>
                    </a:lnTo>
                    <a:lnTo>
                      <a:pt x="269" y="173"/>
                    </a:lnTo>
                    <a:lnTo>
                      <a:pt x="265" y="171"/>
                    </a:lnTo>
                    <a:lnTo>
                      <a:pt x="264" y="168"/>
                    </a:lnTo>
                    <a:lnTo>
                      <a:pt x="264" y="168"/>
                    </a:lnTo>
                    <a:lnTo>
                      <a:pt x="262" y="165"/>
                    </a:lnTo>
                    <a:lnTo>
                      <a:pt x="264" y="163"/>
                    </a:lnTo>
                    <a:lnTo>
                      <a:pt x="266" y="158"/>
                    </a:lnTo>
                    <a:lnTo>
                      <a:pt x="266" y="155"/>
                    </a:lnTo>
                    <a:lnTo>
                      <a:pt x="266" y="155"/>
                    </a:lnTo>
                    <a:lnTo>
                      <a:pt x="269" y="146"/>
                    </a:lnTo>
                    <a:lnTo>
                      <a:pt x="269" y="141"/>
                    </a:lnTo>
                    <a:lnTo>
                      <a:pt x="268" y="140"/>
                    </a:lnTo>
                    <a:lnTo>
                      <a:pt x="268" y="140"/>
                    </a:lnTo>
                    <a:lnTo>
                      <a:pt x="262" y="134"/>
                    </a:lnTo>
                    <a:lnTo>
                      <a:pt x="261" y="131"/>
                    </a:lnTo>
                    <a:lnTo>
                      <a:pt x="259" y="127"/>
                    </a:lnTo>
                    <a:lnTo>
                      <a:pt x="259" y="127"/>
                    </a:lnTo>
                    <a:lnTo>
                      <a:pt x="258" y="123"/>
                    </a:lnTo>
                    <a:lnTo>
                      <a:pt x="254" y="120"/>
                    </a:lnTo>
                    <a:lnTo>
                      <a:pt x="249" y="117"/>
                    </a:lnTo>
                    <a:lnTo>
                      <a:pt x="245" y="116"/>
                    </a:lnTo>
                    <a:lnTo>
                      <a:pt x="245" y="116"/>
                    </a:lnTo>
                    <a:lnTo>
                      <a:pt x="242" y="116"/>
                    </a:lnTo>
                    <a:lnTo>
                      <a:pt x="238" y="113"/>
                    </a:lnTo>
                    <a:lnTo>
                      <a:pt x="231" y="109"/>
                    </a:lnTo>
                    <a:lnTo>
                      <a:pt x="231" y="109"/>
                    </a:lnTo>
                    <a:lnTo>
                      <a:pt x="224" y="103"/>
                    </a:lnTo>
                    <a:lnTo>
                      <a:pt x="222" y="100"/>
                    </a:lnTo>
                    <a:lnTo>
                      <a:pt x="220" y="93"/>
                    </a:lnTo>
                    <a:lnTo>
                      <a:pt x="220" y="93"/>
                    </a:lnTo>
                    <a:lnTo>
                      <a:pt x="220" y="91"/>
                    </a:lnTo>
                    <a:lnTo>
                      <a:pt x="220" y="91"/>
                    </a:lnTo>
                    <a:lnTo>
                      <a:pt x="214" y="90"/>
                    </a:lnTo>
                    <a:lnTo>
                      <a:pt x="214" y="90"/>
                    </a:lnTo>
                    <a:lnTo>
                      <a:pt x="211" y="90"/>
                    </a:lnTo>
                    <a:lnTo>
                      <a:pt x="210" y="87"/>
                    </a:lnTo>
                    <a:lnTo>
                      <a:pt x="210" y="87"/>
                    </a:lnTo>
                    <a:lnTo>
                      <a:pt x="208" y="91"/>
                    </a:lnTo>
                    <a:lnTo>
                      <a:pt x="205" y="93"/>
                    </a:lnTo>
                    <a:lnTo>
                      <a:pt x="204" y="96"/>
                    </a:lnTo>
                    <a:lnTo>
                      <a:pt x="204" y="99"/>
                    </a:lnTo>
                    <a:lnTo>
                      <a:pt x="204" y="99"/>
                    </a:lnTo>
                    <a:lnTo>
                      <a:pt x="202" y="101"/>
                    </a:lnTo>
                    <a:lnTo>
                      <a:pt x="202" y="104"/>
                    </a:lnTo>
                    <a:lnTo>
                      <a:pt x="200" y="106"/>
                    </a:lnTo>
                    <a:lnTo>
                      <a:pt x="197" y="107"/>
                    </a:lnTo>
                    <a:lnTo>
                      <a:pt x="197" y="107"/>
                    </a:lnTo>
                    <a:lnTo>
                      <a:pt x="192" y="107"/>
                    </a:lnTo>
                    <a:lnTo>
                      <a:pt x="190" y="110"/>
                    </a:lnTo>
                    <a:lnTo>
                      <a:pt x="187" y="114"/>
                    </a:lnTo>
                    <a:lnTo>
                      <a:pt x="185" y="120"/>
                    </a:lnTo>
                    <a:lnTo>
                      <a:pt x="185" y="120"/>
                    </a:lnTo>
                    <a:lnTo>
                      <a:pt x="187" y="124"/>
                    </a:lnTo>
                    <a:lnTo>
                      <a:pt x="188" y="127"/>
                    </a:lnTo>
                    <a:lnTo>
                      <a:pt x="188" y="130"/>
                    </a:lnTo>
                    <a:lnTo>
                      <a:pt x="188" y="133"/>
                    </a:lnTo>
                    <a:lnTo>
                      <a:pt x="188" y="133"/>
                    </a:lnTo>
                    <a:lnTo>
                      <a:pt x="185" y="134"/>
                    </a:lnTo>
                    <a:lnTo>
                      <a:pt x="181" y="137"/>
                    </a:lnTo>
                    <a:lnTo>
                      <a:pt x="177" y="138"/>
                    </a:lnTo>
                    <a:lnTo>
                      <a:pt x="173" y="137"/>
                    </a:lnTo>
                    <a:lnTo>
                      <a:pt x="173" y="137"/>
                    </a:lnTo>
                    <a:lnTo>
                      <a:pt x="167" y="137"/>
                    </a:lnTo>
                    <a:lnTo>
                      <a:pt x="158" y="137"/>
                    </a:lnTo>
                    <a:lnTo>
                      <a:pt x="158" y="137"/>
                    </a:lnTo>
                    <a:lnTo>
                      <a:pt x="154" y="136"/>
                    </a:lnTo>
                    <a:lnTo>
                      <a:pt x="151" y="133"/>
                    </a:lnTo>
                    <a:lnTo>
                      <a:pt x="150" y="133"/>
                    </a:lnTo>
                    <a:lnTo>
                      <a:pt x="147" y="137"/>
                    </a:lnTo>
                    <a:lnTo>
                      <a:pt x="147" y="137"/>
                    </a:lnTo>
                    <a:lnTo>
                      <a:pt x="141" y="154"/>
                    </a:lnTo>
                    <a:lnTo>
                      <a:pt x="138" y="163"/>
                    </a:lnTo>
                    <a:lnTo>
                      <a:pt x="137" y="165"/>
                    </a:lnTo>
                    <a:lnTo>
                      <a:pt x="138" y="167"/>
                    </a:lnTo>
                    <a:lnTo>
                      <a:pt x="138" y="167"/>
                    </a:lnTo>
                    <a:lnTo>
                      <a:pt x="140" y="170"/>
                    </a:lnTo>
                    <a:lnTo>
                      <a:pt x="140" y="171"/>
                    </a:lnTo>
                    <a:lnTo>
                      <a:pt x="140" y="174"/>
                    </a:lnTo>
                    <a:lnTo>
                      <a:pt x="138" y="174"/>
                    </a:lnTo>
                    <a:lnTo>
                      <a:pt x="138" y="174"/>
                    </a:lnTo>
                    <a:lnTo>
                      <a:pt x="131" y="174"/>
                    </a:lnTo>
                    <a:lnTo>
                      <a:pt x="126" y="171"/>
                    </a:lnTo>
                    <a:lnTo>
                      <a:pt x="126" y="171"/>
                    </a:lnTo>
                    <a:lnTo>
                      <a:pt x="124" y="171"/>
                    </a:lnTo>
                    <a:lnTo>
                      <a:pt x="120" y="173"/>
                    </a:lnTo>
                    <a:lnTo>
                      <a:pt x="116" y="174"/>
                    </a:lnTo>
                    <a:lnTo>
                      <a:pt x="111" y="174"/>
                    </a:lnTo>
                    <a:lnTo>
                      <a:pt x="111" y="174"/>
                    </a:lnTo>
                    <a:lnTo>
                      <a:pt x="104" y="177"/>
                    </a:lnTo>
                    <a:lnTo>
                      <a:pt x="101" y="180"/>
                    </a:lnTo>
                    <a:lnTo>
                      <a:pt x="101" y="180"/>
                    </a:lnTo>
                    <a:lnTo>
                      <a:pt x="101" y="181"/>
                    </a:lnTo>
                    <a:lnTo>
                      <a:pt x="101" y="181"/>
                    </a:lnTo>
                    <a:lnTo>
                      <a:pt x="104" y="184"/>
                    </a:lnTo>
                    <a:lnTo>
                      <a:pt x="106" y="187"/>
                    </a:lnTo>
                    <a:lnTo>
                      <a:pt x="106" y="195"/>
                    </a:lnTo>
                    <a:lnTo>
                      <a:pt x="106" y="195"/>
                    </a:lnTo>
                    <a:lnTo>
                      <a:pt x="107" y="198"/>
                    </a:lnTo>
                    <a:lnTo>
                      <a:pt x="109" y="204"/>
                    </a:lnTo>
                    <a:lnTo>
                      <a:pt x="111" y="210"/>
                    </a:lnTo>
                    <a:lnTo>
                      <a:pt x="111" y="212"/>
                    </a:lnTo>
                    <a:lnTo>
                      <a:pt x="111" y="212"/>
                    </a:lnTo>
                    <a:lnTo>
                      <a:pt x="110" y="215"/>
                    </a:lnTo>
                    <a:lnTo>
                      <a:pt x="107" y="218"/>
                    </a:lnTo>
                    <a:lnTo>
                      <a:pt x="104" y="221"/>
                    </a:lnTo>
                    <a:lnTo>
                      <a:pt x="103" y="225"/>
                    </a:lnTo>
                    <a:lnTo>
                      <a:pt x="103" y="225"/>
                    </a:lnTo>
                    <a:lnTo>
                      <a:pt x="104" y="231"/>
                    </a:lnTo>
                    <a:lnTo>
                      <a:pt x="103" y="234"/>
                    </a:lnTo>
                    <a:lnTo>
                      <a:pt x="103" y="235"/>
                    </a:lnTo>
                    <a:lnTo>
                      <a:pt x="103" y="235"/>
                    </a:lnTo>
                    <a:lnTo>
                      <a:pt x="96" y="238"/>
                    </a:lnTo>
                    <a:lnTo>
                      <a:pt x="89" y="242"/>
                    </a:lnTo>
                    <a:lnTo>
                      <a:pt x="89" y="242"/>
                    </a:lnTo>
                    <a:lnTo>
                      <a:pt x="82" y="245"/>
                    </a:lnTo>
                    <a:lnTo>
                      <a:pt x="77" y="247"/>
                    </a:lnTo>
                    <a:lnTo>
                      <a:pt x="76" y="249"/>
                    </a:lnTo>
                    <a:lnTo>
                      <a:pt x="76" y="249"/>
                    </a:lnTo>
                    <a:lnTo>
                      <a:pt x="74" y="252"/>
                    </a:lnTo>
                    <a:lnTo>
                      <a:pt x="72" y="255"/>
                    </a:lnTo>
                    <a:lnTo>
                      <a:pt x="67" y="256"/>
                    </a:lnTo>
                    <a:lnTo>
                      <a:pt x="63" y="256"/>
                    </a:lnTo>
                    <a:lnTo>
                      <a:pt x="63" y="256"/>
                    </a:lnTo>
                    <a:lnTo>
                      <a:pt x="54" y="255"/>
                    </a:lnTo>
                    <a:lnTo>
                      <a:pt x="52" y="256"/>
                    </a:lnTo>
                    <a:lnTo>
                      <a:pt x="49" y="261"/>
                    </a:lnTo>
                    <a:lnTo>
                      <a:pt x="49" y="261"/>
                    </a:lnTo>
                    <a:lnTo>
                      <a:pt x="45" y="264"/>
                    </a:lnTo>
                    <a:lnTo>
                      <a:pt x="43" y="265"/>
                    </a:lnTo>
                    <a:lnTo>
                      <a:pt x="39" y="266"/>
                    </a:lnTo>
                    <a:lnTo>
                      <a:pt x="39" y="266"/>
                    </a:lnTo>
                    <a:lnTo>
                      <a:pt x="36" y="268"/>
                    </a:lnTo>
                    <a:lnTo>
                      <a:pt x="33" y="266"/>
                    </a:lnTo>
                    <a:lnTo>
                      <a:pt x="29" y="264"/>
                    </a:lnTo>
                    <a:lnTo>
                      <a:pt x="29" y="264"/>
                    </a:lnTo>
                    <a:lnTo>
                      <a:pt x="26" y="264"/>
                    </a:lnTo>
                    <a:lnTo>
                      <a:pt x="23" y="265"/>
                    </a:lnTo>
                    <a:lnTo>
                      <a:pt x="19" y="266"/>
                    </a:lnTo>
                    <a:lnTo>
                      <a:pt x="19" y="266"/>
                    </a:lnTo>
                    <a:lnTo>
                      <a:pt x="17" y="268"/>
                    </a:lnTo>
                    <a:lnTo>
                      <a:pt x="15" y="269"/>
                    </a:lnTo>
                    <a:lnTo>
                      <a:pt x="13" y="271"/>
                    </a:lnTo>
                    <a:lnTo>
                      <a:pt x="10" y="272"/>
                    </a:lnTo>
                    <a:lnTo>
                      <a:pt x="10" y="272"/>
                    </a:lnTo>
                    <a:lnTo>
                      <a:pt x="5" y="274"/>
                    </a:lnTo>
                    <a:lnTo>
                      <a:pt x="3" y="275"/>
                    </a:lnTo>
                    <a:lnTo>
                      <a:pt x="3" y="276"/>
                    </a:lnTo>
                    <a:lnTo>
                      <a:pt x="3" y="276"/>
                    </a:lnTo>
                    <a:lnTo>
                      <a:pt x="2" y="281"/>
                    </a:lnTo>
                    <a:lnTo>
                      <a:pt x="0" y="285"/>
                    </a:lnTo>
                    <a:lnTo>
                      <a:pt x="0" y="285"/>
                    </a:lnTo>
                    <a:lnTo>
                      <a:pt x="3" y="299"/>
                    </a:lnTo>
                    <a:lnTo>
                      <a:pt x="3" y="299"/>
                    </a:lnTo>
                    <a:lnTo>
                      <a:pt x="10" y="302"/>
                    </a:lnTo>
                    <a:lnTo>
                      <a:pt x="16" y="305"/>
                    </a:lnTo>
                    <a:lnTo>
                      <a:pt x="17" y="306"/>
                    </a:lnTo>
                    <a:lnTo>
                      <a:pt x="19" y="309"/>
                    </a:lnTo>
                    <a:lnTo>
                      <a:pt x="19" y="309"/>
                    </a:lnTo>
                    <a:lnTo>
                      <a:pt x="22" y="330"/>
                    </a:lnTo>
                    <a:lnTo>
                      <a:pt x="22" y="330"/>
                    </a:lnTo>
                    <a:lnTo>
                      <a:pt x="22" y="330"/>
                    </a:lnTo>
                    <a:lnTo>
                      <a:pt x="22" y="330"/>
                    </a:lnTo>
                    <a:lnTo>
                      <a:pt x="32" y="338"/>
                    </a:lnTo>
                    <a:lnTo>
                      <a:pt x="35" y="340"/>
                    </a:lnTo>
                    <a:lnTo>
                      <a:pt x="36" y="342"/>
                    </a:lnTo>
                    <a:lnTo>
                      <a:pt x="36" y="342"/>
                    </a:lnTo>
                    <a:lnTo>
                      <a:pt x="37" y="348"/>
                    </a:lnTo>
                    <a:lnTo>
                      <a:pt x="40" y="350"/>
                    </a:lnTo>
                    <a:lnTo>
                      <a:pt x="45" y="355"/>
                    </a:lnTo>
                    <a:lnTo>
                      <a:pt x="45" y="355"/>
                    </a:lnTo>
                    <a:lnTo>
                      <a:pt x="57" y="360"/>
                    </a:lnTo>
                    <a:lnTo>
                      <a:pt x="57" y="360"/>
                    </a:lnTo>
                    <a:lnTo>
                      <a:pt x="57" y="359"/>
                    </a:lnTo>
                    <a:lnTo>
                      <a:pt x="64" y="359"/>
                    </a:lnTo>
                    <a:lnTo>
                      <a:pt x="64" y="359"/>
                    </a:lnTo>
                    <a:lnTo>
                      <a:pt x="67" y="362"/>
                    </a:lnTo>
                    <a:lnTo>
                      <a:pt x="67" y="362"/>
                    </a:lnTo>
                    <a:lnTo>
                      <a:pt x="70" y="357"/>
                    </a:lnTo>
                    <a:lnTo>
                      <a:pt x="74" y="355"/>
                    </a:lnTo>
                    <a:lnTo>
                      <a:pt x="80" y="352"/>
                    </a:lnTo>
                    <a:lnTo>
                      <a:pt x="86" y="352"/>
                    </a:lnTo>
                    <a:lnTo>
                      <a:pt x="86" y="352"/>
                    </a:lnTo>
                    <a:lnTo>
                      <a:pt x="91" y="353"/>
                    </a:lnTo>
                    <a:lnTo>
                      <a:pt x="97" y="357"/>
                    </a:lnTo>
                    <a:lnTo>
                      <a:pt x="103" y="363"/>
                    </a:lnTo>
                    <a:lnTo>
                      <a:pt x="104" y="365"/>
                    </a:lnTo>
                    <a:lnTo>
                      <a:pt x="104" y="366"/>
                    </a:lnTo>
                    <a:lnTo>
                      <a:pt x="104" y="366"/>
                    </a:lnTo>
                    <a:lnTo>
                      <a:pt x="97" y="377"/>
                    </a:lnTo>
                    <a:lnTo>
                      <a:pt x="93" y="383"/>
                    </a:lnTo>
                    <a:lnTo>
                      <a:pt x="89" y="386"/>
                    </a:lnTo>
                    <a:lnTo>
                      <a:pt x="89" y="386"/>
                    </a:lnTo>
                    <a:lnTo>
                      <a:pt x="82" y="386"/>
                    </a:lnTo>
                    <a:lnTo>
                      <a:pt x="82" y="386"/>
                    </a:lnTo>
                    <a:lnTo>
                      <a:pt x="80" y="392"/>
                    </a:lnTo>
                    <a:lnTo>
                      <a:pt x="80" y="392"/>
                    </a:lnTo>
                    <a:lnTo>
                      <a:pt x="82" y="394"/>
                    </a:lnTo>
                    <a:lnTo>
                      <a:pt x="83" y="399"/>
                    </a:lnTo>
                    <a:lnTo>
                      <a:pt x="89" y="406"/>
                    </a:lnTo>
                    <a:lnTo>
                      <a:pt x="89" y="406"/>
                    </a:lnTo>
                    <a:lnTo>
                      <a:pt x="90" y="409"/>
                    </a:lnTo>
                    <a:lnTo>
                      <a:pt x="90" y="410"/>
                    </a:lnTo>
                    <a:lnTo>
                      <a:pt x="87" y="413"/>
                    </a:lnTo>
                    <a:lnTo>
                      <a:pt x="83" y="413"/>
                    </a:lnTo>
                    <a:lnTo>
                      <a:pt x="80" y="412"/>
                    </a:lnTo>
                    <a:lnTo>
                      <a:pt x="80" y="412"/>
                    </a:lnTo>
                    <a:lnTo>
                      <a:pt x="77" y="412"/>
                    </a:lnTo>
                    <a:lnTo>
                      <a:pt x="74" y="413"/>
                    </a:lnTo>
                    <a:lnTo>
                      <a:pt x="74" y="416"/>
                    </a:lnTo>
                    <a:lnTo>
                      <a:pt x="76" y="419"/>
                    </a:lnTo>
                    <a:lnTo>
                      <a:pt x="76" y="419"/>
                    </a:lnTo>
                    <a:lnTo>
                      <a:pt x="77" y="422"/>
                    </a:lnTo>
                    <a:lnTo>
                      <a:pt x="77" y="426"/>
                    </a:lnTo>
                    <a:lnTo>
                      <a:pt x="79" y="430"/>
                    </a:lnTo>
                    <a:lnTo>
                      <a:pt x="82" y="431"/>
                    </a:lnTo>
                    <a:lnTo>
                      <a:pt x="82" y="431"/>
                    </a:lnTo>
                    <a:lnTo>
                      <a:pt x="84" y="433"/>
                    </a:lnTo>
                    <a:lnTo>
                      <a:pt x="87" y="437"/>
                    </a:lnTo>
                    <a:lnTo>
                      <a:pt x="91" y="440"/>
                    </a:lnTo>
                    <a:lnTo>
                      <a:pt x="94" y="441"/>
                    </a:lnTo>
                    <a:lnTo>
                      <a:pt x="94" y="441"/>
                    </a:lnTo>
                    <a:lnTo>
                      <a:pt x="99" y="443"/>
                    </a:lnTo>
                    <a:lnTo>
                      <a:pt x="101" y="446"/>
                    </a:lnTo>
                    <a:lnTo>
                      <a:pt x="104" y="449"/>
                    </a:lnTo>
                    <a:lnTo>
                      <a:pt x="104" y="449"/>
                    </a:lnTo>
                    <a:lnTo>
                      <a:pt x="107" y="451"/>
                    </a:lnTo>
                    <a:lnTo>
                      <a:pt x="110" y="454"/>
                    </a:lnTo>
                    <a:lnTo>
                      <a:pt x="111" y="456"/>
                    </a:lnTo>
                    <a:lnTo>
                      <a:pt x="111" y="456"/>
                    </a:lnTo>
                    <a:lnTo>
                      <a:pt x="111" y="457"/>
                    </a:lnTo>
                    <a:lnTo>
                      <a:pt x="111" y="457"/>
                    </a:lnTo>
                    <a:lnTo>
                      <a:pt x="117" y="456"/>
                    </a:lnTo>
                    <a:lnTo>
                      <a:pt x="120" y="456"/>
                    </a:lnTo>
                    <a:lnTo>
                      <a:pt x="121" y="454"/>
                    </a:lnTo>
                    <a:lnTo>
                      <a:pt x="121" y="454"/>
                    </a:lnTo>
                    <a:lnTo>
                      <a:pt x="123" y="453"/>
                    </a:lnTo>
                    <a:lnTo>
                      <a:pt x="126" y="453"/>
                    </a:lnTo>
                    <a:lnTo>
                      <a:pt x="130" y="454"/>
                    </a:lnTo>
                    <a:lnTo>
                      <a:pt x="134" y="457"/>
                    </a:lnTo>
                    <a:lnTo>
                      <a:pt x="134" y="457"/>
                    </a:lnTo>
                    <a:lnTo>
                      <a:pt x="148" y="468"/>
                    </a:lnTo>
                    <a:lnTo>
                      <a:pt x="167" y="480"/>
                    </a:lnTo>
                    <a:lnTo>
                      <a:pt x="167" y="480"/>
                    </a:lnTo>
                    <a:lnTo>
                      <a:pt x="174" y="486"/>
                    </a:lnTo>
                    <a:lnTo>
                      <a:pt x="183" y="488"/>
                    </a:lnTo>
                    <a:lnTo>
                      <a:pt x="191" y="491"/>
                    </a:lnTo>
                    <a:lnTo>
                      <a:pt x="197" y="493"/>
                    </a:lnTo>
                    <a:lnTo>
                      <a:pt x="197" y="493"/>
                    </a:lnTo>
                    <a:lnTo>
                      <a:pt x="202" y="494"/>
                    </a:lnTo>
                    <a:lnTo>
                      <a:pt x="207" y="495"/>
                    </a:lnTo>
                    <a:lnTo>
                      <a:pt x="212" y="497"/>
                    </a:lnTo>
                    <a:lnTo>
                      <a:pt x="218" y="497"/>
                    </a:lnTo>
                    <a:lnTo>
                      <a:pt x="218" y="497"/>
                    </a:lnTo>
                    <a:lnTo>
                      <a:pt x="222" y="497"/>
                    </a:lnTo>
                    <a:lnTo>
                      <a:pt x="222" y="497"/>
                    </a:lnTo>
                    <a:lnTo>
                      <a:pt x="224" y="495"/>
                    </a:lnTo>
                    <a:lnTo>
                      <a:pt x="227" y="493"/>
                    </a:lnTo>
                    <a:lnTo>
                      <a:pt x="227" y="493"/>
                    </a:lnTo>
                    <a:lnTo>
                      <a:pt x="229" y="491"/>
                    </a:lnTo>
                    <a:lnTo>
                      <a:pt x="231" y="494"/>
                    </a:lnTo>
                    <a:lnTo>
                      <a:pt x="232" y="497"/>
                    </a:lnTo>
                    <a:lnTo>
                      <a:pt x="232" y="501"/>
                    </a:lnTo>
                    <a:lnTo>
                      <a:pt x="232" y="501"/>
                    </a:lnTo>
                    <a:lnTo>
                      <a:pt x="232" y="505"/>
                    </a:lnTo>
                    <a:lnTo>
                      <a:pt x="234" y="508"/>
                    </a:lnTo>
                    <a:lnTo>
                      <a:pt x="234" y="508"/>
                    </a:lnTo>
                    <a:lnTo>
                      <a:pt x="237" y="501"/>
                    </a:lnTo>
                    <a:lnTo>
                      <a:pt x="237" y="501"/>
                    </a:lnTo>
                    <a:lnTo>
                      <a:pt x="239" y="497"/>
                    </a:lnTo>
                    <a:lnTo>
                      <a:pt x="242" y="494"/>
                    </a:lnTo>
                    <a:lnTo>
                      <a:pt x="248" y="491"/>
                    </a:lnTo>
                    <a:lnTo>
                      <a:pt x="248" y="491"/>
                    </a:lnTo>
                    <a:lnTo>
                      <a:pt x="251" y="490"/>
                    </a:lnTo>
                    <a:lnTo>
                      <a:pt x="254" y="490"/>
                    </a:lnTo>
                    <a:lnTo>
                      <a:pt x="261" y="494"/>
                    </a:lnTo>
                    <a:lnTo>
                      <a:pt x="261" y="494"/>
                    </a:lnTo>
                    <a:lnTo>
                      <a:pt x="265" y="494"/>
                    </a:lnTo>
                    <a:lnTo>
                      <a:pt x="269" y="494"/>
                    </a:lnTo>
                    <a:lnTo>
                      <a:pt x="274" y="494"/>
                    </a:lnTo>
                    <a:lnTo>
                      <a:pt x="279" y="498"/>
                    </a:lnTo>
                    <a:lnTo>
                      <a:pt x="279" y="498"/>
                    </a:lnTo>
                    <a:lnTo>
                      <a:pt x="285" y="497"/>
                    </a:lnTo>
                    <a:lnTo>
                      <a:pt x="285" y="497"/>
                    </a:lnTo>
                    <a:lnTo>
                      <a:pt x="289" y="494"/>
                    </a:lnTo>
                    <a:lnTo>
                      <a:pt x="293" y="490"/>
                    </a:lnTo>
                    <a:lnTo>
                      <a:pt x="293" y="490"/>
                    </a:lnTo>
                    <a:lnTo>
                      <a:pt x="296" y="486"/>
                    </a:lnTo>
                    <a:lnTo>
                      <a:pt x="298" y="484"/>
                    </a:lnTo>
                    <a:lnTo>
                      <a:pt x="299" y="484"/>
                    </a:lnTo>
                    <a:lnTo>
                      <a:pt x="299" y="484"/>
                    </a:lnTo>
                    <a:lnTo>
                      <a:pt x="302" y="483"/>
                    </a:lnTo>
                    <a:lnTo>
                      <a:pt x="305" y="481"/>
                    </a:lnTo>
                    <a:lnTo>
                      <a:pt x="308" y="478"/>
                    </a:lnTo>
                    <a:lnTo>
                      <a:pt x="313" y="474"/>
                    </a:lnTo>
                    <a:lnTo>
                      <a:pt x="313" y="474"/>
                    </a:lnTo>
                    <a:lnTo>
                      <a:pt x="319" y="473"/>
                    </a:lnTo>
                    <a:lnTo>
                      <a:pt x="325" y="474"/>
                    </a:lnTo>
                    <a:lnTo>
                      <a:pt x="329" y="474"/>
                    </a:lnTo>
                    <a:lnTo>
                      <a:pt x="332" y="474"/>
                    </a:lnTo>
                    <a:lnTo>
                      <a:pt x="332" y="474"/>
                    </a:lnTo>
                    <a:lnTo>
                      <a:pt x="338" y="471"/>
                    </a:lnTo>
                    <a:lnTo>
                      <a:pt x="339" y="471"/>
                    </a:lnTo>
                    <a:lnTo>
                      <a:pt x="340" y="473"/>
                    </a:lnTo>
                    <a:lnTo>
                      <a:pt x="340" y="473"/>
                    </a:lnTo>
                    <a:lnTo>
                      <a:pt x="342" y="476"/>
                    </a:lnTo>
                    <a:lnTo>
                      <a:pt x="343" y="478"/>
                    </a:lnTo>
                    <a:lnTo>
                      <a:pt x="346" y="484"/>
                    </a:lnTo>
                    <a:lnTo>
                      <a:pt x="346" y="484"/>
                    </a:lnTo>
                    <a:lnTo>
                      <a:pt x="349" y="486"/>
                    </a:lnTo>
                    <a:lnTo>
                      <a:pt x="352" y="487"/>
                    </a:lnTo>
                    <a:lnTo>
                      <a:pt x="356" y="488"/>
                    </a:lnTo>
                    <a:lnTo>
                      <a:pt x="356" y="488"/>
                    </a:lnTo>
                    <a:lnTo>
                      <a:pt x="359" y="487"/>
                    </a:lnTo>
                    <a:lnTo>
                      <a:pt x="359" y="487"/>
                    </a:lnTo>
                    <a:lnTo>
                      <a:pt x="362" y="486"/>
                    </a:lnTo>
                    <a:lnTo>
                      <a:pt x="366" y="487"/>
                    </a:lnTo>
                    <a:lnTo>
                      <a:pt x="369" y="488"/>
                    </a:lnTo>
                    <a:lnTo>
                      <a:pt x="369" y="491"/>
                    </a:lnTo>
                    <a:lnTo>
                      <a:pt x="369" y="491"/>
                    </a:lnTo>
                    <a:lnTo>
                      <a:pt x="370" y="497"/>
                    </a:lnTo>
                    <a:lnTo>
                      <a:pt x="372" y="500"/>
                    </a:lnTo>
                    <a:lnTo>
                      <a:pt x="373" y="500"/>
                    </a:lnTo>
                    <a:lnTo>
                      <a:pt x="373" y="500"/>
                    </a:lnTo>
                    <a:lnTo>
                      <a:pt x="375" y="500"/>
                    </a:lnTo>
                    <a:lnTo>
                      <a:pt x="377" y="501"/>
                    </a:lnTo>
                    <a:lnTo>
                      <a:pt x="379" y="504"/>
                    </a:lnTo>
                    <a:lnTo>
                      <a:pt x="379" y="508"/>
                    </a:lnTo>
                    <a:lnTo>
                      <a:pt x="379" y="508"/>
                    </a:lnTo>
                    <a:lnTo>
                      <a:pt x="380" y="520"/>
                    </a:lnTo>
                    <a:lnTo>
                      <a:pt x="379" y="527"/>
                    </a:lnTo>
                    <a:lnTo>
                      <a:pt x="376" y="531"/>
                    </a:lnTo>
                    <a:lnTo>
                      <a:pt x="376" y="531"/>
                    </a:lnTo>
                    <a:lnTo>
                      <a:pt x="370" y="538"/>
                    </a:lnTo>
                    <a:lnTo>
                      <a:pt x="366" y="544"/>
                    </a:lnTo>
                    <a:lnTo>
                      <a:pt x="363" y="550"/>
                    </a:lnTo>
                    <a:lnTo>
                      <a:pt x="362" y="554"/>
                    </a:lnTo>
                    <a:lnTo>
                      <a:pt x="362" y="554"/>
                    </a:lnTo>
                    <a:lnTo>
                      <a:pt x="363" y="557"/>
                    </a:lnTo>
                    <a:lnTo>
                      <a:pt x="362" y="561"/>
                    </a:lnTo>
                    <a:lnTo>
                      <a:pt x="363" y="562"/>
                    </a:lnTo>
                    <a:lnTo>
                      <a:pt x="365" y="562"/>
                    </a:lnTo>
                    <a:lnTo>
                      <a:pt x="365" y="562"/>
                    </a:lnTo>
                    <a:lnTo>
                      <a:pt x="370" y="561"/>
                    </a:lnTo>
                    <a:lnTo>
                      <a:pt x="375" y="561"/>
                    </a:lnTo>
                    <a:lnTo>
                      <a:pt x="379" y="562"/>
                    </a:lnTo>
                    <a:lnTo>
                      <a:pt x="380" y="564"/>
                    </a:lnTo>
                    <a:lnTo>
                      <a:pt x="380" y="565"/>
                    </a:lnTo>
                    <a:lnTo>
                      <a:pt x="380" y="565"/>
                    </a:lnTo>
                    <a:lnTo>
                      <a:pt x="379" y="568"/>
                    </a:lnTo>
                    <a:lnTo>
                      <a:pt x="380" y="572"/>
                    </a:lnTo>
                    <a:lnTo>
                      <a:pt x="382" y="577"/>
                    </a:lnTo>
                    <a:lnTo>
                      <a:pt x="385" y="578"/>
                    </a:lnTo>
                    <a:lnTo>
                      <a:pt x="385" y="578"/>
                    </a:lnTo>
                    <a:lnTo>
                      <a:pt x="387" y="578"/>
                    </a:lnTo>
                    <a:lnTo>
                      <a:pt x="390" y="579"/>
                    </a:lnTo>
                    <a:lnTo>
                      <a:pt x="392" y="582"/>
                    </a:lnTo>
                    <a:lnTo>
                      <a:pt x="390" y="585"/>
                    </a:lnTo>
                    <a:lnTo>
                      <a:pt x="390" y="585"/>
                    </a:lnTo>
                    <a:lnTo>
                      <a:pt x="389" y="592"/>
                    </a:lnTo>
                    <a:lnTo>
                      <a:pt x="389" y="595"/>
                    </a:lnTo>
                    <a:lnTo>
                      <a:pt x="390" y="595"/>
                    </a:lnTo>
                    <a:lnTo>
                      <a:pt x="390" y="595"/>
                    </a:lnTo>
                    <a:lnTo>
                      <a:pt x="397" y="596"/>
                    </a:lnTo>
                    <a:lnTo>
                      <a:pt x="399" y="598"/>
                    </a:lnTo>
                    <a:lnTo>
                      <a:pt x="400" y="599"/>
                    </a:lnTo>
                    <a:lnTo>
                      <a:pt x="400" y="599"/>
                    </a:lnTo>
                    <a:lnTo>
                      <a:pt x="400" y="604"/>
                    </a:lnTo>
                    <a:lnTo>
                      <a:pt x="402" y="605"/>
                    </a:lnTo>
                    <a:lnTo>
                      <a:pt x="404" y="606"/>
                    </a:lnTo>
                    <a:lnTo>
                      <a:pt x="410" y="605"/>
                    </a:lnTo>
                    <a:lnTo>
                      <a:pt x="410" y="605"/>
                    </a:lnTo>
                    <a:lnTo>
                      <a:pt x="414" y="604"/>
                    </a:lnTo>
                    <a:lnTo>
                      <a:pt x="416" y="604"/>
                    </a:lnTo>
                    <a:lnTo>
                      <a:pt x="417" y="604"/>
                    </a:lnTo>
                    <a:lnTo>
                      <a:pt x="417" y="604"/>
                    </a:lnTo>
                    <a:lnTo>
                      <a:pt x="419" y="605"/>
                    </a:lnTo>
                    <a:lnTo>
                      <a:pt x="420" y="606"/>
                    </a:lnTo>
                    <a:lnTo>
                      <a:pt x="422" y="609"/>
                    </a:lnTo>
                    <a:lnTo>
                      <a:pt x="424" y="611"/>
                    </a:lnTo>
                    <a:lnTo>
                      <a:pt x="424" y="611"/>
                    </a:lnTo>
                    <a:lnTo>
                      <a:pt x="426" y="611"/>
                    </a:lnTo>
                    <a:lnTo>
                      <a:pt x="427" y="611"/>
                    </a:lnTo>
                    <a:lnTo>
                      <a:pt x="427" y="606"/>
                    </a:lnTo>
                    <a:lnTo>
                      <a:pt x="427" y="602"/>
                    </a:lnTo>
                    <a:lnTo>
                      <a:pt x="426" y="599"/>
                    </a:lnTo>
                    <a:lnTo>
                      <a:pt x="426" y="599"/>
                    </a:lnTo>
                    <a:lnTo>
                      <a:pt x="424" y="596"/>
                    </a:lnTo>
                    <a:lnTo>
                      <a:pt x="426" y="594"/>
                    </a:lnTo>
                    <a:lnTo>
                      <a:pt x="426" y="591"/>
                    </a:lnTo>
                    <a:lnTo>
                      <a:pt x="427" y="591"/>
                    </a:lnTo>
                    <a:lnTo>
                      <a:pt x="427" y="591"/>
                    </a:lnTo>
                    <a:lnTo>
                      <a:pt x="430" y="591"/>
                    </a:lnTo>
                    <a:lnTo>
                      <a:pt x="433" y="591"/>
                    </a:lnTo>
                    <a:lnTo>
                      <a:pt x="436" y="589"/>
                    </a:lnTo>
                    <a:lnTo>
                      <a:pt x="439" y="587"/>
                    </a:lnTo>
                    <a:lnTo>
                      <a:pt x="439" y="587"/>
                    </a:lnTo>
                    <a:lnTo>
                      <a:pt x="440" y="585"/>
                    </a:lnTo>
                    <a:lnTo>
                      <a:pt x="441" y="585"/>
                    </a:lnTo>
                    <a:lnTo>
                      <a:pt x="444" y="587"/>
                    </a:lnTo>
                    <a:lnTo>
                      <a:pt x="449" y="587"/>
                    </a:lnTo>
                    <a:lnTo>
                      <a:pt x="450" y="587"/>
                    </a:lnTo>
                    <a:lnTo>
                      <a:pt x="450" y="585"/>
                    </a:lnTo>
                    <a:lnTo>
                      <a:pt x="450" y="585"/>
                    </a:lnTo>
                    <a:lnTo>
                      <a:pt x="451" y="584"/>
                    </a:lnTo>
                    <a:lnTo>
                      <a:pt x="453" y="584"/>
                    </a:lnTo>
                    <a:lnTo>
                      <a:pt x="457" y="585"/>
                    </a:lnTo>
                    <a:lnTo>
                      <a:pt x="460" y="587"/>
                    </a:lnTo>
                    <a:lnTo>
                      <a:pt x="464" y="585"/>
                    </a:lnTo>
                    <a:lnTo>
                      <a:pt x="464" y="585"/>
                    </a:lnTo>
                    <a:lnTo>
                      <a:pt x="468" y="584"/>
                    </a:lnTo>
                    <a:lnTo>
                      <a:pt x="471" y="585"/>
                    </a:lnTo>
                    <a:lnTo>
                      <a:pt x="473" y="585"/>
                    </a:lnTo>
                    <a:lnTo>
                      <a:pt x="476" y="584"/>
                    </a:lnTo>
                    <a:lnTo>
                      <a:pt x="476" y="584"/>
                    </a:lnTo>
                    <a:lnTo>
                      <a:pt x="478" y="579"/>
                    </a:lnTo>
                    <a:lnTo>
                      <a:pt x="481" y="577"/>
                    </a:lnTo>
                    <a:lnTo>
                      <a:pt x="486" y="575"/>
                    </a:lnTo>
                    <a:lnTo>
                      <a:pt x="488" y="575"/>
                    </a:lnTo>
                    <a:lnTo>
                      <a:pt x="488" y="575"/>
                    </a:lnTo>
                    <a:lnTo>
                      <a:pt x="491" y="579"/>
                    </a:lnTo>
                    <a:lnTo>
                      <a:pt x="495" y="581"/>
                    </a:lnTo>
                    <a:lnTo>
                      <a:pt x="501" y="582"/>
                    </a:lnTo>
                    <a:lnTo>
                      <a:pt x="501" y="582"/>
                    </a:lnTo>
                    <a:lnTo>
                      <a:pt x="507" y="584"/>
                    </a:lnTo>
                    <a:lnTo>
                      <a:pt x="507" y="587"/>
                    </a:lnTo>
                    <a:lnTo>
                      <a:pt x="505" y="592"/>
                    </a:lnTo>
                    <a:lnTo>
                      <a:pt x="505" y="592"/>
                    </a:lnTo>
                    <a:lnTo>
                      <a:pt x="507" y="595"/>
                    </a:lnTo>
                    <a:lnTo>
                      <a:pt x="513" y="599"/>
                    </a:lnTo>
                    <a:lnTo>
                      <a:pt x="517" y="602"/>
                    </a:lnTo>
                    <a:lnTo>
                      <a:pt x="521" y="604"/>
                    </a:lnTo>
                    <a:lnTo>
                      <a:pt x="521" y="604"/>
                    </a:lnTo>
                    <a:lnTo>
                      <a:pt x="525" y="606"/>
                    </a:lnTo>
                    <a:lnTo>
                      <a:pt x="525" y="606"/>
                    </a:lnTo>
                    <a:lnTo>
                      <a:pt x="528" y="606"/>
                    </a:lnTo>
                    <a:lnTo>
                      <a:pt x="531" y="606"/>
                    </a:lnTo>
                    <a:lnTo>
                      <a:pt x="532" y="605"/>
                    </a:lnTo>
                    <a:lnTo>
                      <a:pt x="535" y="604"/>
                    </a:lnTo>
                    <a:lnTo>
                      <a:pt x="535" y="604"/>
                    </a:lnTo>
                    <a:lnTo>
                      <a:pt x="537" y="602"/>
                    </a:lnTo>
                    <a:lnTo>
                      <a:pt x="538" y="601"/>
                    </a:lnTo>
                    <a:lnTo>
                      <a:pt x="541" y="602"/>
                    </a:lnTo>
                    <a:lnTo>
                      <a:pt x="544" y="604"/>
                    </a:lnTo>
                    <a:lnTo>
                      <a:pt x="544" y="604"/>
                    </a:lnTo>
                    <a:lnTo>
                      <a:pt x="545" y="606"/>
                    </a:lnTo>
                    <a:lnTo>
                      <a:pt x="547" y="606"/>
                    </a:lnTo>
                    <a:lnTo>
                      <a:pt x="550" y="606"/>
                    </a:lnTo>
                    <a:lnTo>
                      <a:pt x="552" y="604"/>
                    </a:lnTo>
                    <a:lnTo>
                      <a:pt x="552" y="604"/>
                    </a:lnTo>
                    <a:lnTo>
                      <a:pt x="554" y="604"/>
                    </a:lnTo>
                    <a:lnTo>
                      <a:pt x="555" y="604"/>
                    </a:lnTo>
                    <a:lnTo>
                      <a:pt x="558" y="605"/>
                    </a:lnTo>
                    <a:lnTo>
                      <a:pt x="558" y="608"/>
                    </a:lnTo>
                    <a:lnTo>
                      <a:pt x="557" y="611"/>
                    </a:lnTo>
                    <a:lnTo>
                      <a:pt x="557" y="611"/>
                    </a:lnTo>
                    <a:lnTo>
                      <a:pt x="555" y="614"/>
                    </a:lnTo>
                    <a:lnTo>
                      <a:pt x="555" y="616"/>
                    </a:lnTo>
                    <a:lnTo>
                      <a:pt x="558" y="621"/>
                    </a:lnTo>
                    <a:lnTo>
                      <a:pt x="561" y="625"/>
                    </a:lnTo>
                    <a:lnTo>
                      <a:pt x="561" y="625"/>
                    </a:lnTo>
                    <a:lnTo>
                      <a:pt x="564" y="626"/>
                    </a:lnTo>
                    <a:lnTo>
                      <a:pt x="565" y="625"/>
                    </a:lnTo>
                    <a:lnTo>
                      <a:pt x="565" y="622"/>
                    </a:lnTo>
                    <a:lnTo>
                      <a:pt x="565" y="618"/>
                    </a:lnTo>
                    <a:lnTo>
                      <a:pt x="565" y="618"/>
                    </a:lnTo>
                    <a:lnTo>
                      <a:pt x="565" y="615"/>
                    </a:lnTo>
                    <a:lnTo>
                      <a:pt x="569" y="612"/>
                    </a:lnTo>
                    <a:lnTo>
                      <a:pt x="578" y="608"/>
                    </a:lnTo>
                    <a:lnTo>
                      <a:pt x="588" y="605"/>
                    </a:lnTo>
                    <a:lnTo>
                      <a:pt x="588" y="605"/>
                    </a:lnTo>
                    <a:lnTo>
                      <a:pt x="598" y="599"/>
                    </a:lnTo>
                    <a:lnTo>
                      <a:pt x="608" y="594"/>
                    </a:lnTo>
                    <a:lnTo>
                      <a:pt x="615" y="589"/>
                    </a:lnTo>
                    <a:lnTo>
                      <a:pt x="619" y="587"/>
                    </a:lnTo>
                    <a:lnTo>
                      <a:pt x="619" y="587"/>
                    </a:lnTo>
                    <a:lnTo>
                      <a:pt x="621" y="585"/>
                    </a:lnTo>
                    <a:lnTo>
                      <a:pt x="625" y="587"/>
                    </a:lnTo>
                    <a:lnTo>
                      <a:pt x="629" y="588"/>
                    </a:lnTo>
                    <a:lnTo>
                      <a:pt x="632" y="588"/>
                    </a:lnTo>
                    <a:lnTo>
                      <a:pt x="635" y="587"/>
                    </a:lnTo>
                    <a:lnTo>
                      <a:pt x="635" y="587"/>
                    </a:lnTo>
                    <a:lnTo>
                      <a:pt x="641" y="584"/>
                    </a:lnTo>
                    <a:lnTo>
                      <a:pt x="648" y="584"/>
                    </a:lnTo>
                    <a:lnTo>
                      <a:pt x="662" y="582"/>
                    </a:lnTo>
                    <a:lnTo>
                      <a:pt x="662" y="582"/>
                    </a:lnTo>
                    <a:lnTo>
                      <a:pt x="665" y="581"/>
                    </a:lnTo>
                    <a:lnTo>
                      <a:pt x="666" y="579"/>
                    </a:lnTo>
                    <a:lnTo>
                      <a:pt x="672" y="574"/>
                    </a:lnTo>
                    <a:lnTo>
                      <a:pt x="672" y="574"/>
                    </a:lnTo>
                    <a:lnTo>
                      <a:pt x="676" y="569"/>
                    </a:lnTo>
                    <a:lnTo>
                      <a:pt x="678" y="568"/>
                    </a:lnTo>
                    <a:lnTo>
                      <a:pt x="680" y="567"/>
                    </a:lnTo>
                    <a:lnTo>
                      <a:pt x="680" y="567"/>
                    </a:lnTo>
                    <a:lnTo>
                      <a:pt x="685" y="564"/>
                    </a:lnTo>
                    <a:lnTo>
                      <a:pt x="688" y="562"/>
                    </a:lnTo>
                    <a:lnTo>
                      <a:pt x="689" y="559"/>
                    </a:lnTo>
                    <a:lnTo>
                      <a:pt x="690" y="557"/>
                    </a:lnTo>
                    <a:lnTo>
                      <a:pt x="690" y="557"/>
                    </a:lnTo>
                    <a:lnTo>
                      <a:pt x="692" y="555"/>
                    </a:lnTo>
                    <a:lnTo>
                      <a:pt x="696" y="554"/>
                    </a:lnTo>
                    <a:lnTo>
                      <a:pt x="699" y="551"/>
                    </a:lnTo>
                    <a:lnTo>
                      <a:pt x="702" y="550"/>
                    </a:lnTo>
                    <a:lnTo>
                      <a:pt x="702" y="550"/>
                    </a:lnTo>
                    <a:lnTo>
                      <a:pt x="702" y="548"/>
                    </a:lnTo>
                    <a:lnTo>
                      <a:pt x="705" y="547"/>
                    </a:lnTo>
                    <a:lnTo>
                      <a:pt x="707" y="544"/>
                    </a:lnTo>
                    <a:lnTo>
                      <a:pt x="709" y="542"/>
                    </a:lnTo>
                    <a:lnTo>
                      <a:pt x="709" y="542"/>
                    </a:lnTo>
                    <a:lnTo>
                      <a:pt x="710" y="540"/>
                    </a:lnTo>
                    <a:lnTo>
                      <a:pt x="712" y="538"/>
                    </a:lnTo>
                    <a:lnTo>
                      <a:pt x="715" y="538"/>
                    </a:lnTo>
                    <a:lnTo>
                      <a:pt x="716" y="535"/>
                    </a:lnTo>
                    <a:lnTo>
                      <a:pt x="716" y="535"/>
                    </a:lnTo>
                    <a:lnTo>
                      <a:pt x="717" y="532"/>
                    </a:lnTo>
                    <a:lnTo>
                      <a:pt x="716" y="530"/>
                    </a:lnTo>
                    <a:lnTo>
                      <a:pt x="716" y="525"/>
                    </a:lnTo>
                    <a:lnTo>
                      <a:pt x="719" y="524"/>
                    </a:lnTo>
                    <a:lnTo>
                      <a:pt x="719" y="524"/>
                    </a:lnTo>
                    <a:lnTo>
                      <a:pt x="719" y="523"/>
                    </a:lnTo>
                    <a:lnTo>
                      <a:pt x="719" y="520"/>
                    </a:lnTo>
                    <a:lnTo>
                      <a:pt x="716" y="515"/>
                    </a:lnTo>
                    <a:lnTo>
                      <a:pt x="716" y="515"/>
                    </a:lnTo>
                    <a:lnTo>
                      <a:pt x="717" y="514"/>
                    </a:lnTo>
                    <a:lnTo>
                      <a:pt x="720" y="514"/>
                    </a:lnTo>
                    <a:lnTo>
                      <a:pt x="727" y="511"/>
                    </a:lnTo>
                    <a:lnTo>
                      <a:pt x="727" y="511"/>
                    </a:lnTo>
                    <a:lnTo>
                      <a:pt x="732" y="505"/>
                    </a:lnTo>
                    <a:lnTo>
                      <a:pt x="734" y="500"/>
                    </a:lnTo>
                    <a:lnTo>
                      <a:pt x="734" y="500"/>
                    </a:lnTo>
                    <a:lnTo>
                      <a:pt x="736" y="495"/>
                    </a:lnTo>
                    <a:lnTo>
                      <a:pt x="739" y="493"/>
                    </a:lnTo>
                    <a:lnTo>
                      <a:pt x="744" y="490"/>
                    </a:lnTo>
                    <a:lnTo>
                      <a:pt x="744" y="490"/>
                    </a:lnTo>
                    <a:lnTo>
                      <a:pt x="747" y="488"/>
                    </a:lnTo>
                    <a:lnTo>
                      <a:pt x="749" y="484"/>
                    </a:lnTo>
                    <a:lnTo>
                      <a:pt x="749" y="477"/>
                    </a:lnTo>
                    <a:lnTo>
                      <a:pt x="749" y="477"/>
                    </a:lnTo>
                    <a:lnTo>
                      <a:pt x="749" y="474"/>
                    </a:lnTo>
                    <a:lnTo>
                      <a:pt x="750" y="473"/>
                    </a:lnTo>
                    <a:lnTo>
                      <a:pt x="752" y="471"/>
                    </a:lnTo>
                    <a:lnTo>
                      <a:pt x="752" y="470"/>
                    </a:lnTo>
                    <a:lnTo>
                      <a:pt x="752" y="470"/>
                    </a:lnTo>
                    <a:lnTo>
                      <a:pt x="750" y="468"/>
                    </a:lnTo>
                    <a:lnTo>
                      <a:pt x="752" y="466"/>
                    </a:lnTo>
                    <a:lnTo>
                      <a:pt x="754" y="463"/>
                    </a:lnTo>
                    <a:lnTo>
                      <a:pt x="757" y="461"/>
                    </a:lnTo>
                    <a:lnTo>
                      <a:pt x="757" y="461"/>
                    </a:lnTo>
                    <a:lnTo>
                      <a:pt x="760" y="460"/>
                    </a:lnTo>
                    <a:lnTo>
                      <a:pt x="757" y="458"/>
                    </a:lnTo>
                    <a:lnTo>
                      <a:pt x="754" y="458"/>
                    </a:lnTo>
                    <a:lnTo>
                      <a:pt x="752" y="458"/>
                    </a:lnTo>
                    <a:lnTo>
                      <a:pt x="752" y="458"/>
                    </a:lnTo>
                    <a:lnTo>
                      <a:pt x="750" y="460"/>
                    </a:lnTo>
                    <a:lnTo>
                      <a:pt x="749" y="458"/>
                    </a:lnTo>
                    <a:lnTo>
                      <a:pt x="746" y="457"/>
                    </a:lnTo>
                    <a:lnTo>
                      <a:pt x="744" y="454"/>
                    </a:lnTo>
                    <a:lnTo>
                      <a:pt x="743" y="454"/>
                    </a:lnTo>
                    <a:lnTo>
                      <a:pt x="742" y="456"/>
                    </a:lnTo>
                    <a:lnTo>
                      <a:pt x="742" y="456"/>
                    </a:lnTo>
                    <a:lnTo>
                      <a:pt x="739" y="457"/>
                    </a:lnTo>
                    <a:lnTo>
                      <a:pt x="736" y="456"/>
                    </a:lnTo>
                    <a:lnTo>
                      <a:pt x="734" y="454"/>
                    </a:lnTo>
                    <a:lnTo>
                      <a:pt x="734" y="453"/>
                    </a:lnTo>
                    <a:lnTo>
                      <a:pt x="736" y="453"/>
                    </a:lnTo>
                    <a:lnTo>
                      <a:pt x="736" y="453"/>
                    </a:lnTo>
                    <a:lnTo>
                      <a:pt x="746" y="449"/>
                    </a:lnTo>
                    <a:lnTo>
                      <a:pt x="753" y="444"/>
                    </a:lnTo>
                    <a:lnTo>
                      <a:pt x="753" y="444"/>
                    </a:lnTo>
                    <a:lnTo>
                      <a:pt x="754" y="443"/>
                    </a:lnTo>
                    <a:lnTo>
                      <a:pt x="753" y="441"/>
                    </a:lnTo>
                    <a:lnTo>
                      <a:pt x="752" y="439"/>
                    </a:lnTo>
                    <a:lnTo>
                      <a:pt x="747" y="436"/>
                    </a:lnTo>
                    <a:lnTo>
                      <a:pt x="743" y="436"/>
                    </a:lnTo>
                    <a:lnTo>
                      <a:pt x="743" y="436"/>
                    </a:lnTo>
                    <a:lnTo>
                      <a:pt x="740" y="434"/>
                    </a:lnTo>
                    <a:lnTo>
                      <a:pt x="736" y="430"/>
                    </a:lnTo>
                    <a:lnTo>
                      <a:pt x="733" y="426"/>
                    </a:lnTo>
                    <a:lnTo>
                      <a:pt x="729" y="424"/>
                    </a:lnTo>
                    <a:lnTo>
                      <a:pt x="729" y="424"/>
                    </a:lnTo>
                    <a:lnTo>
                      <a:pt x="727" y="424"/>
                    </a:lnTo>
                    <a:lnTo>
                      <a:pt x="730" y="423"/>
                    </a:lnTo>
                    <a:lnTo>
                      <a:pt x="733" y="423"/>
                    </a:lnTo>
                    <a:lnTo>
                      <a:pt x="739" y="424"/>
                    </a:lnTo>
                    <a:lnTo>
                      <a:pt x="739" y="424"/>
                    </a:lnTo>
                    <a:lnTo>
                      <a:pt x="746" y="427"/>
                    </a:lnTo>
                    <a:lnTo>
                      <a:pt x="750" y="429"/>
                    </a:lnTo>
                    <a:lnTo>
                      <a:pt x="753" y="427"/>
                    </a:lnTo>
                    <a:lnTo>
                      <a:pt x="753" y="427"/>
                    </a:lnTo>
                    <a:lnTo>
                      <a:pt x="753" y="426"/>
                    </a:lnTo>
                    <a:lnTo>
                      <a:pt x="752" y="424"/>
                    </a:lnTo>
                    <a:lnTo>
                      <a:pt x="749" y="420"/>
                    </a:lnTo>
                    <a:lnTo>
                      <a:pt x="739" y="412"/>
                    </a:lnTo>
                    <a:lnTo>
                      <a:pt x="739" y="412"/>
                    </a:lnTo>
                    <a:lnTo>
                      <a:pt x="737" y="409"/>
                    </a:lnTo>
                    <a:lnTo>
                      <a:pt x="737" y="406"/>
                    </a:lnTo>
                    <a:lnTo>
                      <a:pt x="737" y="404"/>
                    </a:lnTo>
                    <a:lnTo>
                      <a:pt x="736" y="402"/>
                    </a:lnTo>
                    <a:lnTo>
                      <a:pt x="736" y="402"/>
                    </a:lnTo>
                    <a:lnTo>
                      <a:pt x="733" y="399"/>
                    </a:lnTo>
                    <a:lnTo>
                      <a:pt x="730" y="394"/>
                    </a:lnTo>
                    <a:lnTo>
                      <a:pt x="726" y="383"/>
                    </a:lnTo>
                    <a:lnTo>
                      <a:pt x="726" y="383"/>
                    </a:lnTo>
                    <a:lnTo>
                      <a:pt x="723" y="379"/>
                    </a:lnTo>
                    <a:lnTo>
                      <a:pt x="719" y="377"/>
                    </a:lnTo>
                    <a:lnTo>
                      <a:pt x="715" y="375"/>
                    </a:lnTo>
                    <a:lnTo>
                      <a:pt x="712" y="373"/>
                    </a:lnTo>
                    <a:lnTo>
                      <a:pt x="712" y="373"/>
                    </a:lnTo>
                    <a:lnTo>
                      <a:pt x="710" y="369"/>
                    </a:lnTo>
                    <a:lnTo>
                      <a:pt x="712" y="365"/>
                    </a:lnTo>
                    <a:lnTo>
                      <a:pt x="715" y="360"/>
                    </a:lnTo>
                    <a:lnTo>
                      <a:pt x="719" y="357"/>
                    </a:lnTo>
                    <a:lnTo>
                      <a:pt x="719" y="357"/>
                    </a:lnTo>
                    <a:lnTo>
                      <a:pt x="723" y="355"/>
                    </a:lnTo>
                    <a:lnTo>
                      <a:pt x="725" y="352"/>
                    </a:lnTo>
                    <a:lnTo>
                      <a:pt x="725" y="350"/>
                    </a:lnTo>
                    <a:lnTo>
                      <a:pt x="727" y="349"/>
                    </a:lnTo>
                    <a:lnTo>
                      <a:pt x="727" y="349"/>
                    </a:lnTo>
                    <a:lnTo>
                      <a:pt x="729" y="349"/>
                    </a:lnTo>
                    <a:lnTo>
                      <a:pt x="732" y="349"/>
                    </a:lnTo>
                    <a:lnTo>
                      <a:pt x="733" y="346"/>
                    </a:lnTo>
                    <a:lnTo>
                      <a:pt x="736" y="343"/>
                    </a:lnTo>
                    <a:lnTo>
                      <a:pt x="736" y="343"/>
                    </a:lnTo>
                    <a:lnTo>
                      <a:pt x="737" y="340"/>
                    </a:lnTo>
                    <a:lnTo>
                      <a:pt x="740" y="339"/>
                    </a:lnTo>
                    <a:lnTo>
                      <a:pt x="743" y="339"/>
                    </a:lnTo>
                    <a:lnTo>
                      <a:pt x="746" y="338"/>
                    </a:lnTo>
                    <a:lnTo>
                      <a:pt x="746" y="338"/>
                    </a:lnTo>
                    <a:lnTo>
                      <a:pt x="749" y="336"/>
                    </a:lnTo>
                    <a:lnTo>
                      <a:pt x="754" y="335"/>
                    </a:lnTo>
                    <a:lnTo>
                      <a:pt x="759" y="335"/>
                    </a:lnTo>
                    <a:lnTo>
                      <a:pt x="763" y="333"/>
                    </a:lnTo>
                    <a:lnTo>
                      <a:pt x="763" y="333"/>
                    </a:lnTo>
                    <a:lnTo>
                      <a:pt x="764" y="332"/>
                    </a:lnTo>
                    <a:lnTo>
                      <a:pt x="764" y="329"/>
                    </a:lnTo>
                    <a:lnTo>
                      <a:pt x="763" y="326"/>
                    </a:lnTo>
                    <a:lnTo>
                      <a:pt x="759" y="323"/>
                    </a:lnTo>
                    <a:lnTo>
                      <a:pt x="754" y="322"/>
                    </a:lnTo>
                    <a:lnTo>
                      <a:pt x="754" y="322"/>
                    </a:lnTo>
                    <a:lnTo>
                      <a:pt x="750" y="323"/>
                    </a:lnTo>
                    <a:lnTo>
                      <a:pt x="746" y="322"/>
                    </a:lnTo>
                    <a:lnTo>
                      <a:pt x="742" y="319"/>
                    </a:lnTo>
                    <a:lnTo>
                      <a:pt x="739" y="316"/>
                    </a:lnTo>
                    <a:lnTo>
                      <a:pt x="739" y="316"/>
                    </a:lnTo>
                    <a:lnTo>
                      <a:pt x="737" y="315"/>
                    </a:lnTo>
                    <a:lnTo>
                      <a:pt x="734" y="315"/>
                    </a:lnTo>
                    <a:lnTo>
                      <a:pt x="729" y="319"/>
                    </a:lnTo>
                    <a:lnTo>
                      <a:pt x="723" y="326"/>
                    </a:lnTo>
                    <a:lnTo>
                      <a:pt x="717" y="330"/>
                    </a:lnTo>
                    <a:lnTo>
                      <a:pt x="717" y="330"/>
                    </a:lnTo>
                    <a:lnTo>
                      <a:pt x="715" y="330"/>
                    </a:lnTo>
                    <a:lnTo>
                      <a:pt x="712" y="330"/>
                    </a:lnTo>
                    <a:lnTo>
                      <a:pt x="709" y="328"/>
                    </a:lnTo>
                    <a:lnTo>
                      <a:pt x="706" y="322"/>
                    </a:lnTo>
                    <a:lnTo>
                      <a:pt x="707" y="318"/>
                    </a:lnTo>
                    <a:lnTo>
                      <a:pt x="707" y="318"/>
                    </a:lnTo>
                    <a:lnTo>
                      <a:pt x="707" y="315"/>
                    </a:lnTo>
                    <a:lnTo>
                      <a:pt x="707" y="313"/>
                    </a:lnTo>
                    <a:lnTo>
                      <a:pt x="705" y="312"/>
                    </a:lnTo>
                    <a:lnTo>
                      <a:pt x="697" y="312"/>
                    </a:lnTo>
                    <a:lnTo>
                      <a:pt x="690" y="312"/>
                    </a:lnTo>
                    <a:lnTo>
                      <a:pt x="690" y="312"/>
                    </a:lnTo>
                    <a:lnTo>
                      <a:pt x="688" y="311"/>
                    </a:lnTo>
                    <a:lnTo>
                      <a:pt x="685" y="309"/>
                    </a:lnTo>
                    <a:lnTo>
                      <a:pt x="685" y="306"/>
                    </a:lnTo>
                    <a:lnTo>
                      <a:pt x="685" y="302"/>
                    </a:lnTo>
                    <a:lnTo>
                      <a:pt x="686" y="295"/>
                    </a:lnTo>
                    <a:lnTo>
                      <a:pt x="688" y="293"/>
                    </a:lnTo>
                    <a:lnTo>
                      <a:pt x="690" y="292"/>
                    </a:lnTo>
                    <a:lnTo>
                      <a:pt x="690" y="292"/>
                    </a:lnTo>
                    <a:lnTo>
                      <a:pt x="696" y="292"/>
                    </a:lnTo>
                    <a:lnTo>
                      <a:pt x="702" y="293"/>
                    </a:lnTo>
                    <a:lnTo>
                      <a:pt x="705" y="292"/>
                    </a:lnTo>
                    <a:lnTo>
                      <a:pt x="706" y="292"/>
                    </a:lnTo>
                    <a:lnTo>
                      <a:pt x="709" y="289"/>
                    </a:lnTo>
                    <a:lnTo>
                      <a:pt x="710" y="286"/>
                    </a:lnTo>
                    <a:lnTo>
                      <a:pt x="710" y="286"/>
                    </a:lnTo>
                    <a:lnTo>
                      <a:pt x="712" y="282"/>
                    </a:lnTo>
                    <a:lnTo>
                      <a:pt x="713" y="281"/>
                    </a:lnTo>
                    <a:lnTo>
                      <a:pt x="717" y="279"/>
                    </a:lnTo>
                    <a:lnTo>
                      <a:pt x="723" y="278"/>
                    </a:lnTo>
                    <a:lnTo>
                      <a:pt x="726" y="276"/>
                    </a:lnTo>
                    <a:lnTo>
                      <a:pt x="729" y="272"/>
                    </a:lnTo>
                    <a:lnTo>
                      <a:pt x="729" y="272"/>
                    </a:lnTo>
                    <a:lnTo>
                      <a:pt x="736" y="266"/>
                    </a:lnTo>
                    <a:lnTo>
                      <a:pt x="743" y="261"/>
                    </a:lnTo>
                    <a:lnTo>
                      <a:pt x="747" y="259"/>
                    </a:lnTo>
                    <a:lnTo>
                      <a:pt x="750" y="259"/>
                    </a:lnTo>
                    <a:lnTo>
                      <a:pt x="753" y="261"/>
                    </a:lnTo>
                    <a:lnTo>
                      <a:pt x="756" y="262"/>
                    </a:lnTo>
                    <a:lnTo>
                      <a:pt x="756" y="262"/>
                    </a:lnTo>
                    <a:lnTo>
                      <a:pt x="759" y="265"/>
                    </a:lnTo>
                    <a:lnTo>
                      <a:pt x="759" y="268"/>
                    </a:lnTo>
                    <a:lnTo>
                      <a:pt x="757" y="271"/>
                    </a:lnTo>
                    <a:lnTo>
                      <a:pt x="754" y="274"/>
                    </a:lnTo>
                    <a:lnTo>
                      <a:pt x="749" y="279"/>
                    </a:lnTo>
                    <a:lnTo>
                      <a:pt x="746" y="284"/>
                    </a:lnTo>
                    <a:lnTo>
                      <a:pt x="746" y="284"/>
                    </a:lnTo>
                    <a:lnTo>
                      <a:pt x="744" y="288"/>
                    </a:lnTo>
                    <a:lnTo>
                      <a:pt x="744" y="291"/>
                    </a:lnTo>
                    <a:lnTo>
                      <a:pt x="744" y="293"/>
                    </a:lnTo>
                    <a:lnTo>
                      <a:pt x="743" y="296"/>
                    </a:lnTo>
                    <a:lnTo>
                      <a:pt x="743" y="296"/>
                    </a:lnTo>
                    <a:lnTo>
                      <a:pt x="742" y="299"/>
                    </a:lnTo>
                    <a:lnTo>
                      <a:pt x="743" y="301"/>
                    </a:lnTo>
                    <a:lnTo>
                      <a:pt x="747" y="299"/>
                    </a:lnTo>
                    <a:lnTo>
                      <a:pt x="754" y="296"/>
                    </a:lnTo>
                    <a:lnTo>
                      <a:pt x="754" y="296"/>
                    </a:lnTo>
                    <a:lnTo>
                      <a:pt x="769" y="286"/>
                    </a:lnTo>
                    <a:lnTo>
                      <a:pt x="784" y="279"/>
                    </a:lnTo>
                    <a:lnTo>
                      <a:pt x="784" y="279"/>
                    </a:lnTo>
                    <a:lnTo>
                      <a:pt x="787" y="278"/>
                    </a:lnTo>
                    <a:lnTo>
                      <a:pt x="791" y="278"/>
                    </a:lnTo>
                    <a:lnTo>
                      <a:pt x="791" y="278"/>
                    </a:lnTo>
                    <a:lnTo>
                      <a:pt x="794" y="274"/>
                    </a:lnTo>
                    <a:lnTo>
                      <a:pt x="796" y="271"/>
                    </a:lnTo>
                    <a:lnTo>
                      <a:pt x="796" y="271"/>
                    </a:lnTo>
                    <a:lnTo>
                      <a:pt x="813" y="264"/>
                    </a:lnTo>
                    <a:lnTo>
                      <a:pt x="821" y="259"/>
                    </a:lnTo>
                    <a:lnTo>
                      <a:pt x="826" y="255"/>
                    </a:lnTo>
                    <a:lnTo>
                      <a:pt x="826" y="255"/>
                    </a:lnTo>
                    <a:lnTo>
                      <a:pt x="831" y="248"/>
                    </a:lnTo>
                    <a:lnTo>
                      <a:pt x="834" y="245"/>
                    </a:lnTo>
                    <a:lnTo>
                      <a:pt x="837" y="244"/>
                    </a:lnTo>
                    <a:lnTo>
                      <a:pt x="837" y="244"/>
                    </a:lnTo>
                    <a:lnTo>
                      <a:pt x="838" y="244"/>
                    </a:lnTo>
                    <a:lnTo>
                      <a:pt x="841" y="245"/>
                    </a:lnTo>
                    <a:lnTo>
                      <a:pt x="843" y="247"/>
                    </a:lnTo>
                    <a:lnTo>
                      <a:pt x="847" y="248"/>
                    </a:lnTo>
                    <a:lnTo>
                      <a:pt x="847" y="248"/>
                    </a:lnTo>
                    <a:lnTo>
                      <a:pt x="855" y="248"/>
                    </a:lnTo>
                    <a:lnTo>
                      <a:pt x="858" y="247"/>
                    </a:lnTo>
                    <a:lnTo>
                      <a:pt x="857" y="245"/>
                    </a:lnTo>
                    <a:lnTo>
                      <a:pt x="857" y="245"/>
                    </a:lnTo>
                    <a:lnTo>
                      <a:pt x="855" y="241"/>
                    </a:lnTo>
                    <a:lnTo>
                      <a:pt x="857" y="239"/>
                    </a:lnTo>
                    <a:lnTo>
                      <a:pt x="864" y="238"/>
                    </a:lnTo>
                    <a:lnTo>
                      <a:pt x="864" y="238"/>
                    </a:lnTo>
                    <a:lnTo>
                      <a:pt x="867" y="237"/>
                    </a:lnTo>
                    <a:lnTo>
                      <a:pt x="870" y="234"/>
                    </a:lnTo>
                    <a:lnTo>
                      <a:pt x="871" y="231"/>
                    </a:lnTo>
                    <a:lnTo>
                      <a:pt x="874" y="229"/>
                    </a:lnTo>
                    <a:lnTo>
                      <a:pt x="874" y="229"/>
                    </a:lnTo>
                    <a:lnTo>
                      <a:pt x="877" y="229"/>
                    </a:lnTo>
                    <a:lnTo>
                      <a:pt x="878" y="228"/>
                    </a:lnTo>
                    <a:lnTo>
                      <a:pt x="880" y="224"/>
                    </a:lnTo>
                    <a:lnTo>
                      <a:pt x="881" y="219"/>
                    </a:lnTo>
                    <a:lnTo>
                      <a:pt x="882" y="218"/>
                    </a:lnTo>
                    <a:lnTo>
                      <a:pt x="884" y="218"/>
                    </a:lnTo>
                    <a:lnTo>
                      <a:pt x="884" y="218"/>
                    </a:lnTo>
                    <a:lnTo>
                      <a:pt x="887" y="218"/>
                    </a:lnTo>
                    <a:lnTo>
                      <a:pt x="890" y="221"/>
                    </a:lnTo>
                    <a:lnTo>
                      <a:pt x="894" y="222"/>
                    </a:lnTo>
                    <a:lnTo>
                      <a:pt x="897" y="222"/>
                    </a:lnTo>
                    <a:lnTo>
                      <a:pt x="897" y="222"/>
                    </a:lnTo>
                    <a:lnTo>
                      <a:pt x="902" y="224"/>
                    </a:lnTo>
                    <a:lnTo>
                      <a:pt x="902" y="224"/>
                    </a:lnTo>
                    <a:lnTo>
                      <a:pt x="905" y="221"/>
                    </a:lnTo>
                    <a:lnTo>
                      <a:pt x="905" y="221"/>
                    </a:lnTo>
                    <a:lnTo>
                      <a:pt x="905" y="211"/>
                    </a:lnTo>
                    <a:lnTo>
                      <a:pt x="905" y="205"/>
                    </a:lnTo>
                    <a:lnTo>
                      <a:pt x="905" y="205"/>
                    </a:lnTo>
                    <a:lnTo>
                      <a:pt x="904" y="201"/>
                    </a:lnTo>
                    <a:lnTo>
                      <a:pt x="904" y="198"/>
                    </a:lnTo>
                    <a:lnTo>
                      <a:pt x="904" y="192"/>
                    </a:lnTo>
                    <a:lnTo>
                      <a:pt x="904" y="192"/>
                    </a:lnTo>
                    <a:lnTo>
                      <a:pt x="902" y="185"/>
                    </a:lnTo>
                    <a:lnTo>
                      <a:pt x="904" y="183"/>
                    </a:lnTo>
                    <a:lnTo>
                      <a:pt x="907" y="181"/>
                    </a:lnTo>
                    <a:lnTo>
                      <a:pt x="907" y="181"/>
                    </a:lnTo>
                    <a:lnTo>
                      <a:pt x="909" y="180"/>
                    </a:lnTo>
                    <a:lnTo>
                      <a:pt x="912" y="177"/>
                    </a:lnTo>
                    <a:lnTo>
                      <a:pt x="915" y="174"/>
                    </a:lnTo>
                    <a:lnTo>
                      <a:pt x="918" y="174"/>
                    </a:lnTo>
                    <a:lnTo>
                      <a:pt x="919" y="174"/>
                    </a:lnTo>
                    <a:lnTo>
                      <a:pt x="919" y="174"/>
                    </a:lnTo>
                    <a:lnTo>
                      <a:pt x="924" y="177"/>
                    </a:lnTo>
                    <a:lnTo>
                      <a:pt x="928" y="177"/>
                    </a:lnTo>
                    <a:lnTo>
                      <a:pt x="932" y="177"/>
                    </a:lnTo>
                    <a:lnTo>
                      <a:pt x="934" y="175"/>
                    </a:lnTo>
                    <a:lnTo>
                      <a:pt x="934" y="174"/>
                    </a:lnTo>
                    <a:lnTo>
                      <a:pt x="934" y="174"/>
                    </a:lnTo>
                    <a:lnTo>
                      <a:pt x="935" y="171"/>
                    </a:lnTo>
                    <a:lnTo>
                      <a:pt x="936" y="170"/>
                    </a:lnTo>
                    <a:lnTo>
                      <a:pt x="939" y="167"/>
                    </a:lnTo>
                    <a:lnTo>
                      <a:pt x="941" y="164"/>
                    </a:lnTo>
                    <a:lnTo>
                      <a:pt x="941" y="164"/>
                    </a:lnTo>
                    <a:lnTo>
                      <a:pt x="942" y="160"/>
                    </a:lnTo>
                    <a:lnTo>
                      <a:pt x="945" y="157"/>
                    </a:lnTo>
                    <a:lnTo>
                      <a:pt x="948" y="155"/>
                    </a:lnTo>
                    <a:lnTo>
                      <a:pt x="951" y="151"/>
                    </a:lnTo>
                    <a:lnTo>
                      <a:pt x="951" y="151"/>
                    </a:lnTo>
                    <a:lnTo>
                      <a:pt x="954" y="140"/>
                    </a:lnTo>
                    <a:lnTo>
                      <a:pt x="956" y="134"/>
                    </a:lnTo>
                    <a:lnTo>
                      <a:pt x="959" y="131"/>
                    </a:lnTo>
                    <a:lnTo>
                      <a:pt x="959" y="131"/>
                    </a:lnTo>
                    <a:lnTo>
                      <a:pt x="961" y="128"/>
                    </a:lnTo>
                    <a:lnTo>
                      <a:pt x="961" y="127"/>
                    </a:lnTo>
                    <a:lnTo>
                      <a:pt x="959" y="123"/>
                    </a:lnTo>
                    <a:lnTo>
                      <a:pt x="959" y="118"/>
                    </a:lnTo>
                    <a:lnTo>
                      <a:pt x="959" y="118"/>
                    </a:lnTo>
                    <a:close/>
                    <a:moveTo>
                      <a:pt x="726" y="567"/>
                    </a:moveTo>
                    <a:lnTo>
                      <a:pt x="726" y="567"/>
                    </a:lnTo>
                    <a:lnTo>
                      <a:pt x="725" y="574"/>
                    </a:lnTo>
                    <a:lnTo>
                      <a:pt x="725" y="579"/>
                    </a:lnTo>
                    <a:lnTo>
                      <a:pt x="726" y="584"/>
                    </a:lnTo>
                    <a:lnTo>
                      <a:pt x="727" y="588"/>
                    </a:lnTo>
                    <a:lnTo>
                      <a:pt x="732" y="594"/>
                    </a:lnTo>
                    <a:lnTo>
                      <a:pt x="734" y="595"/>
                    </a:lnTo>
                    <a:lnTo>
                      <a:pt x="734" y="595"/>
                    </a:lnTo>
                    <a:lnTo>
                      <a:pt x="740" y="587"/>
                    </a:lnTo>
                    <a:lnTo>
                      <a:pt x="749" y="571"/>
                    </a:lnTo>
                    <a:lnTo>
                      <a:pt x="754" y="554"/>
                    </a:lnTo>
                    <a:lnTo>
                      <a:pt x="756" y="548"/>
                    </a:lnTo>
                    <a:lnTo>
                      <a:pt x="754" y="545"/>
                    </a:lnTo>
                    <a:lnTo>
                      <a:pt x="754" y="545"/>
                    </a:lnTo>
                    <a:lnTo>
                      <a:pt x="753" y="544"/>
                    </a:lnTo>
                    <a:lnTo>
                      <a:pt x="749" y="542"/>
                    </a:lnTo>
                    <a:lnTo>
                      <a:pt x="744" y="544"/>
                    </a:lnTo>
                    <a:lnTo>
                      <a:pt x="740" y="547"/>
                    </a:lnTo>
                    <a:lnTo>
                      <a:pt x="736" y="550"/>
                    </a:lnTo>
                    <a:lnTo>
                      <a:pt x="732" y="555"/>
                    </a:lnTo>
                    <a:lnTo>
                      <a:pt x="729" y="561"/>
                    </a:lnTo>
                    <a:lnTo>
                      <a:pt x="726" y="567"/>
                    </a:lnTo>
                    <a:lnTo>
                      <a:pt x="726" y="567"/>
                    </a:lnTo>
                    <a:close/>
                    <a:moveTo>
                      <a:pt x="557" y="632"/>
                    </a:moveTo>
                    <a:lnTo>
                      <a:pt x="557" y="632"/>
                    </a:lnTo>
                    <a:lnTo>
                      <a:pt x="551" y="633"/>
                    </a:lnTo>
                    <a:lnTo>
                      <a:pt x="544" y="638"/>
                    </a:lnTo>
                    <a:lnTo>
                      <a:pt x="542" y="641"/>
                    </a:lnTo>
                    <a:lnTo>
                      <a:pt x="540" y="645"/>
                    </a:lnTo>
                    <a:lnTo>
                      <a:pt x="540" y="649"/>
                    </a:lnTo>
                    <a:lnTo>
                      <a:pt x="541" y="653"/>
                    </a:lnTo>
                    <a:lnTo>
                      <a:pt x="541" y="653"/>
                    </a:lnTo>
                    <a:lnTo>
                      <a:pt x="544" y="658"/>
                    </a:lnTo>
                    <a:lnTo>
                      <a:pt x="548" y="659"/>
                    </a:lnTo>
                    <a:lnTo>
                      <a:pt x="552" y="660"/>
                    </a:lnTo>
                    <a:lnTo>
                      <a:pt x="557" y="659"/>
                    </a:lnTo>
                    <a:lnTo>
                      <a:pt x="565" y="656"/>
                    </a:lnTo>
                    <a:lnTo>
                      <a:pt x="567" y="653"/>
                    </a:lnTo>
                    <a:lnTo>
                      <a:pt x="568" y="652"/>
                    </a:lnTo>
                    <a:lnTo>
                      <a:pt x="568" y="652"/>
                    </a:lnTo>
                    <a:lnTo>
                      <a:pt x="569" y="648"/>
                    </a:lnTo>
                    <a:lnTo>
                      <a:pt x="574" y="642"/>
                    </a:lnTo>
                    <a:lnTo>
                      <a:pt x="577" y="636"/>
                    </a:lnTo>
                    <a:lnTo>
                      <a:pt x="577" y="633"/>
                    </a:lnTo>
                    <a:lnTo>
                      <a:pt x="577" y="633"/>
                    </a:lnTo>
                    <a:lnTo>
                      <a:pt x="577" y="632"/>
                    </a:lnTo>
                    <a:lnTo>
                      <a:pt x="574" y="631"/>
                    </a:lnTo>
                    <a:lnTo>
                      <a:pt x="569" y="631"/>
                    </a:lnTo>
                    <a:lnTo>
                      <a:pt x="557" y="632"/>
                    </a:lnTo>
                    <a:lnTo>
                      <a:pt x="557" y="63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93" name="India">
                <a:extLst>
                  <a:ext uri="{FF2B5EF4-FFF2-40B4-BE49-F238E27FC236}">
                    <a16:creationId xmlns:a16="http://schemas.microsoft.com/office/drawing/2014/main" id="{762BC207-BC68-0241-844B-64B0DC5C1E7F}"/>
                  </a:ext>
                </a:extLst>
              </p:cNvPr>
              <p:cNvSpPr>
                <a:spLocks/>
              </p:cNvSpPr>
              <p:nvPr/>
            </p:nvSpPr>
            <p:spPr bwMode="auto">
              <a:xfrm>
                <a:off x="5943760" y="3427788"/>
                <a:ext cx="658504" cy="694019"/>
              </a:xfrm>
              <a:custGeom>
                <a:avLst/>
                <a:gdLst/>
                <a:ahLst/>
                <a:cxnLst>
                  <a:cxn ang="0">
                    <a:pos x="321" y="185"/>
                  </a:cxn>
                  <a:cxn ang="0">
                    <a:pos x="313" y="168"/>
                  </a:cxn>
                  <a:cxn ang="0">
                    <a:pos x="337" y="176"/>
                  </a:cxn>
                  <a:cxn ang="0">
                    <a:pos x="374" y="185"/>
                  </a:cxn>
                  <a:cxn ang="0">
                    <a:pos x="360" y="205"/>
                  </a:cxn>
                  <a:cxn ang="0">
                    <a:pos x="367" y="215"/>
                  </a:cxn>
                  <a:cxn ang="0">
                    <a:pos x="381" y="237"/>
                  </a:cxn>
                  <a:cxn ang="0">
                    <a:pos x="388" y="206"/>
                  </a:cxn>
                  <a:cxn ang="0">
                    <a:pos x="405" y="196"/>
                  </a:cxn>
                  <a:cxn ang="0">
                    <a:pos x="412" y="162"/>
                  </a:cxn>
                  <a:cxn ang="0">
                    <a:pos x="438" y="149"/>
                  </a:cxn>
                  <a:cxn ang="0">
                    <a:pos x="441" y="136"/>
                  </a:cxn>
                  <a:cxn ang="0">
                    <a:pos x="435" y="125"/>
                  </a:cxn>
                  <a:cxn ang="0">
                    <a:pos x="418" y="115"/>
                  </a:cxn>
                  <a:cxn ang="0">
                    <a:pos x="388" y="125"/>
                  </a:cxn>
                  <a:cxn ang="0">
                    <a:pos x="367" y="141"/>
                  </a:cxn>
                  <a:cxn ang="0">
                    <a:pos x="353" y="156"/>
                  </a:cxn>
                  <a:cxn ang="0">
                    <a:pos x="328" y="154"/>
                  </a:cxn>
                  <a:cxn ang="0">
                    <a:pos x="320" y="135"/>
                  </a:cxn>
                  <a:cxn ang="0">
                    <a:pos x="311" y="151"/>
                  </a:cxn>
                  <a:cxn ang="0">
                    <a:pos x="277" y="158"/>
                  </a:cxn>
                  <a:cxn ang="0">
                    <a:pos x="243" y="145"/>
                  </a:cxn>
                  <a:cxn ang="0">
                    <a:pos x="213" y="134"/>
                  </a:cxn>
                  <a:cxn ang="0">
                    <a:pos x="193" y="122"/>
                  </a:cxn>
                  <a:cxn ang="0">
                    <a:pos x="199" y="99"/>
                  </a:cxn>
                  <a:cxn ang="0">
                    <a:pos x="183" y="82"/>
                  </a:cxn>
                  <a:cxn ang="0">
                    <a:pos x="166" y="63"/>
                  </a:cxn>
                  <a:cxn ang="0">
                    <a:pos x="176" y="54"/>
                  </a:cxn>
                  <a:cxn ang="0">
                    <a:pos x="171" y="26"/>
                  </a:cxn>
                  <a:cxn ang="0">
                    <a:pos x="158" y="4"/>
                  </a:cxn>
                  <a:cxn ang="0">
                    <a:pos x="134" y="14"/>
                  </a:cxn>
                  <a:cxn ang="0">
                    <a:pos x="95" y="14"/>
                  </a:cxn>
                  <a:cxn ang="0">
                    <a:pos x="97" y="45"/>
                  </a:cxn>
                  <a:cxn ang="0">
                    <a:pos x="112" y="60"/>
                  </a:cxn>
                  <a:cxn ang="0">
                    <a:pos x="101" y="84"/>
                  </a:cxn>
                  <a:cxn ang="0">
                    <a:pos x="88" y="98"/>
                  </a:cxn>
                  <a:cxn ang="0">
                    <a:pos x="64" y="124"/>
                  </a:cxn>
                  <a:cxn ang="0">
                    <a:pos x="45" y="136"/>
                  </a:cxn>
                  <a:cxn ang="0">
                    <a:pos x="25" y="144"/>
                  </a:cxn>
                  <a:cxn ang="0">
                    <a:pos x="30" y="164"/>
                  </a:cxn>
                  <a:cxn ang="0">
                    <a:pos x="42" y="195"/>
                  </a:cxn>
                  <a:cxn ang="0">
                    <a:pos x="15" y="199"/>
                  </a:cxn>
                  <a:cxn ang="0">
                    <a:pos x="14" y="223"/>
                  </a:cxn>
                  <a:cxn ang="0">
                    <a:pos x="31" y="226"/>
                  </a:cxn>
                  <a:cxn ang="0">
                    <a:pos x="40" y="259"/>
                  </a:cxn>
                  <a:cxn ang="0">
                    <a:pos x="61" y="243"/>
                  </a:cxn>
                  <a:cxn ang="0">
                    <a:pos x="70" y="252"/>
                  </a:cxn>
                  <a:cxn ang="0">
                    <a:pos x="72" y="293"/>
                  </a:cxn>
                  <a:cxn ang="0">
                    <a:pos x="99" y="375"/>
                  </a:cxn>
                  <a:cxn ang="0">
                    <a:pos x="126" y="444"/>
                  </a:cxn>
                  <a:cxn ang="0">
                    <a:pos x="156" y="458"/>
                  </a:cxn>
                  <a:cxn ang="0">
                    <a:pos x="175" y="434"/>
                  </a:cxn>
                  <a:cxn ang="0">
                    <a:pos x="186" y="401"/>
                  </a:cxn>
                  <a:cxn ang="0">
                    <a:pos x="190" y="354"/>
                  </a:cxn>
                  <a:cxn ang="0">
                    <a:pos x="212" y="330"/>
                  </a:cxn>
                  <a:cxn ang="0">
                    <a:pos x="263" y="284"/>
                  </a:cxn>
                  <a:cxn ang="0">
                    <a:pos x="291" y="252"/>
                  </a:cxn>
                  <a:cxn ang="0">
                    <a:pos x="324" y="233"/>
                  </a:cxn>
                </a:cxnLst>
                <a:rect l="0" t="0" r="r" b="b"/>
                <a:pathLst>
                  <a:path w="445" h="469">
                    <a:moveTo>
                      <a:pt x="318" y="212"/>
                    </a:moveTo>
                    <a:lnTo>
                      <a:pt x="318" y="212"/>
                    </a:lnTo>
                    <a:lnTo>
                      <a:pt x="316" y="199"/>
                    </a:lnTo>
                    <a:lnTo>
                      <a:pt x="314" y="193"/>
                    </a:lnTo>
                    <a:lnTo>
                      <a:pt x="314" y="188"/>
                    </a:lnTo>
                    <a:lnTo>
                      <a:pt x="314" y="188"/>
                    </a:lnTo>
                    <a:lnTo>
                      <a:pt x="317" y="186"/>
                    </a:lnTo>
                    <a:lnTo>
                      <a:pt x="318" y="185"/>
                    </a:lnTo>
                    <a:lnTo>
                      <a:pt x="321" y="185"/>
                    </a:lnTo>
                    <a:lnTo>
                      <a:pt x="324" y="182"/>
                    </a:lnTo>
                    <a:lnTo>
                      <a:pt x="324" y="182"/>
                    </a:lnTo>
                    <a:lnTo>
                      <a:pt x="323" y="179"/>
                    </a:lnTo>
                    <a:lnTo>
                      <a:pt x="321" y="178"/>
                    </a:lnTo>
                    <a:lnTo>
                      <a:pt x="317" y="175"/>
                    </a:lnTo>
                    <a:lnTo>
                      <a:pt x="313" y="172"/>
                    </a:lnTo>
                    <a:lnTo>
                      <a:pt x="311" y="171"/>
                    </a:lnTo>
                    <a:lnTo>
                      <a:pt x="313" y="168"/>
                    </a:lnTo>
                    <a:lnTo>
                      <a:pt x="313" y="168"/>
                    </a:lnTo>
                    <a:lnTo>
                      <a:pt x="317" y="165"/>
                    </a:lnTo>
                    <a:lnTo>
                      <a:pt x="318" y="165"/>
                    </a:lnTo>
                    <a:lnTo>
                      <a:pt x="321" y="166"/>
                    </a:lnTo>
                    <a:lnTo>
                      <a:pt x="327" y="168"/>
                    </a:lnTo>
                    <a:lnTo>
                      <a:pt x="327" y="168"/>
                    </a:lnTo>
                    <a:lnTo>
                      <a:pt x="331" y="169"/>
                    </a:lnTo>
                    <a:lnTo>
                      <a:pt x="334" y="171"/>
                    </a:lnTo>
                    <a:lnTo>
                      <a:pt x="337" y="173"/>
                    </a:lnTo>
                    <a:lnTo>
                      <a:pt x="337" y="176"/>
                    </a:lnTo>
                    <a:lnTo>
                      <a:pt x="337" y="176"/>
                    </a:lnTo>
                    <a:lnTo>
                      <a:pt x="338" y="179"/>
                    </a:lnTo>
                    <a:lnTo>
                      <a:pt x="341" y="182"/>
                    </a:lnTo>
                    <a:lnTo>
                      <a:pt x="344" y="185"/>
                    </a:lnTo>
                    <a:lnTo>
                      <a:pt x="344" y="185"/>
                    </a:lnTo>
                    <a:lnTo>
                      <a:pt x="363" y="183"/>
                    </a:lnTo>
                    <a:lnTo>
                      <a:pt x="363" y="183"/>
                    </a:lnTo>
                    <a:lnTo>
                      <a:pt x="371" y="183"/>
                    </a:lnTo>
                    <a:lnTo>
                      <a:pt x="374" y="185"/>
                    </a:lnTo>
                    <a:lnTo>
                      <a:pt x="374" y="188"/>
                    </a:lnTo>
                    <a:lnTo>
                      <a:pt x="374" y="188"/>
                    </a:lnTo>
                    <a:lnTo>
                      <a:pt x="374" y="192"/>
                    </a:lnTo>
                    <a:lnTo>
                      <a:pt x="370" y="196"/>
                    </a:lnTo>
                    <a:lnTo>
                      <a:pt x="367" y="202"/>
                    </a:lnTo>
                    <a:lnTo>
                      <a:pt x="364" y="203"/>
                    </a:lnTo>
                    <a:lnTo>
                      <a:pt x="363" y="203"/>
                    </a:lnTo>
                    <a:lnTo>
                      <a:pt x="363" y="203"/>
                    </a:lnTo>
                    <a:lnTo>
                      <a:pt x="360" y="205"/>
                    </a:lnTo>
                    <a:lnTo>
                      <a:pt x="358" y="206"/>
                    </a:lnTo>
                    <a:lnTo>
                      <a:pt x="357" y="212"/>
                    </a:lnTo>
                    <a:lnTo>
                      <a:pt x="358" y="218"/>
                    </a:lnTo>
                    <a:lnTo>
                      <a:pt x="360" y="220"/>
                    </a:lnTo>
                    <a:lnTo>
                      <a:pt x="361" y="220"/>
                    </a:lnTo>
                    <a:lnTo>
                      <a:pt x="361" y="220"/>
                    </a:lnTo>
                    <a:lnTo>
                      <a:pt x="363" y="220"/>
                    </a:lnTo>
                    <a:lnTo>
                      <a:pt x="364" y="219"/>
                    </a:lnTo>
                    <a:lnTo>
                      <a:pt x="367" y="215"/>
                    </a:lnTo>
                    <a:lnTo>
                      <a:pt x="370" y="210"/>
                    </a:lnTo>
                    <a:lnTo>
                      <a:pt x="373" y="208"/>
                    </a:lnTo>
                    <a:lnTo>
                      <a:pt x="373" y="208"/>
                    </a:lnTo>
                    <a:lnTo>
                      <a:pt x="374" y="210"/>
                    </a:lnTo>
                    <a:lnTo>
                      <a:pt x="375" y="218"/>
                    </a:lnTo>
                    <a:lnTo>
                      <a:pt x="380" y="239"/>
                    </a:lnTo>
                    <a:lnTo>
                      <a:pt x="380" y="239"/>
                    </a:lnTo>
                    <a:lnTo>
                      <a:pt x="381" y="237"/>
                    </a:lnTo>
                    <a:lnTo>
                      <a:pt x="381" y="237"/>
                    </a:lnTo>
                    <a:lnTo>
                      <a:pt x="382" y="237"/>
                    </a:lnTo>
                    <a:lnTo>
                      <a:pt x="384" y="236"/>
                    </a:lnTo>
                    <a:lnTo>
                      <a:pt x="384" y="230"/>
                    </a:lnTo>
                    <a:lnTo>
                      <a:pt x="384" y="225"/>
                    </a:lnTo>
                    <a:lnTo>
                      <a:pt x="385" y="220"/>
                    </a:lnTo>
                    <a:lnTo>
                      <a:pt x="385" y="220"/>
                    </a:lnTo>
                    <a:lnTo>
                      <a:pt x="387" y="216"/>
                    </a:lnTo>
                    <a:lnTo>
                      <a:pt x="388" y="212"/>
                    </a:lnTo>
                    <a:lnTo>
                      <a:pt x="388" y="206"/>
                    </a:lnTo>
                    <a:lnTo>
                      <a:pt x="390" y="205"/>
                    </a:lnTo>
                    <a:lnTo>
                      <a:pt x="390" y="205"/>
                    </a:lnTo>
                    <a:lnTo>
                      <a:pt x="397" y="206"/>
                    </a:lnTo>
                    <a:lnTo>
                      <a:pt x="400" y="206"/>
                    </a:lnTo>
                    <a:lnTo>
                      <a:pt x="401" y="206"/>
                    </a:lnTo>
                    <a:lnTo>
                      <a:pt x="401" y="205"/>
                    </a:lnTo>
                    <a:lnTo>
                      <a:pt x="401" y="205"/>
                    </a:lnTo>
                    <a:lnTo>
                      <a:pt x="402" y="202"/>
                    </a:lnTo>
                    <a:lnTo>
                      <a:pt x="405" y="196"/>
                    </a:lnTo>
                    <a:lnTo>
                      <a:pt x="407" y="191"/>
                    </a:lnTo>
                    <a:lnTo>
                      <a:pt x="407" y="186"/>
                    </a:lnTo>
                    <a:lnTo>
                      <a:pt x="407" y="186"/>
                    </a:lnTo>
                    <a:lnTo>
                      <a:pt x="408" y="182"/>
                    </a:lnTo>
                    <a:lnTo>
                      <a:pt x="410" y="176"/>
                    </a:lnTo>
                    <a:lnTo>
                      <a:pt x="411" y="172"/>
                    </a:lnTo>
                    <a:lnTo>
                      <a:pt x="412" y="166"/>
                    </a:lnTo>
                    <a:lnTo>
                      <a:pt x="412" y="166"/>
                    </a:lnTo>
                    <a:lnTo>
                      <a:pt x="412" y="162"/>
                    </a:lnTo>
                    <a:lnTo>
                      <a:pt x="415" y="159"/>
                    </a:lnTo>
                    <a:lnTo>
                      <a:pt x="422" y="154"/>
                    </a:lnTo>
                    <a:lnTo>
                      <a:pt x="422" y="154"/>
                    </a:lnTo>
                    <a:lnTo>
                      <a:pt x="431" y="148"/>
                    </a:lnTo>
                    <a:lnTo>
                      <a:pt x="434" y="146"/>
                    </a:lnTo>
                    <a:lnTo>
                      <a:pt x="435" y="146"/>
                    </a:lnTo>
                    <a:lnTo>
                      <a:pt x="435" y="148"/>
                    </a:lnTo>
                    <a:lnTo>
                      <a:pt x="435" y="148"/>
                    </a:lnTo>
                    <a:lnTo>
                      <a:pt x="438" y="149"/>
                    </a:lnTo>
                    <a:lnTo>
                      <a:pt x="441" y="151"/>
                    </a:lnTo>
                    <a:lnTo>
                      <a:pt x="444" y="151"/>
                    </a:lnTo>
                    <a:lnTo>
                      <a:pt x="444" y="149"/>
                    </a:lnTo>
                    <a:lnTo>
                      <a:pt x="442" y="148"/>
                    </a:lnTo>
                    <a:lnTo>
                      <a:pt x="442" y="148"/>
                    </a:lnTo>
                    <a:lnTo>
                      <a:pt x="441" y="144"/>
                    </a:lnTo>
                    <a:lnTo>
                      <a:pt x="439" y="141"/>
                    </a:lnTo>
                    <a:lnTo>
                      <a:pt x="439" y="138"/>
                    </a:lnTo>
                    <a:lnTo>
                      <a:pt x="441" y="136"/>
                    </a:lnTo>
                    <a:lnTo>
                      <a:pt x="441" y="136"/>
                    </a:lnTo>
                    <a:lnTo>
                      <a:pt x="444" y="135"/>
                    </a:lnTo>
                    <a:lnTo>
                      <a:pt x="444" y="132"/>
                    </a:lnTo>
                    <a:lnTo>
                      <a:pt x="445" y="129"/>
                    </a:lnTo>
                    <a:lnTo>
                      <a:pt x="445" y="129"/>
                    </a:lnTo>
                    <a:lnTo>
                      <a:pt x="441" y="128"/>
                    </a:lnTo>
                    <a:lnTo>
                      <a:pt x="438" y="127"/>
                    </a:lnTo>
                    <a:lnTo>
                      <a:pt x="435" y="125"/>
                    </a:lnTo>
                    <a:lnTo>
                      <a:pt x="435" y="125"/>
                    </a:lnTo>
                    <a:lnTo>
                      <a:pt x="432" y="119"/>
                    </a:lnTo>
                    <a:lnTo>
                      <a:pt x="431" y="117"/>
                    </a:lnTo>
                    <a:lnTo>
                      <a:pt x="429" y="114"/>
                    </a:lnTo>
                    <a:lnTo>
                      <a:pt x="429" y="114"/>
                    </a:lnTo>
                    <a:lnTo>
                      <a:pt x="428" y="112"/>
                    </a:lnTo>
                    <a:lnTo>
                      <a:pt x="427" y="112"/>
                    </a:lnTo>
                    <a:lnTo>
                      <a:pt x="421" y="115"/>
                    </a:lnTo>
                    <a:lnTo>
                      <a:pt x="421" y="115"/>
                    </a:lnTo>
                    <a:lnTo>
                      <a:pt x="418" y="115"/>
                    </a:lnTo>
                    <a:lnTo>
                      <a:pt x="414" y="115"/>
                    </a:lnTo>
                    <a:lnTo>
                      <a:pt x="408" y="114"/>
                    </a:lnTo>
                    <a:lnTo>
                      <a:pt x="402" y="115"/>
                    </a:lnTo>
                    <a:lnTo>
                      <a:pt x="402" y="115"/>
                    </a:lnTo>
                    <a:lnTo>
                      <a:pt x="397" y="119"/>
                    </a:lnTo>
                    <a:lnTo>
                      <a:pt x="394" y="122"/>
                    </a:lnTo>
                    <a:lnTo>
                      <a:pt x="391" y="124"/>
                    </a:lnTo>
                    <a:lnTo>
                      <a:pt x="388" y="125"/>
                    </a:lnTo>
                    <a:lnTo>
                      <a:pt x="388" y="125"/>
                    </a:lnTo>
                    <a:lnTo>
                      <a:pt x="387" y="125"/>
                    </a:lnTo>
                    <a:lnTo>
                      <a:pt x="385" y="127"/>
                    </a:lnTo>
                    <a:lnTo>
                      <a:pt x="382" y="131"/>
                    </a:lnTo>
                    <a:lnTo>
                      <a:pt x="382" y="131"/>
                    </a:lnTo>
                    <a:lnTo>
                      <a:pt x="378" y="135"/>
                    </a:lnTo>
                    <a:lnTo>
                      <a:pt x="374" y="138"/>
                    </a:lnTo>
                    <a:lnTo>
                      <a:pt x="374" y="138"/>
                    </a:lnTo>
                    <a:lnTo>
                      <a:pt x="370" y="139"/>
                    </a:lnTo>
                    <a:lnTo>
                      <a:pt x="367" y="141"/>
                    </a:lnTo>
                    <a:lnTo>
                      <a:pt x="367" y="141"/>
                    </a:lnTo>
                    <a:lnTo>
                      <a:pt x="368" y="146"/>
                    </a:lnTo>
                    <a:lnTo>
                      <a:pt x="368" y="151"/>
                    </a:lnTo>
                    <a:lnTo>
                      <a:pt x="368" y="155"/>
                    </a:lnTo>
                    <a:lnTo>
                      <a:pt x="368" y="155"/>
                    </a:lnTo>
                    <a:lnTo>
                      <a:pt x="365" y="156"/>
                    </a:lnTo>
                    <a:lnTo>
                      <a:pt x="361" y="156"/>
                    </a:lnTo>
                    <a:lnTo>
                      <a:pt x="357" y="156"/>
                    </a:lnTo>
                    <a:lnTo>
                      <a:pt x="353" y="156"/>
                    </a:lnTo>
                    <a:lnTo>
                      <a:pt x="353" y="156"/>
                    </a:lnTo>
                    <a:lnTo>
                      <a:pt x="347" y="158"/>
                    </a:lnTo>
                    <a:lnTo>
                      <a:pt x="344" y="156"/>
                    </a:lnTo>
                    <a:lnTo>
                      <a:pt x="341" y="155"/>
                    </a:lnTo>
                    <a:lnTo>
                      <a:pt x="337" y="155"/>
                    </a:lnTo>
                    <a:lnTo>
                      <a:pt x="337" y="155"/>
                    </a:lnTo>
                    <a:lnTo>
                      <a:pt x="334" y="155"/>
                    </a:lnTo>
                    <a:lnTo>
                      <a:pt x="331" y="155"/>
                    </a:lnTo>
                    <a:lnTo>
                      <a:pt x="328" y="154"/>
                    </a:lnTo>
                    <a:lnTo>
                      <a:pt x="326" y="154"/>
                    </a:lnTo>
                    <a:lnTo>
                      <a:pt x="326" y="154"/>
                    </a:lnTo>
                    <a:lnTo>
                      <a:pt x="324" y="152"/>
                    </a:lnTo>
                    <a:lnTo>
                      <a:pt x="323" y="149"/>
                    </a:lnTo>
                    <a:lnTo>
                      <a:pt x="321" y="146"/>
                    </a:lnTo>
                    <a:lnTo>
                      <a:pt x="321" y="142"/>
                    </a:lnTo>
                    <a:lnTo>
                      <a:pt x="321" y="142"/>
                    </a:lnTo>
                    <a:lnTo>
                      <a:pt x="321" y="138"/>
                    </a:lnTo>
                    <a:lnTo>
                      <a:pt x="320" y="135"/>
                    </a:lnTo>
                    <a:lnTo>
                      <a:pt x="318" y="132"/>
                    </a:lnTo>
                    <a:lnTo>
                      <a:pt x="316" y="134"/>
                    </a:lnTo>
                    <a:lnTo>
                      <a:pt x="316" y="134"/>
                    </a:lnTo>
                    <a:lnTo>
                      <a:pt x="314" y="136"/>
                    </a:lnTo>
                    <a:lnTo>
                      <a:pt x="311" y="136"/>
                    </a:lnTo>
                    <a:lnTo>
                      <a:pt x="310" y="138"/>
                    </a:lnTo>
                    <a:lnTo>
                      <a:pt x="310" y="142"/>
                    </a:lnTo>
                    <a:lnTo>
                      <a:pt x="310" y="142"/>
                    </a:lnTo>
                    <a:lnTo>
                      <a:pt x="311" y="151"/>
                    </a:lnTo>
                    <a:lnTo>
                      <a:pt x="311" y="155"/>
                    </a:lnTo>
                    <a:lnTo>
                      <a:pt x="309" y="158"/>
                    </a:lnTo>
                    <a:lnTo>
                      <a:pt x="309" y="158"/>
                    </a:lnTo>
                    <a:lnTo>
                      <a:pt x="304" y="161"/>
                    </a:lnTo>
                    <a:lnTo>
                      <a:pt x="296" y="162"/>
                    </a:lnTo>
                    <a:lnTo>
                      <a:pt x="287" y="162"/>
                    </a:lnTo>
                    <a:lnTo>
                      <a:pt x="281" y="161"/>
                    </a:lnTo>
                    <a:lnTo>
                      <a:pt x="281" y="161"/>
                    </a:lnTo>
                    <a:lnTo>
                      <a:pt x="277" y="158"/>
                    </a:lnTo>
                    <a:lnTo>
                      <a:pt x="270" y="156"/>
                    </a:lnTo>
                    <a:lnTo>
                      <a:pt x="263" y="155"/>
                    </a:lnTo>
                    <a:lnTo>
                      <a:pt x="260" y="152"/>
                    </a:lnTo>
                    <a:lnTo>
                      <a:pt x="260" y="152"/>
                    </a:lnTo>
                    <a:lnTo>
                      <a:pt x="257" y="146"/>
                    </a:lnTo>
                    <a:lnTo>
                      <a:pt x="254" y="145"/>
                    </a:lnTo>
                    <a:lnTo>
                      <a:pt x="252" y="144"/>
                    </a:lnTo>
                    <a:lnTo>
                      <a:pt x="252" y="144"/>
                    </a:lnTo>
                    <a:lnTo>
                      <a:pt x="243" y="145"/>
                    </a:lnTo>
                    <a:lnTo>
                      <a:pt x="239" y="146"/>
                    </a:lnTo>
                    <a:lnTo>
                      <a:pt x="236" y="146"/>
                    </a:lnTo>
                    <a:lnTo>
                      <a:pt x="236" y="146"/>
                    </a:lnTo>
                    <a:lnTo>
                      <a:pt x="230" y="142"/>
                    </a:lnTo>
                    <a:lnTo>
                      <a:pt x="226" y="139"/>
                    </a:lnTo>
                    <a:lnTo>
                      <a:pt x="223" y="138"/>
                    </a:lnTo>
                    <a:lnTo>
                      <a:pt x="223" y="138"/>
                    </a:lnTo>
                    <a:lnTo>
                      <a:pt x="216" y="136"/>
                    </a:lnTo>
                    <a:lnTo>
                      <a:pt x="213" y="134"/>
                    </a:lnTo>
                    <a:lnTo>
                      <a:pt x="210" y="132"/>
                    </a:lnTo>
                    <a:lnTo>
                      <a:pt x="210" y="132"/>
                    </a:lnTo>
                    <a:lnTo>
                      <a:pt x="209" y="131"/>
                    </a:lnTo>
                    <a:lnTo>
                      <a:pt x="205" y="129"/>
                    </a:lnTo>
                    <a:lnTo>
                      <a:pt x="200" y="128"/>
                    </a:lnTo>
                    <a:lnTo>
                      <a:pt x="199" y="125"/>
                    </a:lnTo>
                    <a:lnTo>
                      <a:pt x="199" y="125"/>
                    </a:lnTo>
                    <a:lnTo>
                      <a:pt x="196" y="124"/>
                    </a:lnTo>
                    <a:lnTo>
                      <a:pt x="193" y="122"/>
                    </a:lnTo>
                    <a:lnTo>
                      <a:pt x="190" y="121"/>
                    </a:lnTo>
                    <a:lnTo>
                      <a:pt x="190" y="119"/>
                    </a:lnTo>
                    <a:lnTo>
                      <a:pt x="190" y="119"/>
                    </a:lnTo>
                    <a:lnTo>
                      <a:pt x="192" y="114"/>
                    </a:lnTo>
                    <a:lnTo>
                      <a:pt x="193" y="107"/>
                    </a:lnTo>
                    <a:lnTo>
                      <a:pt x="193" y="107"/>
                    </a:lnTo>
                    <a:lnTo>
                      <a:pt x="193" y="105"/>
                    </a:lnTo>
                    <a:lnTo>
                      <a:pt x="196" y="102"/>
                    </a:lnTo>
                    <a:lnTo>
                      <a:pt x="199" y="99"/>
                    </a:lnTo>
                    <a:lnTo>
                      <a:pt x="200" y="97"/>
                    </a:lnTo>
                    <a:lnTo>
                      <a:pt x="200" y="97"/>
                    </a:lnTo>
                    <a:lnTo>
                      <a:pt x="199" y="95"/>
                    </a:lnTo>
                    <a:lnTo>
                      <a:pt x="196" y="92"/>
                    </a:lnTo>
                    <a:lnTo>
                      <a:pt x="193" y="90"/>
                    </a:lnTo>
                    <a:lnTo>
                      <a:pt x="193" y="90"/>
                    </a:lnTo>
                    <a:lnTo>
                      <a:pt x="190" y="87"/>
                    </a:lnTo>
                    <a:lnTo>
                      <a:pt x="188" y="84"/>
                    </a:lnTo>
                    <a:lnTo>
                      <a:pt x="183" y="82"/>
                    </a:lnTo>
                    <a:lnTo>
                      <a:pt x="183" y="82"/>
                    </a:lnTo>
                    <a:lnTo>
                      <a:pt x="180" y="81"/>
                    </a:lnTo>
                    <a:lnTo>
                      <a:pt x="176" y="78"/>
                    </a:lnTo>
                    <a:lnTo>
                      <a:pt x="173" y="74"/>
                    </a:lnTo>
                    <a:lnTo>
                      <a:pt x="171" y="72"/>
                    </a:lnTo>
                    <a:lnTo>
                      <a:pt x="171" y="72"/>
                    </a:lnTo>
                    <a:lnTo>
                      <a:pt x="168" y="71"/>
                    </a:lnTo>
                    <a:lnTo>
                      <a:pt x="166" y="67"/>
                    </a:lnTo>
                    <a:lnTo>
                      <a:pt x="166" y="63"/>
                    </a:lnTo>
                    <a:lnTo>
                      <a:pt x="165" y="60"/>
                    </a:lnTo>
                    <a:lnTo>
                      <a:pt x="165" y="60"/>
                    </a:lnTo>
                    <a:lnTo>
                      <a:pt x="163" y="57"/>
                    </a:lnTo>
                    <a:lnTo>
                      <a:pt x="163" y="54"/>
                    </a:lnTo>
                    <a:lnTo>
                      <a:pt x="166" y="53"/>
                    </a:lnTo>
                    <a:lnTo>
                      <a:pt x="169" y="53"/>
                    </a:lnTo>
                    <a:lnTo>
                      <a:pt x="169" y="53"/>
                    </a:lnTo>
                    <a:lnTo>
                      <a:pt x="172" y="54"/>
                    </a:lnTo>
                    <a:lnTo>
                      <a:pt x="176" y="54"/>
                    </a:lnTo>
                    <a:lnTo>
                      <a:pt x="179" y="51"/>
                    </a:lnTo>
                    <a:lnTo>
                      <a:pt x="179" y="50"/>
                    </a:lnTo>
                    <a:lnTo>
                      <a:pt x="178" y="47"/>
                    </a:lnTo>
                    <a:lnTo>
                      <a:pt x="178" y="47"/>
                    </a:lnTo>
                    <a:lnTo>
                      <a:pt x="172" y="40"/>
                    </a:lnTo>
                    <a:lnTo>
                      <a:pt x="171" y="35"/>
                    </a:lnTo>
                    <a:lnTo>
                      <a:pt x="169" y="33"/>
                    </a:lnTo>
                    <a:lnTo>
                      <a:pt x="169" y="33"/>
                    </a:lnTo>
                    <a:lnTo>
                      <a:pt x="171" y="26"/>
                    </a:lnTo>
                    <a:lnTo>
                      <a:pt x="171" y="21"/>
                    </a:lnTo>
                    <a:lnTo>
                      <a:pt x="171" y="20"/>
                    </a:lnTo>
                    <a:lnTo>
                      <a:pt x="169" y="18"/>
                    </a:lnTo>
                    <a:lnTo>
                      <a:pt x="169" y="18"/>
                    </a:lnTo>
                    <a:lnTo>
                      <a:pt x="162" y="13"/>
                    </a:lnTo>
                    <a:lnTo>
                      <a:pt x="161" y="10"/>
                    </a:lnTo>
                    <a:lnTo>
                      <a:pt x="159" y="7"/>
                    </a:lnTo>
                    <a:lnTo>
                      <a:pt x="159" y="7"/>
                    </a:lnTo>
                    <a:lnTo>
                      <a:pt x="158" y="4"/>
                    </a:lnTo>
                    <a:lnTo>
                      <a:pt x="155" y="1"/>
                    </a:lnTo>
                    <a:lnTo>
                      <a:pt x="153" y="0"/>
                    </a:lnTo>
                    <a:lnTo>
                      <a:pt x="146" y="0"/>
                    </a:lnTo>
                    <a:lnTo>
                      <a:pt x="146" y="0"/>
                    </a:lnTo>
                    <a:lnTo>
                      <a:pt x="145" y="6"/>
                    </a:lnTo>
                    <a:lnTo>
                      <a:pt x="142" y="10"/>
                    </a:lnTo>
                    <a:lnTo>
                      <a:pt x="141" y="11"/>
                    </a:lnTo>
                    <a:lnTo>
                      <a:pt x="141" y="11"/>
                    </a:lnTo>
                    <a:lnTo>
                      <a:pt x="134" y="14"/>
                    </a:lnTo>
                    <a:lnTo>
                      <a:pt x="124" y="18"/>
                    </a:lnTo>
                    <a:lnTo>
                      <a:pt x="124" y="18"/>
                    </a:lnTo>
                    <a:lnTo>
                      <a:pt x="122" y="18"/>
                    </a:lnTo>
                    <a:lnTo>
                      <a:pt x="119" y="18"/>
                    </a:lnTo>
                    <a:lnTo>
                      <a:pt x="114" y="17"/>
                    </a:lnTo>
                    <a:lnTo>
                      <a:pt x="106" y="14"/>
                    </a:lnTo>
                    <a:lnTo>
                      <a:pt x="101" y="14"/>
                    </a:lnTo>
                    <a:lnTo>
                      <a:pt x="101" y="14"/>
                    </a:lnTo>
                    <a:lnTo>
                      <a:pt x="95" y="14"/>
                    </a:lnTo>
                    <a:lnTo>
                      <a:pt x="92" y="17"/>
                    </a:lnTo>
                    <a:lnTo>
                      <a:pt x="91" y="20"/>
                    </a:lnTo>
                    <a:lnTo>
                      <a:pt x="92" y="23"/>
                    </a:lnTo>
                    <a:lnTo>
                      <a:pt x="92" y="23"/>
                    </a:lnTo>
                    <a:lnTo>
                      <a:pt x="94" y="26"/>
                    </a:lnTo>
                    <a:lnTo>
                      <a:pt x="95" y="31"/>
                    </a:lnTo>
                    <a:lnTo>
                      <a:pt x="95" y="38"/>
                    </a:lnTo>
                    <a:lnTo>
                      <a:pt x="95" y="38"/>
                    </a:lnTo>
                    <a:lnTo>
                      <a:pt x="97" y="45"/>
                    </a:lnTo>
                    <a:lnTo>
                      <a:pt x="101" y="51"/>
                    </a:lnTo>
                    <a:lnTo>
                      <a:pt x="102" y="53"/>
                    </a:lnTo>
                    <a:lnTo>
                      <a:pt x="104" y="53"/>
                    </a:lnTo>
                    <a:lnTo>
                      <a:pt x="104" y="53"/>
                    </a:lnTo>
                    <a:lnTo>
                      <a:pt x="108" y="53"/>
                    </a:lnTo>
                    <a:lnTo>
                      <a:pt x="112" y="55"/>
                    </a:lnTo>
                    <a:lnTo>
                      <a:pt x="114" y="58"/>
                    </a:lnTo>
                    <a:lnTo>
                      <a:pt x="114" y="60"/>
                    </a:lnTo>
                    <a:lnTo>
                      <a:pt x="112" y="60"/>
                    </a:lnTo>
                    <a:lnTo>
                      <a:pt x="112" y="60"/>
                    </a:lnTo>
                    <a:lnTo>
                      <a:pt x="108" y="61"/>
                    </a:lnTo>
                    <a:lnTo>
                      <a:pt x="106" y="64"/>
                    </a:lnTo>
                    <a:lnTo>
                      <a:pt x="104" y="68"/>
                    </a:lnTo>
                    <a:lnTo>
                      <a:pt x="104" y="72"/>
                    </a:lnTo>
                    <a:lnTo>
                      <a:pt x="104" y="72"/>
                    </a:lnTo>
                    <a:lnTo>
                      <a:pt x="104" y="80"/>
                    </a:lnTo>
                    <a:lnTo>
                      <a:pt x="102" y="82"/>
                    </a:lnTo>
                    <a:lnTo>
                      <a:pt x="101" y="84"/>
                    </a:lnTo>
                    <a:lnTo>
                      <a:pt x="101" y="84"/>
                    </a:lnTo>
                    <a:lnTo>
                      <a:pt x="98" y="84"/>
                    </a:lnTo>
                    <a:lnTo>
                      <a:pt x="95" y="85"/>
                    </a:lnTo>
                    <a:lnTo>
                      <a:pt x="94" y="88"/>
                    </a:lnTo>
                    <a:lnTo>
                      <a:pt x="92" y="92"/>
                    </a:lnTo>
                    <a:lnTo>
                      <a:pt x="92" y="92"/>
                    </a:lnTo>
                    <a:lnTo>
                      <a:pt x="92" y="95"/>
                    </a:lnTo>
                    <a:lnTo>
                      <a:pt x="91" y="97"/>
                    </a:lnTo>
                    <a:lnTo>
                      <a:pt x="88" y="98"/>
                    </a:lnTo>
                    <a:lnTo>
                      <a:pt x="85" y="99"/>
                    </a:lnTo>
                    <a:lnTo>
                      <a:pt x="84" y="101"/>
                    </a:lnTo>
                    <a:lnTo>
                      <a:pt x="84" y="101"/>
                    </a:lnTo>
                    <a:lnTo>
                      <a:pt x="81" y="109"/>
                    </a:lnTo>
                    <a:lnTo>
                      <a:pt x="77" y="118"/>
                    </a:lnTo>
                    <a:lnTo>
                      <a:pt x="77" y="118"/>
                    </a:lnTo>
                    <a:lnTo>
                      <a:pt x="70" y="121"/>
                    </a:lnTo>
                    <a:lnTo>
                      <a:pt x="65" y="122"/>
                    </a:lnTo>
                    <a:lnTo>
                      <a:pt x="64" y="124"/>
                    </a:lnTo>
                    <a:lnTo>
                      <a:pt x="64" y="125"/>
                    </a:lnTo>
                    <a:lnTo>
                      <a:pt x="64" y="125"/>
                    </a:lnTo>
                    <a:lnTo>
                      <a:pt x="62" y="129"/>
                    </a:lnTo>
                    <a:lnTo>
                      <a:pt x="60" y="134"/>
                    </a:lnTo>
                    <a:lnTo>
                      <a:pt x="57" y="136"/>
                    </a:lnTo>
                    <a:lnTo>
                      <a:pt x="55" y="138"/>
                    </a:lnTo>
                    <a:lnTo>
                      <a:pt x="55" y="138"/>
                    </a:lnTo>
                    <a:lnTo>
                      <a:pt x="48" y="136"/>
                    </a:lnTo>
                    <a:lnTo>
                      <a:pt x="45" y="136"/>
                    </a:lnTo>
                    <a:lnTo>
                      <a:pt x="44" y="138"/>
                    </a:lnTo>
                    <a:lnTo>
                      <a:pt x="44" y="138"/>
                    </a:lnTo>
                    <a:lnTo>
                      <a:pt x="42" y="139"/>
                    </a:lnTo>
                    <a:lnTo>
                      <a:pt x="41" y="139"/>
                    </a:lnTo>
                    <a:lnTo>
                      <a:pt x="38" y="138"/>
                    </a:lnTo>
                    <a:lnTo>
                      <a:pt x="34" y="136"/>
                    </a:lnTo>
                    <a:lnTo>
                      <a:pt x="33" y="136"/>
                    </a:lnTo>
                    <a:lnTo>
                      <a:pt x="33" y="136"/>
                    </a:lnTo>
                    <a:lnTo>
                      <a:pt x="25" y="144"/>
                    </a:lnTo>
                    <a:lnTo>
                      <a:pt x="21" y="148"/>
                    </a:lnTo>
                    <a:lnTo>
                      <a:pt x="20" y="152"/>
                    </a:lnTo>
                    <a:lnTo>
                      <a:pt x="20" y="152"/>
                    </a:lnTo>
                    <a:lnTo>
                      <a:pt x="20" y="154"/>
                    </a:lnTo>
                    <a:lnTo>
                      <a:pt x="21" y="155"/>
                    </a:lnTo>
                    <a:lnTo>
                      <a:pt x="25" y="158"/>
                    </a:lnTo>
                    <a:lnTo>
                      <a:pt x="28" y="159"/>
                    </a:lnTo>
                    <a:lnTo>
                      <a:pt x="30" y="162"/>
                    </a:lnTo>
                    <a:lnTo>
                      <a:pt x="30" y="164"/>
                    </a:lnTo>
                    <a:lnTo>
                      <a:pt x="30" y="164"/>
                    </a:lnTo>
                    <a:lnTo>
                      <a:pt x="30" y="168"/>
                    </a:lnTo>
                    <a:lnTo>
                      <a:pt x="33" y="173"/>
                    </a:lnTo>
                    <a:lnTo>
                      <a:pt x="37" y="181"/>
                    </a:lnTo>
                    <a:lnTo>
                      <a:pt x="37" y="181"/>
                    </a:lnTo>
                    <a:lnTo>
                      <a:pt x="42" y="188"/>
                    </a:lnTo>
                    <a:lnTo>
                      <a:pt x="44" y="192"/>
                    </a:lnTo>
                    <a:lnTo>
                      <a:pt x="42" y="195"/>
                    </a:lnTo>
                    <a:lnTo>
                      <a:pt x="42" y="195"/>
                    </a:lnTo>
                    <a:lnTo>
                      <a:pt x="41" y="198"/>
                    </a:lnTo>
                    <a:lnTo>
                      <a:pt x="38" y="198"/>
                    </a:lnTo>
                    <a:lnTo>
                      <a:pt x="31" y="198"/>
                    </a:lnTo>
                    <a:lnTo>
                      <a:pt x="31" y="198"/>
                    </a:lnTo>
                    <a:lnTo>
                      <a:pt x="27" y="198"/>
                    </a:lnTo>
                    <a:lnTo>
                      <a:pt x="24" y="199"/>
                    </a:lnTo>
                    <a:lnTo>
                      <a:pt x="21" y="199"/>
                    </a:lnTo>
                    <a:lnTo>
                      <a:pt x="15" y="199"/>
                    </a:lnTo>
                    <a:lnTo>
                      <a:pt x="15" y="199"/>
                    </a:lnTo>
                    <a:lnTo>
                      <a:pt x="10" y="199"/>
                    </a:lnTo>
                    <a:lnTo>
                      <a:pt x="5" y="200"/>
                    </a:lnTo>
                    <a:lnTo>
                      <a:pt x="1" y="209"/>
                    </a:lnTo>
                    <a:lnTo>
                      <a:pt x="1" y="209"/>
                    </a:lnTo>
                    <a:lnTo>
                      <a:pt x="0" y="210"/>
                    </a:lnTo>
                    <a:lnTo>
                      <a:pt x="0" y="210"/>
                    </a:lnTo>
                    <a:lnTo>
                      <a:pt x="5" y="216"/>
                    </a:lnTo>
                    <a:lnTo>
                      <a:pt x="10" y="220"/>
                    </a:lnTo>
                    <a:lnTo>
                      <a:pt x="14" y="223"/>
                    </a:lnTo>
                    <a:lnTo>
                      <a:pt x="14" y="223"/>
                    </a:lnTo>
                    <a:lnTo>
                      <a:pt x="18" y="225"/>
                    </a:lnTo>
                    <a:lnTo>
                      <a:pt x="21" y="225"/>
                    </a:lnTo>
                    <a:lnTo>
                      <a:pt x="27" y="223"/>
                    </a:lnTo>
                    <a:lnTo>
                      <a:pt x="31" y="222"/>
                    </a:lnTo>
                    <a:lnTo>
                      <a:pt x="31" y="222"/>
                    </a:lnTo>
                    <a:lnTo>
                      <a:pt x="33" y="225"/>
                    </a:lnTo>
                    <a:lnTo>
                      <a:pt x="33" y="225"/>
                    </a:lnTo>
                    <a:lnTo>
                      <a:pt x="31" y="226"/>
                    </a:lnTo>
                    <a:lnTo>
                      <a:pt x="28" y="228"/>
                    </a:lnTo>
                    <a:lnTo>
                      <a:pt x="21" y="230"/>
                    </a:lnTo>
                    <a:lnTo>
                      <a:pt x="14" y="230"/>
                    </a:lnTo>
                    <a:lnTo>
                      <a:pt x="10" y="232"/>
                    </a:lnTo>
                    <a:lnTo>
                      <a:pt x="10" y="232"/>
                    </a:lnTo>
                    <a:lnTo>
                      <a:pt x="13" y="237"/>
                    </a:lnTo>
                    <a:lnTo>
                      <a:pt x="23" y="247"/>
                    </a:lnTo>
                    <a:lnTo>
                      <a:pt x="34" y="256"/>
                    </a:lnTo>
                    <a:lnTo>
                      <a:pt x="40" y="259"/>
                    </a:lnTo>
                    <a:lnTo>
                      <a:pt x="44" y="260"/>
                    </a:lnTo>
                    <a:lnTo>
                      <a:pt x="44" y="260"/>
                    </a:lnTo>
                    <a:lnTo>
                      <a:pt x="48" y="259"/>
                    </a:lnTo>
                    <a:lnTo>
                      <a:pt x="52" y="256"/>
                    </a:lnTo>
                    <a:lnTo>
                      <a:pt x="58" y="252"/>
                    </a:lnTo>
                    <a:lnTo>
                      <a:pt x="61" y="246"/>
                    </a:lnTo>
                    <a:lnTo>
                      <a:pt x="61" y="245"/>
                    </a:lnTo>
                    <a:lnTo>
                      <a:pt x="61" y="243"/>
                    </a:lnTo>
                    <a:lnTo>
                      <a:pt x="61" y="243"/>
                    </a:lnTo>
                    <a:lnTo>
                      <a:pt x="60" y="240"/>
                    </a:lnTo>
                    <a:lnTo>
                      <a:pt x="61" y="237"/>
                    </a:lnTo>
                    <a:lnTo>
                      <a:pt x="64" y="235"/>
                    </a:lnTo>
                    <a:lnTo>
                      <a:pt x="65" y="235"/>
                    </a:lnTo>
                    <a:lnTo>
                      <a:pt x="65" y="235"/>
                    </a:lnTo>
                    <a:lnTo>
                      <a:pt x="67" y="237"/>
                    </a:lnTo>
                    <a:lnTo>
                      <a:pt x="68" y="243"/>
                    </a:lnTo>
                    <a:lnTo>
                      <a:pt x="68" y="247"/>
                    </a:lnTo>
                    <a:lnTo>
                      <a:pt x="70" y="252"/>
                    </a:lnTo>
                    <a:lnTo>
                      <a:pt x="70" y="252"/>
                    </a:lnTo>
                    <a:lnTo>
                      <a:pt x="71" y="255"/>
                    </a:lnTo>
                    <a:lnTo>
                      <a:pt x="72" y="257"/>
                    </a:lnTo>
                    <a:lnTo>
                      <a:pt x="70" y="266"/>
                    </a:lnTo>
                    <a:lnTo>
                      <a:pt x="70" y="266"/>
                    </a:lnTo>
                    <a:lnTo>
                      <a:pt x="70" y="272"/>
                    </a:lnTo>
                    <a:lnTo>
                      <a:pt x="70" y="279"/>
                    </a:lnTo>
                    <a:lnTo>
                      <a:pt x="72" y="293"/>
                    </a:lnTo>
                    <a:lnTo>
                      <a:pt x="72" y="293"/>
                    </a:lnTo>
                    <a:lnTo>
                      <a:pt x="77" y="306"/>
                    </a:lnTo>
                    <a:lnTo>
                      <a:pt x="81" y="321"/>
                    </a:lnTo>
                    <a:lnTo>
                      <a:pt x="81" y="321"/>
                    </a:lnTo>
                    <a:lnTo>
                      <a:pt x="82" y="331"/>
                    </a:lnTo>
                    <a:lnTo>
                      <a:pt x="87" y="343"/>
                    </a:lnTo>
                    <a:lnTo>
                      <a:pt x="91" y="354"/>
                    </a:lnTo>
                    <a:lnTo>
                      <a:pt x="95" y="366"/>
                    </a:lnTo>
                    <a:lnTo>
                      <a:pt x="95" y="366"/>
                    </a:lnTo>
                    <a:lnTo>
                      <a:pt x="99" y="375"/>
                    </a:lnTo>
                    <a:lnTo>
                      <a:pt x="104" y="388"/>
                    </a:lnTo>
                    <a:lnTo>
                      <a:pt x="108" y="400"/>
                    </a:lnTo>
                    <a:lnTo>
                      <a:pt x="111" y="407"/>
                    </a:lnTo>
                    <a:lnTo>
                      <a:pt x="111" y="407"/>
                    </a:lnTo>
                    <a:lnTo>
                      <a:pt x="119" y="421"/>
                    </a:lnTo>
                    <a:lnTo>
                      <a:pt x="124" y="431"/>
                    </a:lnTo>
                    <a:lnTo>
                      <a:pt x="126" y="439"/>
                    </a:lnTo>
                    <a:lnTo>
                      <a:pt x="126" y="439"/>
                    </a:lnTo>
                    <a:lnTo>
                      <a:pt x="126" y="444"/>
                    </a:lnTo>
                    <a:lnTo>
                      <a:pt x="128" y="448"/>
                    </a:lnTo>
                    <a:lnTo>
                      <a:pt x="132" y="457"/>
                    </a:lnTo>
                    <a:lnTo>
                      <a:pt x="138" y="464"/>
                    </a:lnTo>
                    <a:lnTo>
                      <a:pt x="142" y="468"/>
                    </a:lnTo>
                    <a:lnTo>
                      <a:pt x="142" y="468"/>
                    </a:lnTo>
                    <a:lnTo>
                      <a:pt x="145" y="469"/>
                    </a:lnTo>
                    <a:lnTo>
                      <a:pt x="149" y="467"/>
                    </a:lnTo>
                    <a:lnTo>
                      <a:pt x="153" y="464"/>
                    </a:lnTo>
                    <a:lnTo>
                      <a:pt x="156" y="458"/>
                    </a:lnTo>
                    <a:lnTo>
                      <a:pt x="156" y="458"/>
                    </a:lnTo>
                    <a:lnTo>
                      <a:pt x="159" y="454"/>
                    </a:lnTo>
                    <a:lnTo>
                      <a:pt x="165" y="451"/>
                    </a:lnTo>
                    <a:lnTo>
                      <a:pt x="169" y="448"/>
                    </a:lnTo>
                    <a:lnTo>
                      <a:pt x="171" y="445"/>
                    </a:lnTo>
                    <a:lnTo>
                      <a:pt x="172" y="444"/>
                    </a:lnTo>
                    <a:lnTo>
                      <a:pt x="172" y="444"/>
                    </a:lnTo>
                    <a:lnTo>
                      <a:pt x="173" y="437"/>
                    </a:lnTo>
                    <a:lnTo>
                      <a:pt x="175" y="434"/>
                    </a:lnTo>
                    <a:lnTo>
                      <a:pt x="178" y="432"/>
                    </a:lnTo>
                    <a:lnTo>
                      <a:pt x="178" y="432"/>
                    </a:lnTo>
                    <a:lnTo>
                      <a:pt x="180" y="431"/>
                    </a:lnTo>
                    <a:lnTo>
                      <a:pt x="182" y="430"/>
                    </a:lnTo>
                    <a:lnTo>
                      <a:pt x="182" y="421"/>
                    </a:lnTo>
                    <a:lnTo>
                      <a:pt x="182" y="421"/>
                    </a:lnTo>
                    <a:lnTo>
                      <a:pt x="183" y="411"/>
                    </a:lnTo>
                    <a:lnTo>
                      <a:pt x="185" y="405"/>
                    </a:lnTo>
                    <a:lnTo>
                      <a:pt x="186" y="401"/>
                    </a:lnTo>
                    <a:lnTo>
                      <a:pt x="186" y="401"/>
                    </a:lnTo>
                    <a:lnTo>
                      <a:pt x="189" y="395"/>
                    </a:lnTo>
                    <a:lnTo>
                      <a:pt x="190" y="388"/>
                    </a:lnTo>
                    <a:lnTo>
                      <a:pt x="190" y="381"/>
                    </a:lnTo>
                    <a:lnTo>
                      <a:pt x="189" y="375"/>
                    </a:lnTo>
                    <a:lnTo>
                      <a:pt x="189" y="375"/>
                    </a:lnTo>
                    <a:lnTo>
                      <a:pt x="188" y="370"/>
                    </a:lnTo>
                    <a:lnTo>
                      <a:pt x="188" y="366"/>
                    </a:lnTo>
                    <a:lnTo>
                      <a:pt x="190" y="354"/>
                    </a:lnTo>
                    <a:lnTo>
                      <a:pt x="190" y="354"/>
                    </a:lnTo>
                    <a:lnTo>
                      <a:pt x="192" y="346"/>
                    </a:lnTo>
                    <a:lnTo>
                      <a:pt x="193" y="343"/>
                    </a:lnTo>
                    <a:lnTo>
                      <a:pt x="196" y="341"/>
                    </a:lnTo>
                    <a:lnTo>
                      <a:pt x="196" y="341"/>
                    </a:lnTo>
                    <a:lnTo>
                      <a:pt x="200" y="340"/>
                    </a:lnTo>
                    <a:lnTo>
                      <a:pt x="205" y="338"/>
                    </a:lnTo>
                    <a:lnTo>
                      <a:pt x="208" y="334"/>
                    </a:lnTo>
                    <a:lnTo>
                      <a:pt x="212" y="330"/>
                    </a:lnTo>
                    <a:lnTo>
                      <a:pt x="212" y="330"/>
                    </a:lnTo>
                    <a:lnTo>
                      <a:pt x="217" y="326"/>
                    </a:lnTo>
                    <a:lnTo>
                      <a:pt x="225" y="320"/>
                    </a:lnTo>
                    <a:lnTo>
                      <a:pt x="236" y="311"/>
                    </a:lnTo>
                    <a:lnTo>
                      <a:pt x="236" y="311"/>
                    </a:lnTo>
                    <a:lnTo>
                      <a:pt x="250" y="300"/>
                    </a:lnTo>
                    <a:lnTo>
                      <a:pt x="257" y="292"/>
                    </a:lnTo>
                    <a:lnTo>
                      <a:pt x="263" y="284"/>
                    </a:lnTo>
                    <a:lnTo>
                      <a:pt x="263" y="284"/>
                    </a:lnTo>
                    <a:lnTo>
                      <a:pt x="267" y="280"/>
                    </a:lnTo>
                    <a:lnTo>
                      <a:pt x="274" y="276"/>
                    </a:lnTo>
                    <a:lnTo>
                      <a:pt x="281" y="273"/>
                    </a:lnTo>
                    <a:lnTo>
                      <a:pt x="287" y="269"/>
                    </a:lnTo>
                    <a:lnTo>
                      <a:pt x="287" y="269"/>
                    </a:lnTo>
                    <a:lnTo>
                      <a:pt x="290" y="265"/>
                    </a:lnTo>
                    <a:lnTo>
                      <a:pt x="291" y="260"/>
                    </a:lnTo>
                    <a:lnTo>
                      <a:pt x="291" y="252"/>
                    </a:lnTo>
                    <a:lnTo>
                      <a:pt x="291" y="252"/>
                    </a:lnTo>
                    <a:lnTo>
                      <a:pt x="293" y="249"/>
                    </a:lnTo>
                    <a:lnTo>
                      <a:pt x="296" y="247"/>
                    </a:lnTo>
                    <a:lnTo>
                      <a:pt x="304" y="245"/>
                    </a:lnTo>
                    <a:lnTo>
                      <a:pt x="313" y="242"/>
                    </a:lnTo>
                    <a:lnTo>
                      <a:pt x="320" y="242"/>
                    </a:lnTo>
                    <a:lnTo>
                      <a:pt x="320" y="242"/>
                    </a:lnTo>
                    <a:lnTo>
                      <a:pt x="324" y="242"/>
                    </a:lnTo>
                    <a:lnTo>
                      <a:pt x="324" y="242"/>
                    </a:lnTo>
                    <a:lnTo>
                      <a:pt x="324" y="233"/>
                    </a:lnTo>
                    <a:lnTo>
                      <a:pt x="323" y="225"/>
                    </a:lnTo>
                    <a:lnTo>
                      <a:pt x="318" y="212"/>
                    </a:lnTo>
                    <a:lnTo>
                      <a:pt x="318" y="21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4" name="South Korea">
                <a:extLst>
                  <a:ext uri="{FF2B5EF4-FFF2-40B4-BE49-F238E27FC236}">
                    <a16:creationId xmlns:a16="http://schemas.microsoft.com/office/drawing/2014/main" id="{A7D6F805-58D1-7445-AC8C-1B68AC1DFCFE}"/>
                  </a:ext>
                </a:extLst>
              </p:cNvPr>
              <p:cNvSpPr>
                <a:spLocks/>
              </p:cNvSpPr>
              <p:nvPr/>
            </p:nvSpPr>
            <p:spPr bwMode="auto">
              <a:xfrm>
                <a:off x="7297761" y="3347880"/>
                <a:ext cx="81389" cy="109504"/>
              </a:xfrm>
              <a:custGeom>
                <a:avLst/>
                <a:gdLst/>
                <a:ahLst/>
                <a:cxnLst>
                  <a:cxn ang="0">
                    <a:pos x="11" y="6"/>
                  </a:cxn>
                  <a:cxn ang="0">
                    <a:pos x="11" y="6"/>
                  </a:cxn>
                  <a:cxn ang="0">
                    <a:pos x="1" y="13"/>
                  </a:cxn>
                  <a:cxn ang="0">
                    <a:pos x="1" y="13"/>
                  </a:cxn>
                  <a:cxn ang="0">
                    <a:pos x="4" y="18"/>
                  </a:cxn>
                  <a:cxn ang="0">
                    <a:pos x="4" y="21"/>
                  </a:cxn>
                  <a:cxn ang="0">
                    <a:pos x="7" y="21"/>
                  </a:cxn>
                  <a:cxn ang="0">
                    <a:pos x="7" y="21"/>
                  </a:cxn>
                  <a:cxn ang="0">
                    <a:pos x="9" y="23"/>
                  </a:cxn>
                  <a:cxn ang="0">
                    <a:pos x="9" y="25"/>
                  </a:cxn>
                  <a:cxn ang="0">
                    <a:pos x="8" y="28"/>
                  </a:cxn>
                  <a:cxn ang="0">
                    <a:pos x="5" y="28"/>
                  </a:cxn>
                  <a:cxn ang="0">
                    <a:pos x="5" y="28"/>
                  </a:cxn>
                  <a:cxn ang="0">
                    <a:pos x="4" y="28"/>
                  </a:cxn>
                  <a:cxn ang="0">
                    <a:pos x="2" y="30"/>
                  </a:cxn>
                  <a:cxn ang="0">
                    <a:pos x="1" y="33"/>
                  </a:cxn>
                  <a:cxn ang="0">
                    <a:pos x="2" y="38"/>
                  </a:cxn>
                  <a:cxn ang="0">
                    <a:pos x="5" y="44"/>
                  </a:cxn>
                  <a:cxn ang="0">
                    <a:pos x="5" y="44"/>
                  </a:cxn>
                  <a:cxn ang="0">
                    <a:pos x="5" y="47"/>
                  </a:cxn>
                  <a:cxn ang="0">
                    <a:pos x="5" y="50"/>
                  </a:cxn>
                  <a:cxn ang="0">
                    <a:pos x="2" y="54"/>
                  </a:cxn>
                  <a:cxn ang="0">
                    <a:pos x="0" y="60"/>
                  </a:cxn>
                  <a:cxn ang="0">
                    <a:pos x="0" y="61"/>
                  </a:cxn>
                  <a:cxn ang="0">
                    <a:pos x="0" y="62"/>
                  </a:cxn>
                  <a:cxn ang="0">
                    <a:pos x="0" y="62"/>
                  </a:cxn>
                  <a:cxn ang="0">
                    <a:pos x="1" y="65"/>
                  </a:cxn>
                  <a:cxn ang="0">
                    <a:pos x="1" y="68"/>
                  </a:cxn>
                  <a:cxn ang="0">
                    <a:pos x="1" y="71"/>
                  </a:cxn>
                  <a:cxn ang="0">
                    <a:pos x="2" y="74"/>
                  </a:cxn>
                  <a:cxn ang="0">
                    <a:pos x="2" y="74"/>
                  </a:cxn>
                  <a:cxn ang="0">
                    <a:pos x="7" y="74"/>
                  </a:cxn>
                  <a:cxn ang="0">
                    <a:pos x="15" y="72"/>
                  </a:cxn>
                  <a:cxn ang="0">
                    <a:pos x="24" y="70"/>
                  </a:cxn>
                  <a:cxn ang="0">
                    <a:pos x="29" y="67"/>
                  </a:cxn>
                  <a:cxn ang="0">
                    <a:pos x="32" y="64"/>
                  </a:cxn>
                  <a:cxn ang="0">
                    <a:pos x="32" y="64"/>
                  </a:cxn>
                  <a:cxn ang="0">
                    <a:pos x="38" y="58"/>
                  </a:cxn>
                  <a:cxn ang="0">
                    <a:pos x="42" y="57"/>
                  </a:cxn>
                  <a:cxn ang="0">
                    <a:pos x="45" y="57"/>
                  </a:cxn>
                  <a:cxn ang="0">
                    <a:pos x="48" y="57"/>
                  </a:cxn>
                  <a:cxn ang="0">
                    <a:pos x="48" y="57"/>
                  </a:cxn>
                  <a:cxn ang="0">
                    <a:pos x="51" y="57"/>
                  </a:cxn>
                  <a:cxn ang="0">
                    <a:pos x="54" y="55"/>
                  </a:cxn>
                  <a:cxn ang="0">
                    <a:pos x="55" y="52"/>
                  </a:cxn>
                  <a:cxn ang="0">
                    <a:pos x="55" y="50"/>
                  </a:cxn>
                  <a:cxn ang="0">
                    <a:pos x="55" y="50"/>
                  </a:cxn>
                  <a:cxn ang="0">
                    <a:pos x="54" y="47"/>
                  </a:cxn>
                  <a:cxn ang="0">
                    <a:pos x="52" y="41"/>
                  </a:cxn>
                  <a:cxn ang="0">
                    <a:pos x="51" y="34"/>
                  </a:cxn>
                  <a:cxn ang="0">
                    <a:pos x="51" y="27"/>
                  </a:cxn>
                  <a:cxn ang="0">
                    <a:pos x="51" y="27"/>
                  </a:cxn>
                  <a:cxn ang="0">
                    <a:pos x="49" y="21"/>
                  </a:cxn>
                  <a:cxn ang="0">
                    <a:pos x="45" y="14"/>
                  </a:cxn>
                  <a:cxn ang="0">
                    <a:pos x="34" y="0"/>
                  </a:cxn>
                  <a:cxn ang="0">
                    <a:pos x="34" y="0"/>
                  </a:cxn>
                  <a:cxn ang="0">
                    <a:pos x="29" y="3"/>
                  </a:cxn>
                  <a:cxn ang="0">
                    <a:pos x="25" y="3"/>
                  </a:cxn>
                  <a:cxn ang="0">
                    <a:pos x="25" y="3"/>
                  </a:cxn>
                  <a:cxn ang="0">
                    <a:pos x="17" y="4"/>
                  </a:cxn>
                  <a:cxn ang="0">
                    <a:pos x="14" y="4"/>
                  </a:cxn>
                  <a:cxn ang="0">
                    <a:pos x="11" y="6"/>
                  </a:cxn>
                  <a:cxn ang="0">
                    <a:pos x="11" y="6"/>
                  </a:cxn>
                </a:cxnLst>
                <a:rect l="0" t="0" r="r" b="b"/>
                <a:pathLst>
                  <a:path w="55" h="74">
                    <a:moveTo>
                      <a:pt x="11" y="6"/>
                    </a:moveTo>
                    <a:lnTo>
                      <a:pt x="11" y="6"/>
                    </a:lnTo>
                    <a:lnTo>
                      <a:pt x="1" y="13"/>
                    </a:lnTo>
                    <a:lnTo>
                      <a:pt x="1" y="13"/>
                    </a:lnTo>
                    <a:lnTo>
                      <a:pt x="4" y="18"/>
                    </a:lnTo>
                    <a:lnTo>
                      <a:pt x="4" y="21"/>
                    </a:lnTo>
                    <a:lnTo>
                      <a:pt x="7" y="21"/>
                    </a:lnTo>
                    <a:lnTo>
                      <a:pt x="7" y="21"/>
                    </a:lnTo>
                    <a:lnTo>
                      <a:pt x="9" y="23"/>
                    </a:lnTo>
                    <a:lnTo>
                      <a:pt x="9" y="25"/>
                    </a:lnTo>
                    <a:lnTo>
                      <a:pt x="8" y="28"/>
                    </a:lnTo>
                    <a:lnTo>
                      <a:pt x="5" y="28"/>
                    </a:lnTo>
                    <a:lnTo>
                      <a:pt x="5" y="28"/>
                    </a:lnTo>
                    <a:lnTo>
                      <a:pt x="4" y="28"/>
                    </a:lnTo>
                    <a:lnTo>
                      <a:pt x="2" y="30"/>
                    </a:lnTo>
                    <a:lnTo>
                      <a:pt x="1" y="33"/>
                    </a:lnTo>
                    <a:lnTo>
                      <a:pt x="2" y="38"/>
                    </a:lnTo>
                    <a:lnTo>
                      <a:pt x="5" y="44"/>
                    </a:lnTo>
                    <a:lnTo>
                      <a:pt x="5" y="44"/>
                    </a:lnTo>
                    <a:lnTo>
                      <a:pt x="5" y="47"/>
                    </a:lnTo>
                    <a:lnTo>
                      <a:pt x="5" y="50"/>
                    </a:lnTo>
                    <a:lnTo>
                      <a:pt x="2" y="54"/>
                    </a:lnTo>
                    <a:lnTo>
                      <a:pt x="0" y="60"/>
                    </a:lnTo>
                    <a:lnTo>
                      <a:pt x="0" y="61"/>
                    </a:lnTo>
                    <a:lnTo>
                      <a:pt x="0" y="62"/>
                    </a:lnTo>
                    <a:lnTo>
                      <a:pt x="0" y="62"/>
                    </a:lnTo>
                    <a:lnTo>
                      <a:pt x="1" y="65"/>
                    </a:lnTo>
                    <a:lnTo>
                      <a:pt x="1" y="68"/>
                    </a:lnTo>
                    <a:lnTo>
                      <a:pt x="1" y="71"/>
                    </a:lnTo>
                    <a:lnTo>
                      <a:pt x="2" y="74"/>
                    </a:lnTo>
                    <a:lnTo>
                      <a:pt x="2" y="74"/>
                    </a:lnTo>
                    <a:lnTo>
                      <a:pt x="7" y="74"/>
                    </a:lnTo>
                    <a:lnTo>
                      <a:pt x="15" y="72"/>
                    </a:lnTo>
                    <a:lnTo>
                      <a:pt x="24" y="70"/>
                    </a:lnTo>
                    <a:lnTo>
                      <a:pt x="29" y="67"/>
                    </a:lnTo>
                    <a:lnTo>
                      <a:pt x="32" y="64"/>
                    </a:lnTo>
                    <a:lnTo>
                      <a:pt x="32" y="64"/>
                    </a:lnTo>
                    <a:lnTo>
                      <a:pt x="38" y="58"/>
                    </a:lnTo>
                    <a:lnTo>
                      <a:pt x="42" y="57"/>
                    </a:lnTo>
                    <a:lnTo>
                      <a:pt x="45" y="57"/>
                    </a:lnTo>
                    <a:lnTo>
                      <a:pt x="48" y="57"/>
                    </a:lnTo>
                    <a:lnTo>
                      <a:pt x="48" y="57"/>
                    </a:lnTo>
                    <a:lnTo>
                      <a:pt x="51" y="57"/>
                    </a:lnTo>
                    <a:lnTo>
                      <a:pt x="54" y="55"/>
                    </a:lnTo>
                    <a:lnTo>
                      <a:pt x="55" y="52"/>
                    </a:lnTo>
                    <a:lnTo>
                      <a:pt x="55" y="50"/>
                    </a:lnTo>
                    <a:lnTo>
                      <a:pt x="55" y="50"/>
                    </a:lnTo>
                    <a:lnTo>
                      <a:pt x="54" y="47"/>
                    </a:lnTo>
                    <a:lnTo>
                      <a:pt x="52" y="41"/>
                    </a:lnTo>
                    <a:lnTo>
                      <a:pt x="51" y="34"/>
                    </a:lnTo>
                    <a:lnTo>
                      <a:pt x="51" y="27"/>
                    </a:lnTo>
                    <a:lnTo>
                      <a:pt x="51" y="27"/>
                    </a:lnTo>
                    <a:lnTo>
                      <a:pt x="49" y="21"/>
                    </a:lnTo>
                    <a:lnTo>
                      <a:pt x="45" y="14"/>
                    </a:lnTo>
                    <a:lnTo>
                      <a:pt x="34" y="0"/>
                    </a:lnTo>
                    <a:lnTo>
                      <a:pt x="34" y="0"/>
                    </a:lnTo>
                    <a:lnTo>
                      <a:pt x="29" y="3"/>
                    </a:lnTo>
                    <a:lnTo>
                      <a:pt x="25" y="3"/>
                    </a:lnTo>
                    <a:lnTo>
                      <a:pt x="25" y="3"/>
                    </a:lnTo>
                    <a:lnTo>
                      <a:pt x="17" y="4"/>
                    </a:lnTo>
                    <a:lnTo>
                      <a:pt x="14" y="4"/>
                    </a:lnTo>
                    <a:lnTo>
                      <a:pt x="11" y="6"/>
                    </a:lnTo>
                    <a:lnTo>
                      <a:pt x="11" y="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95" name="Japan">
                <a:extLst>
                  <a:ext uri="{FF2B5EF4-FFF2-40B4-BE49-F238E27FC236}">
                    <a16:creationId xmlns:a16="http://schemas.microsoft.com/office/drawing/2014/main" id="{4EB128BB-6A4B-3448-A75A-722832FC4F65}"/>
                  </a:ext>
                </a:extLst>
              </p:cNvPr>
              <p:cNvSpPr>
                <a:spLocks noEditPoints="1"/>
              </p:cNvSpPr>
              <p:nvPr/>
            </p:nvSpPr>
            <p:spPr bwMode="auto">
              <a:xfrm>
                <a:off x="7377670" y="3148110"/>
                <a:ext cx="401022" cy="399542"/>
              </a:xfrm>
              <a:custGeom>
                <a:avLst/>
                <a:gdLst/>
                <a:ahLst/>
                <a:cxnLst>
                  <a:cxn ang="0">
                    <a:pos x="246" y="28"/>
                  </a:cxn>
                  <a:cxn ang="0">
                    <a:pos x="213" y="11"/>
                  </a:cxn>
                  <a:cxn ang="0">
                    <a:pos x="196" y="1"/>
                  </a:cxn>
                  <a:cxn ang="0">
                    <a:pos x="197" y="13"/>
                  </a:cxn>
                  <a:cxn ang="0">
                    <a:pos x="192" y="34"/>
                  </a:cxn>
                  <a:cxn ang="0">
                    <a:pos x="186" y="44"/>
                  </a:cxn>
                  <a:cxn ang="0">
                    <a:pos x="170" y="55"/>
                  </a:cxn>
                  <a:cxn ang="0">
                    <a:pos x="167" y="64"/>
                  </a:cxn>
                  <a:cxn ang="0">
                    <a:pos x="169" y="78"/>
                  </a:cxn>
                  <a:cxn ang="0">
                    <a:pos x="185" y="71"/>
                  </a:cxn>
                  <a:cxn ang="0">
                    <a:pos x="175" y="61"/>
                  </a:cxn>
                  <a:cxn ang="0">
                    <a:pos x="183" y="58"/>
                  </a:cxn>
                  <a:cxn ang="0">
                    <a:pos x="212" y="64"/>
                  </a:cxn>
                  <a:cxn ang="0">
                    <a:pos x="223" y="59"/>
                  </a:cxn>
                  <a:cxn ang="0">
                    <a:pos x="246" y="49"/>
                  </a:cxn>
                  <a:cxn ang="0">
                    <a:pos x="254" y="40"/>
                  </a:cxn>
                  <a:cxn ang="0">
                    <a:pos x="271" y="21"/>
                  </a:cxn>
                  <a:cxn ang="0">
                    <a:pos x="257" y="25"/>
                  </a:cxn>
                  <a:cxn ang="0">
                    <a:pos x="165" y="108"/>
                  </a:cxn>
                  <a:cxn ang="0">
                    <a:pos x="165" y="121"/>
                  </a:cxn>
                  <a:cxn ang="0">
                    <a:pos x="157" y="139"/>
                  </a:cxn>
                  <a:cxn ang="0">
                    <a:pos x="143" y="155"/>
                  </a:cxn>
                  <a:cxn ang="0">
                    <a:pos x="125" y="162"/>
                  </a:cxn>
                  <a:cxn ang="0">
                    <a:pos x="118" y="156"/>
                  </a:cxn>
                  <a:cxn ang="0">
                    <a:pos x="111" y="175"/>
                  </a:cxn>
                  <a:cxn ang="0">
                    <a:pos x="102" y="186"/>
                  </a:cxn>
                  <a:cxn ang="0">
                    <a:pos x="92" y="187"/>
                  </a:cxn>
                  <a:cxn ang="0">
                    <a:pos x="68" y="190"/>
                  </a:cxn>
                  <a:cxn ang="0">
                    <a:pos x="49" y="192"/>
                  </a:cxn>
                  <a:cxn ang="0">
                    <a:pos x="19" y="212"/>
                  </a:cxn>
                  <a:cxn ang="0">
                    <a:pos x="29" y="217"/>
                  </a:cxn>
                  <a:cxn ang="0">
                    <a:pos x="58" y="209"/>
                  </a:cxn>
                  <a:cxn ang="0">
                    <a:pos x="91" y="207"/>
                  </a:cxn>
                  <a:cxn ang="0">
                    <a:pos x="91" y="223"/>
                  </a:cxn>
                  <a:cxn ang="0">
                    <a:pos x="115" y="210"/>
                  </a:cxn>
                  <a:cxn ang="0">
                    <a:pos x="118" y="205"/>
                  </a:cxn>
                  <a:cxn ang="0">
                    <a:pos x="139" y="203"/>
                  </a:cxn>
                  <a:cxn ang="0">
                    <a:pos x="150" y="205"/>
                  </a:cxn>
                  <a:cxn ang="0">
                    <a:pos x="160" y="195"/>
                  </a:cxn>
                  <a:cxn ang="0">
                    <a:pos x="175" y="193"/>
                  </a:cxn>
                  <a:cxn ang="0">
                    <a:pos x="179" y="170"/>
                  </a:cxn>
                  <a:cxn ang="0">
                    <a:pos x="183" y="145"/>
                  </a:cxn>
                  <a:cxn ang="0">
                    <a:pos x="199" y="125"/>
                  </a:cxn>
                  <a:cxn ang="0">
                    <a:pos x="189" y="82"/>
                  </a:cxn>
                  <a:cxn ang="0">
                    <a:pos x="65" y="215"/>
                  </a:cxn>
                  <a:cxn ang="0">
                    <a:pos x="45" y="222"/>
                  </a:cxn>
                  <a:cxn ang="0">
                    <a:pos x="51" y="240"/>
                  </a:cxn>
                  <a:cxn ang="0">
                    <a:pos x="62" y="230"/>
                  </a:cxn>
                  <a:cxn ang="0">
                    <a:pos x="78" y="226"/>
                  </a:cxn>
                  <a:cxn ang="0">
                    <a:pos x="74" y="210"/>
                  </a:cxn>
                  <a:cxn ang="0">
                    <a:pos x="32" y="233"/>
                  </a:cxn>
                  <a:cxn ang="0">
                    <a:pos x="22" y="224"/>
                  </a:cxn>
                  <a:cxn ang="0">
                    <a:pos x="7" y="227"/>
                  </a:cxn>
                  <a:cxn ang="0">
                    <a:pos x="5" y="240"/>
                  </a:cxn>
                  <a:cxn ang="0">
                    <a:pos x="12" y="237"/>
                  </a:cxn>
                  <a:cxn ang="0">
                    <a:pos x="14" y="269"/>
                  </a:cxn>
                  <a:cxn ang="0">
                    <a:pos x="27" y="260"/>
                  </a:cxn>
                  <a:cxn ang="0">
                    <a:pos x="37" y="236"/>
                  </a:cxn>
                </a:cxnLst>
                <a:rect l="0" t="0" r="r" b="b"/>
                <a:pathLst>
                  <a:path w="271" h="270">
                    <a:moveTo>
                      <a:pt x="257" y="25"/>
                    </a:moveTo>
                    <a:lnTo>
                      <a:pt x="257" y="25"/>
                    </a:lnTo>
                    <a:lnTo>
                      <a:pt x="256" y="24"/>
                    </a:lnTo>
                    <a:lnTo>
                      <a:pt x="254" y="24"/>
                    </a:lnTo>
                    <a:lnTo>
                      <a:pt x="250" y="25"/>
                    </a:lnTo>
                    <a:lnTo>
                      <a:pt x="246" y="28"/>
                    </a:lnTo>
                    <a:lnTo>
                      <a:pt x="241" y="30"/>
                    </a:lnTo>
                    <a:lnTo>
                      <a:pt x="241" y="30"/>
                    </a:lnTo>
                    <a:lnTo>
                      <a:pt x="237" y="30"/>
                    </a:lnTo>
                    <a:lnTo>
                      <a:pt x="233" y="27"/>
                    </a:lnTo>
                    <a:lnTo>
                      <a:pt x="223" y="21"/>
                    </a:lnTo>
                    <a:lnTo>
                      <a:pt x="213" y="11"/>
                    </a:lnTo>
                    <a:lnTo>
                      <a:pt x="206" y="4"/>
                    </a:lnTo>
                    <a:lnTo>
                      <a:pt x="206" y="4"/>
                    </a:lnTo>
                    <a:lnTo>
                      <a:pt x="203" y="1"/>
                    </a:lnTo>
                    <a:lnTo>
                      <a:pt x="202" y="0"/>
                    </a:lnTo>
                    <a:lnTo>
                      <a:pt x="199" y="0"/>
                    </a:lnTo>
                    <a:lnTo>
                      <a:pt x="196" y="1"/>
                    </a:lnTo>
                    <a:lnTo>
                      <a:pt x="194" y="3"/>
                    </a:lnTo>
                    <a:lnTo>
                      <a:pt x="194" y="4"/>
                    </a:lnTo>
                    <a:lnTo>
                      <a:pt x="194" y="7"/>
                    </a:lnTo>
                    <a:lnTo>
                      <a:pt x="196" y="8"/>
                    </a:lnTo>
                    <a:lnTo>
                      <a:pt x="196" y="8"/>
                    </a:lnTo>
                    <a:lnTo>
                      <a:pt x="197" y="13"/>
                    </a:lnTo>
                    <a:lnTo>
                      <a:pt x="196" y="15"/>
                    </a:lnTo>
                    <a:lnTo>
                      <a:pt x="194" y="20"/>
                    </a:lnTo>
                    <a:lnTo>
                      <a:pt x="194" y="25"/>
                    </a:lnTo>
                    <a:lnTo>
                      <a:pt x="194" y="25"/>
                    </a:lnTo>
                    <a:lnTo>
                      <a:pt x="193" y="30"/>
                    </a:lnTo>
                    <a:lnTo>
                      <a:pt x="192" y="34"/>
                    </a:lnTo>
                    <a:lnTo>
                      <a:pt x="190" y="37"/>
                    </a:lnTo>
                    <a:lnTo>
                      <a:pt x="190" y="40"/>
                    </a:lnTo>
                    <a:lnTo>
                      <a:pt x="190" y="40"/>
                    </a:lnTo>
                    <a:lnTo>
                      <a:pt x="189" y="41"/>
                    </a:lnTo>
                    <a:lnTo>
                      <a:pt x="189" y="42"/>
                    </a:lnTo>
                    <a:lnTo>
                      <a:pt x="186" y="44"/>
                    </a:lnTo>
                    <a:lnTo>
                      <a:pt x="176" y="45"/>
                    </a:lnTo>
                    <a:lnTo>
                      <a:pt x="176" y="45"/>
                    </a:lnTo>
                    <a:lnTo>
                      <a:pt x="173" y="47"/>
                    </a:lnTo>
                    <a:lnTo>
                      <a:pt x="173" y="49"/>
                    </a:lnTo>
                    <a:lnTo>
                      <a:pt x="173" y="52"/>
                    </a:lnTo>
                    <a:lnTo>
                      <a:pt x="170" y="55"/>
                    </a:lnTo>
                    <a:lnTo>
                      <a:pt x="170" y="55"/>
                    </a:lnTo>
                    <a:lnTo>
                      <a:pt x="166" y="57"/>
                    </a:lnTo>
                    <a:lnTo>
                      <a:pt x="165" y="59"/>
                    </a:lnTo>
                    <a:lnTo>
                      <a:pt x="166" y="62"/>
                    </a:lnTo>
                    <a:lnTo>
                      <a:pt x="167" y="64"/>
                    </a:lnTo>
                    <a:lnTo>
                      <a:pt x="167" y="64"/>
                    </a:lnTo>
                    <a:lnTo>
                      <a:pt x="169" y="67"/>
                    </a:lnTo>
                    <a:lnTo>
                      <a:pt x="169" y="69"/>
                    </a:lnTo>
                    <a:lnTo>
                      <a:pt x="167" y="77"/>
                    </a:lnTo>
                    <a:lnTo>
                      <a:pt x="167" y="77"/>
                    </a:lnTo>
                    <a:lnTo>
                      <a:pt x="167" y="78"/>
                    </a:lnTo>
                    <a:lnTo>
                      <a:pt x="169" y="78"/>
                    </a:lnTo>
                    <a:lnTo>
                      <a:pt x="176" y="74"/>
                    </a:lnTo>
                    <a:lnTo>
                      <a:pt x="176" y="74"/>
                    </a:lnTo>
                    <a:lnTo>
                      <a:pt x="177" y="72"/>
                    </a:lnTo>
                    <a:lnTo>
                      <a:pt x="180" y="72"/>
                    </a:lnTo>
                    <a:lnTo>
                      <a:pt x="183" y="72"/>
                    </a:lnTo>
                    <a:lnTo>
                      <a:pt x="185" y="71"/>
                    </a:lnTo>
                    <a:lnTo>
                      <a:pt x="185" y="71"/>
                    </a:lnTo>
                    <a:lnTo>
                      <a:pt x="183" y="69"/>
                    </a:lnTo>
                    <a:lnTo>
                      <a:pt x="183" y="68"/>
                    </a:lnTo>
                    <a:lnTo>
                      <a:pt x="179" y="65"/>
                    </a:lnTo>
                    <a:lnTo>
                      <a:pt x="176" y="62"/>
                    </a:lnTo>
                    <a:lnTo>
                      <a:pt x="175" y="61"/>
                    </a:lnTo>
                    <a:lnTo>
                      <a:pt x="175" y="59"/>
                    </a:lnTo>
                    <a:lnTo>
                      <a:pt x="175" y="59"/>
                    </a:lnTo>
                    <a:lnTo>
                      <a:pt x="175" y="58"/>
                    </a:lnTo>
                    <a:lnTo>
                      <a:pt x="176" y="58"/>
                    </a:lnTo>
                    <a:lnTo>
                      <a:pt x="179" y="58"/>
                    </a:lnTo>
                    <a:lnTo>
                      <a:pt x="183" y="58"/>
                    </a:lnTo>
                    <a:lnTo>
                      <a:pt x="187" y="58"/>
                    </a:lnTo>
                    <a:lnTo>
                      <a:pt x="187" y="58"/>
                    </a:lnTo>
                    <a:lnTo>
                      <a:pt x="193" y="57"/>
                    </a:lnTo>
                    <a:lnTo>
                      <a:pt x="199" y="58"/>
                    </a:lnTo>
                    <a:lnTo>
                      <a:pt x="206" y="59"/>
                    </a:lnTo>
                    <a:lnTo>
                      <a:pt x="212" y="64"/>
                    </a:lnTo>
                    <a:lnTo>
                      <a:pt x="212" y="64"/>
                    </a:lnTo>
                    <a:lnTo>
                      <a:pt x="216" y="67"/>
                    </a:lnTo>
                    <a:lnTo>
                      <a:pt x="219" y="67"/>
                    </a:lnTo>
                    <a:lnTo>
                      <a:pt x="222" y="65"/>
                    </a:lnTo>
                    <a:lnTo>
                      <a:pt x="223" y="59"/>
                    </a:lnTo>
                    <a:lnTo>
                      <a:pt x="223" y="59"/>
                    </a:lnTo>
                    <a:lnTo>
                      <a:pt x="223" y="57"/>
                    </a:lnTo>
                    <a:lnTo>
                      <a:pt x="224" y="55"/>
                    </a:lnTo>
                    <a:lnTo>
                      <a:pt x="230" y="51"/>
                    </a:lnTo>
                    <a:lnTo>
                      <a:pt x="237" y="49"/>
                    </a:lnTo>
                    <a:lnTo>
                      <a:pt x="246" y="49"/>
                    </a:lnTo>
                    <a:lnTo>
                      <a:pt x="246" y="49"/>
                    </a:lnTo>
                    <a:lnTo>
                      <a:pt x="251" y="48"/>
                    </a:lnTo>
                    <a:lnTo>
                      <a:pt x="256" y="47"/>
                    </a:lnTo>
                    <a:lnTo>
                      <a:pt x="256" y="44"/>
                    </a:lnTo>
                    <a:lnTo>
                      <a:pt x="254" y="41"/>
                    </a:lnTo>
                    <a:lnTo>
                      <a:pt x="254" y="41"/>
                    </a:lnTo>
                    <a:lnTo>
                      <a:pt x="254" y="40"/>
                    </a:lnTo>
                    <a:lnTo>
                      <a:pt x="256" y="38"/>
                    </a:lnTo>
                    <a:lnTo>
                      <a:pt x="261" y="32"/>
                    </a:lnTo>
                    <a:lnTo>
                      <a:pt x="268" y="25"/>
                    </a:lnTo>
                    <a:lnTo>
                      <a:pt x="271" y="24"/>
                    </a:lnTo>
                    <a:lnTo>
                      <a:pt x="271" y="21"/>
                    </a:lnTo>
                    <a:lnTo>
                      <a:pt x="271" y="21"/>
                    </a:lnTo>
                    <a:lnTo>
                      <a:pt x="271" y="21"/>
                    </a:lnTo>
                    <a:lnTo>
                      <a:pt x="270" y="21"/>
                    </a:lnTo>
                    <a:lnTo>
                      <a:pt x="266" y="24"/>
                    </a:lnTo>
                    <a:lnTo>
                      <a:pt x="260" y="27"/>
                    </a:lnTo>
                    <a:lnTo>
                      <a:pt x="258" y="27"/>
                    </a:lnTo>
                    <a:lnTo>
                      <a:pt x="257" y="25"/>
                    </a:lnTo>
                    <a:lnTo>
                      <a:pt x="257" y="25"/>
                    </a:lnTo>
                    <a:close/>
                    <a:moveTo>
                      <a:pt x="170" y="91"/>
                    </a:moveTo>
                    <a:lnTo>
                      <a:pt x="170" y="91"/>
                    </a:lnTo>
                    <a:lnTo>
                      <a:pt x="166" y="95"/>
                    </a:lnTo>
                    <a:lnTo>
                      <a:pt x="165" y="101"/>
                    </a:lnTo>
                    <a:lnTo>
                      <a:pt x="165" y="108"/>
                    </a:lnTo>
                    <a:lnTo>
                      <a:pt x="165" y="109"/>
                    </a:lnTo>
                    <a:lnTo>
                      <a:pt x="167" y="112"/>
                    </a:lnTo>
                    <a:lnTo>
                      <a:pt x="167" y="112"/>
                    </a:lnTo>
                    <a:lnTo>
                      <a:pt x="167" y="114"/>
                    </a:lnTo>
                    <a:lnTo>
                      <a:pt x="167" y="116"/>
                    </a:lnTo>
                    <a:lnTo>
                      <a:pt x="165" y="121"/>
                    </a:lnTo>
                    <a:lnTo>
                      <a:pt x="160" y="126"/>
                    </a:lnTo>
                    <a:lnTo>
                      <a:pt x="159" y="131"/>
                    </a:lnTo>
                    <a:lnTo>
                      <a:pt x="159" y="133"/>
                    </a:lnTo>
                    <a:lnTo>
                      <a:pt x="159" y="133"/>
                    </a:lnTo>
                    <a:lnTo>
                      <a:pt x="159" y="136"/>
                    </a:lnTo>
                    <a:lnTo>
                      <a:pt x="157" y="139"/>
                    </a:lnTo>
                    <a:lnTo>
                      <a:pt x="155" y="142"/>
                    </a:lnTo>
                    <a:lnTo>
                      <a:pt x="150" y="145"/>
                    </a:lnTo>
                    <a:lnTo>
                      <a:pt x="149" y="149"/>
                    </a:lnTo>
                    <a:lnTo>
                      <a:pt x="149" y="149"/>
                    </a:lnTo>
                    <a:lnTo>
                      <a:pt x="148" y="153"/>
                    </a:lnTo>
                    <a:lnTo>
                      <a:pt x="143" y="155"/>
                    </a:lnTo>
                    <a:lnTo>
                      <a:pt x="139" y="156"/>
                    </a:lnTo>
                    <a:lnTo>
                      <a:pt x="135" y="160"/>
                    </a:lnTo>
                    <a:lnTo>
                      <a:pt x="135" y="160"/>
                    </a:lnTo>
                    <a:lnTo>
                      <a:pt x="132" y="162"/>
                    </a:lnTo>
                    <a:lnTo>
                      <a:pt x="129" y="163"/>
                    </a:lnTo>
                    <a:lnTo>
                      <a:pt x="125" y="162"/>
                    </a:lnTo>
                    <a:lnTo>
                      <a:pt x="123" y="159"/>
                    </a:lnTo>
                    <a:lnTo>
                      <a:pt x="123" y="155"/>
                    </a:lnTo>
                    <a:lnTo>
                      <a:pt x="123" y="155"/>
                    </a:lnTo>
                    <a:lnTo>
                      <a:pt x="123" y="153"/>
                    </a:lnTo>
                    <a:lnTo>
                      <a:pt x="122" y="153"/>
                    </a:lnTo>
                    <a:lnTo>
                      <a:pt x="118" y="156"/>
                    </a:lnTo>
                    <a:lnTo>
                      <a:pt x="113" y="160"/>
                    </a:lnTo>
                    <a:lnTo>
                      <a:pt x="112" y="165"/>
                    </a:lnTo>
                    <a:lnTo>
                      <a:pt x="112" y="168"/>
                    </a:lnTo>
                    <a:lnTo>
                      <a:pt x="112" y="168"/>
                    </a:lnTo>
                    <a:lnTo>
                      <a:pt x="112" y="172"/>
                    </a:lnTo>
                    <a:lnTo>
                      <a:pt x="111" y="175"/>
                    </a:lnTo>
                    <a:lnTo>
                      <a:pt x="106" y="178"/>
                    </a:lnTo>
                    <a:lnTo>
                      <a:pt x="102" y="180"/>
                    </a:lnTo>
                    <a:lnTo>
                      <a:pt x="101" y="182"/>
                    </a:lnTo>
                    <a:lnTo>
                      <a:pt x="102" y="185"/>
                    </a:lnTo>
                    <a:lnTo>
                      <a:pt x="102" y="185"/>
                    </a:lnTo>
                    <a:lnTo>
                      <a:pt x="102" y="186"/>
                    </a:lnTo>
                    <a:lnTo>
                      <a:pt x="102" y="187"/>
                    </a:lnTo>
                    <a:lnTo>
                      <a:pt x="98" y="189"/>
                    </a:lnTo>
                    <a:lnTo>
                      <a:pt x="93" y="189"/>
                    </a:lnTo>
                    <a:lnTo>
                      <a:pt x="92" y="189"/>
                    </a:lnTo>
                    <a:lnTo>
                      <a:pt x="92" y="187"/>
                    </a:lnTo>
                    <a:lnTo>
                      <a:pt x="92" y="187"/>
                    </a:lnTo>
                    <a:lnTo>
                      <a:pt x="92" y="186"/>
                    </a:lnTo>
                    <a:lnTo>
                      <a:pt x="91" y="185"/>
                    </a:lnTo>
                    <a:lnTo>
                      <a:pt x="86" y="185"/>
                    </a:lnTo>
                    <a:lnTo>
                      <a:pt x="72" y="190"/>
                    </a:lnTo>
                    <a:lnTo>
                      <a:pt x="72" y="190"/>
                    </a:lnTo>
                    <a:lnTo>
                      <a:pt x="68" y="190"/>
                    </a:lnTo>
                    <a:lnTo>
                      <a:pt x="65" y="190"/>
                    </a:lnTo>
                    <a:lnTo>
                      <a:pt x="59" y="190"/>
                    </a:lnTo>
                    <a:lnTo>
                      <a:pt x="54" y="189"/>
                    </a:lnTo>
                    <a:lnTo>
                      <a:pt x="51" y="189"/>
                    </a:lnTo>
                    <a:lnTo>
                      <a:pt x="49" y="192"/>
                    </a:lnTo>
                    <a:lnTo>
                      <a:pt x="49" y="192"/>
                    </a:lnTo>
                    <a:lnTo>
                      <a:pt x="37" y="202"/>
                    </a:lnTo>
                    <a:lnTo>
                      <a:pt x="31" y="207"/>
                    </a:lnTo>
                    <a:lnTo>
                      <a:pt x="24" y="210"/>
                    </a:lnTo>
                    <a:lnTo>
                      <a:pt x="24" y="210"/>
                    </a:lnTo>
                    <a:lnTo>
                      <a:pt x="21" y="210"/>
                    </a:lnTo>
                    <a:lnTo>
                      <a:pt x="19" y="212"/>
                    </a:lnTo>
                    <a:lnTo>
                      <a:pt x="19" y="216"/>
                    </a:lnTo>
                    <a:lnTo>
                      <a:pt x="21" y="219"/>
                    </a:lnTo>
                    <a:lnTo>
                      <a:pt x="22" y="219"/>
                    </a:lnTo>
                    <a:lnTo>
                      <a:pt x="24" y="219"/>
                    </a:lnTo>
                    <a:lnTo>
                      <a:pt x="24" y="219"/>
                    </a:lnTo>
                    <a:lnTo>
                      <a:pt x="29" y="217"/>
                    </a:lnTo>
                    <a:lnTo>
                      <a:pt x="34" y="217"/>
                    </a:lnTo>
                    <a:lnTo>
                      <a:pt x="38" y="217"/>
                    </a:lnTo>
                    <a:lnTo>
                      <a:pt x="42" y="215"/>
                    </a:lnTo>
                    <a:lnTo>
                      <a:pt x="42" y="215"/>
                    </a:lnTo>
                    <a:lnTo>
                      <a:pt x="47" y="212"/>
                    </a:lnTo>
                    <a:lnTo>
                      <a:pt x="58" y="209"/>
                    </a:lnTo>
                    <a:lnTo>
                      <a:pt x="69" y="206"/>
                    </a:lnTo>
                    <a:lnTo>
                      <a:pt x="82" y="205"/>
                    </a:lnTo>
                    <a:lnTo>
                      <a:pt x="82" y="205"/>
                    </a:lnTo>
                    <a:lnTo>
                      <a:pt x="86" y="205"/>
                    </a:lnTo>
                    <a:lnTo>
                      <a:pt x="89" y="206"/>
                    </a:lnTo>
                    <a:lnTo>
                      <a:pt x="91" y="207"/>
                    </a:lnTo>
                    <a:lnTo>
                      <a:pt x="91" y="209"/>
                    </a:lnTo>
                    <a:lnTo>
                      <a:pt x="89" y="213"/>
                    </a:lnTo>
                    <a:lnTo>
                      <a:pt x="89" y="219"/>
                    </a:lnTo>
                    <a:lnTo>
                      <a:pt x="89" y="219"/>
                    </a:lnTo>
                    <a:lnTo>
                      <a:pt x="89" y="222"/>
                    </a:lnTo>
                    <a:lnTo>
                      <a:pt x="91" y="223"/>
                    </a:lnTo>
                    <a:lnTo>
                      <a:pt x="96" y="224"/>
                    </a:lnTo>
                    <a:lnTo>
                      <a:pt x="102" y="223"/>
                    </a:lnTo>
                    <a:lnTo>
                      <a:pt x="108" y="219"/>
                    </a:lnTo>
                    <a:lnTo>
                      <a:pt x="108" y="219"/>
                    </a:lnTo>
                    <a:lnTo>
                      <a:pt x="115" y="212"/>
                    </a:lnTo>
                    <a:lnTo>
                      <a:pt x="115" y="210"/>
                    </a:lnTo>
                    <a:lnTo>
                      <a:pt x="113" y="207"/>
                    </a:lnTo>
                    <a:lnTo>
                      <a:pt x="113" y="207"/>
                    </a:lnTo>
                    <a:lnTo>
                      <a:pt x="111" y="205"/>
                    </a:lnTo>
                    <a:lnTo>
                      <a:pt x="112" y="202"/>
                    </a:lnTo>
                    <a:lnTo>
                      <a:pt x="115" y="202"/>
                    </a:lnTo>
                    <a:lnTo>
                      <a:pt x="118" y="205"/>
                    </a:lnTo>
                    <a:lnTo>
                      <a:pt x="118" y="205"/>
                    </a:lnTo>
                    <a:lnTo>
                      <a:pt x="122" y="209"/>
                    </a:lnTo>
                    <a:lnTo>
                      <a:pt x="128" y="209"/>
                    </a:lnTo>
                    <a:lnTo>
                      <a:pt x="133" y="207"/>
                    </a:lnTo>
                    <a:lnTo>
                      <a:pt x="136" y="206"/>
                    </a:lnTo>
                    <a:lnTo>
                      <a:pt x="139" y="203"/>
                    </a:lnTo>
                    <a:lnTo>
                      <a:pt x="139" y="203"/>
                    </a:lnTo>
                    <a:lnTo>
                      <a:pt x="142" y="200"/>
                    </a:lnTo>
                    <a:lnTo>
                      <a:pt x="143" y="202"/>
                    </a:lnTo>
                    <a:lnTo>
                      <a:pt x="146" y="203"/>
                    </a:lnTo>
                    <a:lnTo>
                      <a:pt x="150" y="205"/>
                    </a:lnTo>
                    <a:lnTo>
                      <a:pt x="150" y="205"/>
                    </a:lnTo>
                    <a:lnTo>
                      <a:pt x="152" y="203"/>
                    </a:lnTo>
                    <a:lnTo>
                      <a:pt x="155" y="202"/>
                    </a:lnTo>
                    <a:lnTo>
                      <a:pt x="157" y="197"/>
                    </a:lnTo>
                    <a:lnTo>
                      <a:pt x="159" y="195"/>
                    </a:lnTo>
                    <a:lnTo>
                      <a:pt x="159" y="193"/>
                    </a:lnTo>
                    <a:lnTo>
                      <a:pt x="160" y="195"/>
                    </a:lnTo>
                    <a:lnTo>
                      <a:pt x="160" y="195"/>
                    </a:lnTo>
                    <a:lnTo>
                      <a:pt x="160" y="196"/>
                    </a:lnTo>
                    <a:lnTo>
                      <a:pt x="162" y="197"/>
                    </a:lnTo>
                    <a:lnTo>
                      <a:pt x="165" y="197"/>
                    </a:lnTo>
                    <a:lnTo>
                      <a:pt x="170" y="196"/>
                    </a:lnTo>
                    <a:lnTo>
                      <a:pt x="175" y="193"/>
                    </a:lnTo>
                    <a:lnTo>
                      <a:pt x="175" y="193"/>
                    </a:lnTo>
                    <a:lnTo>
                      <a:pt x="176" y="190"/>
                    </a:lnTo>
                    <a:lnTo>
                      <a:pt x="177" y="187"/>
                    </a:lnTo>
                    <a:lnTo>
                      <a:pt x="177" y="180"/>
                    </a:lnTo>
                    <a:lnTo>
                      <a:pt x="177" y="175"/>
                    </a:lnTo>
                    <a:lnTo>
                      <a:pt x="179" y="170"/>
                    </a:lnTo>
                    <a:lnTo>
                      <a:pt x="179" y="170"/>
                    </a:lnTo>
                    <a:lnTo>
                      <a:pt x="182" y="165"/>
                    </a:lnTo>
                    <a:lnTo>
                      <a:pt x="185" y="158"/>
                    </a:lnTo>
                    <a:lnTo>
                      <a:pt x="185" y="152"/>
                    </a:lnTo>
                    <a:lnTo>
                      <a:pt x="183" y="145"/>
                    </a:lnTo>
                    <a:lnTo>
                      <a:pt x="183" y="145"/>
                    </a:lnTo>
                    <a:lnTo>
                      <a:pt x="182" y="142"/>
                    </a:lnTo>
                    <a:lnTo>
                      <a:pt x="183" y="141"/>
                    </a:lnTo>
                    <a:lnTo>
                      <a:pt x="186" y="136"/>
                    </a:lnTo>
                    <a:lnTo>
                      <a:pt x="197" y="128"/>
                    </a:lnTo>
                    <a:lnTo>
                      <a:pt x="197" y="128"/>
                    </a:lnTo>
                    <a:lnTo>
                      <a:pt x="199" y="125"/>
                    </a:lnTo>
                    <a:lnTo>
                      <a:pt x="199" y="119"/>
                    </a:lnTo>
                    <a:lnTo>
                      <a:pt x="196" y="108"/>
                    </a:lnTo>
                    <a:lnTo>
                      <a:pt x="192" y="95"/>
                    </a:lnTo>
                    <a:lnTo>
                      <a:pt x="190" y="85"/>
                    </a:lnTo>
                    <a:lnTo>
                      <a:pt x="190" y="85"/>
                    </a:lnTo>
                    <a:lnTo>
                      <a:pt x="189" y="82"/>
                    </a:lnTo>
                    <a:lnTo>
                      <a:pt x="187" y="82"/>
                    </a:lnTo>
                    <a:lnTo>
                      <a:pt x="182" y="84"/>
                    </a:lnTo>
                    <a:lnTo>
                      <a:pt x="170" y="91"/>
                    </a:lnTo>
                    <a:lnTo>
                      <a:pt x="170" y="91"/>
                    </a:lnTo>
                    <a:close/>
                    <a:moveTo>
                      <a:pt x="65" y="215"/>
                    </a:moveTo>
                    <a:lnTo>
                      <a:pt x="65" y="215"/>
                    </a:lnTo>
                    <a:lnTo>
                      <a:pt x="64" y="216"/>
                    </a:lnTo>
                    <a:lnTo>
                      <a:pt x="59" y="217"/>
                    </a:lnTo>
                    <a:lnTo>
                      <a:pt x="51" y="219"/>
                    </a:lnTo>
                    <a:lnTo>
                      <a:pt x="51" y="219"/>
                    </a:lnTo>
                    <a:lnTo>
                      <a:pt x="48" y="219"/>
                    </a:lnTo>
                    <a:lnTo>
                      <a:pt x="45" y="222"/>
                    </a:lnTo>
                    <a:lnTo>
                      <a:pt x="44" y="229"/>
                    </a:lnTo>
                    <a:lnTo>
                      <a:pt x="45" y="236"/>
                    </a:lnTo>
                    <a:lnTo>
                      <a:pt x="47" y="239"/>
                    </a:lnTo>
                    <a:lnTo>
                      <a:pt x="48" y="240"/>
                    </a:lnTo>
                    <a:lnTo>
                      <a:pt x="48" y="240"/>
                    </a:lnTo>
                    <a:lnTo>
                      <a:pt x="51" y="240"/>
                    </a:lnTo>
                    <a:lnTo>
                      <a:pt x="54" y="240"/>
                    </a:lnTo>
                    <a:lnTo>
                      <a:pt x="55" y="239"/>
                    </a:lnTo>
                    <a:lnTo>
                      <a:pt x="56" y="236"/>
                    </a:lnTo>
                    <a:lnTo>
                      <a:pt x="56" y="236"/>
                    </a:lnTo>
                    <a:lnTo>
                      <a:pt x="59" y="232"/>
                    </a:lnTo>
                    <a:lnTo>
                      <a:pt x="62" y="230"/>
                    </a:lnTo>
                    <a:lnTo>
                      <a:pt x="66" y="229"/>
                    </a:lnTo>
                    <a:lnTo>
                      <a:pt x="71" y="230"/>
                    </a:lnTo>
                    <a:lnTo>
                      <a:pt x="71" y="230"/>
                    </a:lnTo>
                    <a:lnTo>
                      <a:pt x="72" y="230"/>
                    </a:lnTo>
                    <a:lnTo>
                      <a:pt x="74" y="230"/>
                    </a:lnTo>
                    <a:lnTo>
                      <a:pt x="78" y="226"/>
                    </a:lnTo>
                    <a:lnTo>
                      <a:pt x="81" y="222"/>
                    </a:lnTo>
                    <a:lnTo>
                      <a:pt x="82" y="216"/>
                    </a:lnTo>
                    <a:lnTo>
                      <a:pt x="82" y="216"/>
                    </a:lnTo>
                    <a:lnTo>
                      <a:pt x="81" y="213"/>
                    </a:lnTo>
                    <a:lnTo>
                      <a:pt x="79" y="212"/>
                    </a:lnTo>
                    <a:lnTo>
                      <a:pt x="74" y="210"/>
                    </a:lnTo>
                    <a:lnTo>
                      <a:pt x="69" y="212"/>
                    </a:lnTo>
                    <a:lnTo>
                      <a:pt x="66" y="212"/>
                    </a:lnTo>
                    <a:lnTo>
                      <a:pt x="65" y="215"/>
                    </a:lnTo>
                    <a:lnTo>
                      <a:pt x="65" y="215"/>
                    </a:lnTo>
                    <a:close/>
                    <a:moveTo>
                      <a:pt x="32" y="233"/>
                    </a:moveTo>
                    <a:lnTo>
                      <a:pt x="32" y="233"/>
                    </a:lnTo>
                    <a:lnTo>
                      <a:pt x="32" y="232"/>
                    </a:lnTo>
                    <a:lnTo>
                      <a:pt x="31" y="230"/>
                    </a:lnTo>
                    <a:lnTo>
                      <a:pt x="27" y="229"/>
                    </a:lnTo>
                    <a:lnTo>
                      <a:pt x="24" y="227"/>
                    </a:lnTo>
                    <a:lnTo>
                      <a:pt x="22" y="226"/>
                    </a:lnTo>
                    <a:lnTo>
                      <a:pt x="22" y="224"/>
                    </a:lnTo>
                    <a:lnTo>
                      <a:pt x="22" y="224"/>
                    </a:lnTo>
                    <a:lnTo>
                      <a:pt x="19" y="222"/>
                    </a:lnTo>
                    <a:lnTo>
                      <a:pt x="17" y="223"/>
                    </a:lnTo>
                    <a:lnTo>
                      <a:pt x="12" y="224"/>
                    </a:lnTo>
                    <a:lnTo>
                      <a:pt x="7" y="227"/>
                    </a:lnTo>
                    <a:lnTo>
                      <a:pt x="7" y="227"/>
                    </a:lnTo>
                    <a:lnTo>
                      <a:pt x="0" y="233"/>
                    </a:lnTo>
                    <a:lnTo>
                      <a:pt x="0" y="236"/>
                    </a:lnTo>
                    <a:lnTo>
                      <a:pt x="1" y="239"/>
                    </a:lnTo>
                    <a:lnTo>
                      <a:pt x="1" y="239"/>
                    </a:lnTo>
                    <a:lnTo>
                      <a:pt x="2" y="242"/>
                    </a:lnTo>
                    <a:lnTo>
                      <a:pt x="5" y="240"/>
                    </a:lnTo>
                    <a:lnTo>
                      <a:pt x="8" y="237"/>
                    </a:lnTo>
                    <a:lnTo>
                      <a:pt x="10" y="234"/>
                    </a:lnTo>
                    <a:lnTo>
                      <a:pt x="10" y="234"/>
                    </a:lnTo>
                    <a:lnTo>
                      <a:pt x="10" y="233"/>
                    </a:lnTo>
                    <a:lnTo>
                      <a:pt x="11" y="233"/>
                    </a:lnTo>
                    <a:lnTo>
                      <a:pt x="12" y="237"/>
                    </a:lnTo>
                    <a:lnTo>
                      <a:pt x="14" y="243"/>
                    </a:lnTo>
                    <a:lnTo>
                      <a:pt x="12" y="250"/>
                    </a:lnTo>
                    <a:lnTo>
                      <a:pt x="12" y="250"/>
                    </a:lnTo>
                    <a:lnTo>
                      <a:pt x="10" y="257"/>
                    </a:lnTo>
                    <a:lnTo>
                      <a:pt x="11" y="264"/>
                    </a:lnTo>
                    <a:lnTo>
                      <a:pt x="14" y="269"/>
                    </a:lnTo>
                    <a:lnTo>
                      <a:pt x="15" y="270"/>
                    </a:lnTo>
                    <a:lnTo>
                      <a:pt x="18" y="270"/>
                    </a:lnTo>
                    <a:lnTo>
                      <a:pt x="18" y="270"/>
                    </a:lnTo>
                    <a:lnTo>
                      <a:pt x="19" y="269"/>
                    </a:lnTo>
                    <a:lnTo>
                      <a:pt x="22" y="267"/>
                    </a:lnTo>
                    <a:lnTo>
                      <a:pt x="27" y="260"/>
                    </a:lnTo>
                    <a:lnTo>
                      <a:pt x="31" y="250"/>
                    </a:lnTo>
                    <a:lnTo>
                      <a:pt x="37" y="243"/>
                    </a:lnTo>
                    <a:lnTo>
                      <a:pt x="37" y="243"/>
                    </a:lnTo>
                    <a:lnTo>
                      <a:pt x="38" y="239"/>
                    </a:lnTo>
                    <a:lnTo>
                      <a:pt x="38" y="237"/>
                    </a:lnTo>
                    <a:lnTo>
                      <a:pt x="37" y="236"/>
                    </a:lnTo>
                    <a:lnTo>
                      <a:pt x="34" y="234"/>
                    </a:lnTo>
                    <a:lnTo>
                      <a:pt x="32" y="234"/>
                    </a:lnTo>
                    <a:lnTo>
                      <a:pt x="32" y="233"/>
                    </a:lnTo>
                    <a:lnTo>
                      <a:pt x="32" y="23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96" name="Papua New Guinea">
                <a:extLst>
                  <a:ext uri="{FF2B5EF4-FFF2-40B4-BE49-F238E27FC236}">
                    <a16:creationId xmlns:a16="http://schemas.microsoft.com/office/drawing/2014/main" id="{FA5CE3D0-F0F5-7241-A640-FC3AB46B7C33}"/>
                  </a:ext>
                </a:extLst>
              </p:cNvPr>
              <p:cNvSpPr>
                <a:spLocks noEditPoints="1"/>
              </p:cNvSpPr>
              <p:nvPr/>
            </p:nvSpPr>
            <p:spPr bwMode="auto">
              <a:xfrm>
                <a:off x="7644031" y="4380769"/>
                <a:ext cx="294478" cy="192372"/>
              </a:xfrm>
              <a:custGeom>
                <a:avLst/>
                <a:gdLst/>
                <a:ahLst/>
                <a:cxnLst>
                  <a:cxn ang="0">
                    <a:pos x="140" y="116"/>
                  </a:cxn>
                  <a:cxn ang="0">
                    <a:pos x="135" y="110"/>
                  </a:cxn>
                  <a:cxn ang="0">
                    <a:pos x="130" y="106"/>
                  </a:cxn>
                  <a:cxn ang="0">
                    <a:pos x="120" y="101"/>
                  </a:cxn>
                  <a:cxn ang="0">
                    <a:pos x="114" y="91"/>
                  </a:cxn>
                  <a:cxn ang="0">
                    <a:pos x="108" y="80"/>
                  </a:cxn>
                  <a:cxn ang="0">
                    <a:pos x="100" y="73"/>
                  </a:cxn>
                  <a:cxn ang="0">
                    <a:pos x="101" y="67"/>
                  </a:cxn>
                  <a:cxn ang="0">
                    <a:pos x="108" y="67"/>
                  </a:cxn>
                  <a:cxn ang="0">
                    <a:pos x="107" y="57"/>
                  </a:cxn>
                  <a:cxn ang="0">
                    <a:pos x="100" y="53"/>
                  </a:cxn>
                  <a:cxn ang="0">
                    <a:pos x="77" y="42"/>
                  </a:cxn>
                  <a:cxn ang="0">
                    <a:pos x="73" y="36"/>
                  </a:cxn>
                  <a:cxn ang="0">
                    <a:pos x="30" y="10"/>
                  </a:cxn>
                  <a:cxn ang="0">
                    <a:pos x="0" y="0"/>
                  </a:cxn>
                  <a:cxn ang="0">
                    <a:pos x="7" y="106"/>
                  </a:cxn>
                  <a:cxn ang="0">
                    <a:pos x="24" y="107"/>
                  </a:cxn>
                  <a:cxn ang="0">
                    <a:pos x="34" y="103"/>
                  </a:cxn>
                  <a:cxn ang="0">
                    <a:pos x="37" y="97"/>
                  </a:cxn>
                  <a:cxn ang="0">
                    <a:pos x="42" y="93"/>
                  </a:cxn>
                  <a:cxn ang="0">
                    <a:pos x="49" y="84"/>
                  </a:cxn>
                  <a:cxn ang="0">
                    <a:pos x="71" y="87"/>
                  </a:cxn>
                  <a:cxn ang="0">
                    <a:pos x="88" y="101"/>
                  </a:cxn>
                  <a:cxn ang="0">
                    <a:pos x="111" y="124"/>
                  </a:cxn>
                  <a:cxn ang="0">
                    <a:pos x="120" y="124"/>
                  </a:cxn>
                  <a:cxn ang="0">
                    <a:pos x="141" y="128"/>
                  </a:cxn>
                  <a:cxn ang="0">
                    <a:pos x="152" y="130"/>
                  </a:cxn>
                  <a:cxn ang="0">
                    <a:pos x="152" y="126"/>
                  </a:cxn>
                  <a:cxn ang="0">
                    <a:pos x="147" y="120"/>
                  </a:cxn>
                  <a:cxn ang="0">
                    <a:pos x="172" y="39"/>
                  </a:cxn>
                  <a:cxn ang="0">
                    <a:pos x="154" y="47"/>
                  </a:cxn>
                  <a:cxn ang="0">
                    <a:pos x="133" y="47"/>
                  </a:cxn>
                  <a:cxn ang="0">
                    <a:pos x="120" y="49"/>
                  </a:cxn>
                  <a:cxn ang="0">
                    <a:pos x="123" y="52"/>
                  </a:cxn>
                  <a:cxn ang="0">
                    <a:pos x="147" y="60"/>
                  </a:cxn>
                  <a:cxn ang="0">
                    <a:pos x="157" y="59"/>
                  </a:cxn>
                  <a:cxn ang="0">
                    <a:pos x="178" y="46"/>
                  </a:cxn>
                  <a:cxn ang="0">
                    <a:pos x="181" y="40"/>
                  </a:cxn>
                  <a:cxn ang="0">
                    <a:pos x="185" y="32"/>
                  </a:cxn>
                  <a:cxn ang="0">
                    <a:pos x="181" y="29"/>
                  </a:cxn>
                  <a:cxn ang="0">
                    <a:pos x="174" y="36"/>
                  </a:cxn>
                  <a:cxn ang="0">
                    <a:pos x="189" y="17"/>
                  </a:cxn>
                  <a:cxn ang="0">
                    <a:pos x="181" y="15"/>
                  </a:cxn>
                  <a:cxn ang="0">
                    <a:pos x="189" y="25"/>
                  </a:cxn>
                  <a:cxn ang="0">
                    <a:pos x="194" y="34"/>
                  </a:cxn>
                  <a:cxn ang="0">
                    <a:pos x="198" y="33"/>
                  </a:cxn>
                  <a:cxn ang="0">
                    <a:pos x="198" y="27"/>
                  </a:cxn>
                  <a:cxn ang="0">
                    <a:pos x="189" y="17"/>
                  </a:cxn>
                </a:cxnLst>
                <a:rect l="0" t="0" r="r" b="b"/>
                <a:pathLst>
                  <a:path w="199" h="130">
                    <a:moveTo>
                      <a:pt x="147" y="120"/>
                    </a:moveTo>
                    <a:lnTo>
                      <a:pt x="147" y="120"/>
                    </a:lnTo>
                    <a:lnTo>
                      <a:pt x="140" y="116"/>
                    </a:lnTo>
                    <a:lnTo>
                      <a:pt x="137" y="113"/>
                    </a:lnTo>
                    <a:lnTo>
                      <a:pt x="135" y="110"/>
                    </a:lnTo>
                    <a:lnTo>
                      <a:pt x="135" y="110"/>
                    </a:lnTo>
                    <a:lnTo>
                      <a:pt x="135" y="108"/>
                    </a:lnTo>
                    <a:lnTo>
                      <a:pt x="134" y="107"/>
                    </a:lnTo>
                    <a:lnTo>
                      <a:pt x="130" y="106"/>
                    </a:lnTo>
                    <a:lnTo>
                      <a:pt x="124" y="104"/>
                    </a:lnTo>
                    <a:lnTo>
                      <a:pt x="120" y="101"/>
                    </a:lnTo>
                    <a:lnTo>
                      <a:pt x="120" y="101"/>
                    </a:lnTo>
                    <a:lnTo>
                      <a:pt x="117" y="100"/>
                    </a:lnTo>
                    <a:lnTo>
                      <a:pt x="115" y="97"/>
                    </a:lnTo>
                    <a:lnTo>
                      <a:pt x="114" y="91"/>
                    </a:lnTo>
                    <a:lnTo>
                      <a:pt x="111" y="84"/>
                    </a:lnTo>
                    <a:lnTo>
                      <a:pt x="110" y="81"/>
                    </a:lnTo>
                    <a:lnTo>
                      <a:pt x="108" y="80"/>
                    </a:lnTo>
                    <a:lnTo>
                      <a:pt x="108" y="80"/>
                    </a:lnTo>
                    <a:lnTo>
                      <a:pt x="103" y="77"/>
                    </a:lnTo>
                    <a:lnTo>
                      <a:pt x="100" y="73"/>
                    </a:lnTo>
                    <a:lnTo>
                      <a:pt x="100" y="70"/>
                    </a:lnTo>
                    <a:lnTo>
                      <a:pt x="100" y="69"/>
                    </a:lnTo>
                    <a:lnTo>
                      <a:pt x="101" y="67"/>
                    </a:lnTo>
                    <a:lnTo>
                      <a:pt x="104" y="67"/>
                    </a:lnTo>
                    <a:lnTo>
                      <a:pt x="104" y="67"/>
                    </a:lnTo>
                    <a:lnTo>
                      <a:pt x="108" y="67"/>
                    </a:lnTo>
                    <a:lnTo>
                      <a:pt x="111" y="64"/>
                    </a:lnTo>
                    <a:lnTo>
                      <a:pt x="111" y="62"/>
                    </a:lnTo>
                    <a:lnTo>
                      <a:pt x="107" y="57"/>
                    </a:lnTo>
                    <a:lnTo>
                      <a:pt x="107" y="57"/>
                    </a:lnTo>
                    <a:lnTo>
                      <a:pt x="104" y="54"/>
                    </a:lnTo>
                    <a:lnTo>
                      <a:pt x="100" y="53"/>
                    </a:lnTo>
                    <a:lnTo>
                      <a:pt x="90" y="49"/>
                    </a:lnTo>
                    <a:lnTo>
                      <a:pt x="80" y="44"/>
                    </a:lnTo>
                    <a:lnTo>
                      <a:pt x="77" y="42"/>
                    </a:lnTo>
                    <a:lnTo>
                      <a:pt x="76" y="39"/>
                    </a:lnTo>
                    <a:lnTo>
                      <a:pt x="76" y="39"/>
                    </a:lnTo>
                    <a:lnTo>
                      <a:pt x="73" y="36"/>
                    </a:lnTo>
                    <a:lnTo>
                      <a:pt x="69" y="30"/>
                    </a:lnTo>
                    <a:lnTo>
                      <a:pt x="50" y="20"/>
                    </a:lnTo>
                    <a:lnTo>
                      <a:pt x="30" y="10"/>
                    </a:lnTo>
                    <a:lnTo>
                      <a:pt x="13" y="5"/>
                    </a:lnTo>
                    <a:lnTo>
                      <a:pt x="13" y="5"/>
                    </a:lnTo>
                    <a:lnTo>
                      <a:pt x="0" y="0"/>
                    </a:lnTo>
                    <a:lnTo>
                      <a:pt x="0" y="103"/>
                    </a:lnTo>
                    <a:lnTo>
                      <a:pt x="0" y="103"/>
                    </a:lnTo>
                    <a:lnTo>
                      <a:pt x="7" y="106"/>
                    </a:lnTo>
                    <a:lnTo>
                      <a:pt x="17" y="108"/>
                    </a:lnTo>
                    <a:lnTo>
                      <a:pt x="17" y="108"/>
                    </a:lnTo>
                    <a:lnTo>
                      <a:pt x="24" y="107"/>
                    </a:lnTo>
                    <a:lnTo>
                      <a:pt x="29" y="107"/>
                    </a:lnTo>
                    <a:lnTo>
                      <a:pt x="32" y="104"/>
                    </a:lnTo>
                    <a:lnTo>
                      <a:pt x="34" y="103"/>
                    </a:lnTo>
                    <a:lnTo>
                      <a:pt x="36" y="98"/>
                    </a:lnTo>
                    <a:lnTo>
                      <a:pt x="36" y="97"/>
                    </a:lnTo>
                    <a:lnTo>
                      <a:pt x="37" y="97"/>
                    </a:lnTo>
                    <a:lnTo>
                      <a:pt x="37" y="97"/>
                    </a:lnTo>
                    <a:lnTo>
                      <a:pt x="40" y="96"/>
                    </a:lnTo>
                    <a:lnTo>
                      <a:pt x="42" y="93"/>
                    </a:lnTo>
                    <a:lnTo>
                      <a:pt x="47" y="86"/>
                    </a:lnTo>
                    <a:lnTo>
                      <a:pt x="47" y="86"/>
                    </a:lnTo>
                    <a:lnTo>
                      <a:pt x="49" y="84"/>
                    </a:lnTo>
                    <a:lnTo>
                      <a:pt x="51" y="83"/>
                    </a:lnTo>
                    <a:lnTo>
                      <a:pt x="61" y="84"/>
                    </a:lnTo>
                    <a:lnTo>
                      <a:pt x="71" y="87"/>
                    </a:lnTo>
                    <a:lnTo>
                      <a:pt x="80" y="93"/>
                    </a:lnTo>
                    <a:lnTo>
                      <a:pt x="80" y="93"/>
                    </a:lnTo>
                    <a:lnTo>
                      <a:pt x="88" y="101"/>
                    </a:lnTo>
                    <a:lnTo>
                      <a:pt x="97" y="113"/>
                    </a:lnTo>
                    <a:lnTo>
                      <a:pt x="107" y="121"/>
                    </a:lnTo>
                    <a:lnTo>
                      <a:pt x="111" y="124"/>
                    </a:lnTo>
                    <a:lnTo>
                      <a:pt x="115" y="124"/>
                    </a:lnTo>
                    <a:lnTo>
                      <a:pt x="115" y="124"/>
                    </a:lnTo>
                    <a:lnTo>
                      <a:pt x="120" y="124"/>
                    </a:lnTo>
                    <a:lnTo>
                      <a:pt x="124" y="124"/>
                    </a:lnTo>
                    <a:lnTo>
                      <a:pt x="133" y="127"/>
                    </a:lnTo>
                    <a:lnTo>
                      <a:pt x="141" y="128"/>
                    </a:lnTo>
                    <a:lnTo>
                      <a:pt x="150" y="130"/>
                    </a:lnTo>
                    <a:lnTo>
                      <a:pt x="150" y="130"/>
                    </a:lnTo>
                    <a:lnTo>
                      <a:pt x="152" y="130"/>
                    </a:lnTo>
                    <a:lnTo>
                      <a:pt x="154" y="128"/>
                    </a:lnTo>
                    <a:lnTo>
                      <a:pt x="154" y="127"/>
                    </a:lnTo>
                    <a:lnTo>
                      <a:pt x="152" y="126"/>
                    </a:lnTo>
                    <a:lnTo>
                      <a:pt x="150" y="123"/>
                    </a:lnTo>
                    <a:lnTo>
                      <a:pt x="147" y="120"/>
                    </a:lnTo>
                    <a:lnTo>
                      <a:pt x="147" y="120"/>
                    </a:lnTo>
                    <a:close/>
                    <a:moveTo>
                      <a:pt x="174" y="36"/>
                    </a:moveTo>
                    <a:lnTo>
                      <a:pt x="174" y="36"/>
                    </a:lnTo>
                    <a:lnTo>
                      <a:pt x="172" y="39"/>
                    </a:lnTo>
                    <a:lnTo>
                      <a:pt x="168" y="42"/>
                    </a:lnTo>
                    <a:lnTo>
                      <a:pt x="154" y="47"/>
                    </a:lnTo>
                    <a:lnTo>
                      <a:pt x="154" y="47"/>
                    </a:lnTo>
                    <a:lnTo>
                      <a:pt x="150" y="49"/>
                    </a:lnTo>
                    <a:lnTo>
                      <a:pt x="144" y="49"/>
                    </a:lnTo>
                    <a:lnTo>
                      <a:pt x="133" y="47"/>
                    </a:lnTo>
                    <a:lnTo>
                      <a:pt x="124" y="46"/>
                    </a:lnTo>
                    <a:lnTo>
                      <a:pt x="121" y="47"/>
                    </a:lnTo>
                    <a:lnTo>
                      <a:pt x="120" y="49"/>
                    </a:lnTo>
                    <a:lnTo>
                      <a:pt x="120" y="49"/>
                    </a:lnTo>
                    <a:lnTo>
                      <a:pt x="121" y="50"/>
                    </a:lnTo>
                    <a:lnTo>
                      <a:pt x="123" y="52"/>
                    </a:lnTo>
                    <a:lnTo>
                      <a:pt x="128" y="56"/>
                    </a:lnTo>
                    <a:lnTo>
                      <a:pt x="137" y="59"/>
                    </a:lnTo>
                    <a:lnTo>
                      <a:pt x="147" y="60"/>
                    </a:lnTo>
                    <a:lnTo>
                      <a:pt x="147" y="60"/>
                    </a:lnTo>
                    <a:lnTo>
                      <a:pt x="151" y="60"/>
                    </a:lnTo>
                    <a:lnTo>
                      <a:pt x="157" y="59"/>
                    </a:lnTo>
                    <a:lnTo>
                      <a:pt x="168" y="53"/>
                    </a:lnTo>
                    <a:lnTo>
                      <a:pt x="175" y="49"/>
                    </a:lnTo>
                    <a:lnTo>
                      <a:pt x="178" y="46"/>
                    </a:lnTo>
                    <a:lnTo>
                      <a:pt x="179" y="44"/>
                    </a:lnTo>
                    <a:lnTo>
                      <a:pt x="179" y="44"/>
                    </a:lnTo>
                    <a:lnTo>
                      <a:pt x="181" y="40"/>
                    </a:lnTo>
                    <a:lnTo>
                      <a:pt x="182" y="37"/>
                    </a:lnTo>
                    <a:lnTo>
                      <a:pt x="185" y="33"/>
                    </a:lnTo>
                    <a:lnTo>
                      <a:pt x="185" y="32"/>
                    </a:lnTo>
                    <a:lnTo>
                      <a:pt x="184" y="30"/>
                    </a:lnTo>
                    <a:lnTo>
                      <a:pt x="184" y="30"/>
                    </a:lnTo>
                    <a:lnTo>
                      <a:pt x="181" y="29"/>
                    </a:lnTo>
                    <a:lnTo>
                      <a:pt x="178" y="30"/>
                    </a:lnTo>
                    <a:lnTo>
                      <a:pt x="175" y="33"/>
                    </a:lnTo>
                    <a:lnTo>
                      <a:pt x="174" y="36"/>
                    </a:lnTo>
                    <a:lnTo>
                      <a:pt x="174" y="36"/>
                    </a:lnTo>
                    <a:close/>
                    <a:moveTo>
                      <a:pt x="189" y="17"/>
                    </a:moveTo>
                    <a:lnTo>
                      <a:pt x="189" y="17"/>
                    </a:lnTo>
                    <a:lnTo>
                      <a:pt x="181" y="13"/>
                    </a:lnTo>
                    <a:lnTo>
                      <a:pt x="181" y="13"/>
                    </a:lnTo>
                    <a:lnTo>
                      <a:pt x="181" y="15"/>
                    </a:lnTo>
                    <a:lnTo>
                      <a:pt x="185" y="19"/>
                    </a:lnTo>
                    <a:lnTo>
                      <a:pt x="185" y="19"/>
                    </a:lnTo>
                    <a:lnTo>
                      <a:pt x="189" y="25"/>
                    </a:lnTo>
                    <a:lnTo>
                      <a:pt x="191" y="30"/>
                    </a:lnTo>
                    <a:lnTo>
                      <a:pt x="192" y="33"/>
                    </a:lnTo>
                    <a:lnTo>
                      <a:pt x="194" y="34"/>
                    </a:lnTo>
                    <a:lnTo>
                      <a:pt x="195" y="34"/>
                    </a:lnTo>
                    <a:lnTo>
                      <a:pt x="195" y="34"/>
                    </a:lnTo>
                    <a:lnTo>
                      <a:pt x="198" y="33"/>
                    </a:lnTo>
                    <a:lnTo>
                      <a:pt x="199" y="32"/>
                    </a:lnTo>
                    <a:lnTo>
                      <a:pt x="199" y="29"/>
                    </a:lnTo>
                    <a:lnTo>
                      <a:pt x="198" y="27"/>
                    </a:lnTo>
                    <a:lnTo>
                      <a:pt x="195" y="22"/>
                    </a:lnTo>
                    <a:lnTo>
                      <a:pt x="189" y="17"/>
                    </a:lnTo>
                    <a:lnTo>
                      <a:pt x="189" y="1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7" name="North Korea">
                <a:extLst>
                  <a:ext uri="{FF2B5EF4-FFF2-40B4-BE49-F238E27FC236}">
                    <a16:creationId xmlns:a16="http://schemas.microsoft.com/office/drawing/2014/main" id="{9D168FB5-B5F5-4F42-9F11-0B600B796DE7}"/>
                  </a:ext>
                </a:extLst>
              </p:cNvPr>
              <p:cNvSpPr>
                <a:spLocks/>
              </p:cNvSpPr>
              <p:nvPr/>
            </p:nvSpPr>
            <p:spPr bwMode="auto">
              <a:xfrm>
                <a:off x="7245970" y="3219139"/>
                <a:ext cx="164256" cy="152418"/>
              </a:xfrm>
              <a:custGeom>
                <a:avLst/>
                <a:gdLst/>
                <a:ahLst/>
                <a:cxnLst>
                  <a:cxn ang="0">
                    <a:pos x="106" y="4"/>
                  </a:cxn>
                  <a:cxn ang="0">
                    <a:pos x="99" y="3"/>
                  </a:cxn>
                  <a:cxn ang="0">
                    <a:pos x="93" y="0"/>
                  </a:cxn>
                  <a:cxn ang="0">
                    <a:pos x="91" y="0"/>
                  </a:cxn>
                  <a:cxn ang="0">
                    <a:pos x="89" y="6"/>
                  </a:cxn>
                  <a:cxn ang="0">
                    <a:pos x="86" y="11"/>
                  </a:cxn>
                  <a:cxn ang="0">
                    <a:pos x="83" y="11"/>
                  </a:cxn>
                  <a:cxn ang="0">
                    <a:pos x="79" y="16"/>
                  </a:cxn>
                  <a:cxn ang="0">
                    <a:pos x="73" y="20"/>
                  </a:cxn>
                  <a:cxn ang="0">
                    <a:pos x="66" y="21"/>
                  </a:cxn>
                  <a:cxn ang="0">
                    <a:pos x="66" y="27"/>
                  </a:cxn>
                  <a:cxn ang="0">
                    <a:pos x="67" y="29"/>
                  </a:cxn>
                  <a:cxn ang="0">
                    <a:pos x="56" y="30"/>
                  </a:cxn>
                  <a:cxn ang="0">
                    <a:pos x="52" y="29"/>
                  </a:cxn>
                  <a:cxn ang="0">
                    <a:pos x="47" y="26"/>
                  </a:cxn>
                  <a:cxn ang="0">
                    <a:pos x="46" y="26"/>
                  </a:cxn>
                  <a:cxn ang="0">
                    <a:pos x="40" y="30"/>
                  </a:cxn>
                  <a:cxn ang="0">
                    <a:pos x="35" y="37"/>
                  </a:cxn>
                  <a:cxn ang="0">
                    <a:pos x="22" y="46"/>
                  </a:cxn>
                  <a:cxn ang="0">
                    <a:pos x="5" y="53"/>
                  </a:cxn>
                  <a:cxn ang="0">
                    <a:pos x="0" y="60"/>
                  </a:cxn>
                  <a:cxn ang="0">
                    <a:pos x="6" y="61"/>
                  </a:cxn>
                  <a:cxn ang="0">
                    <a:pos x="16" y="67"/>
                  </a:cxn>
                  <a:cxn ang="0">
                    <a:pos x="19" y="70"/>
                  </a:cxn>
                  <a:cxn ang="0">
                    <a:pos x="20" y="74"/>
                  </a:cxn>
                  <a:cxn ang="0">
                    <a:pos x="9" y="87"/>
                  </a:cxn>
                  <a:cxn ang="0">
                    <a:pos x="7" y="90"/>
                  </a:cxn>
                  <a:cxn ang="0">
                    <a:pos x="12" y="94"/>
                  </a:cxn>
                  <a:cxn ang="0">
                    <a:pos x="12" y="97"/>
                  </a:cxn>
                  <a:cxn ang="0">
                    <a:pos x="16" y="101"/>
                  </a:cxn>
                  <a:cxn ang="0">
                    <a:pos x="20" y="101"/>
                  </a:cxn>
                  <a:cxn ang="0">
                    <a:pos x="22" y="98"/>
                  </a:cxn>
                  <a:cxn ang="0">
                    <a:pos x="33" y="98"/>
                  </a:cxn>
                  <a:cxn ang="0">
                    <a:pos x="35" y="98"/>
                  </a:cxn>
                  <a:cxn ang="0">
                    <a:pos x="36" y="100"/>
                  </a:cxn>
                  <a:cxn ang="0">
                    <a:pos x="46" y="93"/>
                  </a:cxn>
                  <a:cxn ang="0">
                    <a:pos x="52" y="91"/>
                  </a:cxn>
                  <a:cxn ang="0">
                    <a:pos x="60" y="90"/>
                  </a:cxn>
                  <a:cxn ang="0">
                    <a:pos x="69" y="87"/>
                  </a:cxn>
                  <a:cxn ang="0">
                    <a:pos x="60" y="78"/>
                  </a:cxn>
                  <a:cxn ang="0">
                    <a:pos x="54" y="74"/>
                  </a:cxn>
                  <a:cxn ang="0">
                    <a:pos x="52" y="70"/>
                  </a:cxn>
                  <a:cxn ang="0">
                    <a:pos x="54" y="61"/>
                  </a:cxn>
                  <a:cxn ang="0">
                    <a:pos x="59" y="60"/>
                  </a:cxn>
                  <a:cxn ang="0">
                    <a:pos x="74" y="51"/>
                  </a:cxn>
                  <a:cxn ang="0">
                    <a:pos x="87" y="43"/>
                  </a:cxn>
                  <a:cxn ang="0">
                    <a:pos x="90" y="34"/>
                  </a:cxn>
                  <a:cxn ang="0">
                    <a:pos x="93" y="23"/>
                  </a:cxn>
                  <a:cxn ang="0">
                    <a:pos x="100" y="14"/>
                  </a:cxn>
                  <a:cxn ang="0">
                    <a:pos x="111" y="6"/>
                  </a:cxn>
                  <a:cxn ang="0">
                    <a:pos x="106" y="4"/>
                  </a:cxn>
                </a:cxnLst>
                <a:rect l="0" t="0" r="r" b="b"/>
                <a:pathLst>
                  <a:path w="111" h="103">
                    <a:moveTo>
                      <a:pt x="106" y="4"/>
                    </a:moveTo>
                    <a:lnTo>
                      <a:pt x="106" y="4"/>
                    </a:lnTo>
                    <a:lnTo>
                      <a:pt x="103" y="4"/>
                    </a:lnTo>
                    <a:lnTo>
                      <a:pt x="99" y="3"/>
                    </a:lnTo>
                    <a:lnTo>
                      <a:pt x="96" y="0"/>
                    </a:lnTo>
                    <a:lnTo>
                      <a:pt x="93" y="0"/>
                    </a:lnTo>
                    <a:lnTo>
                      <a:pt x="93" y="0"/>
                    </a:lnTo>
                    <a:lnTo>
                      <a:pt x="91" y="0"/>
                    </a:lnTo>
                    <a:lnTo>
                      <a:pt x="90" y="1"/>
                    </a:lnTo>
                    <a:lnTo>
                      <a:pt x="89" y="6"/>
                    </a:lnTo>
                    <a:lnTo>
                      <a:pt x="87" y="10"/>
                    </a:lnTo>
                    <a:lnTo>
                      <a:pt x="86" y="11"/>
                    </a:lnTo>
                    <a:lnTo>
                      <a:pt x="83" y="11"/>
                    </a:lnTo>
                    <a:lnTo>
                      <a:pt x="83" y="11"/>
                    </a:lnTo>
                    <a:lnTo>
                      <a:pt x="80" y="13"/>
                    </a:lnTo>
                    <a:lnTo>
                      <a:pt x="79" y="16"/>
                    </a:lnTo>
                    <a:lnTo>
                      <a:pt x="76" y="19"/>
                    </a:lnTo>
                    <a:lnTo>
                      <a:pt x="73" y="20"/>
                    </a:lnTo>
                    <a:lnTo>
                      <a:pt x="73" y="20"/>
                    </a:lnTo>
                    <a:lnTo>
                      <a:pt x="66" y="21"/>
                    </a:lnTo>
                    <a:lnTo>
                      <a:pt x="64" y="23"/>
                    </a:lnTo>
                    <a:lnTo>
                      <a:pt x="66" y="27"/>
                    </a:lnTo>
                    <a:lnTo>
                      <a:pt x="66" y="27"/>
                    </a:lnTo>
                    <a:lnTo>
                      <a:pt x="67" y="29"/>
                    </a:lnTo>
                    <a:lnTo>
                      <a:pt x="64" y="30"/>
                    </a:lnTo>
                    <a:lnTo>
                      <a:pt x="56" y="30"/>
                    </a:lnTo>
                    <a:lnTo>
                      <a:pt x="56" y="30"/>
                    </a:lnTo>
                    <a:lnTo>
                      <a:pt x="52" y="29"/>
                    </a:lnTo>
                    <a:lnTo>
                      <a:pt x="50" y="27"/>
                    </a:lnTo>
                    <a:lnTo>
                      <a:pt x="47" y="26"/>
                    </a:lnTo>
                    <a:lnTo>
                      <a:pt x="46" y="26"/>
                    </a:lnTo>
                    <a:lnTo>
                      <a:pt x="46" y="26"/>
                    </a:lnTo>
                    <a:lnTo>
                      <a:pt x="43" y="27"/>
                    </a:lnTo>
                    <a:lnTo>
                      <a:pt x="40" y="30"/>
                    </a:lnTo>
                    <a:lnTo>
                      <a:pt x="35" y="37"/>
                    </a:lnTo>
                    <a:lnTo>
                      <a:pt x="35" y="37"/>
                    </a:lnTo>
                    <a:lnTo>
                      <a:pt x="30" y="41"/>
                    </a:lnTo>
                    <a:lnTo>
                      <a:pt x="22" y="46"/>
                    </a:lnTo>
                    <a:lnTo>
                      <a:pt x="5" y="53"/>
                    </a:lnTo>
                    <a:lnTo>
                      <a:pt x="5" y="53"/>
                    </a:lnTo>
                    <a:lnTo>
                      <a:pt x="3" y="56"/>
                    </a:lnTo>
                    <a:lnTo>
                      <a:pt x="0" y="60"/>
                    </a:lnTo>
                    <a:lnTo>
                      <a:pt x="0" y="60"/>
                    </a:lnTo>
                    <a:lnTo>
                      <a:pt x="6" y="61"/>
                    </a:lnTo>
                    <a:lnTo>
                      <a:pt x="12" y="64"/>
                    </a:lnTo>
                    <a:lnTo>
                      <a:pt x="16" y="67"/>
                    </a:lnTo>
                    <a:lnTo>
                      <a:pt x="19" y="70"/>
                    </a:lnTo>
                    <a:lnTo>
                      <a:pt x="19" y="70"/>
                    </a:lnTo>
                    <a:lnTo>
                      <a:pt x="20" y="71"/>
                    </a:lnTo>
                    <a:lnTo>
                      <a:pt x="20" y="74"/>
                    </a:lnTo>
                    <a:lnTo>
                      <a:pt x="17" y="78"/>
                    </a:lnTo>
                    <a:lnTo>
                      <a:pt x="9" y="87"/>
                    </a:lnTo>
                    <a:lnTo>
                      <a:pt x="9" y="87"/>
                    </a:lnTo>
                    <a:lnTo>
                      <a:pt x="7" y="90"/>
                    </a:lnTo>
                    <a:lnTo>
                      <a:pt x="9" y="93"/>
                    </a:lnTo>
                    <a:lnTo>
                      <a:pt x="12" y="94"/>
                    </a:lnTo>
                    <a:lnTo>
                      <a:pt x="12" y="97"/>
                    </a:lnTo>
                    <a:lnTo>
                      <a:pt x="12" y="97"/>
                    </a:lnTo>
                    <a:lnTo>
                      <a:pt x="13" y="100"/>
                    </a:lnTo>
                    <a:lnTo>
                      <a:pt x="16" y="101"/>
                    </a:lnTo>
                    <a:lnTo>
                      <a:pt x="19" y="103"/>
                    </a:lnTo>
                    <a:lnTo>
                      <a:pt x="20" y="101"/>
                    </a:lnTo>
                    <a:lnTo>
                      <a:pt x="20" y="101"/>
                    </a:lnTo>
                    <a:lnTo>
                      <a:pt x="22" y="98"/>
                    </a:lnTo>
                    <a:lnTo>
                      <a:pt x="25" y="98"/>
                    </a:lnTo>
                    <a:lnTo>
                      <a:pt x="33" y="98"/>
                    </a:lnTo>
                    <a:lnTo>
                      <a:pt x="33" y="98"/>
                    </a:lnTo>
                    <a:lnTo>
                      <a:pt x="35" y="98"/>
                    </a:lnTo>
                    <a:lnTo>
                      <a:pt x="36" y="100"/>
                    </a:lnTo>
                    <a:lnTo>
                      <a:pt x="36" y="100"/>
                    </a:lnTo>
                    <a:lnTo>
                      <a:pt x="46" y="93"/>
                    </a:lnTo>
                    <a:lnTo>
                      <a:pt x="46" y="93"/>
                    </a:lnTo>
                    <a:lnTo>
                      <a:pt x="49" y="91"/>
                    </a:lnTo>
                    <a:lnTo>
                      <a:pt x="52" y="91"/>
                    </a:lnTo>
                    <a:lnTo>
                      <a:pt x="60" y="90"/>
                    </a:lnTo>
                    <a:lnTo>
                      <a:pt x="60" y="90"/>
                    </a:lnTo>
                    <a:lnTo>
                      <a:pt x="64" y="90"/>
                    </a:lnTo>
                    <a:lnTo>
                      <a:pt x="69" y="87"/>
                    </a:lnTo>
                    <a:lnTo>
                      <a:pt x="69" y="87"/>
                    </a:lnTo>
                    <a:lnTo>
                      <a:pt x="60" y="78"/>
                    </a:lnTo>
                    <a:lnTo>
                      <a:pt x="54" y="74"/>
                    </a:lnTo>
                    <a:lnTo>
                      <a:pt x="54" y="74"/>
                    </a:lnTo>
                    <a:lnTo>
                      <a:pt x="53" y="73"/>
                    </a:lnTo>
                    <a:lnTo>
                      <a:pt x="52" y="70"/>
                    </a:lnTo>
                    <a:lnTo>
                      <a:pt x="53" y="66"/>
                    </a:lnTo>
                    <a:lnTo>
                      <a:pt x="54" y="61"/>
                    </a:lnTo>
                    <a:lnTo>
                      <a:pt x="59" y="60"/>
                    </a:lnTo>
                    <a:lnTo>
                      <a:pt x="59" y="60"/>
                    </a:lnTo>
                    <a:lnTo>
                      <a:pt x="66" y="57"/>
                    </a:lnTo>
                    <a:lnTo>
                      <a:pt x="74" y="51"/>
                    </a:lnTo>
                    <a:lnTo>
                      <a:pt x="87" y="43"/>
                    </a:lnTo>
                    <a:lnTo>
                      <a:pt x="87" y="43"/>
                    </a:lnTo>
                    <a:lnTo>
                      <a:pt x="90" y="38"/>
                    </a:lnTo>
                    <a:lnTo>
                      <a:pt x="90" y="34"/>
                    </a:lnTo>
                    <a:lnTo>
                      <a:pt x="91" y="29"/>
                    </a:lnTo>
                    <a:lnTo>
                      <a:pt x="93" y="23"/>
                    </a:lnTo>
                    <a:lnTo>
                      <a:pt x="93" y="23"/>
                    </a:lnTo>
                    <a:lnTo>
                      <a:pt x="100" y="14"/>
                    </a:lnTo>
                    <a:lnTo>
                      <a:pt x="111" y="6"/>
                    </a:lnTo>
                    <a:lnTo>
                      <a:pt x="111" y="6"/>
                    </a:lnTo>
                    <a:lnTo>
                      <a:pt x="106" y="4"/>
                    </a:lnTo>
                    <a:lnTo>
                      <a:pt x="106" y="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8" name="Nepal">
                <a:extLst>
                  <a:ext uri="{FF2B5EF4-FFF2-40B4-BE49-F238E27FC236}">
                    <a16:creationId xmlns:a16="http://schemas.microsoft.com/office/drawing/2014/main" id="{09B33854-D74B-664A-97B2-584957594021}"/>
                  </a:ext>
                </a:extLst>
              </p:cNvPr>
              <p:cNvSpPr>
                <a:spLocks/>
              </p:cNvSpPr>
              <p:nvPr/>
            </p:nvSpPr>
            <p:spPr bwMode="auto">
              <a:xfrm>
                <a:off x="6224919" y="3566888"/>
                <a:ext cx="179055" cy="100626"/>
              </a:xfrm>
              <a:custGeom>
                <a:avLst/>
                <a:gdLst/>
                <a:ahLst/>
                <a:cxnLst>
                  <a:cxn ang="0">
                    <a:pos x="121" y="44"/>
                  </a:cxn>
                  <a:cxn ang="0">
                    <a:pos x="117" y="44"/>
                  </a:cxn>
                  <a:cxn ang="0">
                    <a:pos x="106" y="42"/>
                  </a:cxn>
                  <a:cxn ang="0">
                    <a:pos x="96" y="40"/>
                  </a:cxn>
                  <a:cxn ang="0">
                    <a:pos x="90" y="38"/>
                  </a:cxn>
                  <a:cxn ang="0">
                    <a:pos x="73" y="33"/>
                  </a:cxn>
                  <a:cxn ang="0">
                    <a:pos x="66" y="27"/>
                  </a:cxn>
                  <a:cxn ang="0">
                    <a:pos x="33" y="4"/>
                  </a:cxn>
                  <a:cxn ang="0">
                    <a:pos x="29" y="1"/>
                  </a:cxn>
                  <a:cxn ang="0">
                    <a:pos x="22" y="0"/>
                  </a:cxn>
                  <a:cxn ang="0">
                    <a:pos x="20" y="1"/>
                  </a:cxn>
                  <a:cxn ang="0">
                    <a:pos x="16" y="3"/>
                  </a:cxn>
                  <a:cxn ang="0">
                    <a:pos x="10" y="4"/>
                  </a:cxn>
                  <a:cxn ang="0">
                    <a:pos x="3" y="11"/>
                  </a:cxn>
                  <a:cxn ang="0">
                    <a:pos x="3" y="13"/>
                  </a:cxn>
                  <a:cxn ang="0">
                    <a:pos x="0" y="25"/>
                  </a:cxn>
                  <a:cxn ang="0">
                    <a:pos x="0" y="27"/>
                  </a:cxn>
                  <a:cxn ang="0">
                    <a:pos x="6" y="30"/>
                  </a:cxn>
                  <a:cxn ang="0">
                    <a:pos x="9" y="31"/>
                  </a:cxn>
                  <a:cxn ang="0">
                    <a:pos x="15" y="35"/>
                  </a:cxn>
                  <a:cxn ang="0">
                    <a:pos x="20" y="38"/>
                  </a:cxn>
                  <a:cxn ang="0">
                    <a:pos x="23" y="40"/>
                  </a:cxn>
                  <a:cxn ang="0">
                    <a:pos x="33" y="44"/>
                  </a:cxn>
                  <a:cxn ang="0">
                    <a:pos x="36" y="45"/>
                  </a:cxn>
                  <a:cxn ang="0">
                    <a:pos x="46" y="52"/>
                  </a:cxn>
                  <a:cxn ang="0">
                    <a:pos x="49" y="52"/>
                  </a:cxn>
                  <a:cxn ang="0">
                    <a:pos x="62" y="50"/>
                  </a:cxn>
                  <a:cxn ang="0">
                    <a:pos x="64" y="51"/>
                  </a:cxn>
                  <a:cxn ang="0">
                    <a:pos x="70" y="58"/>
                  </a:cxn>
                  <a:cxn ang="0">
                    <a:pos x="73" y="61"/>
                  </a:cxn>
                  <a:cxn ang="0">
                    <a:pos x="87" y="64"/>
                  </a:cxn>
                  <a:cxn ang="0">
                    <a:pos x="91" y="67"/>
                  </a:cxn>
                  <a:cxn ang="0">
                    <a:pos x="106" y="68"/>
                  </a:cxn>
                  <a:cxn ang="0">
                    <a:pos x="119" y="64"/>
                  </a:cxn>
                  <a:cxn ang="0">
                    <a:pos x="121" y="61"/>
                  </a:cxn>
                  <a:cxn ang="0">
                    <a:pos x="120" y="48"/>
                  </a:cxn>
                  <a:cxn ang="0">
                    <a:pos x="121" y="44"/>
                  </a:cxn>
                </a:cxnLst>
                <a:rect l="0" t="0" r="r" b="b"/>
                <a:pathLst>
                  <a:path w="121" h="68">
                    <a:moveTo>
                      <a:pt x="121" y="44"/>
                    </a:moveTo>
                    <a:lnTo>
                      <a:pt x="121" y="44"/>
                    </a:lnTo>
                    <a:lnTo>
                      <a:pt x="117" y="44"/>
                    </a:lnTo>
                    <a:lnTo>
                      <a:pt x="117" y="44"/>
                    </a:lnTo>
                    <a:lnTo>
                      <a:pt x="111" y="44"/>
                    </a:lnTo>
                    <a:lnTo>
                      <a:pt x="106" y="42"/>
                    </a:lnTo>
                    <a:lnTo>
                      <a:pt x="101" y="41"/>
                    </a:lnTo>
                    <a:lnTo>
                      <a:pt x="96" y="40"/>
                    </a:lnTo>
                    <a:lnTo>
                      <a:pt x="96" y="40"/>
                    </a:lnTo>
                    <a:lnTo>
                      <a:pt x="90" y="38"/>
                    </a:lnTo>
                    <a:lnTo>
                      <a:pt x="82" y="35"/>
                    </a:lnTo>
                    <a:lnTo>
                      <a:pt x="73" y="33"/>
                    </a:lnTo>
                    <a:lnTo>
                      <a:pt x="66" y="27"/>
                    </a:lnTo>
                    <a:lnTo>
                      <a:pt x="66" y="27"/>
                    </a:lnTo>
                    <a:lnTo>
                      <a:pt x="47" y="15"/>
                    </a:lnTo>
                    <a:lnTo>
                      <a:pt x="33" y="4"/>
                    </a:lnTo>
                    <a:lnTo>
                      <a:pt x="33" y="4"/>
                    </a:lnTo>
                    <a:lnTo>
                      <a:pt x="29" y="1"/>
                    </a:lnTo>
                    <a:lnTo>
                      <a:pt x="25" y="0"/>
                    </a:lnTo>
                    <a:lnTo>
                      <a:pt x="22" y="0"/>
                    </a:lnTo>
                    <a:lnTo>
                      <a:pt x="20" y="1"/>
                    </a:lnTo>
                    <a:lnTo>
                      <a:pt x="20" y="1"/>
                    </a:lnTo>
                    <a:lnTo>
                      <a:pt x="19" y="3"/>
                    </a:lnTo>
                    <a:lnTo>
                      <a:pt x="16" y="3"/>
                    </a:lnTo>
                    <a:lnTo>
                      <a:pt x="10" y="4"/>
                    </a:lnTo>
                    <a:lnTo>
                      <a:pt x="10" y="4"/>
                    </a:lnTo>
                    <a:lnTo>
                      <a:pt x="6" y="8"/>
                    </a:lnTo>
                    <a:lnTo>
                      <a:pt x="3" y="11"/>
                    </a:lnTo>
                    <a:lnTo>
                      <a:pt x="3" y="13"/>
                    </a:lnTo>
                    <a:lnTo>
                      <a:pt x="3" y="13"/>
                    </a:lnTo>
                    <a:lnTo>
                      <a:pt x="2" y="20"/>
                    </a:lnTo>
                    <a:lnTo>
                      <a:pt x="0" y="25"/>
                    </a:lnTo>
                    <a:lnTo>
                      <a:pt x="0" y="25"/>
                    </a:lnTo>
                    <a:lnTo>
                      <a:pt x="0" y="27"/>
                    </a:lnTo>
                    <a:lnTo>
                      <a:pt x="3" y="28"/>
                    </a:lnTo>
                    <a:lnTo>
                      <a:pt x="6" y="30"/>
                    </a:lnTo>
                    <a:lnTo>
                      <a:pt x="9" y="31"/>
                    </a:lnTo>
                    <a:lnTo>
                      <a:pt x="9" y="31"/>
                    </a:lnTo>
                    <a:lnTo>
                      <a:pt x="10" y="34"/>
                    </a:lnTo>
                    <a:lnTo>
                      <a:pt x="15" y="35"/>
                    </a:lnTo>
                    <a:lnTo>
                      <a:pt x="19" y="37"/>
                    </a:lnTo>
                    <a:lnTo>
                      <a:pt x="20" y="38"/>
                    </a:lnTo>
                    <a:lnTo>
                      <a:pt x="20" y="38"/>
                    </a:lnTo>
                    <a:lnTo>
                      <a:pt x="23" y="40"/>
                    </a:lnTo>
                    <a:lnTo>
                      <a:pt x="26" y="42"/>
                    </a:lnTo>
                    <a:lnTo>
                      <a:pt x="33" y="44"/>
                    </a:lnTo>
                    <a:lnTo>
                      <a:pt x="33" y="44"/>
                    </a:lnTo>
                    <a:lnTo>
                      <a:pt x="36" y="45"/>
                    </a:lnTo>
                    <a:lnTo>
                      <a:pt x="40" y="48"/>
                    </a:lnTo>
                    <a:lnTo>
                      <a:pt x="46" y="52"/>
                    </a:lnTo>
                    <a:lnTo>
                      <a:pt x="46" y="52"/>
                    </a:lnTo>
                    <a:lnTo>
                      <a:pt x="49" y="52"/>
                    </a:lnTo>
                    <a:lnTo>
                      <a:pt x="53" y="51"/>
                    </a:lnTo>
                    <a:lnTo>
                      <a:pt x="62" y="50"/>
                    </a:lnTo>
                    <a:lnTo>
                      <a:pt x="62" y="50"/>
                    </a:lnTo>
                    <a:lnTo>
                      <a:pt x="64" y="51"/>
                    </a:lnTo>
                    <a:lnTo>
                      <a:pt x="67" y="52"/>
                    </a:lnTo>
                    <a:lnTo>
                      <a:pt x="70" y="58"/>
                    </a:lnTo>
                    <a:lnTo>
                      <a:pt x="70" y="58"/>
                    </a:lnTo>
                    <a:lnTo>
                      <a:pt x="73" y="61"/>
                    </a:lnTo>
                    <a:lnTo>
                      <a:pt x="80" y="62"/>
                    </a:lnTo>
                    <a:lnTo>
                      <a:pt x="87" y="64"/>
                    </a:lnTo>
                    <a:lnTo>
                      <a:pt x="91" y="67"/>
                    </a:lnTo>
                    <a:lnTo>
                      <a:pt x="91" y="67"/>
                    </a:lnTo>
                    <a:lnTo>
                      <a:pt x="97" y="68"/>
                    </a:lnTo>
                    <a:lnTo>
                      <a:pt x="106" y="68"/>
                    </a:lnTo>
                    <a:lnTo>
                      <a:pt x="114" y="67"/>
                    </a:lnTo>
                    <a:lnTo>
                      <a:pt x="119" y="64"/>
                    </a:lnTo>
                    <a:lnTo>
                      <a:pt x="119" y="64"/>
                    </a:lnTo>
                    <a:lnTo>
                      <a:pt x="121" y="61"/>
                    </a:lnTo>
                    <a:lnTo>
                      <a:pt x="121" y="57"/>
                    </a:lnTo>
                    <a:lnTo>
                      <a:pt x="120" y="48"/>
                    </a:lnTo>
                    <a:lnTo>
                      <a:pt x="120" y="48"/>
                    </a:lnTo>
                    <a:lnTo>
                      <a:pt x="121" y="44"/>
                    </a:lnTo>
                    <a:lnTo>
                      <a:pt x="121" y="4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9" name="Myanmar">
                <a:extLst>
                  <a:ext uri="{FF2B5EF4-FFF2-40B4-BE49-F238E27FC236}">
                    <a16:creationId xmlns:a16="http://schemas.microsoft.com/office/drawing/2014/main" id="{F63EFEE5-F56A-7344-B106-15F05E99F6A5}"/>
                  </a:ext>
                </a:extLst>
              </p:cNvPr>
              <p:cNvSpPr>
                <a:spLocks/>
              </p:cNvSpPr>
              <p:nvPr/>
            </p:nvSpPr>
            <p:spPr bwMode="auto">
              <a:xfrm>
                <a:off x="6488321" y="3615721"/>
                <a:ext cx="204210" cy="443935"/>
              </a:xfrm>
              <a:custGeom>
                <a:avLst/>
                <a:gdLst/>
                <a:ahLst/>
                <a:cxnLst>
                  <a:cxn ang="0">
                    <a:pos x="108" y="267"/>
                  </a:cxn>
                  <a:cxn ang="0">
                    <a:pos x="106" y="251"/>
                  </a:cxn>
                  <a:cxn ang="0">
                    <a:pos x="96" y="237"/>
                  </a:cxn>
                  <a:cxn ang="0">
                    <a:pos x="94" y="224"/>
                  </a:cxn>
                  <a:cxn ang="0">
                    <a:pos x="97" y="213"/>
                  </a:cxn>
                  <a:cxn ang="0">
                    <a:pos x="100" y="207"/>
                  </a:cxn>
                  <a:cxn ang="0">
                    <a:pos x="96" y="200"/>
                  </a:cxn>
                  <a:cxn ang="0">
                    <a:pos x="91" y="193"/>
                  </a:cxn>
                  <a:cxn ang="0">
                    <a:pos x="83" y="180"/>
                  </a:cxn>
                  <a:cxn ang="0">
                    <a:pos x="90" y="150"/>
                  </a:cxn>
                  <a:cxn ang="0">
                    <a:pos x="104" y="149"/>
                  </a:cxn>
                  <a:cxn ang="0">
                    <a:pos x="114" y="142"/>
                  </a:cxn>
                  <a:cxn ang="0">
                    <a:pos x="123" y="136"/>
                  </a:cxn>
                  <a:cxn ang="0">
                    <a:pos x="130" y="130"/>
                  </a:cxn>
                  <a:cxn ang="0">
                    <a:pos x="137" y="118"/>
                  </a:cxn>
                  <a:cxn ang="0">
                    <a:pos x="135" y="118"/>
                  </a:cxn>
                  <a:cxn ang="0">
                    <a:pos x="123" y="119"/>
                  </a:cxn>
                  <a:cxn ang="0">
                    <a:pos x="120" y="112"/>
                  </a:cxn>
                  <a:cxn ang="0">
                    <a:pos x="110" y="109"/>
                  </a:cxn>
                  <a:cxn ang="0">
                    <a:pos x="113" y="96"/>
                  </a:cxn>
                  <a:cxn ang="0">
                    <a:pos x="106" y="92"/>
                  </a:cxn>
                  <a:cxn ang="0">
                    <a:pos x="101" y="79"/>
                  </a:cxn>
                  <a:cxn ang="0">
                    <a:pos x="96" y="75"/>
                  </a:cxn>
                  <a:cxn ang="0">
                    <a:pos x="84" y="76"/>
                  </a:cxn>
                  <a:cxn ang="0">
                    <a:pos x="83" y="68"/>
                  </a:cxn>
                  <a:cxn ang="0">
                    <a:pos x="97" y="45"/>
                  </a:cxn>
                  <a:cxn ang="0">
                    <a:pos x="100" y="22"/>
                  </a:cxn>
                  <a:cxn ang="0">
                    <a:pos x="96" y="14"/>
                  </a:cxn>
                  <a:cxn ang="0">
                    <a:pos x="91" y="11"/>
                  </a:cxn>
                  <a:cxn ang="0">
                    <a:pos x="87" y="1"/>
                  </a:cxn>
                  <a:cxn ang="0">
                    <a:pos x="77" y="2"/>
                  </a:cxn>
                  <a:cxn ang="0">
                    <a:pos x="76" y="5"/>
                  </a:cxn>
                  <a:cxn ang="0">
                    <a:pos x="71" y="11"/>
                  </a:cxn>
                  <a:cxn ang="0">
                    <a:pos x="74" y="21"/>
                  </a:cxn>
                  <a:cxn ang="0">
                    <a:pos x="70" y="22"/>
                  </a:cxn>
                  <a:cxn ang="0">
                    <a:pos x="66" y="19"/>
                  </a:cxn>
                  <a:cxn ang="0">
                    <a:pos x="47" y="32"/>
                  </a:cxn>
                  <a:cxn ang="0">
                    <a:pos x="43" y="45"/>
                  </a:cxn>
                  <a:cxn ang="0">
                    <a:pos x="39" y="59"/>
                  </a:cxn>
                  <a:cxn ang="0">
                    <a:pos x="33" y="78"/>
                  </a:cxn>
                  <a:cxn ang="0">
                    <a:pos x="29" y="79"/>
                  </a:cxn>
                  <a:cxn ang="0">
                    <a:pos x="20" y="85"/>
                  </a:cxn>
                  <a:cxn ang="0">
                    <a:pos x="16" y="98"/>
                  </a:cxn>
                  <a:cxn ang="0">
                    <a:pos x="13" y="110"/>
                  </a:cxn>
                  <a:cxn ang="0">
                    <a:pos x="6" y="123"/>
                  </a:cxn>
                  <a:cxn ang="0">
                    <a:pos x="7" y="138"/>
                  </a:cxn>
                  <a:cxn ang="0">
                    <a:pos x="19" y="146"/>
                  </a:cxn>
                  <a:cxn ang="0">
                    <a:pos x="34" y="176"/>
                  </a:cxn>
                  <a:cxn ang="0">
                    <a:pos x="34" y="197"/>
                  </a:cxn>
                  <a:cxn ang="0">
                    <a:pos x="32" y="207"/>
                  </a:cxn>
                  <a:cxn ang="0">
                    <a:pos x="47" y="213"/>
                  </a:cxn>
                  <a:cxn ang="0">
                    <a:pos x="57" y="204"/>
                  </a:cxn>
                  <a:cxn ang="0">
                    <a:pos x="67" y="193"/>
                  </a:cxn>
                  <a:cxn ang="0">
                    <a:pos x="76" y="199"/>
                  </a:cxn>
                  <a:cxn ang="0">
                    <a:pos x="83" y="217"/>
                  </a:cxn>
                  <a:cxn ang="0">
                    <a:pos x="88" y="248"/>
                  </a:cxn>
                  <a:cxn ang="0">
                    <a:pos x="97" y="264"/>
                  </a:cxn>
                  <a:cxn ang="0">
                    <a:pos x="96" y="281"/>
                  </a:cxn>
                  <a:cxn ang="0">
                    <a:pos x="98" y="295"/>
                  </a:cxn>
                  <a:cxn ang="0">
                    <a:pos x="103" y="297"/>
                  </a:cxn>
                </a:cxnLst>
                <a:rect l="0" t="0" r="r" b="b"/>
                <a:pathLst>
                  <a:path w="138" h="300">
                    <a:moveTo>
                      <a:pt x="111" y="274"/>
                    </a:moveTo>
                    <a:lnTo>
                      <a:pt x="111" y="274"/>
                    </a:lnTo>
                    <a:lnTo>
                      <a:pt x="111" y="270"/>
                    </a:lnTo>
                    <a:lnTo>
                      <a:pt x="108" y="267"/>
                    </a:lnTo>
                    <a:lnTo>
                      <a:pt x="107" y="264"/>
                    </a:lnTo>
                    <a:lnTo>
                      <a:pt x="107" y="261"/>
                    </a:lnTo>
                    <a:lnTo>
                      <a:pt x="107" y="261"/>
                    </a:lnTo>
                    <a:lnTo>
                      <a:pt x="106" y="251"/>
                    </a:lnTo>
                    <a:lnTo>
                      <a:pt x="104" y="247"/>
                    </a:lnTo>
                    <a:lnTo>
                      <a:pt x="100" y="241"/>
                    </a:lnTo>
                    <a:lnTo>
                      <a:pt x="100" y="241"/>
                    </a:lnTo>
                    <a:lnTo>
                      <a:pt x="96" y="237"/>
                    </a:lnTo>
                    <a:lnTo>
                      <a:pt x="94" y="233"/>
                    </a:lnTo>
                    <a:lnTo>
                      <a:pt x="93" y="229"/>
                    </a:lnTo>
                    <a:lnTo>
                      <a:pt x="94" y="224"/>
                    </a:lnTo>
                    <a:lnTo>
                      <a:pt x="94" y="224"/>
                    </a:lnTo>
                    <a:lnTo>
                      <a:pt x="96" y="221"/>
                    </a:lnTo>
                    <a:lnTo>
                      <a:pt x="97" y="217"/>
                    </a:lnTo>
                    <a:lnTo>
                      <a:pt x="96" y="214"/>
                    </a:lnTo>
                    <a:lnTo>
                      <a:pt x="97" y="213"/>
                    </a:lnTo>
                    <a:lnTo>
                      <a:pt x="97" y="213"/>
                    </a:lnTo>
                    <a:lnTo>
                      <a:pt x="98" y="213"/>
                    </a:lnTo>
                    <a:lnTo>
                      <a:pt x="100" y="210"/>
                    </a:lnTo>
                    <a:lnTo>
                      <a:pt x="100" y="207"/>
                    </a:lnTo>
                    <a:lnTo>
                      <a:pt x="97" y="206"/>
                    </a:lnTo>
                    <a:lnTo>
                      <a:pt x="97" y="206"/>
                    </a:lnTo>
                    <a:lnTo>
                      <a:pt x="96" y="203"/>
                    </a:lnTo>
                    <a:lnTo>
                      <a:pt x="96" y="200"/>
                    </a:lnTo>
                    <a:lnTo>
                      <a:pt x="96" y="197"/>
                    </a:lnTo>
                    <a:lnTo>
                      <a:pt x="94" y="194"/>
                    </a:lnTo>
                    <a:lnTo>
                      <a:pt x="94" y="194"/>
                    </a:lnTo>
                    <a:lnTo>
                      <a:pt x="91" y="193"/>
                    </a:lnTo>
                    <a:lnTo>
                      <a:pt x="87" y="189"/>
                    </a:lnTo>
                    <a:lnTo>
                      <a:pt x="84" y="184"/>
                    </a:lnTo>
                    <a:lnTo>
                      <a:pt x="83" y="180"/>
                    </a:lnTo>
                    <a:lnTo>
                      <a:pt x="83" y="180"/>
                    </a:lnTo>
                    <a:lnTo>
                      <a:pt x="86" y="155"/>
                    </a:lnTo>
                    <a:lnTo>
                      <a:pt x="86" y="155"/>
                    </a:lnTo>
                    <a:lnTo>
                      <a:pt x="87" y="152"/>
                    </a:lnTo>
                    <a:lnTo>
                      <a:pt x="90" y="150"/>
                    </a:lnTo>
                    <a:lnTo>
                      <a:pt x="94" y="150"/>
                    </a:lnTo>
                    <a:lnTo>
                      <a:pt x="94" y="150"/>
                    </a:lnTo>
                    <a:lnTo>
                      <a:pt x="100" y="150"/>
                    </a:lnTo>
                    <a:lnTo>
                      <a:pt x="104" y="149"/>
                    </a:lnTo>
                    <a:lnTo>
                      <a:pt x="107" y="146"/>
                    </a:lnTo>
                    <a:lnTo>
                      <a:pt x="107" y="146"/>
                    </a:lnTo>
                    <a:lnTo>
                      <a:pt x="110" y="143"/>
                    </a:lnTo>
                    <a:lnTo>
                      <a:pt x="114" y="142"/>
                    </a:lnTo>
                    <a:lnTo>
                      <a:pt x="118" y="140"/>
                    </a:lnTo>
                    <a:lnTo>
                      <a:pt x="121" y="138"/>
                    </a:lnTo>
                    <a:lnTo>
                      <a:pt x="121" y="138"/>
                    </a:lnTo>
                    <a:lnTo>
                      <a:pt x="123" y="136"/>
                    </a:lnTo>
                    <a:lnTo>
                      <a:pt x="125" y="135"/>
                    </a:lnTo>
                    <a:lnTo>
                      <a:pt x="128" y="133"/>
                    </a:lnTo>
                    <a:lnTo>
                      <a:pt x="130" y="130"/>
                    </a:lnTo>
                    <a:lnTo>
                      <a:pt x="130" y="130"/>
                    </a:lnTo>
                    <a:lnTo>
                      <a:pt x="131" y="128"/>
                    </a:lnTo>
                    <a:lnTo>
                      <a:pt x="134" y="123"/>
                    </a:lnTo>
                    <a:lnTo>
                      <a:pt x="137" y="118"/>
                    </a:lnTo>
                    <a:lnTo>
                      <a:pt x="137" y="118"/>
                    </a:lnTo>
                    <a:lnTo>
                      <a:pt x="138" y="118"/>
                    </a:lnTo>
                    <a:lnTo>
                      <a:pt x="138" y="118"/>
                    </a:lnTo>
                    <a:lnTo>
                      <a:pt x="137" y="118"/>
                    </a:lnTo>
                    <a:lnTo>
                      <a:pt x="135" y="118"/>
                    </a:lnTo>
                    <a:lnTo>
                      <a:pt x="131" y="119"/>
                    </a:lnTo>
                    <a:lnTo>
                      <a:pt x="131" y="119"/>
                    </a:lnTo>
                    <a:lnTo>
                      <a:pt x="125" y="120"/>
                    </a:lnTo>
                    <a:lnTo>
                      <a:pt x="123" y="119"/>
                    </a:lnTo>
                    <a:lnTo>
                      <a:pt x="121" y="118"/>
                    </a:lnTo>
                    <a:lnTo>
                      <a:pt x="121" y="113"/>
                    </a:lnTo>
                    <a:lnTo>
                      <a:pt x="121" y="113"/>
                    </a:lnTo>
                    <a:lnTo>
                      <a:pt x="120" y="112"/>
                    </a:lnTo>
                    <a:lnTo>
                      <a:pt x="118" y="110"/>
                    </a:lnTo>
                    <a:lnTo>
                      <a:pt x="111" y="109"/>
                    </a:lnTo>
                    <a:lnTo>
                      <a:pt x="111" y="109"/>
                    </a:lnTo>
                    <a:lnTo>
                      <a:pt x="110" y="109"/>
                    </a:lnTo>
                    <a:lnTo>
                      <a:pt x="110" y="106"/>
                    </a:lnTo>
                    <a:lnTo>
                      <a:pt x="111" y="99"/>
                    </a:lnTo>
                    <a:lnTo>
                      <a:pt x="111" y="99"/>
                    </a:lnTo>
                    <a:lnTo>
                      <a:pt x="113" y="96"/>
                    </a:lnTo>
                    <a:lnTo>
                      <a:pt x="111" y="93"/>
                    </a:lnTo>
                    <a:lnTo>
                      <a:pt x="108" y="92"/>
                    </a:lnTo>
                    <a:lnTo>
                      <a:pt x="106" y="92"/>
                    </a:lnTo>
                    <a:lnTo>
                      <a:pt x="106" y="92"/>
                    </a:lnTo>
                    <a:lnTo>
                      <a:pt x="103" y="91"/>
                    </a:lnTo>
                    <a:lnTo>
                      <a:pt x="101" y="86"/>
                    </a:lnTo>
                    <a:lnTo>
                      <a:pt x="100" y="82"/>
                    </a:lnTo>
                    <a:lnTo>
                      <a:pt x="101" y="79"/>
                    </a:lnTo>
                    <a:lnTo>
                      <a:pt x="101" y="79"/>
                    </a:lnTo>
                    <a:lnTo>
                      <a:pt x="101" y="78"/>
                    </a:lnTo>
                    <a:lnTo>
                      <a:pt x="100" y="76"/>
                    </a:lnTo>
                    <a:lnTo>
                      <a:pt x="96" y="75"/>
                    </a:lnTo>
                    <a:lnTo>
                      <a:pt x="91" y="75"/>
                    </a:lnTo>
                    <a:lnTo>
                      <a:pt x="86" y="76"/>
                    </a:lnTo>
                    <a:lnTo>
                      <a:pt x="86" y="76"/>
                    </a:lnTo>
                    <a:lnTo>
                      <a:pt x="84" y="76"/>
                    </a:lnTo>
                    <a:lnTo>
                      <a:pt x="83" y="75"/>
                    </a:lnTo>
                    <a:lnTo>
                      <a:pt x="84" y="71"/>
                    </a:lnTo>
                    <a:lnTo>
                      <a:pt x="83" y="68"/>
                    </a:lnTo>
                    <a:lnTo>
                      <a:pt x="83" y="68"/>
                    </a:lnTo>
                    <a:lnTo>
                      <a:pt x="84" y="64"/>
                    </a:lnTo>
                    <a:lnTo>
                      <a:pt x="87" y="58"/>
                    </a:lnTo>
                    <a:lnTo>
                      <a:pt x="91" y="52"/>
                    </a:lnTo>
                    <a:lnTo>
                      <a:pt x="97" y="45"/>
                    </a:lnTo>
                    <a:lnTo>
                      <a:pt x="97" y="45"/>
                    </a:lnTo>
                    <a:lnTo>
                      <a:pt x="100" y="41"/>
                    </a:lnTo>
                    <a:lnTo>
                      <a:pt x="101" y="34"/>
                    </a:lnTo>
                    <a:lnTo>
                      <a:pt x="100" y="22"/>
                    </a:lnTo>
                    <a:lnTo>
                      <a:pt x="100" y="22"/>
                    </a:lnTo>
                    <a:lnTo>
                      <a:pt x="100" y="18"/>
                    </a:lnTo>
                    <a:lnTo>
                      <a:pt x="98" y="15"/>
                    </a:lnTo>
                    <a:lnTo>
                      <a:pt x="96" y="14"/>
                    </a:lnTo>
                    <a:lnTo>
                      <a:pt x="94" y="14"/>
                    </a:lnTo>
                    <a:lnTo>
                      <a:pt x="94" y="14"/>
                    </a:lnTo>
                    <a:lnTo>
                      <a:pt x="93" y="14"/>
                    </a:lnTo>
                    <a:lnTo>
                      <a:pt x="91" y="11"/>
                    </a:lnTo>
                    <a:lnTo>
                      <a:pt x="90" y="5"/>
                    </a:lnTo>
                    <a:lnTo>
                      <a:pt x="90" y="5"/>
                    </a:lnTo>
                    <a:lnTo>
                      <a:pt x="90" y="2"/>
                    </a:lnTo>
                    <a:lnTo>
                      <a:pt x="87" y="1"/>
                    </a:lnTo>
                    <a:lnTo>
                      <a:pt x="83" y="0"/>
                    </a:lnTo>
                    <a:lnTo>
                      <a:pt x="80" y="1"/>
                    </a:lnTo>
                    <a:lnTo>
                      <a:pt x="80" y="1"/>
                    </a:lnTo>
                    <a:lnTo>
                      <a:pt x="77" y="2"/>
                    </a:lnTo>
                    <a:lnTo>
                      <a:pt x="77" y="2"/>
                    </a:lnTo>
                    <a:lnTo>
                      <a:pt x="77" y="2"/>
                    </a:lnTo>
                    <a:lnTo>
                      <a:pt x="77" y="2"/>
                    </a:lnTo>
                    <a:lnTo>
                      <a:pt x="76" y="5"/>
                    </a:lnTo>
                    <a:lnTo>
                      <a:pt x="76" y="8"/>
                    </a:lnTo>
                    <a:lnTo>
                      <a:pt x="73" y="9"/>
                    </a:lnTo>
                    <a:lnTo>
                      <a:pt x="73" y="9"/>
                    </a:lnTo>
                    <a:lnTo>
                      <a:pt x="71" y="11"/>
                    </a:lnTo>
                    <a:lnTo>
                      <a:pt x="71" y="14"/>
                    </a:lnTo>
                    <a:lnTo>
                      <a:pt x="73" y="17"/>
                    </a:lnTo>
                    <a:lnTo>
                      <a:pt x="74" y="21"/>
                    </a:lnTo>
                    <a:lnTo>
                      <a:pt x="74" y="21"/>
                    </a:lnTo>
                    <a:lnTo>
                      <a:pt x="76" y="22"/>
                    </a:lnTo>
                    <a:lnTo>
                      <a:pt x="76" y="24"/>
                    </a:lnTo>
                    <a:lnTo>
                      <a:pt x="73" y="24"/>
                    </a:lnTo>
                    <a:lnTo>
                      <a:pt x="70" y="22"/>
                    </a:lnTo>
                    <a:lnTo>
                      <a:pt x="67" y="21"/>
                    </a:lnTo>
                    <a:lnTo>
                      <a:pt x="67" y="21"/>
                    </a:lnTo>
                    <a:lnTo>
                      <a:pt x="67" y="19"/>
                    </a:lnTo>
                    <a:lnTo>
                      <a:pt x="66" y="19"/>
                    </a:lnTo>
                    <a:lnTo>
                      <a:pt x="63" y="21"/>
                    </a:lnTo>
                    <a:lnTo>
                      <a:pt x="54" y="27"/>
                    </a:lnTo>
                    <a:lnTo>
                      <a:pt x="54" y="27"/>
                    </a:lnTo>
                    <a:lnTo>
                      <a:pt x="47" y="32"/>
                    </a:lnTo>
                    <a:lnTo>
                      <a:pt x="44" y="35"/>
                    </a:lnTo>
                    <a:lnTo>
                      <a:pt x="44" y="39"/>
                    </a:lnTo>
                    <a:lnTo>
                      <a:pt x="44" y="39"/>
                    </a:lnTo>
                    <a:lnTo>
                      <a:pt x="43" y="45"/>
                    </a:lnTo>
                    <a:lnTo>
                      <a:pt x="42" y="49"/>
                    </a:lnTo>
                    <a:lnTo>
                      <a:pt x="40" y="55"/>
                    </a:lnTo>
                    <a:lnTo>
                      <a:pt x="39" y="59"/>
                    </a:lnTo>
                    <a:lnTo>
                      <a:pt x="39" y="59"/>
                    </a:lnTo>
                    <a:lnTo>
                      <a:pt x="39" y="64"/>
                    </a:lnTo>
                    <a:lnTo>
                      <a:pt x="37" y="69"/>
                    </a:lnTo>
                    <a:lnTo>
                      <a:pt x="34" y="75"/>
                    </a:lnTo>
                    <a:lnTo>
                      <a:pt x="33" y="78"/>
                    </a:lnTo>
                    <a:lnTo>
                      <a:pt x="33" y="78"/>
                    </a:lnTo>
                    <a:lnTo>
                      <a:pt x="33" y="79"/>
                    </a:lnTo>
                    <a:lnTo>
                      <a:pt x="32" y="79"/>
                    </a:lnTo>
                    <a:lnTo>
                      <a:pt x="29" y="79"/>
                    </a:lnTo>
                    <a:lnTo>
                      <a:pt x="22" y="78"/>
                    </a:lnTo>
                    <a:lnTo>
                      <a:pt x="22" y="78"/>
                    </a:lnTo>
                    <a:lnTo>
                      <a:pt x="20" y="79"/>
                    </a:lnTo>
                    <a:lnTo>
                      <a:pt x="20" y="85"/>
                    </a:lnTo>
                    <a:lnTo>
                      <a:pt x="19" y="89"/>
                    </a:lnTo>
                    <a:lnTo>
                      <a:pt x="17" y="93"/>
                    </a:lnTo>
                    <a:lnTo>
                      <a:pt x="17" y="93"/>
                    </a:lnTo>
                    <a:lnTo>
                      <a:pt x="16" y="98"/>
                    </a:lnTo>
                    <a:lnTo>
                      <a:pt x="16" y="103"/>
                    </a:lnTo>
                    <a:lnTo>
                      <a:pt x="16" y="109"/>
                    </a:lnTo>
                    <a:lnTo>
                      <a:pt x="14" y="110"/>
                    </a:lnTo>
                    <a:lnTo>
                      <a:pt x="13" y="110"/>
                    </a:lnTo>
                    <a:lnTo>
                      <a:pt x="13" y="110"/>
                    </a:lnTo>
                    <a:lnTo>
                      <a:pt x="10" y="113"/>
                    </a:lnTo>
                    <a:lnTo>
                      <a:pt x="9" y="116"/>
                    </a:lnTo>
                    <a:lnTo>
                      <a:pt x="6" y="123"/>
                    </a:lnTo>
                    <a:lnTo>
                      <a:pt x="6" y="123"/>
                    </a:lnTo>
                    <a:lnTo>
                      <a:pt x="0" y="128"/>
                    </a:lnTo>
                    <a:lnTo>
                      <a:pt x="0" y="128"/>
                    </a:lnTo>
                    <a:lnTo>
                      <a:pt x="7" y="138"/>
                    </a:lnTo>
                    <a:lnTo>
                      <a:pt x="12" y="140"/>
                    </a:lnTo>
                    <a:lnTo>
                      <a:pt x="16" y="143"/>
                    </a:lnTo>
                    <a:lnTo>
                      <a:pt x="16" y="143"/>
                    </a:lnTo>
                    <a:lnTo>
                      <a:pt x="19" y="146"/>
                    </a:lnTo>
                    <a:lnTo>
                      <a:pt x="22" y="149"/>
                    </a:lnTo>
                    <a:lnTo>
                      <a:pt x="27" y="157"/>
                    </a:lnTo>
                    <a:lnTo>
                      <a:pt x="32" y="167"/>
                    </a:lnTo>
                    <a:lnTo>
                      <a:pt x="34" y="176"/>
                    </a:lnTo>
                    <a:lnTo>
                      <a:pt x="34" y="176"/>
                    </a:lnTo>
                    <a:lnTo>
                      <a:pt x="36" y="183"/>
                    </a:lnTo>
                    <a:lnTo>
                      <a:pt x="34" y="190"/>
                    </a:lnTo>
                    <a:lnTo>
                      <a:pt x="34" y="197"/>
                    </a:lnTo>
                    <a:lnTo>
                      <a:pt x="32" y="202"/>
                    </a:lnTo>
                    <a:lnTo>
                      <a:pt x="32" y="202"/>
                    </a:lnTo>
                    <a:lnTo>
                      <a:pt x="30" y="204"/>
                    </a:lnTo>
                    <a:lnTo>
                      <a:pt x="32" y="207"/>
                    </a:lnTo>
                    <a:lnTo>
                      <a:pt x="39" y="210"/>
                    </a:lnTo>
                    <a:lnTo>
                      <a:pt x="39" y="210"/>
                    </a:lnTo>
                    <a:lnTo>
                      <a:pt x="43" y="211"/>
                    </a:lnTo>
                    <a:lnTo>
                      <a:pt x="47" y="213"/>
                    </a:lnTo>
                    <a:lnTo>
                      <a:pt x="50" y="211"/>
                    </a:lnTo>
                    <a:lnTo>
                      <a:pt x="54" y="209"/>
                    </a:lnTo>
                    <a:lnTo>
                      <a:pt x="54" y="209"/>
                    </a:lnTo>
                    <a:lnTo>
                      <a:pt x="57" y="204"/>
                    </a:lnTo>
                    <a:lnTo>
                      <a:pt x="61" y="200"/>
                    </a:lnTo>
                    <a:lnTo>
                      <a:pt x="66" y="197"/>
                    </a:lnTo>
                    <a:lnTo>
                      <a:pt x="67" y="193"/>
                    </a:lnTo>
                    <a:lnTo>
                      <a:pt x="67" y="193"/>
                    </a:lnTo>
                    <a:lnTo>
                      <a:pt x="69" y="190"/>
                    </a:lnTo>
                    <a:lnTo>
                      <a:pt x="69" y="190"/>
                    </a:lnTo>
                    <a:lnTo>
                      <a:pt x="71" y="192"/>
                    </a:lnTo>
                    <a:lnTo>
                      <a:pt x="76" y="199"/>
                    </a:lnTo>
                    <a:lnTo>
                      <a:pt x="76" y="199"/>
                    </a:lnTo>
                    <a:lnTo>
                      <a:pt x="78" y="202"/>
                    </a:lnTo>
                    <a:lnTo>
                      <a:pt x="80" y="206"/>
                    </a:lnTo>
                    <a:lnTo>
                      <a:pt x="83" y="217"/>
                    </a:lnTo>
                    <a:lnTo>
                      <a:pt x="83" y="217"/>
                    </a:lnTo>
                    <a:lnTo>
                      <a:pt x="84" y="234"/>
                    </a:lnTo>
                    <a:lnTo>
                      <a:pt x="86" y="244"/>
                    </a:lnTo>
                    <a:lnTo>
                      <a:pt x="88" y="248"/>
                    </a:lnTo>
                    <a:lnTo>
                      <a:pt x="90" y="251"/>
                    </a:lnTo>
                    <a:lnTo>
                      <a:pt x="90" y="251"/>
                    </a:lnTo>
                    <a:lnTo>
                      <a:pt x="94" y="257"/>
                    </a:lnTo>
                    <a:lnTo>
                      <a:pt x="97" y="264"/>
                    </a:lnTo>
                    <a:lnTo>
                      <a:pt x="97" y="271"/>
                    </a:lnTo>
                    <a:lnTo>
                      <a:pt x="97" y="277"/>
                    </a:lnTo>
                    <a:lnTo>
                      <a:pt x="97" y="277"/>
                    </a:lnTo>
                    <a:lnTo>
                      <a:pt x="96" y="281"/>
                    </a:lnTo>
                    <a:lnTo>
                      <a:pt x="97" y="285"/>
                    </a:lnTo>
                    <a:lnTo>
                      <a:pt x="98" y="291"/>
                    </a:lnTo>
                    <a:lnTo>
                      <a:pt x="98" y="295"/>
                    </a:lnTo>
                    <a:lnTo>
                      <a:pt x="98" y="295"/>
                    </a:lnTo>
                    <a:lnTo>
                      <a:pt x="98" y="300"/>
                    </a:lnTo>
                    <a:lnTo>
                      <a:pt x="98" y="300"/>
                    </a:lnTo>
                    <a:lnTo>
                      <a:pt x="100" y="300"/>
                    </a:lnTo>
                    <a:lnTo>
                      <a:pt x="103" y="297"/>
                    </a:lnTo>
                    <a:lnTo>
                      <a:pt x="107" y="287"/>
                    </a:lnTo>
                    <a:lnTo>
                      <a:pt x="111" y="274"/>
                    </a:lnTo>
                    <a:lnTo>
                      <a:pt x="111" y="27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0" name="Bhutan">
                <a:extLst>
                  <a:ext uri="{FF2B5EF4-FFF2-40B4-BE49-F238E27FC236}">
                    <a16:creationId xmlns:a16="http://schemas.microsoft.com/office/drawing/2014/main" id="{EFD678DD-2468-FE45-AF43-A14E74B6076F}"/>
                  </a:ext>
                </a:extLst>
              </p:cNvPr>
              <p:cNvSpPr>
                <a:spLocks/>
              </p:cNvSpPr>
              <p:nvPr/>
            </p:nvSpPr>
            <p:spPr bwMode="auto">
              <a:xfrm>
                <a:off x="6421730" y="3621641"/>
                <a:ext cx="66591" cy="39954"/>
              </a:xfrm>
              <a:custGeom>
                <a:avLst/>
                <a:gdLst/>
                <a:ahLst/>
                <a:cxnLst>
                  <a:cxn ang="0">
                    <a:pos x="45" y="8"/>
                  </a:cxn>
                  <a:cxn ang="0">
                    <a:pos x="45" y="8"/>
                  </a:cxn>
                  <a:cxn ang="0">
                    <a:pos x="40" y="4"/>
                  </a:cxn>
                  <a:cxn ang="0">
                    <a:pos x="35" y="4"/>
                  </a:cxn>
                  <a:cxn ang="0">
                    <a:pos x="31" y="4"/>
                  </a:cxn>
                  <a:cxn ang="0">
                    <a:pos x="27" y="4"/>
                  </a:cxn>
                  <a:cxn ang="0">
                    <a:pos x="27" y="4"/>
                  </a:cxn>
                  <a:cxn ang="0">
                    <a:pos x="20" y="0"/>
                  </a:cxn>
                  <a:cxn ang="0">
                    <a:pos x="17" y="0"/>
                  </a:cxn>
                  <a:cxn ang="0">
                    <a:pos x="14" y="1"/>
                  </a:cxn>
                  <a:cxn ang="0">
                    <a:pos x="14" y="1"/>
                  </a:cxn>
                  <a:cxn ang="0">
                    <a:pos x="8" y="4"/>
                  </a:cxn>
                  <a:cxn ang="0">
                    <a:pos x="5" y="7"/>
                  </a:cxn>
                  <a:cxn ang="0">
                    <a:pos x="3" y="11"/>
                  </a:cxn>
                  <a:cxn ang="0">
                    <a:pos x="3" y="11"/>
                  </a:cxn>
                  <a:cxn ang="0">
                    <a:pos x="0" y="18"/>
                  </a:cxn>
                  <a:cxn ang="0">
                    <a:pos x="0" y="18"/>
                  </a:cxn>
                  <a:cxn ang="0">
                    <a:pos x="1" y="21"/>
                  </a:cxn>
                  <a:cxn ang="0">
                    <a:pos x="3" y="23"/>
                  </a:cxn>
                  <a:cxn ang="0">
                    <a:pos x="3" y="23"/>
                  </a:cxn>
                  <a:cxn ang="0">
                    <a:pos x="5" y="23"/>
                  </a:cxn>
                  <a:cxn ang="0">
                    <a:pos x="8" y="24"/>
                  </a:cxn>
                  <a:cxn ang="0">
                    <a:pos x="11" y="24"/>
                  </a:cxn>
                  <a:cxn ang="0">
                    <a:pos x="14" y="24"/>
                  </a:cxn>
                  <a:cxn ang="0">
                    <a:pos x="14" y="24"/>
                  </a:cxn>
                  <a:cxn ang="0">
                    <a:pos x="18" y="24"/>
                  </a:cxn>
                  <a:cxn ang="0">
                    <a:pos x="21" y="25"/>
                  </a:cxn>
                  <a:cxn ang="0">
                    <a:pos x="24" y="27"/>
                  </a:cxn>
                  <a:cxn ang="0">
                    <a:pos x="30" y="25"/>
                  </a:cxn>
                  <a:cxn ang="0">
                    <a:pos x="30" y="25"/>
                  </a:cxn>
                  <a:cxn ang="0">
                    <a:pos x="34" y="25"/>
                  </a:cxn>
                  <a:cxn ang="0">
                    <a:pos x="38" y="25"/>
                  </a:cxn>
                  <a:cxn ang="0">
                    <a:pos x="42" y="25"/>
                  </a:cxn>
                  <a:cxn ang="0">
                    <a:pos x="45" y="24"/>
                  </a:cxn>
                  <a:cxn ang="0">
                    <a:pos x="45" y="24"/>
                  </a:cxn>
                  <a:cxn ang="0">
                    <a:pos x="45" y="20"/>
                  </a:cxn>
                  <a:cxn ang="0">
                    <a:pos x="45" y="15"/>
                  </a:cxn>
                  <a:cxn ang="0">
                    <a:pos x="44" y="10"/>
                  </a:cxn>
                  <a:cxn ang="0">
                    <a:pos x="44" y="10"/>
                  </a:cxn>
                  <a:cxn ang="0">
                    <a:pos x="45" y="8"/>
                  </a:cxn>
                  <a:cxn ang="0">
                    <a:pos x="45" y="8"/>
                  </a:cxn>
                </a:cxnLst>
                <a:rect l="0" t="0" r="r" b="b"/>
                <a:pathLst>
                  <a:path w="45" h="27">
                    <a:moveTo>
                      <a:pt x="45" y="8"/>
                    </a:moveTo>
                    <a:lnTo>
                      <a:pt x="45" y="8"/>
                    </a:lnTo>
                    <a:lnTo>
                      <a:pt x="40" y="4"/>
                    </a:lnTo>
                    <a:lnTo>
                      <a:pt x="35" y="4"/>
                    </a:lnTo>
                    <a:lnTo>
                      <a:pt x="31" y="4"/>
                    </a:lnTo>
                    <a:lnTo>
                      <a:pt x="27" y="4"/>
                    </a:lnTo>
                    <a:lnTo>
                      <a:pt x="27" y="4"/>
                    </a:lnTo>
                    <a:lnTo>
                      <a:pt x="20" y="0"/>
                    </a:lnTo>
                    <a:lnTo>
                      <a:pt x="17" y="0"/>
                    </a:lnTo>
                    <a:lnTo>
                      <a:pt x="14" y="1"/>
                    </a:lnTo>
                    <a:lnTo>
                      <a:pt x="14" y="1"/>
                    </a:lnTo>
                    <a:lnTo>
                      <a:pt x="8" y="4"/>
                    </a:lnTo>
                    <a:lnTo>
                      <a:pt x="5" y="7"/>
                    </a:lnTo>
                    <a:lnTo>
                      <a:pt x="3" y="11"/>
                    </a:lnTo>
                    <a:lnTo>
                      <a:pt x="3" y="11"/>
                    </a:lnTo>
                    <a:lnTo>
                      <a:pt x="0" y="18"/>
                    </a:lnTo>
                    <a:lnTo>
                      <a:pt x="0" y="18"/>
                    </a:lnTo>
                    <a:lnTo>
                      <a:pt x="1" y="21"/>
                    </a:lnTo>
                    <a:lnTo>
                      <a:pt x="3" y="23"/>
                    </a:lnTo>
                    <a:lnTo>
                      <a:pt x="3" y="23"/>
                    </a:lnTo>
                    <a:lnTo>
                      <a:pt x="5" y="23"/>
                    </a:lnTo>
                    <a:lnTo>
                      <a:pt x="8" y="24"/>
                    </a:lnTo>
                    <a:lnTo>
                      <a:pt x="11" y="24"/>
                    </a:lnTo>
                    <a:lnTo>
                      <a:pt x="14" y="24"/>
                    </a:lnTo>
                    <a:lnTo>
                      <a:pt x="14" y="24"/>
                    </a:lnTo>
                    <a:lnTo>
                      <a:pt x="18" y="24"/>
                    </a:lnTo>
                    <a:lnTo>
                      <a:pt x="21" y="25"/>
                    </a:lnTo>
                    <a:lnTo>
                      <a:pt x="24" y="27"/>
                    </a:lnTo>
                    <a:lnTo>
                      <a:pt x="30" y="25"/>
                    </a:lnTo>
                    <a:lnTo>
                      <a:pt x="30" y="25"/>
                    </a:lnTo>
                    <a:lnTo>
                      <a:pt x="34" y="25"/>
                    </a:lnTo>
                    <a:lnTo>
                      <a:pt x="38" y="25"/>
                    </a:lnTo>
                    <a:lnTo>
                      <a:pt x="42" y="25"/>
                    </a:lnTo>
                    <a:lnTo>
                      <a:pt x="45" y="24"/>
                    </a:lnTo>
                    <a:lnTo>
                      <a:pt x="45" y="24"/>
                    </a:lnTo>
                    <a:lnTo>
                      <a:pt x="45" y="20"/>
                    </a:lnTo>
                    <a:lnTo>
                      <a:pt x="45" y="15"/>
                    </a:lnTo>
                    <a:lnTo>
                      <a:pt x="44" y="10"/>
                    </a:lnTo>
                    <a:lnTo>
                      <a:pt x="44" y="10"/>
                    </a:lnTo>
                    <a:lnTo>
                      <a:pt x="45" y="8"/>
                    </a:lnTo>
                    <a:lnTo>
                      <a:pt x="45" y="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1" name="Vietnam">
                <a:extLst>
                  <a:ext uri="{FF2B5EF4-FFF2-40B4-BE49-F238E27FC236}">
                    <a16:creationId xmlns:a16="http://schemas.microsoft.com/office/drawing/2014/main" id="{96B5BBB0-18C6-884C-8E52-B7161C8C2139}"/>
                  </a:ext>
                </a:extLst>
              </p:cNvPr>
              <p:cNvSpPr>
                <a:spLocks/>
              </p:cNvSpPr>
              <p:nvPr/>
            </p:nvSpPr>
            <p:spPr bwMode="auto">
              <a:xfrm>
                <a:off x="6717687" y="3747422"/>
                <a:ext cx="171655" cy="359588"/>
              </a:xfrm>
              <a:custGeom>
                <a:avLst/>
                <a:gdLst/>
                <a:ahLst/>
                <a:cxnLst>
                  <a:cxn ang="0">
                    <a:pos x="79" y="24"/>
                  </a:cxn>
                  <a:cxn ang="0">
                    <a:pos x="73" y="12"/>
                  </a:cxn>
                  <a:cxn ang="0">
                    <a:pos x="61" y="6"/>
                  </a:cxn>
                  <a:cxn ang="0">
                    <a:pos x="52" y="0"/>
                  </a:cxn>
                  <a:cxn ang="0">
                    <a:pos x="42" y="9"/>
                  </a:cxn>
                  <a:cxn ang="0">
                    <a:pos x="30" y="10"/>
                  </a:cxn>
                  <a:cxn ang="0">
                    <a:pos x="19" y="9"/>
                  </a:cxn>
                  <a:cxn ang="0">
                    <a:pos x="16" y="12"/>
                  </a:cxn>
                  <a:cxn ang="0">
                    <a:pos x="6" y="10"/>
                  </a:cxn>
                  <a:cxn ang="0">
                    <a:pos x="0" y="14"/>
                  </a:cxn>
                  <a:cxn ang="0">
                    <a:pos x="7" y="26"/>
                  </a:cxn>
                  <a:cxn ang="0">
                    <a:pos x="15" y="36"/>
                  </a:cxn>
                  <a:cxn ang="0">
                    <a:pos x="27" y="43"/>
                  </a:cxn>
                  <a:cxn ang="0">
                    <a:pos x="37" y="41"/>
                  </a:cxn>
                  <a:cxn ang="0">
                    <a:pos x="42" y="53"/>
                  </a:cxn>
                  <a:cxn ang="0">
                    <a:pos x="43" y="60"/>
                  </a:cxn>
                  <a:cxn ang="0">
                    <a:pos x="33" y="64"/>
                  </a:cxn>
                  <a:cxn ang="0">
                    <a:pos x="33" y="68"/>
                  </a:cxn>
                  <a:cxn ang="0">
                    <a:pos x="49" y="80"/>
                  </a:cxn>
                  <a:cxn ang="0">
                    <a:pos x="57" y="94"/>
                  </a:cxn>
                  <a:cxn ang="0">
                    <a:pos x="67" y="107"/>
                  </a:cxn>
                  <a:cxn ang="0">
                    <a:pos x="76" y="120"/>
                  </a:cxn>
                  <a:cxn ang="0">
                    <a:pos x="86" y="131"/>
                  </a:cxn>
                  <a:cxn ang="0">
                    <a:pos x="86" y="152"/>
                  </a:cxn>
                  <a:cxn ang="0">
                    <a:pos x="93" y="169"/>
                  </a:cxn>
                  <a:cxn ang="0">
                    <a:pos x="84" y="181"/>
                  </a:cxn>
                  <a:cxn ang="0">
                    <a:pos x="76" y="192"/>
                  </a:cxn>
                  <a:cxn ang="0">
                    <a:pos x="66" y="194"/>
                  </a:cxn>
                  <a:cxn ang="0">
                    <a:pos x="61" y="198"/>
                  </a:cxn>
                  <a:cxn ang="0">
                    <a:pos x="66" y="208"/>
                  </a:cxn>
                  <a:cxn ang="0">
                    <a:pos x="50" y="208"/>
                  </a:cxn>
                  <a:cxn ang="0">
                    <a:pos x="47" y="211"/>
                  </a:cxn>
                  <a:cxn ang="0">
                    <a:pos x="42" y="219"/>
                  </a:cxn>
                  <a:cxn ang="0">
                    <a:pos x="46" y="223"/>
                  </a:cxn>
                  <a:cxn ang="0">
                    <a:pos x="40" y="235"/>
                  </a:cxn>
                  <a:cxn ang="0">
                    <a:pos x="49" y="242"/>
                  </a:cxn>
                  <a:cxn ang="0">
                    <a:pos x="63" y="231"/>
                  </a:cxn>
                  <a:cxn ang="0">
                    <a:pos x="67" y="225"/>
                  </a:cxn>
                  <a:cxn ang="0">
                    <a:pos x="71" y="216"/>
                  </a:cxn>
                  <a:cxn ang="0">
                    <a:pos x="81" y="215"/>
                  </a:cxn>
                  <a:cxn ang="0">
                    <a:pos x="103" y="204"/>
                  </a:cxn>
                  <a:cxn ang="0">
                    <a:pos x="113" y="192"/>
                  </a:cxn>
                  <a:cxn ang="0">
                    <a:pos x="114" y="159"/>
                  </a:cxn>
                  <a:cxn ang="0">
                    <a:pos x="106" y="131"/>
                  </a:cxn>
                  <a:cxn ang="0">
                    <a:pos x="97" y="120"/>
                  </a:cxn>
                  <a:cxn ang="0">
                    <a:pos x="70" y="98"/>
                  </a:cxn>
                  <a:cxn ang="0">
                    <a:pos x="63" y="85"/>
                  </a:cxn>
                  <a:cxn ang="0">
                    <a:pos x="59" y="70"/>
                  </a:cxn>
                  <a:cxn ang="0">
                    <a:pos x="66" y="57"/>
                  </a:cxn>
                  <a:cxn ang="0">
                    <a:pos x="71" y="50"/>
                  </a:cxn>
                  <a:cxn ang="0">
                    <a:pos x="77" y="41"/>
                  </a:cxn>
                  <a:cxn ang="0">
                    <a:pos x="90" y="33"/>
                  </a:cxn>
                  <a:cxn ang="0">
                    <a:pos x="87" y="29"/>
                  </a:cxn>
                </a:cxnLst>
                <a:rect l="0" t="0" r="r" b="b"/>
                <a:pathLst>
                  <a:path w="116" h="243">
                    <a:moveTo>
                      <a:pt x="87" y="29"/>
                    </a:moveTo>
                    <a:lnTo>
                      <a:pt x="87" y="29"/>
                    </a:lnTo>
                    <a:lnTo>
                      <a:pt x="83" y="27"/>
                    </a:lnTo>
                    <a:lnTo>
                      <a:pt x="79" y="24"/>
                    </a:lnTo>
                    <a:lnTo>
                      <a:pt x="73" y="20"/>
                    </a:lnTo>
                    <a:lnTo>
                      <a:pt x="71" y="17"/>
                    </a:lnTo>
                    <a:lnTo>
                      <a:pt x="71" y="17"/>
                    </a:lnTo>
                    <a:lnTo>
                      <a:pt x="73" y="12"/>
                    </a:lnTo>
                    <a:lnTo>
                      <a:pt x="73" y="9"/>
                    </a:lnTo>
                    <a:lnTo>
                      <a:pt x="67" y="7"/>
                    </a:lnTo>
                    <a:lnTo>
                      <a:pt x="67" y="7"/>
                    </a:lnTo>
                    <a:lnTo>
                      <a:pt x="61" y="6"/>
                    </a:lnTo>
                    <a:lnTo>
                      <a:pt x="57" y="4"/>
                    </a:lnTo>
                    <a:lnTo>
                      <a:pt x="54" y="0"/>
                    </a:lnTo>
                    <a:lnTo>
                      <a:pt x="54" y="0"/>
                    </a:lnTo>
                    <a:lnTo>
                      <a:pt x="52" y="0"/>
                    </a:lnTo>
                    <a:lnTo>
                      <a:pt x="47" y="2"/>
                    </a:lnTo>
                    <a:lnTo>
                      <a:pt x="44" y="4"/>
                    </a:lnTo>
                    <a:lnTo>
                      <a:pt x="42" y="9"/>
                    </a:lnTo>
                    <a:lnTo>
                      <a:pt x="42" y="9"/>
                    </a:lnTo>
                    <a:lnTo>
                      <a:pt x="39" y="10"/>
                    </a:lnTo>
                    <a:lnTo>
                      <a:pt x="37" y="10"/>
                    </a:lnTo>
                    <a:lnTo>
                      <a:pt x="34" y="9"/>
                    </a:lnTo>
                    <a:lnTo>
                      <a:pt x="30" y="10"/>
                    </a:lnTo>
                    <a:lnTo>
                      <a:pt x="30" y="10"/>
                    </a:lnTo>
                    <a:lnTo>
                      <a:pt x="26" y="12"/>
                    </a:lnTo>
                    <a:lnTo>
                      <a:pt x="23" y="10"/>
                    </a:lnTo>
                    <a:lnTo>
                      <a:pt x="19" y="9"/>
                    </a:lnTo>
                    <a:lnTo>
                      <a:pt x="17" y="9"/>
                    </a:lnTo>
                    <a:lnTo>
                      <a:pt x="16" y="10"/>
                    </a:lnTo>
                    <a:lnTo>
                      <a:pt x="16" y="10"/>
                    </a:lnTo>
                    <a:lnTo>
                      <a:pt x="16" y="12"/>
                    </a:lnTo>
                    <a:lnTo>
                      <a:pt x="15" y="12"/>
                    </a:lnTo>
                    <a:lnTo>
                      <a:pt x="10" y="12"/>
                    </a:lnTo>
                    <a:lnTo>
                      <a:pt x="7" y="10"/>
                    </a:lnTo>
                    <a:lnTo>
                      <a:pt x="6" y="10"/>
                    </a:lnTo>
                    <a:lnTo>
                      <a:pt x="5" y="12"/>
                    </a:lnTo>
                    <a:lnTo>
                      <a:pt x="5" y="12"/>
                    </a:lnTo>
                    <a:lnTo>
                      <a:pt x="0" y="14"/>
                    </a:lnTo>
                    <a:lnTo>
                      <a:pt x="0" y="14"/>
                    </a:lnTo>
                    <a:lnTo>
                      <a:pt x="5" y="20"/>
                    </a:lnTo>
                    <a:lnTo>
                      <a:pt x="6" y="23"/>
                    </a:lnTo>
                    <a:lnTo>
                      <a:pt x="6" y="23"/>
                    </a:lnTo>
                    <a:lnTo>
                      <a:pt x="7" y="26"/>
                    </a:lnTo>
                    <a:lnTo>
                      <a:pt x="10" y="29"/>
                    </a:lnTo>
                    <a:lnTo>
                      <a:pt x="13" y="33"/>
                    </a:lnTo>
                    <a:lnTo>
                      <a:pt x="15" y="36"/>
                    </a:lnTo>
                    <a:lnTo>
                      <a:pt x="15" y="36"/>
                    </a:lnTo>
                    <a:lnTo>
                      <a:pt x="16" y="39"/>
                    </a:lnTo>
                    <a:lnTo>
                      <a:pt x="20" y="41"/>
                    </a:lnTo>
                    <a:lnTo>
                      <a:pt x="24" y="43"/>
                    </a:lnTo>
                    <a:lnTo>
                      <a:pt x="27" y="43"/>
                    </a:lnTo>
                    <a:lnTo>
                      <a:pt x="27" y="43"/>
                    </a:lnTo>
                    <a:lnTo>
                      <a:pt x="30" y="41"/>
                    </a:lnTo>
                    <a:lnTo>
                      <a:pt x="33" y="41"/>
                    </a:lnTo>
                    <a:lnTo>
                      <a:pt x="37" y="41"/>
                    </a:lnTo>
                    <a:lnTo>
                      <a:pt x="39" y="46"/>
                    </a:lnTo>
                    <a:lnTo>
                      <a:pt x="39" y="46"/>
                    </a:lnTo>
                    <a:lnTo>
                      <a:pt x="40" y="50"/>
                    </a:lnTo>
                    <a:lnTo>
                      <a:pt x="42" y="53"/>
                    </a:lnTo>
                    <a:lnTo>
                      <a:pt x="43" y="56"/>
                    </a:lnTo>
                    <a:lnTo>
                      <a:pt x="43" y="58"/>
                    </a:lnTo>
                    <a:lnTo>
                      <a:pt x="43" y="58"/>
                    </a:lnTo>
                    <a:lnTo>
                      <a:pt x="43" y="60"/>
                    </a:lnTo>
                    <a:lnTo>
                      <a:pt x="42" y="60"/>
                    </a:lnTo>
                    <a:lnTo>
                      <a:pt x="39" y="61"/>
                    </a:lnTo>
                    <a:lnTo>
                      <a:pt x="34" y="63"/>
                    </a:lnTo>
                    <a:lnTo>
                      <a:pt x="33" y="64"/>
                    </a:lnTo>
                    <a:lnTo>
                      <a:pt x="32" y="66"/>
                    </a:lnTo>
                    <a:lnTo>
                      <a:pt x="32" y="66"/>
                    </a:lnTo>
                    <a:lnTo>
                      <a:pt x="32" y="67"/>
                    </a:lnTo>
                    <a:lnTo>
                      <a:pt x="33" y="68"/>
                    </a:lnTo>
                    <a:lnTo>
                      <a:pt x="39" y="73"/>
                    </a:lnTo>
                    <a:lnTo>
                      <a:pt x="46" y="77"/>
                    </a:lnTo>
                    <a:lnTo>
                      <a:pt x="47" y="78"/>
                    </a:lnTo>
                    <a:lnTo>
                      <a:pt x="49" y="80"/>
                    </a:lnTo>
                    <a:lnTo>
                      <a:pt x="49" y="80"/>
                    </a:lnTo>
                    <a:lnTo>
                      <a:pt x="50" y="84"/>
                    </a:lnTo>
                    <a:lnTo>
                      <a:pt x="52" y="87"/>
                    </a:lnTo>
                    <a:lnTo>
                      <a:pt x="57" y="94"/>
                    </a:lnTo>
                    <a:lnTo>
                      <a:pt x="57" y="94"/>
                    </a:lnTo>
                    <a:lnTo>
                      <a:pt x="60" y="98"/>
                    </a:lnTo>
                    <a:lnTo>
                      <a:pt x="63" y="103"/>
                    </a:lnTo>
                    <a:lnTo>
                      <a:pt x="67" y="107"/>
                    </a:lnTo>
                    <a:lnTo>
                      <a:pt x="70" y="113"/>
                    </a:lnTo>
                    <a:lnTo>
                      <a:pt x="70" y="113"/>
                    </a:lnTo>
                    <a:lnTo>
                      <a:pt x="73" y="115"/>
                    </a:lnTo>
                    <a:lnTo>
                      <a:pt x="76" y="120"/>
                    </a:lnTo>
                    <a:lnTo>
                      <a:pt x="83" y="124"/>
                    </a:lnTo>
                    <a:lnTo>
                      <a:pt x="83" y="124"/>
                    </a:lnTo>
                    <a:lnTo>
                      <a:pt x="86" y="127"/>
                    </a:lnTo>
                    <a:lnTo>
                      <a:pt x="86" y="131"/>
                    </a:lnTo>
                    <a:lnTo>
                      <a:pt x="86" y="141"/>
                    </a:lnTo>
                    <a:lnTo>
                      <a:pt x="86" y="141"/>
                    </a:lnTo>
                    <a:lnTo>
                      <a:pt x="86" y="145"/>
                    </a:lnTo>
                    <a:lnTo>
                      <a:pt x="86" y="152"/>
                    </a:lnTo>
                    <a:lnTo>
                      <a:pt x="89" y="159"/>
                    </a:lnTo>
                    <a:lnTo>
                      <a:pt x="91" y="167"/>
                    </a:lnTo>
                    <a:lnTo>
                      <a:pt x="91" y="167"/>
                    </a:lnTo>
                    <a:lnTo>
                      <a:pt x="93" y="169"/>
                    </a:lnTo>
                    <a:lnTo>
                      <a:pt x="93" y="172"/>
                    </a:lnTo>
                    <a:lnTo>
                      <a:pt x="91" y="175"/>
                    </a:lnTo>
                    <a:lnTo>
                      <a:pt x="90" y="178"/>
                    </a:lnTo>
                    <a:lnTo>
                      <a:pt x="84" y="181"/>
                    </a:lnTo>
                    <a:lnTo>
                      <a:pt x="80" y="185"/>
                    </a:lnTo>
                    <a:lnTo>
                      <a:pt x="80" y="185"/>
                    </a:lnTo>
                    <a:lnTo>
                      <a:pt x="79" y="189"/>
                    </a:lnTo>
                    <a:lnTo>
                      <a:pt x="76" y="192"/>
                    </a:lnTo>
                    <a:lnTo>
                      <a:pt x="74" y="194"/>
                    </a:lnTo>
                    <a:lnTo>
                      <a:pt x="73" y="195"/>
                    </a:lnTo>
                    <a:lnTo>
                      <a:pt x="66" y="194"/>
                    </a:lnTo>
                    <a:lnTo>
                      <a:pt x="66" y="194"/>
                    </a:lnTo>
                    <a:lnTo>
                      <a:pt x="63" y="194"/>
                    </a:lnTo>
                    <a:lnTo>
                      <a:pt x="61" y="195"/>
                    </a:lnTo>
                    <a:lnTo>
                      <a:pt x="61" y="196"/>
                    </a:lnTo>
                    <a:lnTo>
                      <a:pt x="61" y="198"/>
                    </a:lnTo>
                    <a:lnTo>
                      <a:pt x="66" y="204"/>
                    </a:lnTo>
                    <a:lnTo>
                      <a:pt x="66" y="206"/>
                    </a:lnTo>
                    <a:lnTo>
                      <a:pt x="66" y="208"/>
                    </a:lnTo>
                    <a:lnTo>
                      <a:pt x="66" y="208"/>
                    </a:lnTo>
                    <a:lnTo>
                      <a:pt x="64" y="209"/>
                    </a:lnTo>
                    <a:lnTo>
                      <a:pt x="63" y="209"/>
                    </a:lnTo>
                    <a:lnTo>
                      <a:pt x="56" y="208"/>
                    </a:lnTo>
                    <a:lnTo>
                      <a:pt x="50" y="208"/>
                    </a:lnTo>
                    <a:lnTo>
                      <a:pt x="49" y="208"/>
                    </a:lnTo>
                    <a:lnTo>
                      <a:pt x="47" y="208"/>
                    </a:lnTo>
                    <a:lnTo>
                      <a:pt x="47" y="208"/>
                    </a:lnTo>
                    <a:lnTo>
                      <a:pt x="47" y="211"/>
                    </a:lnTo>
                    <a:lnTo>
                      <a:pt x="44" y="212"/>
                    </a:lnTo>
                    <a:lnTo>
                      <a:pt x="37" y="216"/>
                    </a:lnTo>
                    <a:lnTo>
                      <a:pt x="37" y="216"/>
                    </a:lnTo>
                    <a:lnTo>
                      <a:pt x="42" y="219"/>
                    </a:lnTo>
                    <a:lnTo>
                      <a:pt x="44" y="222"/>
                    </a:lnTo>
                    <a:lnTo>
                      <a:pt x="44" y="222"/>
                    </a:lnTo>
                    <a:lnTo>
                      <a:pt x="46" y="222"/>
                    </a:lnTo>
                    <a:lnTo>
                      <a:pt x="46" y="223"/>
                    </a:lnTo>
                    <a:lnTo>
                      <a:pt x="44" y="226"/>
                    </a:lnTo>
                    <a:lnTo>
                      <a:pt x="42" y="231"/>
                    </a:lnTo>
                    <a:lnTo>
                      <a:pt x="40" y="235"/>
                    </a:lnTo>
                    <a:lnTo>
                      <a:pt x="40" y="235"/>
                    </a:lnTo>
                    <a:lnTo>
                      <a:pt x="42" y="241"/>
                    </a:lnTo>
                    <a:lnTo>
                      <a:pt x="44" y="242"/>
                    </a:lnTo>
                    <a:lnTo>
                      <a:pt x="46" y="243"/>
                    </a:lnTo>
                    <a:lnTo>
                      <a:pt x="49" y="242"/>
                    </a:lnTo>
                    <a:lnTo>
                      <a:pt x="49" y="242"/>
                    </a:lnTo>
                    <a:lnTo>
                      <a:pt x="56" y="235"/>
                    </a:lnTo>
                    <a:lnTo>
                      <a:pt x="63" y="231"/>
                    </a:lnTo>
                    <a:lnTo>
                      <a:pt x="63" y="231"/>
                    </a:lnTo>
                    <a:lnTo>
                      <a:pt x="64" y="229"/>
                    </a:lnTo>
                    <a:lnTo>
                      <a:pt x="64" y="228"/>
                    </a:lnTo>
                    <a:lnTo>
                      <a:pt x="64" y="225"/>
                    </a:lnTo>
                    <a:lnTo>
                      <a:pt x="67" y="225"/>
                    </a:lnTo>
                    <a:lnTo>
                      <a:pt x="67" y="225"/>
                    </a:lnTo>
                    <a:lnTo>
                      <a:pt x="69" y="223"/>
                    </a:lnTo>
                    <a:lnTo>
                      <a:pt x="70" y="222"/>
                    </a:lnTo>
                    <a:lnTo>
                      <a:pt x="71" y="216"/>
                    </a:lnTo>
                    <a:lnTo>
                      <a:pt x="71" y="216"/>
                    </a:lnTo>
                    <a:lnTo>
                      <a:pt x="73" y="215"/>
                    </a:lnTo>
                    <a:lnTo>
                      <a:pt x="74" y="214"/>
                    </a:lnTo>
                    <a:lnTo>
                      <a:pt x="81" y="215"/>
                    </a:lnTo>
                    <a:lnTo>
                      <a:pt x="81" y="215"/>
                    </a:lnTo>
                    <a:lnTo>
                      <a:pt x="86" y="214"/>
                    </a:lnTo>
                    <a:lnTo>
                      <a:pt x="91" y="211"/>
                    </a:lnTo>
                    <a:lnTo>
                      <a:pt x="103" y="204"/>
                    </a:lnTo>
                    <a:lnTo>
                      <a:pt x="103" y="204"/>
                    </a:lnTo>
                    <a:lnTo>
                      <a:pt x="107" y="201"/>
                    </a:lnTo>
                    <a:lnTo>
                      <a:pt x="111" y="196"/>
                    </a:lnTo>
                    <a:lnTo>
                      <a:pt x="113" y="192"/>
                    </a:lnTo>
                    <a:lnTo>
                      <a:pt x="116" y="182"/>
                    </a:lnTo>
                    <a:lnTo>
                      <a:pt x="116" y="182"/>
                    </a:lnTo>
                    <a:lnTo>
                      <a:pt x="116" y="171"/>
                    </a:lnTo>
                    <a:lnTo>
                      <a:pt x="114" y="159"/>
                    </a:lnTo>
                    <a:lnTo>
                      <a:pt x="111" y="145"/>
                    </a:lnTo>
                    <a:lnTo>
                      <a:pt x="111" y="145"/>
                    </a:lnTo>
                    <a:lnTo>
                      <a:pt x="110" y="140"/>
                    </a:lnTo>
                    <a:lnTo>
                      <a:pt x="106" y="131"/>
                    </a:lnTo>
                    <a:lnTo>
                      <a:pt x="100" y="124"/>
                    </a:lnTo>
                    <a:lnTo>
                      <a:pt x="98" y="121"/>
                    </a:lnTo>
                    <a:lnTo>
                      <a:pt x="97" y="120"/>
                    </a:lnTo>
                    <a:lnTo>
                      <a:pt x="97" y="120"/>
                    </a:lnTo>
                    <a:lnTo>
                      <a:pt x="91" y="117"/>
                    </a:lnTo>
                    <a:lnTo>
                      <a:pt x="83" y="111"/>
                    </a:lnTo>
                    <a:lnTo>
                      <a:pt x="70" y="98"/>
                    </a:lnTo>
                    <a:lnTo>
                      <a:pt x="70" y="98"/>
                    </a:lnTo>
                    <a:lnTo>
                      <a:pt x="69" y="95"/>
                    </a:lnTo>
                    <a:lnTo>
                      <a:pt x="67" y="93"/>
                    </a:lnTo>
                    <a:lnTo>
                      <a:pt x="66" y="90"/>
                    </a:lnTo>
                    <a:lnTo>
                      <a:pt x="63" y="85"/>
                    </a:lnTo>
                    <a:lnTo>
                      <a:pt x="63" y="85"/>
                    </a:lnTo>
                    <a:lnTo>
                      <a:pt x="60" y="83"/>
                    </a:lnTo>
                    <a:lnTo>
                      <a:pt x="59" y="77"/>
                    </a:lnTo>
                    <a:lnTo>
                      <a:pt x="59" y="70"/>
                    </a:lnTo>
                    <a:lnTo>
                      <a:pt x="60" y="64"/>
                    </a:lnTo>
                    <a:lnTo>
                      <a:pt x="60" y="64"/>
                    </a:lnTo>
                    <a:lnTo>
                      <a:pt x="61" y="60"/>
                    </a:lnTo>
                    <a:lnTo>
                      <a:pt x="66" y="57"/>
                    </a:lnTo>
                    <a:lnTo>
                      <a:pt x="69" y="54"/>
                    </a:lnTo>
                    <a:lnTo>
                      <a:pt x="70" y="51"/>
                    </a:lnTo>
                    <a:lnTo>
                      <a:pt x="71" y="50"/>
                    </a:lnTo>
                    <a:lnTo>
                      <a:pt x="71" y="50"/>
                    </a:lnTo>
                    <a:lnTo>
                      <a:pt x="71" y="47"/>
                    </a:lnTo>
                    <a:lnTo>
                      <a:pt x="71" y="44"/>
                    </a:lnTo>
                    <a:lnTo>
                      <a:pt x="74" y="41"/>
                    </a:lnTo>
                    <a:lnTo>
                      <a:pt x="77" y="41"/>
                    </a:lnTo>
                    <a:lnTo>
                      <a:pt x="77" y="41"/>
                    </a:lnTo>
                    <a:lnTo>
                      <a:pt x="81" y="40"/>
                    </a:lnTo>
                    <a:lnTo>
                      <a:pt x="84" y="39"/>
                    </a:lnTo>
                    <a:lnTo>
                      <a:pt x="90" y="33"/>
                    </a:lnTo>
                    <a:lnTo>
                      <a:pt x="90" y="33"/>
                    </a:lnTo>
                    <a:lnTo>
                      <a:pt x="91" y="31"/>
                    </a:lnTo>
                    <a:lnTo>
                      <a:pt x="91" y="31"/>
                    </a:lnTo>
                    <a:lnTo>
                      <a:pt x="87" y="29"/>
                    </a:lnTo>
                    <a:lnTo>
                      <a:pt x="87" y="2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2" name="Cambodia">
                <a:extLst>
                  <a:ext uri="{FF2B5EF4-FFF2-40B4-BE49-F238E27FC236}">
                    <a16:creationId xmlns:a16="http://schemas.microsoft.com/office/drawing/2014/main" id="{EDF77261-7482-5543-A2EC-1C42540D20C3}"/>
                  </a:ext>
                </a:extLst>
              </p:cNvPr>
              <p:cNvSpPr>
                <a:spLocks/>
              </p:cNvSpPr>
              <p:nvPr/>
            </p:nvSpPr>
            <p:spPr bwMode="auto">
              <a:xfrm>
                <a:off x="6722126" y="3964951"/>
                <a:ext cx="133181" cy="102106"/>
              </a:xfrm>
              <a:custGeom>
                <a:avLst/>
                <a:gdLst/>
                <a:ahLst/>
                <a:cxnLst>
                  <a:cxn ang="0">
                    <a:pos x="44" y="61"/>
                  </a:cxn>
                  <a:cxn ang="0">
                    <a:pos x="47" y="61"/>
                  </a:cxn>
                  <a:cxn ang="0">
                    <a:pos x="60" y="62"/>
                  </a:cxn>
                  <a:cxn ang="0">
                    <a:pos x="63" y="61"/>
                  </a:cxn>
                  <a:cxn ang="0">
                    <a:pos x="63" y="59"/>
                  </a:cxn>
                  <a:cxn ang="0">
                    <a:pos x="58" y="51"/>
                  </a:cxn>
                  <a:cxn ang="0">
                    <a:pos x="58" y="48"/>
                  </a:cxn>
                  <a:cxn ang="0">
                    <a:pos x="63" y="47"/>
                  </a:cxn>
                  <a:cxn ang="0">
                    <a:pos x="70" y="48"/>
                  </a:cxn>
                  <a:cxn ang="0">
                    <a:pos x="73" y="45"/>
                  </a:cxn>
                  <a:cxn ang="0">
                    <a:pos x="77" y="38"/>
                  </a:cxn>
                  <a:cxn ang="0">
                    <a:pos x="81" y="34"/>
                  </a:cxn>
                  <a:cxn ang="0">
                    <a:pos x="88" y="28"/>
                  </a:cxn>
                  <a:cxn ang="0">
                    <a:pos x="90" y="22"/>
                  </a:cxn>
                  <a:cxn ang="0">
                    <a:pos x="88" y="20"/>
                  </a:cxn>
                  <a:cxn ang="0">
                    <a:pos x="84" y="10"/>
                  </a:cxn>
                  <a:cxn ang="0">
                    <a:pos x="83" y="0"/>
                  </a:cxn>
                  <a:cxn ang="0">
                    <a:pos x="77" y="3"/>
                  </a:cxn>
                  <a:cxn ang="0">
                    <a:pos x="71" y="3"/>
                  </a:cxn>
                  <a:cxn ang="0">
                    <a:pos x="64" y="1"/>
                  </a:cxn>
                  <a:cxn ang="0">
                    <a:pos x="60" y="5"/>
                  </a:cxn>
                  <a:cxn ang="0">
                    <a:pos x="60" y="8"/>
                  </a:cxn>
                  <a:cxn ang="0">
                    <a:pos x="56" y="11"/>
                  </a:cxn>
                  <a:cxn ang="0">
                    <a:pos x="56" y="10"/>
                  </a:cxn>
                  <a:cxn ang="0">
                    <a:pos x="53" y="7"/>
                  </a:cxn>
                  <a:cxn ang="0">
                    <a:pos x="47" y="4"/>
                  </a:cxn>
                  <a:cxn ang="0">
                    <a:pos x="46" y="3"/>
                  </a:cxn>
                  <a:cxn ang="0">
                    <a:pos x="37" y="3"/>
                  </a:cxn>
                  <a:cxn ang="0">
                    <a:pos x="24" y="3"/>
                  </a:cxn>
                  <a:cxn ang="0">
                    <a:pos x="20" y="3"/>
                  </a:cxn>
                  <a:cxn ang="0">
                    <a:pos x="9" y="8"/>
                  </a:cxn>
                  <a:cxn ang="0">
                    <a:pos x="3" y="14"/>
                  </a:cxn>
                  <a:cxn ang="0">
                    <a:pos x="2" y="21"/>
                  </a:cxn>
                  <a:cxn ang="0">
                    <a:pos x="3" y="28"/>
                  </a:cxn>
                  <a:cxn ang="0">
                    <a:pos x="4" y="32"/>
                  </a:cxn>
                  <a:cxn ang="0">
                    <a:pos x="6" y="37"/>
                  </a:cxn>
                  <a:cxn ang="0">
                    <a:pos x="6" y="41"/>
                  </a:cxn>
                  <a:cxn ang="0">
                    <a:pos x="6" y="41"/>
                  </a:cxn>
                  <a:cxn ang="0">
                    <a:pos x="10" y="48"/>
                  </a:cxn>
                  <a:cxn ang="0">
                    <a:pos x="10" y="55"/>
                  </a:cxn>
                  <a:cxn ang="0">
                    <a:pos x="14" y="58"/>
                  </a:cxn>
                  <a:cxn ang="0">
                    <a:pos x="20" y="57"/>
                  </a:cxn>
                  <a:cxn ang="0">
                    <a:pos x="20" y="59"/>
                  </a:cxn>
                  <a:cxn ang="0">
                    <a:pos x="20" y="65"/>
                  </a:cxn>
                  <a:cxn ang="0">
                    <a:pos x="23" y="67"/>
                  </a:cxn>
                  <a:cxn ang="0">
                    <a:pos x="31" y="65"/>
                  </a:cxn>
                  <a:cxn ang="0">
                    <a:pos x="33" y="67"/>
                  </a:cxn>
                  <a:cxn ang="0">
                    <a:pos x="34" y="69"/>
                  </a:cxn>
                  <a:cxn ang="0">
                    <a:pos x="41" y="65"/>
                  </a:cxn>
                  <a:cxn ang="0">
                    <a:pos x="44" y="61"/>
                  </a:cxn>
                </a:cxnLst>
                <a:rect l="0" t="0" r="r" b="b"/>
                <a:pathLst>
                  <a:path w="90" h="69">
                    <a:moveTo>
                      <a:pt x="44" y="61"/>
                    </a:moveTo>
                    <a:lnTo>
                      <a:pt x="44" y="61"/>
                    </a:lnTo>
                    <a:lnTo>
                      <a:pt x="46" y="61"/>
                    </a:lnTo>
                    <a:lnTo>
                      <a:pt x="47" y="61"/>
                    </a:lnTo>
                    <a:lnTo>
                      <a:pt x="53" y="61"/>
                    </a:lnTo>
                    <a:lnTo>
                      <a:pt x="60" y="62"/>
                    </a:lnTo>
                    <a:lnTo>
                      <a:pt x="61" y="62"/>
                    </a:lnTo>
                    <a:lnTo>
                      <a:pt x="63" y="61"/>
                    </a:lnTo>
                    <a:lnTo>
                      <a:pt x="63" y="61"/>
                    </a:lnTo>
                    <a:lnTo>
                      <a:pt x="63" y="59"/>
                    </a:lnTo>
                    <a:lnTo>
                      <a:pt x="63" y="57"/>
                    </a:lnTo>
                    <a:lnTo>
                      <a:pt x="58" y="51"/>
                    </a:lnTo>
                    <a:lnTo>
                      <a:pt x="58" y="49"/>
                    </a:lnTo>
                    <a:lnTo>
                      <a:pt x="58" y="48"/>
                    </a:lnTo>
                    <a:lnTo>
                      <a:pt x="60" y="47"/>
                    </a:lnTo>
                    <a:lnTo>
                      <a:pt x="63" y="47"/>
                    </a:lnTo>
                    <a:lnTo>
                      <a:pt x="63" y="47"/>
                    </a:lnTo>
                    <a:lnTo>
                      <a:pt x="70" y="48"/>
                    </a:lnTo>
                    <a:lnTo>
                      <a:pt x="71" y="47"/>
                    </a:lnTo>
                    <a:lnTo>
                      <a:pt x="73" y="45"/>
                    </a:lnTo>
                    <a:lnTo>
                      <a:pt x="76" y="42"/>
                    </a:lnTo>
                    <a:lnTo>
                      <a:pt x="77" y="38"/>
                    </a:lnTo>
                    <a:lnTo>
                      <a:pt x="77" y="38"/>
                    </a:lnTo>
                    <a:lnTo>
                      <a:pt x="81" y="34"/>
                    </a:lnTo>
                    <a:lnTo>
                      <a:pt x="87" y="31"/>
                    </a:lnTo>
                    <a:lnTo>
                      <a:pt x="88" y="28"/>
                    </a:lnTo>
                    <a:lnTo>
                      <a:pt x="90" y="25"/>
                    </a:lnTo>
                    <a:lnTo>
                      <a:pt x="90" y="22"/>
                    </a:lnTo>
                    <a:lnTo>
                      <a:pt x="88" y="20"/>
                    </a:lnTo>
                    <a:lnTo>
                      <a:pt x="88" y="20"/>
                    </a:lnTo>
                    <a:lnTo>
                      <a:pt x="86" y="15"/>
                    </a:lnTo>
                    <a:lnTo>
                      <a:pt x="84" y="10"/>
                    </a:lnTo>
                    <a:lnTo>
                      <a:pt x="83" y="0"/>
                    </a:lnTo>
                    <a:lnTo>
                      <a:pt x="83" y="0"/>
                    </a:lnTo>
                    <a:lnTo>
                      <a:pt x="80" y="1"/>
                    </a:lnTo>
                    <a:lnTo>
                      <a:pt x="77" y="3"/>
                    </a:lnTo>
                    <a:lnTo>
                      <a:pt x="71" y="3"/>
                    </a:lnTo>
                    <a:lnTo>
                      <a:pt x="71" y="3"/>
                    </a:lnTo>
                    <a:lnTo>
                      <a:pt x="68" y="1"/>
                    </a:lnTo>
                    <a:lnTo>
                      <a:pt x="64" y="1"/>
                    </a:lnTo>
                    <a:lnTo>
                      <a:pt x="61" y="3"/>
                    </a:lnTo>
                    <a:lnTo>
                      <a:pt x="60" y="5"/>
                    </a:lnTo>
                    <a:lnTo>
                      <a:pt x="60" y="5"/>
                    </a:lnTo>
                    <a:lnTo>
                      <a:pt x="60" y="8"/>
                    </a:lnTo>
                    <a:lnTo>
                      <a:pt x="58" y="11"/>
                    </a:lnTo>
                    <a:lnTo>
                      <a:pt x="56" y="11"/>
                    </a:lnTo>
                    <a:lnTo>
                      <a:pt x="56" y="10"/>
                    </a:lnTo>
                    <a:lnTo>
                      <a:pt x="56" y="10"/>
                    </a:lnTo>
                    <a:lnTo>
                      <a:pt x="56" y="8"/>
                    </a:lnTo>
                    <a:lnTo>
                      <a:pt x="53" y="7"/>
                    </a:lnTo>
                    <a:lnTo>
                      <a:pt x="50" y="5"/>
                    </a:lnTo>
                    <a:lnTo>
                      <a:pt x="47" y="4"/>
                    </a:lnTo>
                    <a:lnTo>
                      <a:pt x="47" y="4"/>
                    </a:lnTo>
                    <a:lnTo>
                      <a:pt x="46" y="3"/>
                    </a:lnTo>
                    <a:lnTo>
                      <a:pt x="43" y="3"/>
                    </a:lnTo>
                    <a:lnTo>
                      <a:pt x="37" y="3"/>
                    </a:lnTo>
                    <a:lnTo>
                      <a:pt x="30" y="3"/>
                    </a:lnTo>
                    <a:lnTo>
                      <a:pt x="24" y="3"/>
                    </a:lnTo>
                    <a:lnTo>
                      <a:pt x="24" y="3"/>
                    </a:lnTo>
                    <a:lnTo>
                      <a:pt x="20" y="3"/>
                    </a:lnTo>
                    <a:lnTo>
                      <a:pt x="14" y="4"/>
                    </a:lnTo>
                    <a:lnTo>
                      <a:pt x="9" y="8"/>
                    </a:lnTo>
                    <a:lnTo>
                      <a:pt x="3" y="14"/>
                    </a:lnTo>
                    <a:lnTo>
                      <a:pt x="3" y="14"/>
                    </a:lnTo>
                    <a:lnTo>
                      <a:pt x="0" y="18"/>
                    </a:lnTo>
                    <a:lnTo>
                      <a:pt x="2" y="21"/>
                    </a:lnTo>
                    <a:lnTo>
                      <a:pt x="3" y="24"/>
                    </a:lnTo>
                    <a:lnTo>
                      <a:pt x="3" y="28"/>
                    </a:lnTo>
                    <a:lnTo>
                      <a:pt x="3" y="28"/>
                    </a:lnTo>
                    <a:lnTo>
                      <a:pt x="4" y="32"/>
                    </a:lnTo>
                    <a:lnTo>
                      <a:pt x="6" y="35"/>
                    </a:lnTo>
                    <a:lnTo>
                      <a:pt x="6" y="37"/>
                    </a:lnTo>
                    <a:lnTo>
                      <a:pt x="6" y="41"/>
                    </a:lnTo>
                    <a:lnTo>
                      <a:pt x="6" y="41"/>
                    </a:lnTo>
                    <a:lnTo>
                      <a:pt x="6" y="41"/>
                    </a:lnTo>
                    <a:lnTo>
                      <a:pt x="6" y="41"/>
                    </a:lnTo>
                    <a:lnTo>
                      <a:pt x="9" y="44"/>
                    </a:lnTo>
                    <a:lnTo>
                      <a:pt x="10" y="48"/>
                    </a:lnTo>
                    <a:lnTo>
                      <a:pt x="10" y="55"/>
                    </a:lnTo>
                    <a:lnTo>
                      <a:pt x="10" y="55"/>
                    </a:lnTo>
                    <a:lnTo>
                      <a:pt x="12" y="58"/>
                    </a:lnTo>
                    <a:lnTo>
                      <a:pt x="14" y="58"/>
                    </a:lnTo>
                    <a:lnTo>
                      <a:pt x="20" y="57"/>
                    </a:lnTo>
                    <a:lnTo>
                      <a:pt x="20" y="57"/>
                    </a:lnTo>
                    <a:lnTo>
                      <a:pt x="21" y="58"/>
                    </a:lnTo>
                    <a:lnTo>
                      <a:pt x="20" y="59"/>
                    </a:lnTo>
                    <a:lnTo>
                      <a:pt x="20" y="62"/>
                    </a:lnTo>
                    <a:lnTo>
                      <a:pt x="20" y="65"/>
                    </a:lnTo>
                    <a:lnTo>
                      <a:pt x="20" y="65"/>
                    </a:lnTo>
                    <a:lnTo>
                      <a:pt x="23" y="67"/>
                    </a:lnTo>
                    <a:lnTo>
                      <a:pt x="27" y="65"/>
                    </a:lnTo>
                    <a:lnTo>
                      <a:pt x="31" y="65"/>
                    </a:lnTo>
                    <a:lnTo>
                      <a:pt x="33" y="65"/>
                    </a:lnTo>
                    <a:lnTo>
                      <a:pt x="33" y="67"/>
                    </a:lnTo>
                    <a:lnTo>
                      <a:pt x="33" y="67"/>
                    </a:lnTo>
                    <a:lnTo>
                      <a:pt x="34" y="69"/>
                    </a:lnTo>
                    <a:lnTo>
                      <a:pt x="34" y="69"/>
                    </a:lnTo>
                    <a:lnTo>
                      <a:pt x="41" y="65"/>
                    </a:lnTo>
                    <a:lnTo>
                      <a:pt x="44" y="64"/>
                    </a:lnTo>
                    <a:lnTo>
                      <a:pt x="44" y="61"/>
                    </a:lnTo>
                    <a:lnTo>
                      <a:pt x="44" y="6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3" name="Laos">
                <a:extLst>
                  <a:ext uri="{FF2B5EF4-FFF2-40B4-BE49-F238E27FC236}">
                    <a16:creationId xmlns:a16="http://schemas.microsoft.com/office/drawing/2014/main" id="{38E27068-2091-5B49-BEE7-4D0FE7326798}"/>
                  </a:ext>
                </a:extLst>
              </p:cNvPr>
              <p:cNvSpPr>
                <a:spLocks/>
              </p:cNvSpPr>
              <p:nvPr/>
            </p:nvSpPr>
            <p:spPr bwMode="auto">
              <a:xfrm>
                <a:off x="6671814" y="3768139"/>
                <a:ext cx="173135" cy="213089"/>
              </a:xfrm>
              <a:custGeom>
                <a:avLst/>
                <a:gdLst/>
                <a:ahLst/>
                <a:cxnLst>
                  <a:cxn ang="0">
                    <a:pos x="78" y="64"/>
                  </a:cxn>
                  <a:cxn ang="0">
                    <a:pos x="64" y="54"/>
                  </a:cxn>
                  <a:cxn ang="0">
                    <a:pos x="63" y="52"/>
                  </a:cxn>
                  <a:cxn ang="0">
                    <a:pos x="70" y="47"/>
                  </a:cxn>
                  <a:cxn ang="0">
                    <a:pos x="74" y="44"/>
                  </a:cxn>
                  <a:cxn ang="0">
                    <a:pos x="73" y="39"/>
                  </a:cxn>
                  <a:cxn ang="0">
                    <a:pos x="70" y="32"/>
                  </a:cxn>
                  <a:cxn ang="0">
                    <a:pos x="61" y="27"/>
                  </a:cxn>
                  <a:cxn ang="0">
                    <a:pos x="55" y="29"/>
                  </a:cxn>
                  <a:cxn ang="0">
                    <a:pos x="46" y="22"/>
                  </a:cxn>
                  <a:cxn ang="0">
                    <a:pos x="41" y="15"/>
                  </a:cxn>
                  <a:cxn ang="0">
                    <a:pos x="37" y="9"/>
                  </a:cxn>
                  <a:cxn ang="0">
                    <a:pos x="31" y="0"/>
                  </a:cxn>
                  <a:cxn ang="0">
                    <a:pos x="24" y="2"/>
                  </a:cxn>
                  <a:cxn ang="0">
                    <a:pos x="21" y="7"/>
                  </a:cxn>
                  <a:cxn ang="0">
                    <a:pos x="24" y="13"/>
                  </a:cxn>
                  <a:cxn ang="0">
                    <a:pos x="23" y="22"/>
                  </a:cxn>
                  <a:cxn ang="0">
                    <a:pos x="19" y="20"/>
                  </a:cxn>
                  <a:cxn ang="0">
                    <a:pos x="13" y="15"/>
                  </a:cxn>
                  <a:cxn ang="0">
                    <a:pos x="7" y="25"/>
                  </a:cxn>
                  <a:cxn ang="0">
                    <a:pos x="4" y="30"/>
                  </a:cxn>
                  <a:cxn ang="0">
                    <a:pos x="0" y="33"/>
                  </a:cxn>
                  <a:cxn ang="0">
                    <a:pos x="3" y="37"/>
                  </a:cxn>
                  <a:cxn ang="0">
                    <a:pos x="4" y="49"/>
                  </a:cxn>
                  <a:cxn ang="0">
                    <a:pos x="6" y="50"/>
                  </a:cxn>
                  <a:cxn ang="0">
                    <a:pos x="14" y="50"/>
                  </a:cxn>
                  <a:cxn ang="0">
                    <a:pos x="16" y="57"/>
                  </a:cxn>
                  <a:cxn ang="0">
                    <a:pos x="14" y="69"/>
                  </a:cxn>
                  <a:cxn ang="0">
                    <a:pos x="11" y="76"/>
                  </a:cxn>
                  <a:cxn ang="0">
                    <a:pos x="10" y="81"/>
                  </a:cxn>
                  <a:cxn ang="0">
                    <a:pos x="16" y="83"/>
                  </a:cxn>
                  <a:cxn ang="0">
                    <a:pos x="28" y="74"/>
                  </a:cxn>
                  <a:cxn ang="0">
                    <a:pos x="36" y="76"/>
                  </a:cxn>
                  <a:cxn ang="0">
                    <a:pos x="41" y="76"/>
                  </a:cxn>
                  <a:cxn ang="0">
                    <a:pos x="46" y="73"/>
                  </a:cxn>
                  <a:cxn ang="0">
                    <a:pos x="57" y="70"/>
                  </a:cxn>
                  <a:cxn ang="0">
                    <a:pos x="67" y="79"/>
                  </a:cxn>
                  <a:cxn ang="0">
                    <a:pos x="74" y="86"/>
                  </a:cxn>
                  <a:cxn ang="0">
                    <a:pos x="73" y="100"/>
                  </a:cxn>
                  <a:cxn ang="0">
                    <a:pos x="74" y="103"/>
                  </a:cxn>
                  <a:cxn ang="0">
                    <a:pos x="84" y="114"/>
                  </a:cxn>
                  <a:cxn ang="0">
                    <a:pos x="85" y="126"/>
                  </a:cxn>
                  <a:cxn ang="0">
                    <a:pos x="83" y="138"/>
                  </a:cxn>
                  <a:cxn ang="0">
                    <a:pos x="90" y="141"/>
                  </a:cxn>
                  <a:cxn ang="0">
                    <a:pos x="90" y="144"/>
                  </a:cxn>
                  <a:cxn ang="0">
                    <a:pos x="94" y="138"/>
                  </a:cxn>
                  <a:cxn ang="0">
                    <a:pos x="98" y="134"/>
                  </a:cxn>
                  <a:cxn ang="0">
                    <a:pos x="105" y="136"/>
                  </a:cxn>
                  <a:cxn ang="0">
                    <a:pos x="117" y="133"/>
                  </a:cxn>
                  <a:cxn ang="0">
                    <a:pos x="117" y="127"/>
                  </a:cxn>
                  <a:cxn ang="0">
                    <a:pos x="114" y="110"/>
                  </a:cxn>
                  <a:cxn ang="0">
                    <a:pos x="104" y="101"/>
                  </a:cxn>
                  <a:cxn ang="0">
                    <a:pos x="98" y="93"/>
                  </a:cxn>
                  <a:cxn ang="0">
                    <a:pos x="88" y="80"/>
                  </a:cxn>
                  <a:cxn ang="0">
                    <a:pos x="81" y="70"/>
                  </a:cxn>
                </a:cxnLst>
                <a:rect l="0" t="0" r="r" b="b"/>
                <a:pathLst>
                  <a:path w="117" h="144">
                    <a:moveTo>
                      <a:pt x="80" y="66"/>
                    </a:moveTo>
                    <a:lnTo>
                      <a:pt x="80" y="66"/>
                    </a:lnTo>
                    <a:lnTo>
                      <a:pt x="78" y="64"/>
                    </a:lnTo>
                    <a:lnTo>
                      <a:pt x="77" y="63"/>
                    </a:lnTo>
                    <a:lnTo>
                      <a:pt x="70" y="59"/>
                    </a:lnTo>
                    <a:lnTo>
                      <a:pt x="64" y="54"/>
                    </a:lnTo>
                    <a:lnTo>
                      <a:pt x="63" y="53"/>
                    </a:lnTo>
                    <a:lnTo>
                      <a:pt x="63" y="52"/>
                    </a:lnTo>
                    <a:lnTo>
                      <a:pt x="63" y="52"/>
                    </a:lnTo>
                    <a:lnTo>
                      <a:pt x="64" y="50"/>
                    </a:lnTo>
                    <a:lnTo>
                      <a:pt x="65" y="49"/>
                    </a:lnTo>
                    <a:lnTo>
                      <a:pt x="70" y="47"/>
                    </a:lnTo>
                    <a:lnTo>
                      <a:pt x="73" y="46"/>
                    </a:lnTo>
                    <a:lnTo>
                      <a:pt x="74" y="46"/>
                    </a:lnTo>
                    <a:lnTo>
                      <a:pt x="74" y="44"/>
                    </a:lnTo>
                    <a:lnTo>
                      <a:pt x="74" y="44"/>
                    </a:lnTo>
                    <a:lnTo>
                      <a:pt x="74" y="42"/>
                    </a:lnTo>
                    <a:lnTo>
                      <a:pt x="73" y="39"/>
                    </a:lnTo>
                    <a:lnTo>
                      <a:pt x="71" y="36"/>
                    </a:lnTo>
                    <a:lnTo>
                      <a:pt x="70" y="32"/>
                    </a:lnTo>
                    <a:lnTo>
                      <a:pt x="70" y="32"/>
                    </a:lnTo>
                    <a:lnTo>
                      <a:pt x="68" y="27"/>
                    </a:lnTo>
                    <a:lnTo>
                      <a:pt x="64" y="27"/>
                    </a:lnTo>
                    <a:lnTo>
                      <a:pt x="61" y="27"/>
                    </a:lnTo>
                    <a:lnTo>
                      <a:pt x="58" y="29"/>
                    </a:lnTo>
                    <a:lnTo>
                      <a:pt x="58" y="29"/>
                    </a:lnTo>
                    <a:lnTo>
                      <a:pt x="55" y="29"/>
                    </a:lnTo>
                    <a:lnTo>
                      <a:pt x="51" y="27"/>
                    </a:lnTo>
                    <a:lnTo>
                      <a:pt x="47" y="25"/>
                    </a:lnTo>
                    <a:lnTo>
                      <a:pt x="46" y="22"/>
                    </a:lnTo>
                    <a:lnTo>
                      <a:pt x="46" y="22"/>
                    </a:lnTo>
                    <a:lnTo>
                      <a:pt x="44" y="19"/>
                    </a:lnTo>
                    <a:lnTo>
                      <a:pt x="41" y="15"/>
                    </a:lnTo>
                    <a:lnTo>
                      <a:pt x="38" y="12"/>
                    </a:lnTo>
                    <a:lnTo>
                      <a:pt x="37" y="9"/>
                    </a:lnTo>
                    <a:lnTo>
                      <a:pt x="37" y="9"/>
                    </a:lnTo>
                    <a:lnTo>
                      <a:pt x="36" y="6"/>
                    </a:lnTo>
                    <a:lnTo>
                      <a:pt x="31" y="0"/>
                    </a:lnTo>
                    <a:lnTo>
                      <a:pt x="31" y="0"/>
                    </a:lnTo>
                    <a:lnTo>
                      <a:pt x="27" y="2"/>
                    </a:lnTo>
                    <a:lnTo>
                      <a:pt x="24" y="2"/>
                    </a:lnTo>
                    <a:lnTo>
                      <a:pt x="24" y="2"/>
                    </a:lnTo>
                    <a:lnTo>
                      <a:pt x="23" y="2"/>
                    </a:lnTo>
                    <a:lnTo>
                      <a:pt x="23" y="5"/>
                    </a:lnTo>
                    <a:lnTo>
                      <a:pt x="21" y="7"/>
                    </a:lnTo>
                    <a:lnTo>
                      <a:pt x="23" y="10"/>
                    </a:lnTo>
                    <a:lnTo>
                      <a:pt x="23" y="10"/>
                    </a:lnTo>
                    <a:lnTo>
                      <a:pt x="24" y="13"/>
                    </a:lnTo>
                    <a:lnTo>
                      <a:pt x="24" y="17"/>
                    </a:lnTo>
                    <a:lnTo>
                      <a:pt x="24" y="22"/>
                    </a:lnTo>
                    <a:lnTo>
                      <a:pt x="23" y="22"/>
                    </a:lnTo>
                    <a:lnTo>
                      <a:pt x="21" y="22"/>
                    </a:lnTo>
                    <a:lnTo>
                      <a:pt x="21" y="22"/>
                    </a:lnTo>
                    <a:lnTo>
                      <a:pt x="19" y="20"/>
                    </a:lnTo>
                    <a:lnTo>
                      <a:pt x="17" y="17"/>
                    </a:lnTo>
                    <a:lnTo>
                      <a:pt x="16" y="16"/>
                    </a:lnTo>
                    <a:lnTo>
                      <a:pt x="13" y="15"/>
                    </a:lnTo>
                    <a:lnTo>
                      <a:pt x="13" y="15"/>
                    </a:lnTo>
                    <a:lnTo>
                      <a:pt x="10" y="20"/>
                    </a:lnTo>
                    <a:lnTo>
                      <a:pt x="7" y="25"/>
                    </a:lnTo>
                    <a:lnTo>
                      <a:pt x="6" y="27"/>
                    </a:lnTo>
                    <a:lnTo>
                      <a:pt x="6" y="27"/>
                    </a:lnTo>
                    <a:lnTo>
                      <a:pt x="4" y="30"/>
                    </a:lnTo>
                    <a:lnTo>
                      <a:pt x="3" y="30"/>
                    </a:lnTo>
                    <a:lnTo>
                      <a:pt x="0" y="33"/>
                    </a:lnTo>
                    <a:lnTo>
                      <a:pt x="0" y="33"/>
                    </a:lnTo>
                    <a:lnTo>
                      <a:pt x="3" y="36"/>
                    </a:lnTo>
                    <a:lnTo>
                      <a:pt x="3" y="36"/>
                    </a:lnTo>
                    <a:lnTo>
                      <a:pt x="3" y="37"/>
                    </a:lnTo>
                    <a:lnTo>
                      <a:pt x="3" y="40"/>
                    </a:lnTo>
                    <a:lnTo>
                      <a:pt x="3" y="44"/>
                    </a:lnTo>
                    <a:lnTo>
                      <a:pt x="4" y="49"/>
                    </a:lnTo>
                    <a:lnTo>
                      <a:pt x="4" y="49"/>
                    </a:lnTo>
                    <a:lnTo>
                      <a:pt x="6" y="49"/>
                    </a:lnTo>
                    <a:lnTo>
                      <a:pt x="6" y="50"/>
                    </a:lnTo>
                    <a:lnTo>
                      <a:pt x="10" y="49"/>
                    </a:lnTo>
                    <a:lnTo>
                      <a:pt x="13" y="49"/>
                    </a:lnTo>
                    <a:lnTo>
                      <a:pt x="14" y="50"/>
                    </a:lnTo>
                    <a:lnTo>
                      <a:pt x="16" y="52"/>
                    </a:lnTo>
                    <a:lnTo>
                      <a:pt x="16" y="52"/>
                    </a:lnTo>
                    <a:lnTo>
                      <a:pt x="16" y="57"/>
                    </a:lnTo>
                    <a:lnTo>
                      <a:pt x="16" y="60"/>
                    </a:lnTo>
                    <a:lnTo>
                      <a:pt x="14" y="64"/>
                    </a:lnTo>
                    <a:lnTo>
                      <a:pt x="14" y="69"/>
                    </a:lnTo>
                    <a:lnTo>
                      <a:pt x="14" y="69"/>
                    </a:lnTo>
                    <a:lnTo>
                      <a:pt x="13" y="73"/>
                    </a:lnTo>
                    <a:lnTo>
                      <a:pt x="11" y="76"/>
                    </a:lnTo>
                    <a:lnTo>
                      <a:pt x="10" y="79"/>
                    </a:lnTo>
                    <a:lnTo>
                      <a:pt x="10" y="81"/>
                    </a:lnTo>
                    <a:lnTo>
                      <a:pt x="10" y="81"/>
                    </a:lnTo>
                    <a:lnTo>
                      <a:pt x="10" y="83"/>
                    </a:lnTo>
                    <a:lnTo>
                      <a:pt x="11" y="84"/>
                    </a:lnTo>
                    <a:lnTo>
                      <a:pt x="16" y="83"/>
                    </a:lnTo>
                    <a:lnTo>
                      <a:pt x="24" y="76"/>
                    </a:lnTo>
                    <a:lnTo>
                      <a:pt x="24" y="76"/>
                    </a:lnTo>
                    <a:lnTo>
                      <a:pt x="28" y="74"/>
                    </a:lnTo>
                    <a:lnTo>
                      <a:pt x="31" y="73"/>
                    </a:lnTo>
                    <a:lnTo>
                      <a:pt x="34" y="74"/>
                    </a:lnTo>
                    <a:lnTo>
                      <a:pt x="36" y="76"/>
                    </a:lnTo>
                    <a:lnTo>
                      <a:pt x="36" y="76"/>
                    </a:lnTo>
                    <a:lnTo>
                      <a:pt x="38" y="77"/>
                    </a:lnTo>
                    <a:lnTo>
                      <a:pt x="41" y="76"/>
                    </a:lnTo>
                    <a:lnTo>
                      <a:pt x="44" y="74"/>
                    </a:lnTo>
                    <a:lnTo>
                      <a:pt x="46" y="73"/>
                    </a:lnTo>
                    <a:lnTo>
                      <a:pt x="46" y="73"/>
                    </a:lnTo>
                    <a:lnTo>
                      <a:pt x="48" y="70"/>
                    </a:lnTo>
                    <a:lnTo>
                      <a:pt x="53" y="70"/>
                    </a:lnTo>
                    <a:lnTo>
                      <a:pt x="57" y="70"/>
                    </a:lnTo>
                    <a:lnTo>
                      <a:pt x="61" y="71"/>
                    </a:lnTo>
                    <a:lnTo>
                      <a:pt x="61" y="71"/>
                    </a:lnTo>
                    <a:lnTo>
                      <a:pt x="67" y="79"/>
                    </a:lnTo>
                    <a:lnTo>
                      <a:pt x="73" y="84"/>
                    </a:lnTo>
                    <a:lnTo>
                      <a:pt x="73" y="84"/>
                    </a:lnTo>
                    <a:lnTo>
                      <a:pt x="74" y="86"/>
                    </a:lnTo>
                    <a:lnTo>
                      <a:pt x="74" y="87"/>
                    </a:lnTo>
                    <a:lnTo>
                      <a:pt x="73" y="94"/>
                    </a:lnTo>
                    <a:lnTo>
                      <a:pt x="73" y="100"/>
                    </a:lnTo>
                    <a:lnTo>
                      <a:pt x="73" y="101"/>
                    </a:lnTo>
                    <a:lnTo>
                      <a:pt x="74" y="103"/>
                    </a:lnTo>
                    <a:lnTo>
                      <a:pt x="74" y="103"/>
                    </a:lnTo>
                    <a:lnTo>
                      <a:pt x="78" y="106"/>
                    </a:lnTo>
                    <a:lnTo>
                      <a:pt x="81" y="108"/>
                    </a:lnTo>
                    <a:lnTo>
                      <a:pt x="84" y="114"/>
                    </a:lnTo>
                    <a:lnTo>
                      <a:pt x="85" y="120"/>
                    </a:lnTo>
                    <a:lnTo>
                      <a:pt x="85" y="120"/>
                    </a:lnTo>
                    <a:lnTo>
                      <a:pt x="85" y="126"/>
                    </a:lnTo>
                    <a:lnTo>
                      <a:pt x="85" y="130"/>
                    </a:lnTo>
                    <a:lnTo>
                      <a:pt x="85" y="134"/>
                    </a:lnTo>
                    <a:lnTo>
                      <a:pt x="83" y="138"/>
                    </a:lnTo>
                    <a:lnTo>
                      <a:pt x="83" y="138"/>
                    </a:lnTo>
                    <a:lnTo>
                      <a:pt x="88" y="140"/>
                    </a:lnTo>
                    <a:lnTo>
                      <a:pt x="90" y="141"/>
                    </a:lnTo>
                    <a:lnTo>
                      <a:pt x="90" y="143"/>
                    </a:lnTo>
                    <a:lnTo>
                      <a:pt x="90" y="143"/>
                    </a:lnTo>
                    <a:lnTo>
                      <a:pt x="90" y="144"/>
                    </a:lnTo>
                    <a:lnTo>
                      <a:pt x="92" y="144"/>
                    </a:lnTo>
                    <a:lnTo>
                      <a:pt x="94" y="141"/>
                    </a:lnTo>
                    <a:lnTo>
                      <a:pt x="94" y="138"/>
                    </a:lnTo>
                    <a:lnTo>
                      <a:pt x="94" y="138"/>
                    </a:lnTo>
                    <a:lnTo>
                      <a:pt x="95" y="136"/>
                    </a:lnTo>
                    <a:lnTo>
                      <a:pt x="98" y="134"/>
                    </a:lnTo>
                    <a:lnTo>
                      <a:pt x="102" y="134"/>
                    </a:lnTo>
                    <a:lnTo>
                      <a:pt x="105" y="136"/>
                    </a:lnTo>
                    <a:lnTo>
                      <a:pt x="105" y="136"/>
                    </a:lnTo>
                    <a:lnTo>
                      <a:pt x="111" y="136"/>
                    </a:lnTo>
                    <a:lnTo>
                      <a:pt x="114" y="134"/>
                    </a:lnTo>
                    <a:lnTo>
                      <a:pt x="117" y="133"/>
                    </a:lnTo>
                    <a:lnTo>
                      <a:pt x="117" y="133"/>
                    </a:lnTo>
                    <a:lnTo>
                      <a:pt x="117" y="127"/>
                    </a:lnTo>
                    <a:lnTo>
                      <a:pt x="117" y="127"/>
                    </a:lnTo>
                    <a:lnTo>
                      <a:pt x="117" y="117"/>
                    </a:lnTo>
                    <a:lnTo>
                      <a:pt x="117" y="113"/>
                    </a:lnTo>
                    <a:lnTo>
                      <a:pt x="114" y="110"/>
                    </a:lnTo>
                    <a:lnTo>
                      <a:pt x="114" y="110"/>
                    </a:lnTo>
                    <a:lnTo>
                      <a:pt x="107" y="106"/>
                    </a:lnTo>
                    <a:lnTo>
                      <a:pt x="104" y="101"/>
                    </a:lnTo>
                    <a:lnTo>
                      <a:pt x="101" y="99"/>
                    </a:lnTo>
                    <a:lnTo>
                      <a:pt x="101" y="99"/>
                    </a:lnTo>
                    <a:lnTo>
                      <a:pt x="98" y="93"/>
                    </a:lnTo>
                    <a:lnTo>
                      <a:pt x="94" y="89"/>
                    </a:lnTo>
                    <a:lnTo>
                      <a:pt x="91" y="84"/>
                    </a:lnTo>
                    <a:lnTo>
                      <a:pt x="88" y="80"/>
                    </a:lnTo>
                    <a:lnTo>
                      <a:pt x="88" y="80"/>
                    </a:lnTo>
                    <a:lnTo>
                      <a:pt x="83" y="73"/>
                    </a:lnTo>
                    <a:lnTo>
                      <a:pt x="81" y="70"/>
                    </a:lnTo>
                    <a:lnTo>
                      <a:pt x="80" y="66"/>
                    </a:lnTo>
                    <a:lnTo>
                      <a:pt x="80" y="6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4" name="Thailand">
                <a:extLst>
                  <a:ext uri="{FF2B5EF4-FFF2-40B4-BE49-F238E27FC236}">
                    <a16:creationId xmlns:a16="http://schemas.microsoft.com/office/drawing/2014/main" id="{42D14E4B-7D86-FB48-991E-D4F2BF148F2A}"/>
                  </a:ext>
                </a:extLst>
              </p:cNvPr>
              <p:cNvSpPr>
                <a:spLocks/>
              </p:cNvSpPr>
              <p:nvPr/>
            </p:nvSpPr>
            <p:spPr bwMode="auto">
              <a:xfrm>
                <a:off x="6611142" y="3816972"/>
                <a:ext cx="186453" cy="358107"/>
              </a:xfrm>
              <a:custGeom>
                <a:avLst/>
                <a:gdLst/>
                <a:ahLst/>
                <a:cxnLst>
                  <a:cxn ang="0">
                    <a:pos x="77" y="121"/>
                  </a:cxn>
                  <a:cxn ang="0">
                    <a:pos x="84" y="108"/>
                  </a:cxn>
                  <a:cxn ang="0">
                    <a:pos x="99" y="103"/>
                  </a:cxn>
                  <a:cxn ang="0">
                    <a:pos x="121" y="103"/>
                  </a:cxn>
                  <a:cxn ang="0">
                    <a:pos x="124" y="105"/>
                  </a:cxn>
                  <a:cxn ang="0">
                    <a:pos x="126" y="87"/>
                  </a:cxn>
                  <a:cxn ang="0">
                    <a:pos x="119" y="73"/>
                  </a:cxn>
                  <a:cxn ang="0">
                    <a:pos x="114" y="67"/>
                  </a:cxn>
                  <a:cxn ang="0">
                    <a:pos x="114" y="51"/>
                  </a:cxn>
                  <a:cxn ang="0">
                    <a:pos x="102" y="38"/>
                  </a:cxn>
                  <a:cxn ang="0">
                    <a:pos x="87" y="40"/>
                  </a:cxn>
                  <a:cxn ang="0">
                    <a:pos x="79" y="44"/>
                  </a:cxn>
                  <a:cxn ang="0">
                    <a:pos x="72" y="40"/>
                  </a:cxn>
                  <a:cxn ang="0">
                    <a:pos x="57" y="50"/>
                  </a:cxn>
                  <a:cxn ang="0">
                    <a:pos x="51" y="48"/>
                  </a:cxn>
                  <a:cxn ang="0">
                    <a:pos x="55" y="36"/>
                  </a:cxn>
                  <a:cxn ang="0">
                    <a:pos x="57" y="24"/>
                  </a:cxn>
                  <a:cxn ang="0">
                    <a:pos x="54" y="16"/>
                  </a:cxn>
                  <a:cxn ang="0">
                    <a:pos x="45" y="16"/>
                  </a:cxn>
                  <a:cxn ang="0">
                    <a:pos x="44" y="4"/>
                  </a:cxn>
                  <a:cxn ang="0">
                    <a:pos x="41" y="0"/>
                  </a:cxn>
                  <a:cxn ang="0">
                    <a:pos x="31" y="6"/>
                  </a:cxn>
                  <a:cxn ang="0">
                    <a:pos x="21" y="13"/>
                  </a:cxn>
                  <a:cxn ang="0">
                    <a:pos x="7" y="14"/>
                  </a:cxn>
                  <a:cxn ang="0">
                    <a:pos x="0" y="44"/>
                  </a:cxn>
                  <a:cxn ang="0">
                    <a:pos x="8" y="57"/>
                  </a:cxn>
                  <a:cxn ang="0">
                    <a:pos x="13" y="64"/>
                  </a:cxn>
                  <a:cxn ang="0">
                    <a:pos x="17" y="71"/>
                  </a:cxn>
                  <a:cxn ang="0">
                    <a:pos x="14" y="77"/>
                  </a:cxn>
                  <a:cxn ang="0">
                    <a:pos x="11" y="88"/>
                  </a:cxn>
                  <a:cxn ang="0">
                    <a:pos x="13" y="101"/>
                  </a:cxn>
                  <a:cxn ang="0">
                    <a:pos x="23" y="115"/>
                  </a:cxn>
                  <a:cxn ang="0">
                    <a:pos x="25" y="131"/>
                  </a:cxn>
                  <a:cxn ang="0">
                    <a:pos x="24" y="151"/>
                  </a:cxn>
                  <a:cxn ang="0">
                    <a:pos x="15" y="164"/>
                  </a:cxn>
                  <a:cxn ang="0">
                    <a:pos x="8" y="201"/>
                  </a:cxn>
                  <a:cxn ang="0">
                    <a:pos x="20" y="208"/>
                  </a:cxn>
                  <a:cxn ang="0">
                    <a:pos x="37" y="231"/>
                  </a:cxn>
                  <a:cxn ang="0">
                    <a:pos x="52" y="235"/>
                  </a:cxn>
                  <a:cxn ang="0">
                    <a:pos x="55" y="242"/>
                  </a:cxn>
                  <a:cxn ang="0">
                    <a:pos x="68" y="241"/>
                  </a:cxn>
                  <a:cxn ang="0">
                    <a:pos x="72" y="235"/>
                  </a:cxn>
                  <a:cxn ang="0">
                    <a:pos x="54" y="225"/>
                  </a:cxn>
                  <a:cxn ang="0">
                    <a:pos x="44" y="218"/>
                  </a:cxn>
                  <a:cxn ang="0">
                    <a:pos x="41" y="202"/>
                  </a:cxn>
                  <a:cxn ang="0">
                    <a:pos x="37" y="192"/>
                  </a:cxn>
                  <a:cxn ang="0">
                    <a:pos x="27" y="184"/>
                  </a:cxn>
                  <a:cxn ang="0">
                    <a:pos x="28" y="158"/>
                  </a:cxn>
                  <a:cxn ang="0">
                    <a:pos x="37" y="132"/>
                  </a:cxn>
                  <a:cxn ang="0">
                    <a:pos x="37" y="124"/>
                  </a:cxn>
                  <a:cxn ang="0">
                    <a:pos x="50" y="120"/>
                  </a:cxn>
                  <a:cxn ang="0">
                    <a:pos x="54" y="130"/>
                  </a:cxn>
                  <a:cxn ang="0">
                    <a:pos x="68" y="132"/>
                  </a:cxn>
                  <a:cxn ang="0">
                    <a:pos x="79" y="141"/>
                  </a:cxn>
                  <a:cxn ang="0">
                    <a:pos x="81" y="141"/>
                  </a:cxn>
                  <a:cxn ang="0">
                    <a:pos x="78" y="128"/>
                  </a:cxn>
                </a:cxnLst>
                <a:rect l="0" t="0" r="r" b="b"/>
                <a:pathLst>
                  <a:path w="126" h="242">
                    <a:moveTo>
                      <a:pt x="78" y="128"/>
                    </a:moveTo>
                    <a:lnTo>
                      <a:pt x="78" y="128"/>
                    </a:lnTo>
                    <a:lnTo>
                      <a:pt x="78" y="124"/>
                    </a:lnTo>
                    <a:lnTo>
                      <a:pt x="77" y="121"/>
                    </a:lnTo>
                    <a:lnTo>
                      <a:pt x="75" y="118"/>
                    </a:lnTo>
                    <a:lnTo>
                      <a:pt x="78" y="114"/>
                    </a:lnTo>
                    <a:lnTo>
                      <a:pt x="78" y="114"/>
                    </a:lnTo>
                    <a:lnTo>
                      <a:pt x="84" y="108"/>
                    </a:lnTo>
                    <a:lnTo>
                      <a:pt x="89" y="104"/>
                    </a:lnTo>
                    <a:lnTo>
                      <a:pt x="95" y="103"/>
                    </a:lnTo>
                    <a:lnTo>
                      <a:pt x="99" y="103"/>
                    </a:lnTo>
                    <a:lnTo>
                      <a:pt x="99" y="103"/>
                    </a:lnTo>
                    <a:lnTo>
                      <a:pt x="105" y="103"/>
                    </a:lnTo>
                    <a:lnTo>
                      <a:pt x="112" y="103"/>
                    </a:lnTo>
                    <a:lnTo>
                      <a:pt x="118" y="103"/>
                    </a:lnTo>
                    <a:lnTo>
                      <a:pt x="121" y="103"/>
                    </a:lnTo>
                    <a:lnTo>
                      <a:pt x="122" y="104"/>
                    </a:lnTo>
                    <a:lnTo>
                      <a:pt x="122" y="104"/>
                    </a:lnTo>
                    <a:lnTo>
                      <a:pt x="124" y="105"/>
                    </a:lnTo>
                    <a:lnTo>
                      <a:pt x="124" y="105"/>
                    </a:lnTo>
                    <a:lnTo>
                      <a:pt x="126" y="101"/>
                    </a:lnTo>
                    <a:lnTo>
                      <a:pt x="126" y="97"/>
                    </a:lnTo>
                    <a:lnTo>
                      <a:pt x="126" y="93"/>
                    </a:lnTo>
                    <a:lnTo>
                      <a:pt x="126" y="87"/>
                    </a:lnTo>
                    <a:lnTo>
                      <a:pt x="126" y="87"/>
                    </a:lnTo>
                    <a:lnTo>
                      <a:pt x="125" y="81"/>
                    </a:lnTo>
                    <a:lnTo>
                      <a:pt x="122" y="75"/>
                    </a:lnTo>
                    <a:lnTo>
                      <a:pt x="119" y="73"/>
                    </a:lnTo>
                    <a:lnTo>
                      <a:pt x="115" y="70"/>
                    </a:lnTo>
                    <a:lnTo>
                      <a:pt x="115" y="70"/>
                    </a:lnTo>
                    <a:lnTo>
                      <a:pt x="114" y="68"/>
                    </a:lnTo>
                    <a:lnTo>
                      <a:pt x="114" y="67"/>
                    </a:lnTo>
                    <a:lnTo>
                      <a:pt x="114" y="61"/>
                    </a:lnTo>
                    <a:lnTo>
                      <a:pt x="115" y="54"/>
                    </a:lnTo>
                    <a:lnTo>
                      <a:pt x="115" y="53"/>
                    </a:lnTo>
                    <a:lnTo>
                      <a:pt x="114" y="51"/>
                    </a:lnTo>
                    <a:lnTo>
                      <a:pt x="114" y="51"/>
                    </a:lnTo>
                    <a:lnTo>
                      <a:pt x="108" y="46"/>
                    </a:lnTo>
                    <a:lnTo>
                      <a:pt x="102" y="38"/>
                    </a:lnTo>
                    <a:lnTo>
                      <a:pt x="102" y="38"/>
                    </a:lnTo>
                    <a:lnTo>
                      <a:pt x="98" y="37"/>
                    </a:lnTo>
                    <a:lnTo>
                      <a:pt x="94" y="37"/>
                    </a:lnTo>
                    <a:lnTo>
                      <a:pt x="89" y="37"/>
                    </a:lnTo>
                    <a:lnTo>
                      <a:pt x="87" y="40"/>
                    </a:lnTo>
                    <a:lnTo>
                      <a:pt x="87" y="40"/>
                    </a:lnTo>
                    <a:lnTo>
                      <a:pt x="85" y="41"/>
                    </a:lnTo>
                    <a:lnTo>
                      <a:pt x="82" y="43"/>
                    </a:lnTo>
                    <a:lnTo>
                      <a:pt x="79" y="44"/>
                    </a:lnTo>
                    <a:lnTo>
                      <a:pt x="77" y="43"/>
                    </a:lnTo>
                    <a:lnTo>
                      <a:pt x="77" y="43"/>
                    </a:lnTo>
                    <a:lnTo>
                      <a:pt x="75" y="41"/>
                    </a:lnTo>
                    <a:lnTo>
                      <a:pt x="72" y="40"/>
                    </a:lnTo>
                    <a:lnTo>
                      <a:pt x="69" y="41"/>
                    </a:lnTo>
                    <a:lnTo>
                      <a:pt x="65" y="43"/>
                    </a:lnTo>
                    <a:lnTo>
                      <a:pt x="65" y="43"/>
                    </a:lnTo>
                    <a:lnTo>
                      <a:pt x="57" y="50"/>
                    </a:lnTo>
                    <a:lnTo>
                      <a:pt x="52" y="51"/>
                    </a:lnTo>
                    <a:lnTo>
                      <a:pt x="51" y="50"/>
                    </a:lnTo>
                    <a:lnTo>
                      <a:pt x="51" y="48"/>
                    </a:lnTo>
                    <a:lnTo>
                      <a:pt x="51" y="48"/>
                    </a:lnTo>
                    <a:lnTo>
                      <a:pt x="51" y="46"/>
                    </a:lnTo>
                    <a:lnTo>
                      <a:pt x="52" y="43"/>
                    </a:lnTo>
                    <a:lnTo>
                      <a:pt x="54" y="40"/>
                    </a:lnTo>
                    <a:lnTo>
                      <a:pt x="55" y="36"/>
                    </a:lnTo>
                    <a:lnTo>
                      <a:pt x="55" y="36"/>
                    </a:lnTo>
                    <a:lnTo>
                      <a:pt x="55" y="31"/>
                    </a:lnTo>
                    <a:lnTo>
                      <a:pt x="57" y="27"/>
                    </a:lnTo>
                    <a:lnTo>
                      <a:pt x="57" y="24"/>
                    </a:lnTo>
                    <a:lnTo>
                      <a:pt x="57" y="19"/>
                    </a:lnTo>
                    <a:lnTo>
                      <a:pt x="57" y="19"/>
                    </a:lnTo>
                    <a:lnTo>
                      <a:pt x="55" y="17"/>
                    </a:lnTo>
                    <a:lnTo>
                      <a:pt x="54" y="16"/>
                    </a:lnTo>
                    <a:lnTo>
                      <a:pt x="51" y="16"/>
                    </a:lnTo>
                    <a:lnTo>
                      <a:pt x="47" y="17"/>
                    </a:lnTo>
                    <a:lnTo>
                      <a:pt x="47" y="16"/>
                    </a:lnTo>
                    <a:lnTo>
                      <a:pt x="45" y="16"/>
                    </a:lnTo>
                    <a:lnTo>
                      <a:pt x="45" y="16"/>
                    </a:lnTo>
                    <a:lnTo>
                      <a:pt x="44" y="11"/>
                    </a:lnTo>
                    <a:lnTo>
                      <a:pt x="44" y="7"/>
                    </a:lnTo>
                    <a:lnTo>
                      <a:pt x="44" y="4"/>
                    </a:lnTo>
                    <a:lnTo>
                      <a:pt x="44" y="3"/>
                    </a:lnTo>
                    <a:lnTo>
                      <a:pt x="44" y="3"/>
                    </a:lnTo>
                    <a:lnTo>
                      <a:pt x="41" y="0"/>
                    </a:lnTo>
                    <a:lnTo>
                      <a:pt x="41" y="0"/>
                    </a:lnTo>
                    <a:lnTo>
                      <a:pt x="38" y="2"/>
                    </a:lnTo>
                    <a:lnTo>
                      <a:pt x="38" y="2"/>
                    </a:lnTo>
                    <a:lnTo>
                      <a:pt x="35" y="4"/>
                    </a:lnTo>
                    <a:lnTo>
                      <a:pt x="31" y="6"/>
                    </a:lnTo>
                    <a:lnTo>
                      <a:pt x="27" y="7"/>
                    </a:lnTo>
                    <a:lnTo>
                      <a:pt x="24" y="10"/>
                    </a:lnTo>
                    <a:lnTo>
                      <a:pt x="24" y="10"/>
                    </a:lnTo>
                    <a:lnTo>
                      <a:pt x="21" y="13"/>
                    </a:lnTo>
                    <a:lnTo>
                      <a:pt x="17" y="14"/>
                    </a:lnTo>
                    <a:lnTo>
                      <a:pt x="11" y="14"/>
                    </a:lnTo>
                    <a:lnTo>
                      <a:pt x="11" y="14"/>
                    </a:lnTo>
                    <a:lnTo>
                      <a:pt x="7" y="14"/>
                    </a:lnTo>
                    <a:lnTo>
                      <a:pt x="4" y="16"/>
                    </a:lnTo>
                    <a:lnTo>
                      <a:pt x="3" y="19"/>
                    </a:lnTo>
                    <a:lnTo>
                      <a:pt x="3" y="19"/>
                    </a:lnTo>
                    <a:lnTo>
                      <a:pt x="0" y="44"/>
                    </a:lnTo>
                    <a:lnTo>
                      <a:pt x="0" y="44"/>
                    </a:lnTo>
                    <a:lnTo>
                      <a:pt x="1" y="48"/>
                    </a:lnTo>
                    <a:lnTo>
                      <a:pt x="4" y="53"/>
                    </a:lnTo>
                    <a:lnTo>
                      <a:pt x="8" y="57"/>
                    </a:lnTo>
                    <a:lnTo>
                      <a:pt x="11" y="58"/>
                    </a:lnTo>
                    <a:lnTo>
                      <a:pt x="11" y="58"/>
                    </a:lnTo>
                    <a:lnTo>
                      <a:pt x="13" y="61"/>
                    </a:lnTo>
                    <a:lnTo>
                      <a:pt x="13" y="64"/>
                    </a:lnTo>
                    <a:lnTo>
                      <a:pt x="13" y="67"/>
                    </a:lnTo>
                    <a:lnTo>
                      <a:pt x="14" y="70"/>
                    </a:lnTo>
                    <a:lnTo>
                      <a:pt x="14" y="70"/>
                    </a:lnTo>
                    <a:lnTo>
                      <a:pt x="17" y="71"/>
                    </a:lnTo>
                    <a:lnTo>
                      <a:pt x="17" y="74"/>
                    </a:lnTo>
                    <a:lnTo>
                      <a:pt x="15" y="77"/>
                    </a:lnTo>
                    <a:lnTo>
                      <a:pt x="14" y="77"/>
                    </a:lnTo>
                    <a:lnTo>
                      <a:pt x="14" y="77"/>
                    </a:lnTo>
                    <a:lnTo>
                      <a:pt x="13" y="78"/>
                    </a:lnTo>
                    <a:lnTo>
                      <a:pt x="14" y="81"/>
                    </a:lnTo>
                    <a:lnTo>
                      <a:pt x="13" y="85"/>
                    </a:lnTo>
                    <a:lnTo>
                      <a:pt x="11" y="88"/>
                    </a:lnTo>
                    <a:lnTo>
                      <a:pt x="11" y="88"/>
                    </a:lnTo>
                    <a:lnTo>
                      <a:pt x="10" y="93"/>
                    </a:lnTo>
                    <a:lnTo>
                      <a:pt x="11" y="97"/>
                    </a:lnTo>
                    <a:lnTo>
                      <a:pt x="13" y="101"/>
                    </a:lnTo>
                    <a:lnTo>
                      <a:pt x="17" y="105"/>
                    </a:lnTo>
                    <a:lnTo>
                      <a:pt x="17" y="105"/>
                    </a:lnTo>
                    <a:lnTo>
                      <a:pt x="21" y="111"/>
                    </a:lnTo>
                    <a:lnTo>
                      <a:pt x="23" y="115"/>
                    </a:lnTo>
                    <a:lnTo>
                      <a:pt x="24" y="125"/>
                    </a:lnTo>
                    <a:lnTo>
                      <a:pt x="24" y="125"/>
                    </a:lnTo>
                    <a:lnTo>
                      <a:pt x="24" y="128"/>
                    </a:lnTo>
                    <a:lnTo>
                      <a:pt x="25" y="131"/>
                    </a:lnTo>
                    <a:lnTo>
                      <a:pt x="28" y="134"/>
                    </a:lnTo>
                    <a:lnTo>
                      <a:pt x="28" y="138"/>
                    </a:lnTo>
                    <a:lnTo>
                      <a:pt x="28" y="138"/>
                    </a:lnTo>
                    <a:lnTo>
                      <a:pt x="24" y="151"/>
                    </a:lnTo>
                    <a:lnTo>
                      <a:pt x="20" y="161"/>
                    </a:lnTo>
                    <a:lnTo>
                      <a:pt x="17" y="164"/>
                    </a:lnTo>
                    <a:lnTo>
                      <a:pt x="15" y="164"/>
                    </a:lnTo>
                    <a:lnTo>
                      <a:pt x="15" y="164"/>
                    </a:lnTo>
                    <a:lnTo>
                      <a:pt x="10" y="188"/>
                    </a:lnTo>
                    <a:lnTo>
                      <a:pt x="10" y="188"/>
                    </a:lnTo>
                    <a:lnTo>
                      <a:pt x="8" y="198"/>
                    </a:lnTo>
                    <a:lnTo>
                      <a:pt x="8" y="201"/>
                    </a:lnTo>
                    <a:lnTo>
                      <a:pt x="11" y="202"/>
                    </a:lnTo>
                    <a:lnTo>
                      <a:pt x="11" y="202"/>
                    </a:lnTo>
                    <a:lnTo>
                      <a:pt x="15" y="204"/>
                    </a:lnTo>
                    <a:lnTo>
                      <a:pt x="20" y="208"/>
                    </a:lnTo>
                    <a:lnTo>
                      <a:pt x="32" y="222"/>
                    </a:lnTo>
                    <a:lnTo>
                      <a:pt x="32" y="222"/>
                    </a:lnTo>
                    <a:lnTo>
                      <a:pt x="37" y="231"/>
                    </a:lnTo>
                    <a:lnTo>
                      <a:pt x="37" y="231"/>
                    </a:lnTo>
                    <a:lnTo>
                      <a:pt x="47" y="231"/>
                    </a:lnTo>
                    <a:lnTo>
                      <a:pt x="47" y="231"/>
                    </a:lnTo>
                    <a:lnTo>
                      <a:pt x="50" y="232"/>
                    </a:lnTo>
                    <a:lnTo>
                      <a:pt x="52" y="235"/>
                    </a:lnTo>
                    <a:lnTo>
                      <a:pt x="54" y="238"/>
                    </a:lnTo>
                    <a:lnTo>
                      <a:pt x="54" y="241"/>
                    </a:lnTo>
                    <a:lnTo>
                      <a:pt x="54" y="241"/>
                    </a:lnTo>
                    <a:lnTo>
                      <a:pt x="55" y="242"/>
                    </a:lnTo>
                    <a:lnTo>
                      <a:pt x="60" y="242"/>
                    </a:lnTo>
                    <a:lnTo>
                      <a:pt x="67" y="242"/>
                    </a:lnTo>
                    <a:lnTo>
                      <a:pt x="67" y="242"/>
                    </a:lnTo>
                    <a:lnTo>
                      <a:pt x="68" y="241"/>
                    </a:lnTo>
                    <a:lnTo>
                      <a:pt x="68" y="239"/>
                    </a:lnTo>
                    <a:lnTo>
                      <a:pt x="69" y="238"/>
                    </a:lnTo>
                    <a:lnTo>
                      <a:pt x="72" y="235"/>
                    </a:lnTo>
                    <a:lnTo>
                      <a:pt x="72" y="235"/>
                    </a:lnTo>
                    <a:lnTo>
                      <a:pt x="68" y="232"/>
                    </a:lnTo>
                    <a:lnTo>
                      <a:pt x="64" y="229"/>
                    </a:lnTo>
                    <a:lnTo>
                      <a:pt x="58" y="226"/>
                    </a:lnTo>
                    <a:lnTo>
                      <a:pt x="54" y="225"/>
                    </a:lnTo>
                    <a:lnTo>
                      <a:pt x="54" y="225"/>
                    </a:lnTo>
                    <a:lnTo>
                      <a:pt x="51" y="223"/>
                    </a:lnTo>
                    <a:lnTo>
                      <a:pt x="48" y="222"/>
                    </a:lnTo>
                    <a:lnTo>
                      <a:pt x="44" y="218"/>
                    </a:lnTo>
                    <a:lnTo>
                      <a:pt x="42" y="212"/>
                    </a:lnTo>
                    <a:lnTo>
                      <a:pt x="42" y="206"/>
                    </a:lnTo>
                    <a:lnTo>
                      <a:pt x="42" y="206"/>
                    </a:lnTo>
                    <a:lnTo>
                      <a:pt x="41" y="202"/>
                    </a:lnTo>
                    <a:lnTo>
                      <a:pt x="40" y="199"/>
                    </a:lnTo>
                    <a:lnTo>
                      <a:pt x="37" y="195"/>
                    </a:lnTo>
                    <a:lnTo>
                      <a:pt x="37" y="192"/>
                    </a:lnTo>
                    <a:lnTo>
                      <a:pt x="37" y="192"/>
                    </a:lnTo>
                    <a:lnTo>
                      <a:pt x="35" y="189"/>
                    </a:lnTo>
                    <a:lnTo>
                      <a:pt x="34" y="186"/>
                    </a:lnTo>
                    <a:lnTo>
                      <a:pt x="27" y="184"/>
                    </a:lnTo>
                    <a:lnTo>
                      <a:pt x="27" y="184"/>
                    </a:lnTo>
                    <a:lnTo>
                      <a:pt x="24" y="182"/>
                    </a:lnTo>
                    <a:lnTo>
                      <a:pt x="24" y="179"/>
                    </a:lnTo>
                    <a:lnTo>
                      <a:pt x="25" y="172"/>
                    </a:lnTo>
                    <a:lnTo>
                      <a:pt x="28" y="158"/>
                    </a:lnTo>
                    <a:lnTo>
                      <a:pt x="28" y="158"/>
                    </a:lnTo>
                    <a:lnTo>
                      <a:pt x="30" y="151"/>
                    </a:lnTo>
                    <a:lnTo>
                      <a:pt x="34" y="142"/>
                    </a:lnTo>
                    <a:lnTo>
                      <a:pt x="37" y="132"/>
                    </a:lnTo>
                    <a:lnTo>
                      <a:pt x="37" y="128"/>
                    </a:lnTo>
                    <a:lnTo>
                      <a:pt x="37" y="125"/>
                    </a:lnTo>
                    <a:lnTo>
                      <a:pt x="37" y="125"/>
                    </a:lnTo>
                    <a:lnTo>
                      <a:pt x="37" y="124"/>
                    </a:lnTo>
                    <a:lnTo>
                      <a:pt x="37" y="121"/>
                    </a:lnTo>
                    <a:lnTo>
                      <a:pt x="41" y="118"/>
                    </a:lnTo>
                    <a:lnTo>
                      <a:pt x="47" y="118"/>
                    </a:lnTo>
                    <a:lnTo>
                      <a:pt x="50" y="120"/>
                    </a:lnTo>
                    <a:lnTo>
                      <a:pt x="51" y="121"/>
                    </a:lnTo>
                    <a:lnTo>
                      <a:pt x="51" y="121"/>
                    </a:lnTo>
                    <a:lnTo>
                      <a:pt x="51" y="127"/>
                    </a:lnTo>
                    <a:lnTo>
                      <a:pt x="54" y="130"/>
                    </a:lnTo>
                    <a:lnTo>
                      <a:pt x="57" y="131"/>
                    </a:lnTo>
                    <a:lnTo>
                      <a:pt x="62" y="131"/>
                    </a:lnTo>
                    <a:lnTo>
                      <a:pt x="62" y="131"/>
                    </a:lnTo>
                    <a:lnTo>
                      <a:pt x="68" y="132"/>
                    </a:lnTo>
                    <a:lnTo>
                      <a:pt x="72" y="135"/>
                    </a:lnTo>
                    <a:lnTo>
                      <a:pt x="75" y="138"/>
                    </a:lnTo>
                    <a:lnTo>
                      <a:pt x="79" y="141"/>
                    </a:lnTo>
                    <a:lnTo>
                      <a:pt x="79" y="141"/>
                    </a:lnTo>
                    <a:lnTo>
                      <a:pt x="81" y="141"/>
                    </a:lnTo>
                    <a:lnTo>
                      <a:pt x="81" y="141"/>
                    </a:lnTo>
                    <a:lnTo>
                      <a:pt x="81" y="141"/>
                    </a:lnTo>
                    <a:lnTo>
                      <a:pt x="81" y="141"/>
                    </a:lnTo>
                    <a:lnTo>
                      <a:pt x="81" y="137"/>
                    </a:lnTo>
                    <a:lnTo>
                      <a:pt x="81" y="135"/>
                    </a:lnTo>
                    <a:lnTo>
                      <a:pt x="79" y="132"/>
                    </a:lnTo>
                    <a:lnTo>
                      <a:pt x="78" y="128"/>
                    </a:lnTo>
                    <a:lnTo>
                      <a:pt x="78" y="12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805" name="Bangladesh">
                <a:extLst>
                  <a:ext uri="{FF2B5EF4-FFF2-40B4-BE49-F238E27FC236}">
                    <a16:creationId xmlns:a16="http://schemas.microsoft.com/office/drawing/2014/main" id="{4FD64113-1569-4F4E-B728-2BA1435FD1A6}"/>
                  </a:ext>
                </a:extLst>
              </p:cNvPr>
              <p:cNvSpPr>
                <a:spLocks/>
              </p:cNvSpPr>
              <p:nvPr/>
            </p:nvSpPr>
            <p:spPr bwMode="auto">
              <a:xfrm>
                <a:off x="6403973" y="3671953"/>
                <a:ext cx="102106" cy="133181"/>
              </a:xfrm>
              <a:custGeom>
                <a:avLst/>
                <a:gdLst/>
                <a:ahLst/>
                <a:cxnLst>
                  <a:cxn ang="0">
                    <a:pos x="69" y="74"/>
                  </a:cxn>
                  <a:cxn ang="0">
                    <a:pos x="63" y="45"/>
                  </a:cxn>
                  <a:cxn ang="0">
                    <a:pos x="62" y="43"/>
                  </a:cxn>
                  <a:cxn ang="0">
                    <a:pos x="56" y="50"/>
                  </a:cxn>
                  <a:cxn ang="0">
                    <a:pos x="52" y="55"/>
                  </a:cxn>
                  <a:cxn ang="0">
                    <a:pos x="50" y="55"/>
                  </a:cxn>
                  <a:cxn ang="0">
                    <a:pos x="47" y="53"/>
                  </a:cxn>
                  <a:cxn ang="0">
                    <a:pos x="47" y="41"/>
                  </a:cxn>
                  <a:cxn ang="0">
                    <a:pos x="52" y="38"/>
                  </a:cxn>
                  <a:cxn ang="0">
                    <a:pos x="53" y="38"/>
                  </a:cxn>
                  <a:cxn ang="0">
                    <a:pos x="59" y="31"/>
                  </a:cxn>
                  <a:cxn ang="0">
                    <a:pos x="63" y="23"/>
                  </a:cxn>
                  <a:cxn ang="0">
                    <a:pos x="63" y="20"/>
                  </a:cxn>
                  <a:cxn ang="0">
                    <a:pos x="52" y="18"/>
                  </a:cxn>
                  <a:cxn ang="0">
                    <a:pos x="33" y="20"/>
                  </a:cxn>
                  <a:cxn ang="0">
                    <a:pos x="30" y="17"/>
                  </a:cxn>
                  <a:cxn ang="0">
                    <a:pos x="26" y="11"/>
                  </a:cxn>
                  <a:cxn ang="0">
                    <a:pos x="26" y="8"/>
                  </a:cxn>
                  <a:cxn ang="0">
                    <a:pos x="20" y="4"/>
                  </a:cxn>
                  <a:cxn ang="0">
                    <a:pos x="16" y="3"/>
                  </a:cxn>
                  <a:cxn ang="0">
                    <a:pos x="7" y="0"/>
                  </a:cxn>
                  <a:cxn ang="0">
                    <a:pos x="2" y="3"/>
                  </a:cxn>
                  <a:cxn ang="0">
                    <a:pos x="0" y="6"/>
                  </a:cxn>
                  <a:cxn ang="0">
                    <a:pos x="6" y="10"/>
                  </a:cxn>
                  <a:cxn ang="0">
                    <a:pos x="12" y="14"/>
                  </a:cxn>
                  <a:cxn ang="0">
                    <a:pos x="13" y="17"/>
                  </a:cxn>
                  <a:cxn ang="0">
                    <a:pos x="7" y="20"/>
                  </a:cxn>
                  <a:cxn ang="0">
                    <a:pos x="3" y="23"/>
                  </a:cxn>
                  <a:cxn ang="0">
                    <a:pos x="3" y="28"/>
                  </a:cxn>
                  <a:cxn ang="0">
                    <a:pos x="7" y="47"/>
                  </a:cxn>
                  <a:cxn ang="0">
                    <a:pos x="12" y="60"/>
                  </a:cxn>
                  <a:cxn ang="0">
                    <a:pos x="13" y="77"/>
                  </a:cxn>
                  <a:cxn ang="0">
                    <a:pos x="19" y="75"/>
                  </a:cxn>
                  <a:cxn ang="0">
                    <a:pos x="25" y="74"/>
                  </a:cxn>
                  <a:cxn ang="0">
                    <a:pos x="36" y="71"/>
                  </a:cxn>
                  <a:cxn ang="0">
                    <a:pos x="37" y="67"/>
                  </a:cxn>
                  <a:cxn ang="0">
                    <a:pos x="40" y="61"/>
                  </a:cxn>
                  <a:cxn ang="0">
                    <a:pos x="47" y="60"/>
                  </a:cxn>
                  <a:cxn ang="0">
                    <a:pos x="49" y="63"/>
                  </a:cxn>
                  <a:cxn ang="0">
                    <a:pos x="54" y="75"/>
                  </a:cxn>
                  <a:cxn ang="0">
                    <a:pos x="56" y="81"/>
                  </a:cxn>
                  <a:cxn ang="0">
                    <a:pos x="57" y="90"/>
                  </a:cxn>
                  <a:cxn ang="0">
                    <a:pos x="63" y="85"/>
                  </a:cxn>
                  <a:cxn ang="0">
                    <a:pos x="64" y="81"/>
                  </a:cxn>
                  <a:cxn ang="0">
                    <a:pos x="69" y="74"/>
                  </a:cxn>
                </a:cxnLst>
                <a:rect l="0" t="0" r="r" b="b"/>
                <a:pathLst>
                  <a:path w="69" h="90">
                    <a:moveTo>
                      <a:pt x="69" y="74"/>
                    </a:moveTo>
                    <a:lnTo>
                      <a:pt x="69" y="74"/>
                    </a:lnTo>
                    <a:lnTo>
                      <a:pt x="64" y="53"/>
                    </a:lnTo>
                    <a:lnTo>
                      <a:pt x="63" y="45"/>
                    </a:lnTo>
                    <a:lnTo>
                      <a:pt x="62" y="43"/>
                    </a:lnTo>
                    <a:lnTo>
                      <a:pt x="62" y="43"/>
                    </a:lnTo>
                    <a:lnTo>
                      <a:pt x="59" y="45"/>
                    </a:lnTo>
                    <a:lnTo>
                      <a:pt x="56" y="50"/>
                    </a:lnTo>
                    <a:lnTo>
                      <a:pt x="53" y="54"/>
                    </a:lnTo>
                    <a:lnTo>
                      <a:pt x="52" y="55"/>
                    </a:lnTo>
                    <a:lnTo>
                      <a:pt x="50" y="55"/>
                    </a:lnTo>
                    <a:lnTo>
                      <a:pt x="50" y="55"/>
                    </a:lnTo>
                    <a:lnTo>
                      <a:pt x="49" y="55"/>
                    </a:lnTo>
                    <a:lnTo>
                      <a:pt x="47" y="53"/>
                    </a:lnTo>
                    <a:lnTo>
                      <a:pt x="46" y="47"/>
                    </a:lnTo>
                    <a:lnTo>
                      <a:pt x="47" y="41"/>
                    </a:lnTo>
                    <a:lnTo>
                      <a:pt x="49" y="40"/>
                    </a:lnTo>
                    <a:lnTo>
                      <a:pt x="52" y="38"/>
                    </a:lnTo>
                    <a:lnTo>
                      <a:pt x="52" y="38"/>
                    </a:lnTo>
                    <a:lnTo>
                      <a:pt x="53" y="38"/>
                    </a:lnTo>
                    <a:lnTo>
                      <a:pt x="56" y="37"/>
                    </a:lnTo>
                    <a:lnTo>
                      <a:pt x="59" y="31"/>
                    </a:lnTo>
                    <a:lnTo>
                      <a:pt x="63" y="27"/>
                    </a:lnTo>
                    <a:lnTo>
                      <a:pt x="63" y="23"/>
                    </a:lnTo>
                    <a:lnTo>
                      <a:pt x="63" y="23"/>
                    </a:lnTo>
                    <a:lnTo>
                      <a:pt x="63" y="20"/>
                    </a:lnTo>
                    <a:lnTo>
                      <a:pt x="60" y="18"/>
                    </a:lnTo>
                    <a:lnTo>
                      <a:pt x="52" y="18"/>
                    </a:lnTo>
                    <a:lnTo>
                      <a:pt x="52" y="18"/>
                    </a:lnTo>
                    <a:lnTo>
                      <a:pt x="33" y="20"/>
                    </a:lnTo>
                    <a:lnTo>
                      <a:pt x="33" y="20"/>
                    </a:lnTo>
                    <a:lnTo>
                      <a:pt x="30" y="17"/>
                    </a:lnTo>
                    <a:lnTo>
                      <a:pt x="27" y="14"/>
                    </a:lnTo>
                    <a:lnTo>
                      <a:pt x="26" y="11"/>
                    </a:lnTo>
                    <a:lnTo>
                      <a:pt x="26" y="11"/>
                    </a:lnTo>
                    <a:lnTo>
                      <a:pt x="26" y="8"/>
                    </a:lnTo>
                    <a:lnTo>
                      <a:pt x="23" y="6"/>
                    </a:lnTo>
                    <a:lnTo>
                      <a:pt x="20" y="4"/>
                    </a:lnTo>
                    <a:lnTo>
                      <a:pt x="16" y="3"/>
                    </a:lnTo>
                    <a:lnTo>
                      <a:pt x="16" y="3"/>
                    </a:lnTo>
                    <a:lnTo>
                      <a:pt x="10" y="1"/>
                    </a:lnTo>
                    <a:lnTo>
                      <a:pt x="7" y="0"/>
                    </a:lnTo>
                    <a:lnTo>
                      <a:pt x="6" y="0"/>
                    </a:lnTo>
                    <a:lnTo>
                      <a:pt x="2" y="3"/>
                    </a:lnTo>
                    <a:lnTo>
                      <a:pt x="2" y="3"/>
                    </a:lnTo>
                    <a:lnTo>
                      <a:pt x="0" y="6"/>
                    </a:lnTo>
                    <a:lnTo>
                      <a:pt x="2" y="7"/>
                    </a:lnTo>
                    <a:lnTo>
                      <a:pt x="6" y="10"/>
                    </a:lnTo>
                    <a:lnTo>
                      <a:pt x="10" y="13"/>
                    </a:lnTo>
                    <a:lnTo>
                      <a:pt x="12" y="14"/>
                    </a:lnTo>
                    <a:lnTo>
                      <a:pt x="13" y="17"/>
                    </a:lnTo>
                    <a:lnTo>
                      <a:pt x="13" y="17"/>
                    </a:lnTo>
                    <a:lnTo>
                      <a:pt x="10" y="20"/>
                    </a:lnTo>
                    <a:lnTo>
                      <a:pt x="7" y="20"/>
                    </a:lnTo>
                    <a:lnTo>
                      <a:pt x="6" y="21"/>
                    </a:lnTo>
                    <a:lnTo>
                      <a:pt x="3" y="23"/>
                    </a:lnTo>
                    <a:lnTo>
                      <a:pt x="3" y="23"/>
                    </a:lnTo>
                    <a:lnTo>
                      <a:pt x="3" y="28"/>
                    </a:lnTo>
                    <a:lnTo>
                      <a:pt x="5" y="34"/>
                    </a:lnTo>
                    <a:lnTo>
                      <a:pt x="7" y="47"/>
                    </a:lnTo>
                    <a:lnTo>
                      <a:pt x="7" y="47"/>
                    </a:lnTo>
                    <a:lnTo>
                      <a:pt x="12" y="60"/>
                    </a:lnTo>
                    <a:lnTo>
                      <a:pt x="13" y="68"/>
                    </a:lnTo>
                    <a:lnTo>
                      <a:pt x="13" y="77"/>
                    </a:lnTo>
                    <a:lnTo>
                      <a:pt x="13" y="77"/>
                    </a:lnTo>
                    <a:lnTo>
                      <a:pt x="19" y="75"/>
                    </a:lnTo>
                    <a:lnTo>
                      <a:pt x="25" y="74"/>
                    </a:lnTo>
                    <a:lnTo>
                      <a:pt x="25" y="74"/>
                    </a:lnTo>
                    <a:lnTo>
                      <a:pt x="32" y="72"/>
                    </a:lnTo>
                    <a:lnTo>
                      <a:pt x="36" y="71"/>
                    </a:lnTo>
                    <a:lnTo>
                      <a:pt x="37" y="67"/>
                    </a:lnTo>
                    <a:lnTo>
                      <a:pt x="37" y="67"/>
                    </a:lnTo>
                    <a:lnTo>
                      <a:pt x="39" y="64"/>
                    </a:lnTo>
                    <a:lnTo>
                      <a:pt x="40" y="61"/>
                    </a:lnTo>
                    <a:lnTo>
                      <a:pt x="44" y="60"/>
                    </a:lnTo>
                    <a:lnTo>
                      <a:pt x="47" y="60"/>
                    </a:lnTo>
                    <a:lnTo>
                      <a:pt x="47" y="60"/>
                    </a:lnTo>
                    <a:lnTo>
                      <a:pt x="49" y="63"/>
                    </a:lnTo>
                    <a:lnTo>
                      <a:pt x="52" y="68"/>
                    </a:lnTo>
                    <a:lnTo>
                      <a:pt x="54" y="75"/>
                    </a:lnTo>
                    <a:lnTo>
                      <a:pt x="56" y="81"/>
                    </a:lnTo>
                    <a:lnTo>
                      <a:pt x="56" y="81"/>
                    </a:lnTo>
                    <a:lnTo>
                      <a:pt x="56" y="85"/>
                    </a:lnTo>
                    <a:lnTo>
                      <a:pt x="57" y="90"/>
                    </a:lnTo>
                    <a:lnTo>
                      <a:pt x="57" y="90"/>
                    </a:lnTo>
                    <a:lnTo>
                      <a:pt x="63" y="85"/>
                    </a:lnTo>
                    <a:lnTo>
                      <a:pt x="63" y="85"/>
                    </a:lnTo>
                    <a:lnTo>
                      <a:pt x="64" y="81"/>
                    </a:lnTo>
                    <a:lnTo>
                      <a:pt x="69" y="74"/>
                    </a:lnTo>
                    <a:lnTo>
                      <a:pt x="69" y="7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6" name="Phillippines">
                <a:extLst>
                  <a:ext uri="{FF2B5EF4-FFF2-40B4-BE49-F238E27FC236}">
                    <a16:creationId xmlns:a16="http://schemas.microsoft.com/office/drawing/2014/main" id="{AC484B53-C697-A045-9A4E-BA0C52949F2B}"/>
                  </a:ext>
                </a:extLst>
              </p:cNvPr>
              <p:cNvSpPr>
                <a:spLocks noEditPoints="1"/>
              </p:cNvSpPr>
              <p:nvPr/>
            </p:nvSpPr>
            <p:spPr bwMode="auto">
              <a:xfrm>
                <a:off x="7080233" y="3870245"/>
                <a:ext cx="220488" cy="315194"/>
              </a:xfrm>
              <a:custGeom>
                <a:avLst/>
                <a:gdLst/>
                <a:ahLst/>
                <a:cxnLst>
                  <a:cxn ang="0">
                    <a:pos x="94" y="85"/>
                  </a:cxn>
                  <a:cxn ang="0">
                    <a:pos x="100" y="98"/>
                  </a:cxn>
                  <a:cxn ang="0">
                    <a:pos x="105" y="108"/>
                  </a:cxn>
                  <a:cxn ang="0">
                    <a:pos x="111" y="115"/>
                  </a:cxn>
                  <a:cxn ang="0">
                    <a:pos x="119" y="135"/>
                  </a:cxn>
                  <a:cxn ang="0">
                    <a:pos x="125" y="131"/>
                  </a:cxn>
                  <a:cxn ang="0">
                    <a:pos x="132" y="122"/>
                  </a:cxn>
                  <a:cxn ang="0">
                    <a:pos x="128" y="102"/>
                  </a:cxn>
                  <a:cxn ang="0">
                    <a:pos x="110" y="92"/>
                  </a:cxn>
                  <a:cxn ang="0">
                    <a:pos x="104" y="81"/>
                  </a:cxn>
                  <a:cxn ang="0">
                    <a:pos x="95" y="72"/>
                  </a:cxn>
                  <a:cxn ang="0">
                    <a:pos x="74" y="72"/>
                  </a:cxn>
                  <a:cxn ang="0">
                    <a:pos x="68" y="57"/>
                  </a:cxn>
                  <a:cxn ang="0">
                    <a:pos x="74" y="39"/>
                  </a:cxn>
                  <a:cxn ang="0">
                    <a:pos x="81" y="20"/>
                  </a:cxn>
                  <a:cxn ang="0">
                    <a:pos x="77" y="1"/>
                  </a:cxn>
                  <a:cxn ang="0">
                    <a:pos x="58" y="0"/>
                  </a:cxn>
                  <a:cxn ang="0">
                    <a:pos x="50" y="7"/>
                  </a:cxn>
                  <a:cxn ang="0">
                    <a:pos x="48" y="38"/>
                  </a:cxn>
                  <a:cxn ang="0">
                    <a:pos x="41" y="35"/>
                  </a:cxn>
                  <a:cxn ang="0">
                    <a:pos x="46" y="58"/>
                  </a:cxn>
                  <a:cxn ang="0">
                    <a:pos x="50" y="69"/>
                  </a:cxn>
                  <a:cxn ang="0">
                    <a:pos x="60" y="76"/>
                  </a:cxn>
                  <a:cxn ang="0">
                    <a:pos x="73" y="76"/>
                  </a:cxn>
                  <a:cxn ang="0">
                    <a:pos x="50" y="84"/>
                  </a:cxn>
                  <a:cxn ang="0">
                    <a:pos x="58" y="101"/>
                  </a:cxn>
                  <a:cxn ang="0">
                    <a:pos x="67" y="96"/>
                  </a:cxn>
                  <a:cxn ang="0">
                    <a:pos x="50" y="84"/>
                  </a:cxn>
                  <a:cxn ang="0">
                    <a:pos x="84" y="128"/>
                  </a:cxn>
                  <a:cxn ang="0">
                    <a:pos x="88" y="128"/>
                  </a:cxn>
                  <a:cxn ang="0">
                    <a:pos x="84" y="142"/>
                  </a:cxn>
                  <a:cxn ang="0">
                    <a:pos x="90" y="156"/>
                  </a:cxn>
                  <a:cxn ang="0">
                    <a:pos x="107" y="132"/>
                  </a:cxn>
                  <a:cxn ang="0">
                    <a:pos x="101" y="129"/>
                  </a:cxn>
                  <a:cxn ang="0">
                    <a:pos x="98" y="122"/>
                  </a:cxn>
                  <a:cxn ang="0">
                    <a:pos x="75" y="108"/>
                  </a:cxn>
                  <a:cxn ang="0">
                    <a:pos x="74" y="129"/>
                  </a:cxn>
                  <a:cxn ang="0">
                    <a:pos x="7" y="153"/>
                  </a:cxn>
                  <a:cxn ang="0">
                    <a:pos x="1" y="166"/>
                  </a:cxn>
                  <a:cxn ang="0">
                    <a:pos x="30" y="139"/>
                  </a:cxn>
                  <a:cxn ang="0">
                    <a:pos x="34" y="122"/>
                  </a:cxn>
                  <a:cxn ang="0">
                    <a:pos x="21" y="139"/>
                  </a:cxn>
                  <a:cxn ang="0">
                    <a:pos x="108" y="150"/>
                  </a:cxn>
                  <a:cxn ang="0">
                    <a:pos x="117" y="140"/>
                  </a:cxn>
                  <a:cxn ang="0">
                    <a:pos x="105" y="149"/>
                  </a:cxn>
                  <a:cxn ang="0">
                    <a:pos x="149" y="179"/>
                  </a:cxn>
                  <a:cxn ang="0">
                    <a:pos x="144" y="146"/>
                  </a:cxn>
                  <a:cxn ang="0">
                    <a:pos x="132" y="145"/>
                  </a:cxn>
                  <a:cxn ang="0">
                    <a:pos x="134" y="152"/>
                  </a:cxn>
                  <a:cxn ang="0">
                    <a:pos x="124" y="158"/>
                  </a:cxn>
                  <a:cxn ang="0">
                    <a:pos x="114" y="163"/>
                  </a:cxn>
                  <a:cxn ang="0">
                    <a:pos x="110" y="166"/>
                  </a:cxn>
                  <a:cxn ang="0">
                    <a:pos x="91" y="165"/>
                  </a:cxn>
                  <a:cxn ang="0">
                    <a:pos x="77" y="176"/>
                  </a:cxn>
                  <a:cxn ang="0">
                    <a:pos x="75" y="189"/>
                  </a:cxn>
                  <a:cxn ang="0">
                    <a:pos x="90" y="182"/>
                  </a:cxn>
                  <a:cxn ang="0">
                    <a:pos x="101" y="177"/>
                  </a:cxn>
                  <a:cxn ang="0">
                    <a:pos x="111" y="203"/>
                  </a:cxn>
                  <a:cxn ang="0">
                    <a:pos x="128" y="212"/>
                  </a:cxn>
                  <a:cxn ang="0">
                    <a:pos x="132" y="205"/>
                  </a:cxn>
                  <a:cxn ang="0">
                    <a:pos x="132" y="190"/>
                  </a:cxn>
                  <a:cxn ang="0">
                    <a:pos x="148" y="186"/>
                  </a:cxn>
                </a:cxnLst>
                <a:rect l="0" t="0" r="r" b="b"/>
                <a:pathLst>
                  <a:path w="149" h="213">
                    <a:moveTo>
                      <a:pt x="81" y="79"/>
                    </a:moveTo>
                    <a:lnTo>
                      <a:pt x="81" y="79"/>
                    </a:lnTo>
                    <a:lnTo>
                      <a:pt x="84" y="79"/>
                    </a:lnTo>
                    <a:lnTo>
                      <a:pt x="88" y="81"/>
                    </a:lnTo>
                    <a:lnTo>
                      <a:pt x="94" y="85"/>
                    </a:lnTo>
                    <a:lnTo>
                      <a:pt x="98" y="89"/>
                    </a:lnTo>
                    <a:lnTo>
                      <a:pt x="100" y="92"/>
                    </a:lnTo>
                    <a:lnTo>
                      <a:pt x="100" y="94"/>
                    </a:lnTo>
                    <a:lnTo>
                      <a:pt x="100" y="94"/>
                    </a:lnTo>
                    <a:lnTo>
                      <a:pt x="100" y="98"/>
                    </a:lnTo>
                    <a:lnTo>
                      <a:pt x="100" y="103"/>
                    </a:lnTo>
                    <a:lnTo>
                      <a:pt x="102" y="108"/>
                    </a:lnTo>
                    <a:lnTo>
                      <a:pt x="102" y="109"/>
                    </a:lnTo>
                    <a:lnTo>
                      <a:pt x="105" y="108"/>
                    </a:lnTo>
                    <a:lnTo>
                      <a:pt x="105" y="108"/>
                    </a:lnTo>
                    <a:lnTo>
                      <a:pt x="108" y="106"/>
                    </a:lnTo>
                    <a:lnTo>
                      <a:pt x="111" y="108"/>
                    </a:lnTo>
                    <a:lnTo>
                      <a:pt x="112" y="111"/>
                    </a:lnTo>
                    <a:lnTo>
                      <a:pt x="111" y="115"/>
                    </a:lnTo>
                    <a:lnTo>
                      <a:pt x="111" y="115"/>
                    </a:lnTo>
                    <a:lnTo>
                      <a:pt x="111" y="118"/>
                    </a:lnTo>
                    <a:lnTo>
                      <a:pt x="111" y="121"/>
                    </a:lnTo>
                    <a:lnTo>
                      <a:pt x="114" y="125"/>
                    </a:lnTo>
                    <a:lnTo>
                      <a:pt x="117" y="129"/>
                    </a:lnTo>
                    <a:lnTo>
                      <a:pt x="119" y="135"/>
                    </a:lnTo>
                    <a:lnTo>
                      <a:pt x="119" y="135"/>
                    </a:lnTo>
                    <a:lnTo>
                      <a:pt x="121" y="139"/>
                    </a:lnTo>
                    <a:lnTo>
                      <a:pt x="122" y="138"/>
                    </a:lnTo>
                    <a:lnTo>
                      <a:pt x="124" y="135"/>
                    </a:lnTo>
                    <a:lnTo>
                      <a:pt x="125" y="131"/>
                    </a:lnTo>
                    <a:lnTo>
                      <a:pt x="125" y="131"/>
                    </a:lnTo>
                    <a:lnTo>
                      <a:pt x="124" y="128"/>
                    </a:lnTo>
                    <a:lnTo>
                      <a:pt x="125" y="126"/>
                    </a:lnTo>
                    <a:lnTo>
                      <a:pt x="132" y="122"/>
                    </a:lnTo>
                    <a:lnTo>
                      <a:pt x="132" y="122"/>
                    </a:lnTo>
                    <a:lnTo>
                      <a:pt x="134" y="119"/>
                    </a:lnTo>
                    <a:lnTo>
                      <a:pt x="134" y="118"/>
                    </a:lnTo>
                    <a:lnTo>
                      <a:pt x="134" y="113"/>
                    </a:lnTo>
                    <a:lnTo>
                      <a:pt x="128" y="102"/>
                    </a:lnTo>
                    <a:lnTo>
                      <a:pt x="128" y="102"/>
                    </a:lnTo>
                    <a:lnTo>
                      <a:pt x="125" y="99"/>
                    </a:lnTo>
                    <a:lnTo>
                      <a:pt x="122" y="98"/>
                    </a:lnTo>
                    <a:lnTo>
                      <a:pt x="117" y="95"/>
                    </a:lnTo>
                    <a:lnTo>
                      <a:pt x="111" y="94"/>
                    </a:lnTo>
                    <a:lnTo>
                      <a:pt x="110" y="92"/>
                    </a:lnTo>
                    <a:lnTo>
                      <a:pt x="110" y="89"/>
                    </a:lnTo>
                    <a:lnTo>
                      <a:pt x="110" y="89"/>
                    </a:lnTo>
                    <a:lnTo>
                      <a:pt x="110" y="86"/>
                    </a:lnTo>
                    <a:lnTo>
                      <a:pt x="108" y="85"/>
                    </a:lnTo>
                    <a:lnTo>
                      <a:pt x="104" y="81"/>
                    </a:lnTo>
                    <a:lnTo>
                      <a:pt x="101" y="78"/>
                    </a:lnTo>
                    <a:lnTo>
                      <a:pt x="98" y="75"/>
                    </a:lnTo>
                    <a:lnTo>
                      <a:pt x="98" y="75"/>
                    </a:lnTo>
                    <a:lnTo>
                      <a:pt x="98" y="74"/>
                    </a:lnTo>
                    <a:lnTo>
                      <a:pt x="95" y="72"/>
                    </a:lnTo>
                    <a:lnTo>
                      <a:pt x="90" y="69"/>
                    </a:lnTo>
                    <a:lnTo>
                      <a:pt x="83" y="69"/>
                    </a:lnTo>
                    <a:lnTo>
                      <a:pt x="77" y="71"/>
                    </a:lnTo>
                    <a:lnTo>
                      <a:pt x="77" y="71"/>
                    </a:lnTo>
                    <a:lnTo>
                      <a:pt x="74" y="72"/>
                    </a:lnTo>
                    <a:lnTo>
                      <a:pt x="73" y="72"/>
                    </a:lnTo>
                    <a:lnTo>
                      <a:pt x="71" y="68"/>
                    </a:lnTo>
                    <a:lnTo>
                      <a:pt x="71" y="62"/>
                    </a:lnTo>
                    <a:lnTo>
                      <a:pt x="70" y="59"/>
                    </a:lnTo>
                    <a:lnTo>
                      <a:pt x="68" y="57"/>
                    </a:lnTo>
                    <a:lnTo>
                      <a:pt x="68" y="57"/>
                    </a:lnTo>
                    <a:lnTo>
                      <a:pt x="67" y="54"/>
                    </a:lnTo>
                    <a:lnTo>
                      <a:pt x="67" y="51"/>
                    </a:lnTo>
                    <a:lnTo>
                      <a:pt x="68" y="45"/>
                    </a:lnTo>
                    <a:lnTo>
                      <a:pt x="74" y="39"/>
                    </a:lnTo>
                    <a:lnTo>
                      <a:pt x="80" y="34"/>
                    </a:lnTo>
                    <a:lnTo>
                      <a:pt x="80" y="34"/>
                    </a:lnTo>
                    <a:lnTo>
                      <a:pt x="81" y="31"/>
                    </a:lnTo>
                    <a:lnTo>
                      <a:pt x="81" y="27"/>
                    </a:lnTo>
                    <a:lnTo>
                      <a:pt x="81" y="20"/>
                    </a:lnTo>
                    <a:lnTo>
                      <a:pt x="78" y="12"/>
                    </a:lnTo>
                    <a:lnTo>
                      <a:pt x="78" y="8"/>
                    </a:lnTo>
                    <a:lnTo>
                      <a:pt x="78" y="8"/>
                    </a:lnTo>
                    <a:lnTo>
                      <a:pt x="78" y="2"/>
                    </a:lnTo>
                    <a:lnTo>
                      <a:pt x="77" y="1"/>
                    </a:lnTo>
                    <a:lnTo>
                      <a:pt x="75" y="2"/>
                    </a:lnTo>
                    <a:lnTo>
                      <a:pt x="75" y="2"/>
                    </a:lnTo>
                    <a:lnTo>
                      <a:pt x="71" y="2"/>
                    </a:lnTo>
                    <a:lnTo>
                      <a:pt x="64" y="0"/>
                    </a:lnTo>
                    <a:lnTo>
                      <a:pt x="58" y="0"/>
                    </a:lnTo>
                    <a:lnTo>
                      <a:pt x="54" y="0"/>
                    </a:lnTo>
                    <a:lnTo>
                      <a:pt x="53" y="0"/>
                    </a:lnTo>
                    <a:lnTo>
                      <a:pt x="53" y="0"/>
                    </a:lnTo>
                    <a:lnTo>
                      <a:pt x="50" y="2"/>
                    </a:lnTo>
                    <a:lnTo>
                      <a:pt x="50" y="7"/>
                    </a:lnTo>
                    <a:lnTo>
                      <a:pt x="48" y="20"/>
                    </a:lnTo>
                    <a:lnTo>
                      <a:pt x="50" y="31"/>
                    </a:lnTo>
                    <a:lnTo>
                      <a:pt x="50" y="35"/>
                    </a:lnTo>
                    <a:lnTo>
                      <a:pt x="48" y="38"/>
                    </a:lnTo>
                    <a:lnTo>
                      <a:pt x="48" y="38"/>
                    </a:lnTo>
                    <a:lnTo>
                      <a:pt x="47" y="38"/>
                    </a:lnTo>
                    <a:lnTo>
                      <a:pt x="44" y="37"/>
                    </a:lnTo>
                    <a:lnTo>
                      <a:pt x="43" y="35"/>
                    </a:lnTo>
                    <a:lnTo>
                      <a:pt x="41" y="35"/>
                    </a:lnTo>
                    <a:lnTo>
                      <a:pt x="41" y="35"/>
                    </a:lnTo>
                    <a:lnTo>
                      <a:pt x="41" y="41"/>
                    </a:lnTo>
                    <a:lnTo>
                      <a:pt x="41" y="48"/>
                    </a:lnTo>
                    <a:lnTo>
                      <a:pt x="43" y="55"/>
                    </a:lnTo>
                    <a:lnTo>
                      <a:pt x="44" y="57"/>
                    </a:lnTo>
                    <a:lnTo>
                      <a:pt x="46" y="58"/>
                    </a:lnTo>
                    <a:lnTo>
                      <a:pt x="46" y="58"/>
                    </a:lnTo>
                    <a:lnTo>
                      <a:pt x="48" y="58"/>
                    </a:lnTo>
                    <a:lnTo>
                      <a:pt x="50" y="61"/>
                    </a:lnTo>
                    <a:lnTo>
                      <a:pt x="50" y="65"/>
                    </a:lnTo>
                    <a:lnTo>
                      <a:pt x="50" y="69"/>
                    </a:lnTo>
                    <a:lnTo>
                      <a:pt x="50" y="69"/>
                    </a:lnTo>
                    <a:lnTo>
                      <a:pt x="50" y="72"/>
                    </a:lnTo>
                    <a:lnTo>
                      <a:pt x="50" y="74"/>
                    </a:lnTo>
                    <a:lnTo>
                      <a:pt x="54" y="76"/>
                    </a:lnTo>
                    <a:lnTo>
                      <a:pt x="60" y="76"/>
                    </a:lnTo>
                    <a:lnTo>
                      <a:pt x="65" y="75"/>
                    </a:lnTo>
                    <a:lnTo>
                      <a:pt x="65" y="75"/>
                    </a:lnTo>
                    <a:lnTo>
                      <a:pt x="68" y="74"/>
                    </a:lnTo>
                    <a:lnTo>
                      <a:pt x="71" y="75"/>
                    </a:lnTo>
                    <a:lnTo>
                      <a:pt x="73" y="76"/>
                    </a:lnTo>
                    <a:lnTo>
                      <a:pt x="75" y="79"/>
                    </a:lnTo>
                    <a:lnTo>
                      <a:pt x="78" y="79"/>
                    </a:lnTo>
                    <a:lnTo>
                      <a:pt x="81" y="79"/>
                    </a:lnTo>
                    <a:lnTo>
                      <a:pt x="81" y="79"/>
                    </a:lnTo>
                    <a:close/>
                    <a:moveTo>
                      <a:pt x="50" y="84"/>
                    </a:moveTo>
                    <a:lnTo>
                      <a:pt x="50" y="84"/>
                    </a:lnTo>
                    <a:lnTo>
                      <a:pt x="51" y="89"/>
                    </a:lnTo>
                    <a:lnTo>
                      <a:pt x="54" y="96"/>
                    </a:lnTo>
                    <a:lnTo>
                      <a:pt x="57" y="99"/>
                    </a:lnTo>
                    <a:lnTo>
                      <a:pt x="58" y="101"/>
                    </a:lnTo>
                    <a:lnTo>
                      <a:pt x="61" y="102"/>
                    </a:lnTo>
                    <a:lnTo>
                      <a:pt x="65" y="101"/>
                    </a:lnTo>
                    <a:lnTo>
                      <a:pt x="65" y="101"/>
                    </a:lnTo>
                    <a:lnTo>
                      <a:pt x="67" y="99"/>
                    </a:lnTo>
                    <a:lnTo>
                      <a:pt x="67" y="96"/>
                    </a:lnTo>
                    <a:lnTo>
                      <a:pt x="65" y="94"/>
                    </a:lnTo>
                    <a:lnTo>
                      <a:pt x="61" y="89"/>
                    </a:lnTo>
                    <a:lnTo>
                      <a:pt x="54" y="84"/>
                    </a:lnTo>
                    <a:lnTo>
                      <a:pt x="51" y="84"/>
                    </a:lnTo>
                    <a:lnTo>
                      <a:pt x="50" y="84"/>
                    </a:lnTo>
                    <a:lnTo>
                      <a:pt x="50" y="84"/>
                    </a:lnTo>
                    <a:close/>
                    <a:moveTo>
                      <a:pt x="77" y="131"/>
                    </a:moveTo>
                    <a:lnTo>
                      <a:pt x="77" y="131"/>
                    </a:lnTo>
                    <a:lnTo>
                      <a:pt x="81" y="129"/>
                    </a:lnTo>
                    <a:lnTo>
                      <a:pt x="84" y="128"/>
                    </a:lnTo>
                    <a:lnTo>
                      <a:pt x="85" y="125"/>
                    </a:lnTo>
                    <a:lnTo>
                      <a:pt x="85" y="125"/>
                    </a:lnTo>
                    <a:lnTo>
                      <a:pt x="85" y="125"/>
                    </a:lnTo>
                    <a:lnTo>
                      <a:pt x="87" y="125"/>
                    </a:lnTo>
                    <a:lnTo>
                      <a:pt x="88" y="128"/>
                    </a:lnTo>
                    <a:lnTo>
                      <a:pt x="88" y="133"/>
                    </a:lnTo>
                    <a:lnTo>
                      <a:pt x="88" y="136"/>
                    </a:lnTo>
                    <a:lnTo>
                      <a:pt x="87" y="138"/>
                    </a:lnTo>
                    <a:lnTo>
                      <a:pt x="87" y="138"/>
                    </a:lnTo>
                    <a:lnTo>
                      <a:pt x="84" y="142"/>
                    </a:lnTo>
                    <a:lnTo>
                      <a:pt x="84" y="148"/>
                    </a:lnTo>
                    <a:lnTo>
                      <a:pt x="85" y="153"/>
                    </a:lnTo>
                    <a:lnTo>
                      <a:pt x="87" y="155"/>
                    </a:lnTo>
                    <a:lnTo>
                      <a:pt x="90" y="156"/>
                    </a:lnTo>
                    <a:lnTo>
                      <a:pt x="90" y="156"/>
                    </a:lnTo>
                    <a:lnTo>
                      <a:pt x="91" y="155"/>
                    </a:lnTo>
                    <a:lnTo>
                      <a:pt x="95" y="153"/>
                    </a:lnTo>
                    <a:lnTo>
                      <a:pt x="101" y="145"/>
                    </a:lnTo>
                    <a:lnTo>
                      <a:pt x="105" y="136"/>
                    </a:lnTo>
                    <a:lnTo>
                      <a:pt x="107" y="132"/>
                    </a:lnTo>
                    <a:lnTo>
                      <a:pt x="107" y="131"/>
                    </a:lnTo>
                    <a:lnTo>
                      <a:pt x="107" y="131"/>
                    </a:lnTo>
                    <a:lnTo>
                      <a:pt x="105" y="129"/>
                    </a:lnTo>
                    <a:lnTo>
                      <a:pt x="104" y="129"/>
                    </a:lnTo>
                    <a:lnTo>
                      <a:pt x="101" y="129"/>
                    </a:lnTo>
                    <a:lnTo>
                      <a:pt x="100" y="129"/>
                    </a:lnTo>
                    <a:lnTo>
                      <a:pt x="100" y="128"/>
                    </a:lnTo>
                    <a:lnTo>
                      <a:pt x="100" y="128"/>
                    </a:lnTo>
                    <a:lnTo>
                      <a:pt x="100" y="125"/>
                    </a:lnTo>
                    <a:lnTo>
                      <a:pt x="98" y="122"/>
                    </a:lnTo>
                    <a:lnTo>
                      <a:pt x="91" y="115"/>
                    </a:lnTo>
                    <a:lnTo>
                      <a:pt x="83" y="109"/>
                    </a:lnTo>
                    <a:lnTo>
                      <a:pt x="78" y="108"/>
                    </a:lnTo>
                    <a:lnTo>
                      <a:pt x="75" y="108"/>
                    </a:lnTo>
                    <a:lnTo>
                      <a:pt x="75" y="108"/>
                    </a:lnTo>
                    <a:lnTo>
                      <a:pt x="74" y="109"/>
                    </a:lnTo>
                    <a:lnTo>
                      <a:pt x="73" y="112"/>
                    </a:lnTo>
                    <a:lnTo>
                      <a:pt x="71" y="121"/>
                    </a:lnTo>
                    <a:lnTo>
                      <a:pt x="73" y="128"/>
                    </a:lnTo>
                    <a:lnTo>
                      <a:pt x="74" y="129"/>
                    </a:lnTo>
                    <a:lnTo>
                      <a:pt x="77" y="131"/>
                    </a:lnTo>
                    <a:lnTo>
                      <a:pt x="77" y="131"/>
                    </a:lnTo>
                    <a:close/>
                    <a:moveTo>
                      <a:pt x="21" y="139"/>
                    </a:moveTo>
                    <a:lnTo>
                      <a:pt x="21" y="139"/>
                    </a:lnTo>
                    <a:lnTo>
                      <a:pt x="7" y="153"/>
                    </a:lnTo>
                    <a:lnTo>
                      <a:pt x="1" y="160"/>
                    </a:lnTo>
                    <a:lnTo>
                      <a:pt x="0" y="163"/>
                    </a:lnTo>
                    <a:lnTo>
                      <a:pt x="0" y="166"/>
                    </a:lnTo>
                    <a:lnTo>
                      <a:pt x="0" y="166"/>
                    </a:lnTo>
                    <a:lnTo>
                      <a:pt x="1" y="166"/>
                    </a:lnTo>
                    <a:lnTo>
                      <a:pt x="4" y="165"/>
                    </a:lnTo>
                    <a:lnTo>
                      <a:pt x="13" y="156"/>
                    </a:lnTo>
                    <a:lnTo>
                      <a:pt x="21" y="146"/>
                    </a:lnTo>
                    <a:lnTo>
                      <a:pt x="30" y="139"/>
                    </a:lnTo>
                    <a:lnTo>
                      <a:pt x="30" y="139"/>
                    </a:lnTo>
                    <a:lnTo>
                      <a:pt x="34" y="133"/>
                    </a:lnTo>
                    <a:lnTo>
                      <a:pt x="36" y="129"/>
                    </a:lnTo>
                    <a:lnTo>
                      <a:pt x="36" y="126"/>
                    </a:lnTo>
                    <a:lnTo>
                      <a:pt x="34" y="122"/>
                    </a:lnTo>
                    <a:lnTo>
                      <a:pt x="34" y="122"/>
                    </a:lnTo>
                    <a:lnTo>
                      <a:pt x="33" y="121"/>
                    </a:lnTo>
                    <a:lnTo>
                      <a:pt x="31" y="121"/>
                    </a:lnTo>
                    <a:lnTo>
                      <a:pt x="28" y="125"/>
                    </a:lnTo>
                    <a:lnTo>
                      <a:pt x="26" y="132"/>
                    </a:lnTo>
                    <a:lnTo>
                      <a:pt x="21" y="139"/>
                    </a:lnTo>
                    <a:lnTo>
                      <a:pt x="21" y="139"/>
                    </a:lnTo>
                    <a:close/>
                    <a:moveTo>
                      <a:pt x="105" y="149"/>
                    </a:moveTo>
                    <a:lnTo>
                      <a:pt x="105" y="149"/>
                    </a:lnTo>
                    <a:lnTo>
                      <a:pt x="107" y="149"/>
                    </a:lnTo>
                    <a:lnTo>
                      <a:pt x="108" y="150"/>
                    </a:lnTo>
                    <a:lnTo>
                      <a:pt x="114" y="148"/>
                    </a:lnTo>
                    <a:lnTo>
                      <a:pt x="117" y="145"/>
                    </a:lnTo>
                    <a:lnTo>
                      <a:pt x="118" y="143"/>
                    </a:lnTo>
                    <a:lnTo>
                      <a:pt x="117" y="140"/>
                    </a:lnTo>
                    <a:lnTo>
                      <a:pt x="117" y="140"/>
                    </a:lnTo>
                    <a:lnTo>
                      <a:pt x="115" y="139"/>
                    </a:lnTo>
                    <a:lnTo>
                      <a:pt x="114" y="139"/>
                    </a:lnTo>
                    <a:lnTo>
                      <a:pt x="110" y="142"/>
                    </a:lnTo>
                    <a:lnTo>
                      <a:pt x="105" y="145"/>
                    </a:lnTo>
                    <a:lnTo>
                      <a:pt x="105" y="149"/>
                    </a:lnTo>
                    <a:lnTo>
                      <a:pt x="105" y="149"/>
                    </a:lnTo>
                    <a:close/>
                    <a:moveTo>
                      <a:pt x="148" y="186"/>
                    </a:moveTo>
                    <a:lnTo>
                      <a:pt x="148" y="186"/>
                    </a:lnTo>
                    <a:lnTo>
                      <a:pt x="149" y="182"/>
                    </a:lnTo>
                    <a:lnTo>
                      <a:pt x="149" y="179"/>
                    </a:lnTo>
                    <a:lnTo>
                      <a:pt x="148" y="169"/>
                    </a:lnTo>
                    <a:lnTo>
                      <a:pt x="145" y="159"/>
                    </a:lnTo>
                    <a:lnTo>
                      <a:pt x="144" y="150"/>
                    </a:lnTo>
                    <a:lnTo>
                      <a:pt x="144" y="150"/>
                    </a:lnTo>
                    <a:lnTo>
                      <a:pt x="144" y="146"/>
                    </a:lnTo>
                    <a:lnTo>
                      <a:pt x="142" y="143"/>
                    </a:lnTo>
                    <a:lnTo>
                      <a:pt x="139" y="143"/>
                    </a:lnTo>
                    <a:lnTo>
                      <a:pt x="137" y="142"/>
                    </a:lnTo>
                    <a:lnTo>
                      <a:pt x="134" y="143"/>
                    </a:lnTo>
                    <a:lnTo>
                      <a:pt x="132" y="145"/>
                    </a:lnTo>
                    <a:lnTo>
                      <a:pt x="132" y="146"/>
                    </a:lnTo>
                    <a:lnTo>
                      <a:pt x="132" y="149"/>
                    </a:lnTo>
                    <a:lnTo>
                      <a:pt x="132" y="149"/>
                    </a:lnTo>
                    <a:lnTo>
                      <a:pt x="134" y="150"/>
                    </a:lnTo>
                    <a:lnTo>
                      <a:pt x="134" y="152"/>
                    </a:lnTo>
                    <a:lnTo>
                      <a:pt x="129" y="153"/>
                    </a:lnTo>
                    <a:lnTo>
                      <a:pt x="127" y="155"/>
                    </a:lnTo>
                    <a:lnTo>
                      <a:pt x="124" y="155"/>
                    </a:lnTo>
                    <a:lnTo>
                      <a:pt x="124" y="158"/>
                    </a:lnTo>
                    <a:lnTo>
                      <a:pt x="124" y="158"/>
                    </a:lnTo>
                    <a:lnTo>
                      <a:pt x="122" y="159"/>
                    </a:lnTo>
                    <a:lnTo>
                      <a:pt x="121" y="160"/>
                    </a:lnTo>
                    <a:lnTo>
                      <a:pt x="118" y="162"/>
                    </a:lnTo>
                    <a:lnTo>
                      <a:pt x="115" y="162"/>
                    </a:lnTo>
                    <a:lnTo>
                      <a:pt x="114" y="163"/>
                    </a:lnTo>
                    <a:lnTo>
                      <a:pt x="114" y="165"/>
                    </a:lnTo>
                    <a:lnTo>
                      <a:pt x="114" y="165"/>
                    </a:lnTo>
                    <a:lnTo>
                      <a:pt x="114" y="166"/>
                    </a:lnTo>
                    <a:lnTo>
                      <a:pt x="112" y="168"/>
                    </a:lnTo>
                    <a:lnTo>
                      <a:pt x="110" y="166"/>
                    </a:lnTo>
                    <a:lnTo>
                      <a:pt x="100" y="162"/>
                    </a:lnTo>
                    <a:lnTo>
                      <a:pt x="100" y="162"/>
                    </a:lnTo>
                    <a:lnTo>
                      <a:pt x="98" y="160"/>
                    </a:lnTo>
                    <a:lnTo>
                      <a:pt x="95" y="162"/>
                    </a:lnTo>
                    <a:lnTo>
                      <a:pt x="91" y="165"/>
                    </a:lnTo>
                    <a:lnTo>
                      <a:pt x="87" y="169"/>
                    </a:lnTo>
                    <a:lnTo>
                      <a:pt x="81" y="172"/>
                    </a:lnTo>
                    <a:lnTo>
                      <a:pt x="81" y="172"/>
                    </a:lnTo>
                    <a:lnTo>
                      <a:pt x="78" y="173"/>
                    </a:lnTo>
                    <a:lnTo>
                      <a:pt x="77" y="176"/>
                    </a:lnTo>
                    <a:lnTo>
                      <a:pt x="74" y="182"/>
                    </a:lnTo>
                    <a:lnTo>
                      <a:pt x="73" y="186"/>
                    </a:lnTo>
                    <a:lnTo>
                      <a:pt x="74" y="189"/>
                    </a:lnTo>
                    <a:lnTo>
                      <a:pt x="75" y="189"/>
                    </a:lnTo>
                    <a:lnTo>
                      <a:pt x="75" y="189"/>
                    </a:lnTo>
                    <a:lnTo>
                      <a:pt x="80" y="187"/>
                    </a:lnTo>
                    <a:lnTo>
                      <a:pt x="83" y="185"/>
                    </a:lnTo>
                    <a:lnTo>
                      <a:pt x="85" y="182"/>
                    </a:lnTo>
                    <a:lnTo>
                      <a:pt x="90" y="182"/>
                    </a:lnTo>
                    <a:lnTo>
                      <a:pt x="90" y="182"/>
                    </a:lnTo>
                    <a:lnTo>
                      <a:pt x="92" y="180"/>
                    </a:lnTo>
                    <a:lnTo>
                      <a:pt x="94" y="179"/>
                    </a:lnTo>
                    <a:lnTo>
                      <a:pt x="97" y="177"/>
                    </a:lnTo>
                    <a:lnTo>
                      <a:pt x="101" y="177"/>
                    </a:lnTo>
                    <a:lnTo>
                      <a:pt x="101" y="177"/>
                    </a:lnTo>
                    <a:lnTo>
                      <a:pt x="104" y="179"/>
                    </a:lnTo>
                    <a:lnTo>
                      <a:pt x="105" y="182"/>
                    </a:lnTo>
                    <a:lnTo>
                      <a:pt x="107" y="190"/>
                    </a:lnTo>
                    <a:lnTo>
                      <a:pt x="110" y="199"/>
                    </a:lnTo>
                    <a:lnTo>
                      <a:pt x="111" y="203"/>
                    </a:lnTo>
                    <a:lnTo>
                      <a:pt x="115" y="205"/>
                    </a:lnTo>
                    <a:lnTo>
                      <a:pt x="115" y="205"/>
                    </a:lnTo>
                    <a:lnTo>
                      <a:pt x="121" y="206"/>
                    </a:lnTo>
                    <a:lnTo>
                      <a:pt x="125" y="209"/>
                    </a:lnTo>
                    <a:lnTo>
                      <a:pt x="128" y="212"/>
                    </a:lnTo>
                    <a:lnTo>
                      <a:pt x="131" y="213"/>
                    </a:lnTo>
                    <a:lnTo>
                      <a:pt x="131" y="213"/>
                    </a:lnTo>
                    <a:lnTo>
                      <a:pt x="132" y="212"/>
                    </a:lnTo>
                    <a:lnTo>
                      <a:pt x="134" y="210"/>
                    </a:lnTo>
                    <a:lnTo>
                      <a:pt x="132" y="205"/>
                    </a:lnTo>
                    <a:lnTo>
                      <a:pt x="131" y="197"/>
                    </a:lnTo>
                    <a:lnTo>
                      <a:pt x="131" y="193"/>
                    </a:lnTo>
                    <a:lnTo>
                      <a:pt x="131" y="193"/>
                    </a:lnTo>
                    <a:lnTo>
                      <a:pt x="131" y="192"/>
                    </a:lnTo>
                    <a:lnTo>
                      <a:pt x="132" y="190"/>
                    </a:lnTo>
                    <a:lnTo>
                      <a:pt x="137" y="189"/>
                    </a:lnTo>
                    <a:lnTo>
                      <a:pt x="142" y="189"/>
                    </a:lnTo>
                    <a:lnTo>
                      <a:pt x="145" y="187"/>
                    </a:lnTo>
                    <a:lnTo>
                      <a:pt x="148" y="186"/>
                    </a:lnTo>
                    <a:lnTo>
                      <a:pt x="148" y="18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807" name="Solomon Islands">
                <a:extLst>
                  <a:ext uri="{FF2B5EF4-FFF2-40B4-BE49-F238E27FC236}">
                    <a16:creationId xmlns:a16="http://schemas.microsoft.com/office/drawing/2014/main" id="{7A311EAE-99DA-AB4B-AA2B-DDBCA87DE53E}"/>
                  </a:ext>
                </a:extLst>
              </p:cNvPr>
              <p:cNvSpPr>
                <a:spLocks noEditPoints="1"/>
              </p:cNvSpPr>
              <p:nvPr/>
            </p:nvSpPr>
            <p:spPr bwMode="auto">
              <a:xfrm>
                <a:off x="7975502" y="4450319"/>
                <a:ext cx="184973" cy="128741"/>
              </a:xfrm>
              <a:custGeom>
                <a:avLst/>
                <a:gdLst/>
                <a:ahLst/>
                <a:cxnLst>
                  <a:cxn ang="0">
                    <a:pos x="0" y="0"/>
                  </a:cxn>
                  <a:cxn ang="0">
                    <a:pos x="7" y="15"/>
                  </a:cxn>
                  <a:cxn ang="0">
                    <a:pos x="17" y="23"/>
                  </a:cxn>
                  <a:cxn ang="0">
                    <a:pos x="20" y="23"/>
                  </a:cxn>
                  <a:cxn ang="0">
                    <a:pos x="21" y="20"/>
                  </a:cxn>
                  <a:cxn ang="0">
                    <a:pos x="17" y="12"/>
                  </a:cxn>
                  <a:cxn ang="0">
                    <a:pos x="4" y="2"/>
                  </a:cxn>
                  <a:cxn ang="0">
                    <a:pos x="0" y="0"/>
                  </a:cxn>
                  <a:cxn ang="0">
                    <a:pos x="29" y="20"/>
                  </a:cxn>
                  <a:cxn ang="0">
                    <a:pos x="31" y="23"/>
                  </a:cxn>
                  <a:cxn ang="0">
                    <a:pos x="39" y="30"/>
                  </a:cxn>
                  <a:cxn ang="0">
                    <a:pos x="42" y="32"/>
                  </a:cxn>
                  <a:cxn ang="0">
                    <a:pos x="42" y="30"/>
                  </a:cxn>
                  <a:cxn ang="0">
                    <a:pos x="37" y="23"/>
                  </a:cxn>
                  <a:cxn ang="0">
                    <a:pos x="29" y="20"/>
                  </a:cxn>
                  <a:cxn ang="0">
                    <a:pos x="29" y="20"/>
                  </a:cxn>
                  <a:cxn ang="0">
                    <a:pos x="82" y="49"/>
                  </a:cxn>
                  <a:cxn ang="0">
                    <a:pos x="81" y="44"/>
                  </a:cxn>
                  <a:cxn ang="0">
                    <a:pos x="65" y="36"/>
                  </a:cxn>
                  <a:cxn ang="0">
                    <a:pos x="61" y="36"/>
                  </a:cxn>
                  <a:cxn ang="0">
                    <a:pos x="61" y="39"/>
                  </a:cxn>
                  <a:cxn ang="0">
                    <a:pos x="69" y="44"/>
                  </a:cxn>
                  <a:cxn ang="0">
                    <a:pos x="81" y="49"/>
                  </a:cxn>
                  <a:cxn ang="0">
                    <a:pos x="82" y="49"/>
                  </a:cxn>
                  <a:cxn ang="0">
                    <a:pos x="79" y="64"/>
                  </a:cxn>
                  <a:cxn ang="0">
                    <a:pos x="86" y="71"/>
                  </a:cxn>
                  <a:cxn ang="0">
                    <a:pos x="96" y="73"/>
                  </a:cxn>
                  <a:cxn ang="0">
                    <a:pos x="96" y="71"/>
                  </a:cxn>
                  <a:cxn ang="0">
                    <a:pos x="89" y="64"/>
                  </a:cxn>
                  <a:cxn ang="0">
                    <a:pos x="81" y="61"/>
                  </a:cxn>
                  <a:cxn ang="0">
                    <a:pos x="79" y="64"/>
                  </a:cxn>
                  <a:cxn ang="0">
                    <a:pos x="109" y="80"/>
                  </a:cxn>
                  <a:cxn ang="0">
                    <a:pos x="115" y="84"/>
                  </a:cxn>
                  <a:cxn ang="0">
                    <a:pos x="122" y="87"/>
                  </a:cxn>
                  <a:cxn ang="0">
                    <a:pos x="123" y="87"/>
                  </a:cxn>
                  <a:cxn ang="0">
                    <a:pos x="123" y="84"/>
                  </a:cxn>
                  <a:cxn ang="0">
                    <a:pos x="112" y="79"/>
                  </a:cxn>
                  <a:cxn ang="0">
                    <a:pos x="109" y="80"/>
                  </a:cxn>
                  <a:cxn ang="0">
                    <a:pos x="96" y="47"/>
                  </a:cxn>
                  <a:cxn ang="0">
                    <a:pos x="96" y="51"/>
                  </a:cxn>
                  <a:cxn ang="0">
                    <a:pos x="101" y="61"/>
                  </a:cxn>
                  <a:cxn ang="0">
                    <a:pos x="109" y="70"/>
                  </a:cxn>
                  <a:cxn ang="0">
                    <a:pos x="109" y="66"/>
                  </a:cxn>
                  <a:cxn ang="0">
                    <a:pos x="101" y="49"/>
                  </a:cxn>
                  <a:cxn ang="0">
                    <a:pos x="96" y="47"/>
                  </a:cxn>
                </a:cxnLst>
                <a:rect l="0" t="0" r="r" b="b"/>
                <a:pathLst>
                  <a:path w="125" h="87">
                    <a:moveTo>
                      <a:pt x="0" y="0"/>
                    </a:moveTo>
                    <a:lnTo>
                      <a:pt x="0" y="0"/>
                    </a:lnTo>
                    <a:lnTo>
                      <a:pt x="1" y="6"/>
                    </a:lnTo>
                    <a:lnTo>
                      <a:pt x="7" y="15"/>
                    </a:lnTo>
                    <a:lnTo>
                      <a:pt x="14" y="22"/>
                    </a:lnTo>
                    <a:lnTo>
                      <a:pt x="17" y="23"/>
                    </a:lnTo>
                    <a:lnTo>
                      <a:pt x="20" y="23"/>
                    </a:lnTo>
                    <a:lnTo>
                      <a:pt x="20" y="23"/>
                    </a:lnTo>
                    <a:lnTo>
                      <a:pt x="21" y="22"/>
                    </a:lnTo>
                    <a:lnTo>
                      <a:pt x="21" y="20"/>
                    </a:lnTo>
                    <a:lnTo>
                      <a:pt x="21" y="16"/>
                    </a:lnTo>
                    <a:lnTo>
                      <a:pt x="17" y="12"/>
                    </a:lnTo>
                    <a:lnTo>
                      <a:pt x="14" y="7"/>
                    </a:lnTo>
                    <a:lnTo>
                      <a:pt x="4" y="2"/>
                    </a:lnTo>
                    <a:lnTo>
                      <a:pt x="1" y="0"/>
                    </a:lnTo>
                    <a:lnTo>
                      <a:pt x="0" y="0"/>
                    </a:lnTo>
                    <a:lnTo>
                      <a:pt x="0" y="0"/>
                    </a:lnTo>
                    <a:close/>
                    <a:moveTo>
                      <a:pt x="29" y="20"/>
                    </a:moveTo>
                    <a:lnTo>
                      <a:pt x="29" y="20"/>
                    </a:lnTo>
                    <a:lnTo>
                      <a:pt x="31" y="23"/>
                    </a:lnTo>
                    <a:lnTo>
                      <a:pt x="35" y="27"/>
                    </a:lnTo>
                    <a:lnTo>
                      <a:pt x="39" y="30"/>
                    </a:lnTo>
                    <a:lnTo>
                      <a:pt x="41" y="32"/>
                    </a:lnTo>
                    <a:lnTo>
                      <a:pt x="42" y="32"/>
                    </a:lnTo>
                    <a:lnTo>
                      <a:pt x="42" y="32"/>
                    </a:lnTo>
                    <a:lnTo>
                      <a:pt x="42" y="30"/>
                    </a:lnTo>
                    <a:lnTo>
                      <a:pt x="42" y="29"/>
                    </a:lnTo>
                    <a:lnTo>
                      <a:pt x="37" y="23"/>
                    </a:lnTo>
                    <a:lnTo>
                      <a:pt x="32" y="20"/>
                    </a:lnTo>
                    <a:lnTo>
                      <a:pt x="29" y="20"/>
                    </a:lnTo>
                    <a:lnTo>
                      <a:pt x="29" y="20"/>
                    </a:lnTo>
                    <a:lnTo>
                      <a:pt x="29" y="20"/>
                    </a:lnTo>
                    <a:close/>
                    <a:moveTo>
                      <a:pt x="82" y="49"/>
                    </a:moveTo>
                    <a:lnTo>
                      <a:pt x="82" y="49"/>
                    </a:lnTo>
                    <a:lnTo>
                      <a:pt x="82" y="47"/>
                    </a:lnTo>
                    <a:lnTo>
                      <a:pt x="81" y="44"/>
                    </a:lnTo>
                    <a:lnTo>
                      <a:pt x="74" y="40"/>
                    </a:lnTo>
                    <a:lnTo>
                      <a:pt x="65" y="36"/>
                    </a:lnTo>
                    <a:lnTo>
                      <a:pt x="61" y="36"/>
                    </a:lnTo>
                    <a:lnTo>
                      <a:pt x="61" y="36"/>
                    </a:lnTo>
                    <a:lnTo>
                      <a:pt x="61" y="36"/>
                    </a:lnTo>
                    <a:lnTo>
                      <a:pt x="61" y="39"/>
                    </a:lnTo>
                    <a:lnTo>
                      <a:pt x="64" y="40"/>
                    </a:lnTo>
                    <a:lnTo>
                      <a:pt x="69" y="44"/>
                    </a:lnTo>
                    <a:lnTo>
                      <a:pt x="78" y="49"/>
                    </a:lnTo>
                    <a:lnTo>
                      <a:pt x="81" y="49"/>
                    </a:lnTo>
                    <a:lnTo>
                      <a:pt x="82" y="49"/>
                    </a:lnTo>
                    <a:lnTo>
                      <a:pt x="82" y="49"/>
                    </a:lnTo>
                    <a:close/>
                    <a:moveTo>
                      <a:pt x="79" y="64"/>
                    </a:moveTo>
                    <a:lnTo>
                      <a:pt x="79" y="64"/>
                    </a:lnTo>
                    <a:lnTo>
                      <a:pt x="82" y="69"/>
                    </a:lnTo>
                    <a:lnTo>
                      <a:pt x="86" y="71"/>
                    </a:lnTo>
                    <a:lnTo>
                      <a:pt x="92" y="73"/>
                    </a:lnTo>
                    <a:lnTo>
                      <a:pt x="96" y="73"/>
                    </a:lnTo>
                    <a:lnTo>
                      <a:pt x="96" y="73"/>
                    </a:lnTo>
                    <a:lnTo>
                      <a:pt x="96" y="71"/>
                    </a:lnTo>
                    <a:lnTo>
                      <a:pt x="95" y="69"/>
                    </a:lnTo>
                    <a:lnTo>
                      <a:pt x="89" y="64"/>
                    </a:lnTo>
                    <a:lnTo>
                      <a:pt x="82" y="61"/>
                    </a:lnTo>
                    <a:lnTo>
                      <a:pt x="81" y="61"/>
                    </a:lnTo>
                    <a:lnTo>
                      <a:pt x="79" y="64"/>
                    </a:lnTo>
                    <a:lnTo>
                      <a:pt x="79" y="64"/>
                    </a:lnTo>
                    <a:close/>
                    <a:moveTo>
                      <a:pt x="109" y="80"/>
                    </a:moveTo>
                    <a:lnTo>
                      <a:pt x="109" y="80"/>
                    </a:lnTo>
                    <a:lnTo>
                      <a:pt x="111" y="81"/>
                    </a:lnTo>
                    <a:lnTo>
                      <a:pt x="115" y="84"/>
                    </a:lnTo>
                    <a:lnTo>
                      <a:pt x="119" y="87"/>
                    </a:lnTo>
                    <a:lnTo>
                      <a:pt x="122" y="87"/>
                    </a:lnTo>
                    <a:lnTo>
                      <a:pt x="123" y="87"/>
                    </a:lnTo>
                    <a:lnTo>
                      <a:pt x="123" y="87"/>
                    </a:lnTo>
                    <a:lnTo>
                      <a:pt x="125" y="86"/>
                    </a:lnTo>
                    <a:lnTo>
                      <a:pt x="123" y="84"/>
                    </a:lnTo>
                    <a:lnTo>
                      <a:pt x="118" y="81"/>
                    </a:lnTo>
                    <a:lnTo>
                      <a:pt x="112" y="79"/>
                    </a:lnTo>
                    <a:lnTo>
                      <a:pt x="109" y="79"/>
                    </a:lnTo>
                    <a:lnTo>
                      <a:pt x="109" y="80"/>
                    </a:lnTo>
                    <a:lnTo>
                      <a:pt x="109" y="80"/>
                    </a:lnTo>
                    <a:close/>
                    <a:moveTo>
                      <a:pt x="96" y="47"/>
                    </a:moveTo>
                    <a:lnTo>
                      <a:pt x="96" y="47"/>
                    </a:lnTo>
                    <a:lnTo>
                      <a:pt x="96" y="51"/>
                    </a:lnTo>
                    <a:lnTo>
                      <a:pt x="96" y="54"/>
                    </a:lnTo>
                    <a:lnTo>
                      <a:pt x="101" y="61"/>
                    </a:lnTo>
                    <a:lnTo>
                      <a:pt x="106" y="67"/>
                    </a:lnTo>
                    <a:lnTo>
                      <a:pt x="109" y="70"/>
                    </a:lnTo>
                    <a:lnTo>
                      <a:pt x="109" y="70"/>
                    </a:lnTo>
                    <a:lnTo>
                      <a:pt x="109" y="66"/>
                    </a:lnTo>
                    <a:lnTo>
                      <a:pt x="105" y="57"/>
                    </a:lnTo>
                    <a:lnTo>
                      <a:pt x="101" y="49"/>
                    </a:lnTo>
                    <a:lnTo>
                      <a:pt x="98" y="47"/>
                    </a:lnTo>
                    <a:lnTo>
                      <a:pt x="96" y="47"/>
                    </a:lnTo>
                    <a:lnTo>
                      <a:pt x="96" y="4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8" name="Mongolia">
                <a:extLst>
                  <a:ext uri="{FF2B5EF4-FFF2-40B4-BE49-F238E27FC236}">
                    <a16:creationId xmlns:a16="http://schemas.microsoft.com/office/drawing/2014/main" id="{DB240F75-AC9B-A541-8091-67B30029791B}"/>
                  </a:ext>
                </a:extLst>
              </p:cNvPr>
              <p:cNvSpPr>
                <a:spLocks/>
              </p:cNvSpPr>
              <p:nvPr/>
            </p:nvSpPr>
            <p:spPr bwMode="auto">
              <a:xfrm>
                <a:off x="6401012" y="2940940"/>
                <a:ext cx="744332" cy="318154"/>
              </a:xfrm>
              <a:custGeom>
                <a:avLst/>
                <a:gdLst/>
                <a:ahLst/>
                <a:cxnLst>
                  <a:cxn ang="0">
                    <a:pos x="466" y="93"/>
                  </a:cxn>
                  <a:cxn ang="0">
                    <a:pos x="450" y="90"/>
                  </a:cxn>
                  <a:cxn ang="0">
                    <a:pos x="435" y="90"/>
                  </a:cxn>
                  <a:cxn ang="0">
                    <a:pos x="450" y="47"/>
                  </a:cxn>
                  <a:cxn ang="0">
                    <a:pos x="428" y="46"/>
                  </a:cxn>
                  <a:cxn ang="0">
                    <a:pos x="405" y="43"/>
                  </a:cxn>
                  <a:cxn ang="0">
                    <a:pos x="391" y="53"/>
                  </a:cxn>
                  <a:cxn ang="0">
                    <a:pos x="368" y="59"/>
                  </a:cxn>
                  <a:cxn ang="0">
                    <a:pos x="342" y="61"/>
                  </a:cxn>
                  <a:cxn ang="0">
                    <a:pos x="318" y="59"/>
                  </a:cxn>
                  <a:cxn ang="0">
                    <a:pos x="308" y="49"/>
                  </a:cxn>
                  <a:cxn ang="0">
                    <a:pos x="295" y="42"/>
                  </a:cxn>
                  <a:cxn ang="0">
                    <a:pos x="280" y="39"/>
                  </a:cxn>
                  <a:cxn ang="0">
                    <a:pos x="254" y="37"/>
                  </a:cxn>
                  <a:cxn ang="0">
                    <a:pos x="234" y="40"/>
                  </a:cxn>
                  <a:cxn ang="0">
                    <a:pos x="219" y="32"/>
                  </a:cxn>
                  <a:cxn ang="0">
                    <a:pos x="216" y="17"/>
                  </a:cxn>
                  <a:cxn ang="0">
                    <a:pos x="189" y="7"/>
                  </a:cxn>
                  <a:cxn ang="0">
                    <a:pos x="167" y="0"/>
                  </a:cxn>
                  <a:cxn ang="0">
                    <a:pos x="156" y="9"/>
                  </a:cxn>
                  <a:cxn ang="0">
                    <a:pos x="146" y="17"/>
                  </a:cxn>
                  <a:cxn ang="0">
                    <a:pos x="153" y="34"/>
                  </a:cxn>
                  <a:cxn ang="0">
                    <a:pos x="140" y="47"/>
                  </a:cxn>
                  <a:cxn ang="0">
                    <a:pos x="126" y="46"/>
                  </a:cxn>
                  <a:cxn ang="0">
                    <a:pos x="108" y="44"/>
                  </a:cxn>
                  <a:cxn ang="0">
                    <a:pos x="95" y="33"/>
                  </a:cxn>
                  <a:cxn ang="0">
                    <a:pos x="64" y="29"/>
                  </a:cxn>
                  <a:cxn ang="0">
                    <a:pos x="51" y="36"/>
                  </a:cxn>
                  <a:cxn ang="0">
                    <a:pos x="38" y="44"/>
                  </a:cxn>
                  <a:cxn ang="0">
                    <a:pos x="21" y="54"/>
                  </a:cxn>
                  <a:cxn ang="0">
                    <a:pos x="2" y="60"/>
                  </a:cxn>
                  <a:cxn ang="0">
                    <a:pos x="2" y="70"/>
                  </a:cxn>
                  <a:cxn ang="0">
                    <a:pos x="25" y="86"/>
                  </a:cxn>
                  <a:cxn ang="0">
                    <a:pos x="39" y="97"/>
                  </a:cxn>
                  <a:cxn ang="0">
                    <a:pos x="49" y="116"/>
                  </a:cxn>
                  <a:cxn ang="0">
                    <a:pos x="44" y="138"/>
                  </a:cxn>
                  <a:cxn ang="0">
                    <a:pos x="79" y="147"/>
                  </a:cxn>
                  <a:cxn ang="0">
                    <a:pos x="92" y="154"/>
                  </a:cxn>
                  <a:cxn ang="0">
                    <a:pos x="106" y="162"/>
                  </a:cxn>
                  <a:cxn ang="0">
                    <a:pos x="119" y="185"/>
                  </a:cxn>
                  <a:cxn ang="0">
                    <a:pos x="132" y="194"/>
                  </a:cxn>
                  <a:cxn ang="0">
                    <a:pos x="196" y="197"/>
                  </a:cxn>
                  <a:cxn ang="0">
                    <a:pos x="226" y="204"/>
                  </a:cxn>
                  <a:cxn ang="0">
                    <a:pos x="246" y="209"/>
                  </a:cxn>
                  <a:cxn ang="0">
                    <a:pos x="263" y="215"/>
                  </a:cxn>
                  <a:cxn ang="0">
                    <a:pos x="295" y="198"/>
                  </a:cxn>
                  <a:cxn ang="0">
                    <a:pos x="344" y="194"/>
                  </a:cxn>
                  <a:cxn ang="0">
                    <a:pos x="369" y="175"/>
                  </a:cxn>
                  <a:cxn ang="0">
                    <a:pos x="365" y="155"/>
                  </a:cxn>
                  <a:cxn ang="0">
                    <a:pos x="382" y="150"/>
                  </a:cxn>
                  <a:cxn ang="0">
                    <a:pos x="408" y="147"/>
                  </a:cxn>
                  <a:cxn ang="0">
                    <a:pos x="441" y="135"/>
                  </a:cxn>
                  <a:cxn ang="0">
                    <a:pos x="460" y="118"/>
                  </a:cxn>
                  <a:cxn ang="0">
                    <a:pos x="486" y="114"/>
                  </a:cxn>
                  <a:cxn ang="0">
                    <a:pos x="503" y="113"/>
                  </a:cxn>
                  <a:cxn ang="0">
                    <a:pos x="482" y="90"/>
                  </a:cxn>
                </a:cxnLst>
                <a:rect l="0" t="0" r="r" b="b"/>
                <a:pathLst>
                  <a:path w="503" h="215">
                    <a:moveTo>
                      <a:pt x="482" y="90"/>
                    </a:moveTo>
                    <a:lnTo>
                      <a:pt x="482" y="90"/>
                    </a:lnTo>
                    <a:lnTo>
                      <a:pt x="477" y="87"/>
                    </a:lnTo>
                    <a:lnTo>
                      <a:pt x="473" y="87"/>
                    </a:lnTo>
                    <a:lnTo>
                      <a:pt x="469" y="88"/>
                    </a:lnTo>
                    <a:lnTo>
                      <a:pt x="466" y="93"/>
                    </a:lnTo>
                    <a:lnTo>
                      <a:pt x="466" y="93"/>
                    </a:lnTo>
                    <a:lnTo>
                      <a:pt x="466" y="94"/>
                    </a:lnTo>
                    <a:lnTo>
                      <a:pt x="465" y="94"/>
                    </a:lnTo>
                    <a:lnTo>
                      <a:pt x="462" y="94"/>
                    </a:lnTo>
                    <a:lnTo>
                      <a:pt x="458" y="91"/>
                    </a:lnTo>
                    <a:lnTo>
                      <a:pt x="450" y="90"/>
                    </a:lnTo>
                    <a:lnTo>
                      <a:pt x="450" y="90"/>
                    </a:lnTo>
                    <a:lnTo>
                      <a:pt x="445" y="91"/>
                    </a:lnTo>
                    <a:lnTo>
                      <a:pt x="442" y="93"/>
                    </a:lnTo>
                    <a:lnTo>
                      <a:pt x="439" y="93"/>
                    </a:lnTo>
                    <a:lnTo>
                      <a:pt x="435" y="90"/>
                    </a:lnTo>
                    <a:lnTo>
                      <a:pt x="435" y="90"/>
                    </a:lnTo>
                    <a:lnTo>
                      <a:pt x="432" y="86"/>
                    </a:lnTo>
                    <a:lnTo>
                      <a:pt x="433" y="83"/>
                    </a:lnTo>
                    <a:lnTo>
                      <a:pt x="436" y="81"/>
                    </a:lnTo>
                    <a:lnTo>
                      <a:pt x="438" y="73"/>
                    </a:lnTo>
                    <a:lnTo>
                      <a:pt x="450" y="47"/>
                    </a:lnTo>
                    <a:lnTo>
                      <a:pt x="450" y="47"/>
                    </a:lnTo>
                    <a:lnTo>
                      <a:pt x="445" y="46"/>
                    </a:lnTo>
                    <a:lnTo>
                      <a:pt x="439" y="46"/>
                    </a:lnTo>
                    <a:lnTo>
                      <a:pt x="439" y="46"/>
                    </a:lnTo>
                    <a:lnTo>
                      <a:pt x="435" y="47"/>
                    </a:lnTo>
                    <a:lnTo>
                      <a:pt x="431" y="47"/>
                    </a:lnTo>
                    <a:lnTo>
                      <a:pt x="428" y="46"/>
                    </a:lnTo>
                    <a:lnTo>
                      <a:pt x="425" y="43"/>
                    </a:lnTo>
                    <a:lnTo>
                      <a:pt x="425" y="43"/>
                    </a:lnTo>
                    <a:lnTo>
                      <a:pt x="422" y="42"/>
                    </a:lnTo>
                    <a:lnTo>
                      <a:pt x="416" y="40"/>
                    </a:lnTo>
                    <a:lnTo>
                      <a:pt x="409" y="42"/>
                    </a:lnTo>
                    <a:lnTo>
                      <a:pt x="405" y="43"/>
                    </a:lnTo>
                    <a:lnTo>
                      <a:pt x="405" y="43"/>
                    </a:lnTo>
                    <a:lnTo>
                      <a:pt x="398" y="46"/>
                    </a:lnTo>
                    <a:lnTo>
                      <a:pt x="394" y="49"/>
                    </a:lnTo>
                    <a:lnTo>
                      <a:pt x="392" y="52"/>
                    </a:lnTo>
                    <a:lnTo>
                      <a:pt x="392" y="52"/>
                    </a:lnTo>
                    <a:lnTo>
                      <a:pt x="391" y="53"/>
                    </a:lnTo>
                    <a:lnTo>
                      <a:pt x="386" y="54"/>
                    </a:lnTo>
                    <a:lnTo>
                      <a:pt x="384" y="54"/>
                    </a:lnTo>
                    <a:lnTo>
                      <a:pt x="379" y="56"/>
                    </a:lnTo>
                    <a:lnTo>
                      <a:pt x="379" y="56"/>
                    </a:lnTo>
                    <a:lnTo>
                      <a:pt x="375" y="57"/>
                    </a:lnTo>
                    <a:lnTo>
                      <a:pt x="368" y="59"/>
                    </a:lnTo>
                    <a:lnTo>
                      <a:pt x="362" y="60"/>
                    </a:lnTo>
                    <a:lnTo>
                      <a:pt x="359" y="61"/>
                    </a:lnTo>
                    <a:lnTo>
                      <a:pt x="359" y="61"/>
                    </a:lnTo>
                    <a:lnTo>
                      <a:pt x="355" y="61"/>
                    </a:lnTo>
                    <a:lnTo>
                      <a:pt x="349" y="63"/>
                    </a:lnTo>
                    <a:lnTo>
                      <a:pt x="342" y="61"/>
                    </a:lnTo>
                    <a:lnTo>
                      <a:pt x="338" y="61"/>
                    </a:lnTo>
                    <a:lnTo>
                      <a:pt x="338" y="61"/>
                    </a:lnTo>
                    <a:lnTo>
                      <a:pt x="334" y="60"/>
                    </a:lnTo>
                    <a:lnTo>
                      <a:pt x="327" y="60"/>
                    </a:lnTo>
                    <a:lnTo>
                      <a:pt x="321" y="59"/>
                    </a:lnTo>
                    <a:lnTo>
                      <a:pt x="318" y="59"/>
                    </a:lnTo>
                    <a:lnTo>
                      <a:pt x="317" y="57"/>
                    </a:lnTo>
                    <a:lnTo>
                      <a:pt x="317" y="57"/>
                    </a:lnTo>
                    <a:lnTo>
                      <a:pt x="315" y="54"/>
                    </a:lnTo>
                    <a:lnTo>
                      <a:pt x="312" y="53"/>
                    </a:lnTo>
                    <a:lnTo>
                      <a:pt x="310" y="50"/>
                    </a:lnTo>
                    <a:lnTo>
                      <a:pt x="308" y="49"/>
                    </a:lnTo>
                    <a:lnTo>
                      <a:pt x="308" y="49"/>
                    </a:lnTo>
                    <a:lnTo>
                      <a:pt x="308" y="47"/>
                    </a:lnTo>
                    <a:lnTo>
                      <a:pt x="307" y="46"/>
                    </a:lnTo>
                    <a:lnTo>
                      <a:pt x="303" y="44"/>
                    </a:lnTo>
                    <a:lnTo>
                      <a:pt x="298" y="43"/>
                    </a:lnTo>
                    <a:lnTo>
                      <a:pt x="295" y="42"/>
                    </a:lnTo>
                    <a:lnTo>
                      <a:pt x="295" y="42"/>
                    </a:lnTo>
                    <a:lnTo>
                      <a:pt x="293" y="40"/>
                    </a:lnTo>
                    <a:lnTo>
                      <a:pt x="290" y="39"/>
                    </a:lnTo>
                    <a:lnTo>
                      <a:pt x="283" y="39"/>
                    </a:lnTo>
                    <a:lnTo>
                      <a:pt x="283" y="39"/>
                    </a:lnTo>
                    <a:lnTo>
                      <a:pt x="280" y="39"/>
                    </a:lnTo>
                    <a:lnTo>
                      <a:pt x="275" y="37"/>
                    </a:lnTo>
                    <a:lnTo>
                      <a:pt x="268" y="36"/>
                    </a:lnTo>
                    <a:lnTo>
                      <a:pt x="268" y="36"/>
                    </a:lnTo>
                    <a:lnTo>
                      <a:pt x="261" y="36"/>
                    </a:lnTo>
                    <a:lnTo>
                      <a:pt x="254" y="37"/>
                    </a:lnTo>
                    <a:lnTo>
                      <a:pt x="254" y="37"/>
                    </a:lnTo>
                    <a:lnTo>
                      <a:pt x="251" y="37"/>
                    </a:lnTo>
                    <a:lnTo>
                      <a:pt x="248" y="40"/>
                    </a:lnTo>
                    <a:lnTo>
                      <a:pt x="243" y="43"/>
                    </a:lnTo>
                    <a:lnTo>
                      <a:pt x="243" y="43"/>
                    </a:lnTo>
                    <a:lnTo>
                      <a:pt x="238" y="42"/>
                    </a:lnTo>
                    <a:lnTo>
                      <a:pt x="234" y="40"/>
                    </a:lnTo>
                    <a:lnTo>
                      <a:pt x="230" y="39"/>
                    </a:lnTo>
                    <a:lnTo>
                      <a:pt x="229" y="39"/>
                    </a:lnTo>
                    <a:lnTo>
                      <a:pt x="229" y="39"/>
                    </a:lnTo>
                    <a:lnTo>
                      <a:pt x="226" y="39"/>
                    </a:lnTo>
                    <a:lnTo>
                      <a:pt x="223" y="36"/>
                    </a:lnTo>
                    <a:lnTo>
                      <a:pt x="219" y="32"/>
                    </a:lnTo>
                    <a:lnTo>
                      <a:pt x="219" y="32"/>
                    </a:lnTo>
                    <a:lnTo>
                      <a:pt x="217" y="29"/>
                    </a:lnTo>
                    <a:lnTo>
                      <a:pt x="217" y="24"/>
                    </a:lnTo>
                    <a:lnTo>
                      <a:pt x="217" y="20"/>
                    </a:lnTo>
                    <a:lnTo>
                      <a:pt x="216" y="17"/>
                    </a:lnTo>
                    <a:lnTo>
                      <a:pt x="216" y="17"/>
                    </a:lnTo>
                    <a:lnTo>
                      <a:pt x="213" y="16"/>
                    </a:lnTo>
                    <a:lnTo>
                      <a:pt x="209" y="15"/>
                    </a:lnTo>
                    <a:lnTo>
                      <a:pt x="200" y="13"/>
                    </a:lnTo>
                    <a:lnTo>
                      <a:pt x="200" y="13"/>
                    </a:lnTo>
                    <a:lnTo>
                      <a:pt x="194" y="9"/>
                    </a:lnTo>
                    <a:lnTo>
                      <a:pt x="189" y="7"/>
                    </a:lnTo>
                    <a:lnTo>
                      <a:pt x="189" y="7"/>
                    </a:lnTo>
                    <a:lnTo>
                      <a:pt x="183" y="7"/>
                    </a:lnTo>
                    <a:lnTo>
                      <a:pt x="179" y="6"/>
                    </a:lnTo>
                    <a:lnTo>
                      <a:pt x="179" y="6"/>
                    </a:lnTo>
                    <a:lnTo>
                      <a:pt x="173" y="3"/>
                    </a:lnTo>
                    <a:lnTo>
                      <a:pt x="167" y="0"/>
                    </a:lnTo>
                    <a:lnTo>
                      <a:pt x="167" y="0"/>
                    </a:lnTo>
                    <a:lnTo>
                      <a:pt x="165" y="0"/>
                    </a:lnTo>
                    <a:lnTo>
                      <a:pt x="163" y="2"/>
                    </a:lnTo>
                    <a:lnTo>
                      <a:pt x="162" y="6"/>
                    </a:lnTo>
                    <a:lnTo>
                      <a:pt x="162" y="6"/>
                    </a:lnTo>
                    <a:lnTo>
                      <a:pt x="156" y="9"/>
                    </a:lnTo>
                    <a:lnTo>
                      <a:pt x="155" y="9"/>
                    </a:lnTo>
                    <a:lnTo>
                      <a:pt x="153" y="12"/>
                    </a:lnTo>
                    <a:lnTo>
                      <a:pt x="153" y="12"/>
                    </a:lnTo>
                    <a:lnTo>
                      <a:pt x="150" y="13"/>
                    </a:lnTo>
                    <a:lnTo>
                      <a:pt x="149" y="16"/>
                    </a:lnTo>
                    <a:lnTo>
                      <a:pt x="146" y="17"/>
                    </a:lnTo>
                    <a:lnTo>
                      <a:pt x="146" y="20"/>
                    </a:lnTo>
                    <a:lnTo>
                      <a:pt x="146" y="20"/>
                    </a:lnTo>
                    <a:lnTo>
                      <a:pt x="147" y="27"/>
                    </a:lnTo>
                    <a:lnTo>
                      <a:pt x="152" y="33"/>
                    </a:lnTo>
                    <a:lnTo>
                      <a:pt x="152" y="33"/>
                    </a:lnTo>
                    <a:lnTo>
                      <a:pt x="153" y="34"/>
                    </a:lnTo>
                    <a:lnTo>
                      <a:pt x="153" y="37"/>
                    </a:lnTo>
                    <a:lnTo>
                      <a:pt x="152" y="43"/>
                    </a:lnTo>
                    <a:lnTo>
                      <a:pt x="152" y="43"/>
                    </a:lnTo>
                    <a:lnTo>
                      <a:pt x="149" y="44"/>
                    </a:lnTo>
                    <a:lnTo>
                      <a:pt x="145" y="46"/>
                    </a:lnTo>
                    <a:lnTo>
                      <a:pt x="140" y="47"/>
                    </a:lnTo>
                    <a:lnTo>
                      <a:pt x="137" y="49"/>
                    </a:lnTo>
                    <a:lnTo>
                      <a:pt x="137" y="49"/>
                    </a:lnTo>
                    <a:lnTo>
                      <a:pt x="136" y="50"/>
                    </a:lnTo>
                    <a:lnTo>
                      <a:pt x="133" y="50"/>
                    </a:lnTo>
                    <a:lnTo>
                      <a:pt x="126" y="46"/>
                    </a:lnTo>
                    <a:lnTo>
                      <a:pt x="126" y="46"/>
                    </a:lnTo>
                    <a:lnTo>
                      <a:pt x="123" y="44"/>
                    </a:lnTo>
                    <a:lnTo>
                      <a:pt x="119" y="44"/>
                    </a:lnTo>
                    <a:lnTo>
                      <a:pt x="113" y="47"/>
                    </a:lnTo>
                    <a:lnTo>
                      <a:pt x="113" y="47"/>
                    </a:lnTo>
                    <a:lnTo>
                      <a:pt x="110" y="47"/>
                    </a:lnTo>
                    <a:lnTo>
                      <a:pt x="108" y="44"/>
                    </a:lnTo>
                    <a:lnTo>
                      <a:pt x="101" y="42"/>
                    </a:lnTo>
                    <a:lnTo>
                      <a:pt x="101" y="42"/>
                    </a:lnTo>
                    <a:lnTo>
                      <a:pt x="99" y="40"/>
                    </a:lnTo>
                    <a:lnTo>
                      <a:pt x="98" y="37"/>
                    </a:lnTo>
                    <a:lnTo>
                      <a:pt x="96" y="33"/>
                    </a:lnTo>
                    <a:lnTo>
                      <a:pt x="95" y="33"/>
                    </a:lnTo>
                    <a:lnTo>
                      <a:pt x="95" y="33"/>
                    </a:lnTo>
                    <a:lnTo>
                      <a:pt x="85" y="32"/>
                    </a:lnTo>
                    <a:lnTo>
                      <a:pt x="73" y="29"/>
                    </a:lnTo>
                    <a:lnTo>
                      <a:pt x="73" y="29"/>
                    </a:lnTo>
                    <a:lnTo>
                      <a:pt x="66" y="29"/>
                    </a:lnTo>
                    <a:lnTo>
                      <a:pt x="64" y="29"/>
                    </a:lnTo>
                    <a:lnTo>
                      <a:pt x="62" y="30"/>
                    </a:lnTo>
                    <a:lnTo>
                      <a:pt x="62" y="30"/>
                    </a:lnTo>
                    <a:lnTo>
                      <a:pt x="59" y="32"/>
                    </a:lnTo>
                    <a:lnTo>
                      <a:pt x="56" y="33"/>
                    </a:lnTo>
                    <a:lnTo>
                      <a:pt x="52" y="33"/>
                    </a:lnTo>
                    <a:lnTo>
                      <a:pt x="51" y="36"/>
                    </a:lnTo>
                    <a:lnTo>
                      <a:pt x="51" y="36"/>
                    </a:lnTo>
                    <a:lnTo>
                      <a:pt x="49" y="37"/>
                    </a:lnTo>
                    <a:lnTo>
                      <a:pt x="45" y="39"/>
                    </a:lnTo>
                    <a:lnTo>
                      <a:pt x="41" y="43"/>
                    </a:lnTo>
                    <a:lnTo>
                      <a:pt x="41" y="43"/>
                    </a:lnTo>
                    <a:lnTo>
                      <a:pt x="38" y="44"/>
                    </a:lnTo>
                    <a:lnTo>
                      <a:pt x="34" y="46"/>
                    </a:lnTo>
                    <a:lnTo>
                      <a:pt x="31" y="47"/>
                    </a:lnTo>
                    <a:lnTo>
                      <a:pt x="28" y="50"/>
                    </a:lnTo>
                    <a:lnTo>
                      <a:pt x="28" y="50"/>
                    </a:lnTo>
                    <a:lnTo>
                      <a:pt x="25" y="53"/>
                    </a:lnTo>
                    <a:lnTo>
                      <a:pt x="21" y="54"/>
                    </a:lnTo>
                    <a:lnTo>
                      <a:pt x="14" y="56"/>
                    </a:lnTo>
                    <a:lnTo>
                      <a:pt x="14" y="56"/>
                    </a:lnTo>
                    <a:lnTo>
                      <a:pt x="7" y="57"/>
                    </a:lnTo>
                    <a:lnTo>
                      <a:pt x="4" y="59"/>
                    </a:lnTo>
                    <a:lnTo>
                      <a:pt x="2" y="60"/>
                    </a:lnTo>
                    <a:lnTo>
                      <a:pt x="2" y="60"/>
                    </a:lnTo>
                    <a:lnTo>
                      <a:pt x="1" y="61"/>
                    </a:lnTo>
                    <a:lnTo>
                      <a:pt x="0" y="61"/>
                    </a:lnTo>
                    <a:lnTo>
                      <a:pt x="0" y="61"/>
                    </a:lnTo>
                    <a:lnTo>
                      <a:pt x="0" y="63"/>
                    </a:lnTo>
                    <a:lnTo>
                      <a:pt x="0" y="63"/>
                    </a:lnTo>
                    <a:lnTo>
                      <a:pt x="2" y="70"/>
                    </a:lnTo>
                    <a:lnTo>
                      <a:pt x="4" y="73"/>
                    </a:lnTo>
                    <a:lnTo>
                      <a:pt x="11" y="79"/>
                    </a:lnTo>
                    <a:lnTo>
                      <a:pt x="11" y="79"/>
                    </a:lnTo>
                    <a:lnTo>
                      <a:pt x="18" y="83"/>
                    </a:lnTo>
                    <a:lnTo>
                      <a:pt x="22" y="86"/>
                    </a:lnTo>
                    <a:lnTo>
                      <a:pt x="25" y="86"/>
                    </a:lnTo>
                    <a:lnTo>
                      <a:pt x="25" y="86"/>
                    </a:lnTo>
                    <a:lnTo>
                      <a:pt x="29" y="87"/>
                    </a:lnTo>
                    <a:lnTo>
                      <a:pt x="34" y="90"/>
                    </a:lnTo>
                    <a:lnTo>
                      <a:pt x="38" y="93"/>
                    </a:lnTo>
                    <a:lnTo>
                      <a:pt x="39" y="97"/>
                    </a:lnTo>
                    <a:lnTo>
                      <a:pt x="39" y="97"/>
                    </a:lnTo>
                    <a:lnTo>
                      <a:pt x="41" y="101"/>
                    </a:lnTo>
                    <a:lnTo>
                      <a:pt x="42" y="104"/>
                    </a:lnTo>
                    <a:lnTo>
                      <a:pt x="48" y="110"/>
                    </a:lnTo>
                    <a:lnTo>
                      <a:pt x="48" y="110"/>
                    </a:lnTo>
                    <a:lnTo>
                      <a:pt x="49" y="111"/>
                    </a:lnTo>
                    <a:lnTo>
                      <a:pt x="49" y="116"/>
                    </a:lnTo>
                    <a:lnTo>
                      <a:pt x="46" y="125"/>
                    </a:lnTo>
                    <a:lnTo>
                      <a:pt x="46" y="125"/>
                    </a:lnTo>
                    <a:lnTo>
                      <a:pt x="46" y="128"/>
                    </a:lnTo>
                    <a:lnTo>
                      <a:pt x="44" y="133"/>
                    </a:lnTo>
                    <a:lnTo>
                      <a:pt x="42" y="135"/>
                    </a:lnTo>
                    <a:lnTo>
                      <a:pt x="44" y="138"/>
                    </a:lnTo>
                    <a:lnTo>
                      <a:pt x="44" y="138"/>
                    </a:lnTo>
                    <a:lnTo>
                      <a:pt x="45" y="141"/>
                    </a:lnTo>
                    <a:lnTo>
                      <a:pt x="49" y="143"/>
                    </a:lnTo>
                    <a:lnTo>
                      <a:pt x="61" y="145"/>
                    </a:lnTo>
                    <a:lnTo>
                      <a:pt x="72" y="147"/>
                    </a:lnTo>
                    <a:lnTo>
                      <a:pt x="79" y="147"/>
                    </a:lnTo>
                    <a:lnTo>
                      <a:pt x="79" y="147"/>
                    </a:lnTo>
                    <a:lnTo>
                      <a:pt x="83" y="148"/>
                    </a:lnTo>
                    <a:lnTo>
                      <a:pt x="88" y="151"/>
                    </a:lnTo>
                    <a:lnTo>
                      <a:pt x="89" y="154"/>
                    </a:lnTo>
                    <a:lnTo>
                      <a:pt x="92" y="154"/>
                    </a:lnTo>
                    <a:lnTo>
                      <a:pt x="92" y="154"/>
                    </a:lnTo>
                    <a:lnTo>
                      <a:pt x="95" y="155"/>
                    </a:lnTo>
                    <a:lnTo>
                      <a:pt x="96" y="158"/>
                    </a:lnTo>
                    <a:lnTo>
                      <a:pt x="99" y="160"/>
                    </a:lnTo>
                    <a:lnTo>
                      <a:pt x="102" y="162"/>
                    </a:lnTo>
                    <a:lnTo>
                      <a:pt x="102" y="162"/>
                    </a:lnTo>
                    <a:lnTo>
                      <a:pt x="106" y="162"/>
                    </a:lnTo>
                    <a:lnTo>
                      <a:pt x="109" y="165"/>
                    </a:lnTo>
                    <a:lnTo>
                      <a:pt x="112" y="170"/>
                    </a:lnTo>
                    <a:lnTo>
                      <a:pt x="115" y="175"/>
                    </a:lnTo>
                    <a:lnTo>
                      <a:pt x="115" y="175"/>
                    </a:lnTo>
                    <a:lnTo>
                      <a:pt x="116" y="181"/>
                    </a:lnTo>
                    <a:lnTo>
                      <a:pt x="119" y="185"/>
                    </a:lnTo>
                    <a:lnTo>
                      <a:pt x="122" y="188"/>
                    </a:lnTo>
                    <a:lnTo>
                      <a:pt x="123" y="192"/>
                    </a:lnTo>
                    <a:lnTo>
                      <a:pt x="123" y="192"/>
                    </a:lnTo>
                    <a:lnTo>
                      <a:pt x="125" y="192"/>
                    </a:lnTo>
                    <a:lnTo>
                      <a:pt x="126" y="194"/>
                    </a:lnTo>
                    <a:lnTo>
                      <a:pt x="132" y="194"/>
                    </a:lnTo>
                    <a:lnTo>
                      <a:pt x="145" y="194"/>
                    </a:lnTo>
                    <a:lnTo>
                      <a:pt x="145" y="194"/>
                    </a:lnTo>
                    <a:lnTo>
                      <a:pt x="165" y="194"/>
                    </a:lnTo>
                    <a:lnTo>
                      <a:pt x="183" y="195"/>
                    </a:lnTo>
                    <a:lnTo>
                      <a:pt x="183" y="195"/>
                    </a:lnTo>
                    <a:lnTo>
                      <a:pt x="196" y="197"/>
                    </a:lnTo>
                    <a:lnTo>
                      <a:pt x="204" y="198"/>
                    </a:lnTo>
                    <a:lnTo>
                      <a:pt x="211" y="201"/>
                    </a:lnTo>
                    <a:lnTo>
                      <a:pt x="211" y="201"/>
                    </a:lnTo>
                    <a:lnTo>
                      <a:pt x="217" y="204"/>
                    </a:lnTo>
                    <a:lnTo>
                      <a:pt x="221" y="204"/>
                    </a:lnTo>
                    <a:lnTo>
                      <a:pt x="226" y="204"/>
                    </a:lnTo>
                    <a:lnTo>
                      <a:pt x="229" y="205"/>
                    </a:lnTo>
                    <a:lnTo>
                      <a:pt x="229" y="205"/>
                    </a:lnTo>
                    <a:lnTo>
                      <a:pt x="237" y="209"/>
                    </a:lnTo>
                    <a:lnTo>
                      <a:pt x="240" y="209"/>
                    </a:lnTo>
                    <a:lnTo>
                      <a:pt x="246" y="209"/>
                    </a:lnTo>
                    <a:lnTo>
                      <a:pt x="246" y="209"/>
                    </a:lnTo>
                    <a:lnTo>
                      <a:pt x="250" y="209"/>
                    </a:lnTo>
                    <a:lnTo>
                      <a:pt x="253" y="212"/>
                    </a:lnTo>
                    <a:lnTo>
                      <a:pt x="254" y="214"/>
                    </a:lnTo>
                    <a:lnTo>
                      <a:pt x="258" y="215"/>
                    </a:lnTo>
                    <a:lnTo>
                      <a:pt x="258" y="215"/>
                    </a:lnTo>
                    <a:lnTo>
                      <a:pt x="263" y="215"/>
                    </a:lnTo>
                    <a:lnTo>
                      <a:pt x="268" y="211"/>
                    </a:lnTo>
                    <a:lnTo>
                      <a:pt x="277" y="207"/>
                    </a:lnTo>
                    <a:lnTo>
                      <a:pt x="285" y="201"/>
                    </a:lnTo>
                    <a:lnTo>
                      <a:pt x="285" y="201"/>
                    </a:lnTo>
                    <a:lnTo>
                      <a:pt x="291" y="199"/>
                    </a:lnTo>
                    <a:lnTo>
                      <a:pt x="295" y="198"/>
                    </a:lnTo>
                    <a:lnTo>
                      <a:pt x="307" y="198"/>
                    </a:lnTo>
                    <a:lnTo>
                      <a:pt x="322" y="199"/>
                    </a:lnTo>
                    <a:lnTo>
                      <a:pt x="322" y="199"/>
                    </a:lnTo>
                    <a:lnTo>
                      <a:pt x="328" y="199"/>
                    </a:lnTo>
                    <a:lnTo>
                      <a:pt x="337" y="198"/>
                    </a:lnTo>
                    <a:lnTo>
                      <a:pt x="344" y="194"/>
                    </a:lnTo>
                    <a:lnTo>
                      <a:pt x="351" y="188"/>
                    </a:lnTo>
                    <a:lnTo>
                      <a:pt x="351" y="188"/>
                    </a:lnTo>
                    <a:lnTo>
                      <a:pt x="357" y="182"/>
                    </a:lnTo>
                    <a:lnTo>
                      <a:pt x="364" y="180"/>
                    </a:lnTo>
                    <a:lnTo>
                      <a:pt x="368" y="177"/>
                    </a:lnTo>
                    <a:lnTo>
                      <a:pt x="369" y="175"/>
                    </a:lnTo>
                    <a:lnTo>
                      <a:pt x="371" y="172"/>
                    </a:lnTo>
                    <a:lnTo>
                      <a:pt x="371" y="172"/>
                    </a:lnTo>
                    <a:lnTo>
                      <a:pt x="369" y="167"/>
                    </a:lnTo>
                    <a:lnTo>
                      <a:pt x="368" y="162"/>
                    </a:lnTo>
                    <a:lnTo>
                      <a:pt x="365" y="158"/>
                    </a:lnTo>
                    <a:lnTo>
                      <a:pt x="365" y="155"/>
                    </a:lnTo>
                    <a:lnTo>
                      <a:pt x="367" y="154"/>
                    </a:lnTo>
                    <a:lnTo>
                      <a:pt x="367" y="154"/>
                    </a:lnTo>
                    <a:lnTo>
                      <a:pt x="369" y="150"/>
                    </a:lnTo>
                    <a:lnTo>
                      <a:pt x="374" y="148"/>
                    </a:lnTo>
                    <a:lnTo>
                      <a:pt x="378" y="148"/>
                    </a:lnTo>
                    <a:lnTo>
                      <a:pt x="382" y="150"/>
                    </a:lnTo>
                    <a:lnTo>
                      <a:pt x="382" y="150"/>
                    </a:lnTo>
                    <a:lnTo>
                      <a:pt x="386" y="151"/>
                    </a:lnTo>
                    <a:lnTo>
                      <a:pt x="392" y="153"/>
                    </a:lnTo>
                    <a:lnTo>
                      <a:pt x="399" y="151"/>
                    </a:lnTo>
                    <a:lnTo>
                      <a:pt x="408" y="147"/>
                    </a:lnTo>
                    <a:lnTo>
                      <a:pt x="408" y="147"/>
                    </a:lnTo>
                    <a:lnTo>
                      <a:pt x="415" y="144"/>
                    </a:lnTo>
                    <a:lnTo>
                      <a:pt x="421" y="141"/>
                    </a:lnTo>
                    <a:lnTo>
                      <a:pt x="432" y="140"/>
                    </a:lnTo>
                    <a:lnTo>
                      <a:pt x="432" y="140"/>
                    </a:lnTo>
                    <a:lnTo>
                      <a:pt x="436" y="138"/>
                    </a:lnTo>
                    <a:lnTo>
                      <a:pt x="441" y="135"/>
                    </a:lnTo>
                    <a:lnTo>
                      <a:pt x="442" y="131"/>
                    </a:lnTo>
                    <a:lnTo>
                      <a:pt x="446" y="127"/>
                    </a:lnTo>
                    <a:lnTo>
                      <a:pt x="446" y="127"/>
                    </a:lnTo>
                    <a:lnTo>
                      <a:pt x="450" y="123"/>
                    </a:lnTo>
                    <a:lnTo>
                      <a:pt x="456" y="120"/>
                    </a:lnTo>
                    <a:lnTo>
                      <a:pt x="460" y="118"/>
                    </a:lnTo>
                    <a:lnTo>
                      <a:pt x="466" y="118"/>
                    </a:lnTo>
                    <a:lnTo>
                      <a:pt x="466" y="118"/>
                    </a:lnTo>
                    <a:lnTo>
                      <a:pt x="470" y="117"/>
                    </a:lnTo>
                    <a:lnTo>
                      <a:pt x="476" y="116"/>
                    </a:lnTo>
                    <a:lnTo>
                      <a:pt x="482" y="114"/>
                    </a:lnTo>
                    <a:lnTo>
                      <a:pt x="486" y="114"/>
                    </a:lnTo>
                    <a:lnTo>
                      <a:pt x="486" y="114"/>
                    </a:lnTo>
                    <a:lnTo>
                      <a:pt x="492" y="116"/>
                    </a:lnTo>
                    <a:lnTo>
                      <a:pt x="496" y="116"/>
                    </a:lnTo>
                    <a:lnTo>
                      <a:pt x="500" y="116"/>
                    </a:lnTo>
                    <a:lnTo>
                      <a:pt x="502" y="114"/>
                    </a:lnTo>
                    <a:lnTo>
                      <a:pt x="503" y="113"/>
                    </a:lnTo>
                    <a:lnTo>
                      <a:pt x="503" y="113"/>
                    </a:lnTo>
                    <a:lnTo>
                      <a:pt x="502" y="110"/>
                    </a:lnTo>
                    <a:lnTo>
                      <a:pt x="500" y="107"/>
                    </a:lnTo>
                    <a:lnTo>
                      <a:pt x="495" y="101"/>
                    </a:lnTo>
                    <a:lnTo>
                      <a:pt x="487" y="96"/>
                    </a:lnTo>
                    <a:lnTo>
                      <a:pt x="482" y="90"/>
                    </a:lnTo>
                    <a:lnTo>
                      <a:pt x="482" y="9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9" name="Malaysia">
                <a:extLst>
                  <a:ext uri="{FF2B5EF4-FFF2-40B4-BE49-F238E27FC236}">
                    <a16:creationId xmlns:a16="http://schemas.microsoft.com/office/drawing/2014/main" id="{17E2EAB5-7265-AF4F-9C1B-89DAECB9AC9B}"/>
                  </a:ext>
                </a:extLst>
              </p:cNvPr>
              <p:cNvSpPr>
                <a:spLocks noEditPoints="1"/>
              </p:cNvSpPr>
              <p:nvPr/>
            </p:nvSpPr>
            <p:spPr bwMode="auto">
              <a:xfrm>
                <a:off x="6665894" y="4154362"/>
                <a:ext cx="458733" cy="140580"/>
              </a:xfrm>
              <a:custGeom>
                <a:avLst/>
                <a:gdLst/>
                <a:ahLst/>
                <a:cxnLst>
                  <a:cxn ang="0">
                    <a:pos x="55" y="28"/>
                  </a:cxn>
                  <a:cxn ang="0">
                    <a:pos x="44" y="18"/>
                  </a:cxn>
                  <a:cxn ang="0">
                    <a:pos x="37" y="10"/>
                  </a:cxn>
                  <a:cxn ang="0">
                    <a:pos x="32" y="10"/>
                  </a:cxn>
                  <a:cxn ang="0">
                    <a:pos x="30" y="14"/>
                  </a:cxn>
                  <a:cxn ang="0">
                    <a:pos x="17" y="13"/>
                  </a:cxn>
                  <a:cxn ang="0">
                    <a:pos x="10" y="3"/>
                  </a:cxn>
                  <a:cxn ang="0">
                    <a:pos x="3" y="8"/>
                  </a:cxn>
                  <a:cxn ang="0">
                    <a:pos x="5" y="31"/>
                  </a:cxn>
                  <a:cxn ang="0">
                    <a:pos x="21" y="58"/>
                  </a:cxn>
                  <a:cxn ang="0">
                    <a:pos x="37" y="72"/>
                  </a:cxn>
                  <a:cxn ang="0">
                    <a:pos x="67" y="88"/>
                  </a:cxn>
                  <a:cxn ang="0">
                    <a:pos x="65" y="78"/>
                  </a:cxn>
                  <a:cxn ang="0">
                    <a:pos x="55" y="62"/>
                  </a:cxn>
                  <a:cxn ang="0">
                    <a:pos x="57" y="34"/>
                  </a:cxn>
                  <a:cxn ang="0">
                    <a:pos x="286" y="15"/>
                  </a:cxn>
                  <a:cxn ang="0">
                    <a:pos x="283" y="8"/>
                  </a:cxn>
                  <a:cxn ang="0">
                    <a:pos x="270" y="0"/>
                  </a:cxn>
                  <a:cxn ang="0">
                    <a:pos x="257" y="17"/>
                  </a:cxn>
                  <a:cxn ang="0">
                    <a:pos x="249" y="24"/>
                  </a:cxn>
                  <a:cxn ang="0">
                    <a:pos x="247" y="30"/>
                  </a:cxn>
                  <a:cxn ang="0">
                    <a:pos x="246" y="41"/>
                  </a:cxn>
                  <a:cxn ang="0">
                    <a:pos x="240" y="42"/>
                  </a:cxn>
                  <a:cxn ang="0">
                    <a:pos x="233" y="44"/>
                  </a:cxn>
                  <a:cxn ang="0">
                    <a:pos x="226" y="34"/>
                  </a:cxn>
                  <a:cxn ang="0">
                    <a:pos x="215" y="48"/>
                  </a:cxn>
                  <a:cxn ang="0">
                    <a:pos x="209" y="61"/>
                  </a:cxn>
                  <a:cxn ang="0">
                    <a:pos x="185" y="64"/>
                  </a:cxn>
                  <a:cxn ang="0">
                    <a:pos x="179" y="78"/>
                  </a:cxn>
                  <a:cxn ang="0">
                    <a:pos x="175" y="85"/>
                  </a:cxn>
                  <a:cxn ang="0">
                    <a:pos x="153" y="77"/>
                  </a:cxn>
                  <a:cxn ang="0">
                    <a:pos x="159" y="88"/>
                  </a:cxn>
                  <a:cxn ang="0">
                    <a:pos x="170" y="95"/>
                  </a:cxn>
                  <a:cxn ang="0">
                    <a:pos x="182" y="92"/>
                  </a:cxn>
                  <a:cxn ang="0">
                    <a:pos x="196" y="91"/>
                  </a:cxn>
                  <a:cxn ang="0">
                    <a:pos x="209" y="85"/>
                  </a:cxn>
                  <a:cxn ang="0">
                    <a:pos x="225" y="88"/>
                  </a:cxn>
                  <a:cxn ang="0">
                    <a:pos x="239" y="84"/>
                  </a:cxn>
                  <a:cxn ang="0">
                    <a:pos x="242" y="71"/>
                  </a:cxn>
                  <a:cxn ang="0">
                    <a:pos x="243" y="62"/>
                  </a:cxn>
                  <a:cxn ang="0">
                    <a:pos x="253" y="54"/>
                  </a:cxn>
                  <a:cxn ang="0">
                    <a:pos x="256" y="42"/>
                  </a:cxn>
                  <a:cxn ang="0">
                    <a:pos x="277" y="40"/>
                  </a:cxn>
                  <a:cxn ang="0">
                    <a:pos x="293" y="37"/>
                  </a:cxn>
                  <a:cxn ang="0">
                    <a:pos x="296" y="32"/>
                  </a:cxn>
                  <a:cxn ang="0">
                    <a:pos x="306" y="28"/>
                  </a:cxn>
                  <a:cxn ang="0">
                    <a:pos x="310" y="24"/>
                  </a:cxn>
                  <a:cxn ang="0">
                    <a:pos x="298" y="17"/>
                  </a:cxn>
                </a:cxnLst>
                <a:rect l="0" t="0" r="r" b="b"/>
                <a:pathLst>
                  <a:path w="310" h="95">
                    <a:moveTo>
                      <a:pt x="57" y="34"/>
                    </a:moveTo>
                    <a:lnTo>
                      <a:pt x="57" y="34"/>
                    </a:lnTo>
                    <a:lnTo>
                      <a:pt x="55" y="31"/>
                    </a:lnTo>
                    <a:lnTo>
                      <a:pt x="55" y="28"/>
                    </a:lnTo>
                    <a:lnTo>
                      <a:pt x="51" y="25"/>
                    </a:lnTo>
                    <a:lnTo>
                      <a:pt x="47" y="22"/>
                    </a:lnTo>
                    <a:lnTo>
                      <a:pt x="44" y="18"/>
                    </a:lnTo>
                    <a:lnTo>
                      <a:pt x="44" y="18"/>
                    </a:lnTo>
                    <a:lnTo>
                      <a:pt x="42" y="14"/>
                    </a:lnTo>
                    <a:lnTo>
                      <a:pt x="40" y="13"/>
                    </a:lnTo>
                    <a:lnTo>
                      <a:pt x="38" y="13"/>
                    </a:lnTo>
                    <a:lnTo>
                      <a:pt x="37" y="10"/>
                    </a:lnTo>
                    <a:lnTo>
                      <a:pt x="37" y="10"/>
                    </a:lnTo>
                    <a:lnTo>
                      <a:pt x="35" y="7"/>
                    </a:lnTo>
                    <a:lnTo>
                      <a:pt x="35" y="7"/>
                    </a:lnTo>
                    <a:lnTo>
                      <a:pt x="32" y="10"/>
                    </a:lnTo>
                    <a:lnTo>
                      <a:pt x="31" y="11"/>
                    </a:lnTo>
                    <a:lnTo>
                      <a:pt x="31" y="13"/>
                    </a:lnTo>
                    <a:lnTo>
                      <a:pt x="30" y="14"/>
                    </a:lnTo>
                    <a:lnTo>
                      <a:pt x="30" y="14"/>
                    </a:lnTo>
                    <a:lnTo>
                      <a:pt x="23" y="14"/>
                    </a:lnTo>
                    <a:lnTo>
                      <a:pt x="18" y="14"/>
                    </a:lnTo>
                    <a:lnTo>
                      <a:pt x="17" y="13"/>
                    </a:lnTo>
                    <a:lnTo>
                      <a:pt x="17" y="13"/>
                    </a:lnTo>
                    <a:lnTo>
                      <a:pt x="17" y="10"/>
                    </a:lnTo>
                    <a:lnTo>
                      <a:pt x="15" y="7"/>
                    </a:lnTo>
                    <a:lnTo>
                      <a:pt x="13" y="4"/>
                    </a:lnTo>
                    <a:lnTo>
                      <a:pt x="10" y="3"/>
                    </a:lnTo>
                    <a:lnTo>
                      <a:pt x="10" y="3"/>
                    </a:lnTo>
                    <a:lnTo>
                      <a:pt x="0" y="3"/>
                    </a:lnTo>
                    <a:lnTo>
                      <a:pt x="0" y="3"/>
                    </a:lnTo>
                    <a:lnTo>
                      <a:pt x="3" y="8"/>
                    </a:lnTo>
                    <a:lnTo>
                      <a:pt x="4" y="15"/>
                    </a:lnTo>
                    <a:lnTo>
                      <a:pt x="4" y="27"/>
                    </a:lnTo>
                    <a:lnTo>
                      <a:pt x="4" y="27"/>
                    </a:lnTo>
                    <a:lnTo>
                      <a:pt x="5" y="31"/>
                    </a:lnTo>
                    <a:lnTo>
                      <a:pt x="7" y="35"/>
                    </a:lnTo>
                    <a:lnTo>
                      <a:pt x="13" y="44"/>
                    </a:lnTo>
                    <a:lnTo>
                      <a:pt x="17" y="51"/>
                    </a:lnTo>
                    <a:lnTo>
                      <a:pt x="21" y="58"/>
                    </a:lnTo>
                    <a:lnTo>
                      <a:pt x="21" y="58"/>
                    </a:lnTo>
                    <a:lnTo>
                      <a:pt x="23" y="62"/>
                    </a:lnTo>
                    <a:lnTo>
                      <a:pt x="25" y="65"/>
                    </a:lnTo>
                    <a:lnTo>
                      <a:pt x="37" y="72"/>
                    </a:lnTo>
                    <a:lnTo>
                      <a:pt x="37" y="72"/>
                    </a:lnTo>
                    <a:lnTo>
                      <a:pt x="54" y="84"/>
                    </a:lnTo>
                    <a:lnTo>
                      <a:pt x="62" y="88"/>
                    </a:lnTo>
                    <a:lnTo>
                      <a:pt x="67" y="88"/>
                    </a:lnTo>
                    <a:lnTo>
                      <a:pt x="67" y="88"/>
                    </a:lnTo>
                    <a:lnTo>
                      <a:pt x="68" y="86"/>
                    </a:lnTo>
                    <a:lnTo>
                      <a:pt x="68" y="85"/>
                    </a:lnTo>
                    <a:lnTo>
                      <a:pt x="65" y="78"/>
                    </a:lnTo>
                    <a:lnTo>
                      <a:pt x="61" y="71"/>
                    </a:lnTo>
                    <a:lnTo>
                      <a:pt x="57" y="65"/>
                    </a:lnTo>
                    <a:lnTo>
                      <a:pt x="57" y="65"/>
                    </a:lnTo>
                    <a:lnTo>
                      <a:pt x="55" y="62"/>
                    </a:lnTo>
                    <a:lnTo>
                      <a:pt x="54" y="59"/>
                    </a:lnTo>
                    <a:lnTo>
                      <a:pt x="54" y="52"/>
                    </a:lnTo>
                    <a:lnTo>
                      <a:pt x="57" y="34"/>
                    </a:lnTo>
                    <a:lnTo>
                      <a:pt x="57" y="34"/>
                    </a:lnTo>
                    <a:close/>
                    <a:moveTo>
                      <a:pt x="298" y="17"/>
                    </a:moveTo>
                    <a:lnTo>
                      <a:pt x="298" y="17"/>
                    </a:lnTo>
                    <a:lnTo>
                      <a:pt x="290" y="17"/>
                    </a:lnTo>
                    <a:lnTo>
                      <a:pt x="286" y="15"/>
                    </a:lnTo>
                    <a:lnTo>
                      <a:pt x="284" y="14"/>
                    </a:lnTo>
                    <a:lnTo>
                      <a:pt x="284" y="13"/>
                    </a:lnTo>
                    <a:lnTo>
                      <a:pt x="284" y="13"/>
                    </a:lnTo>
                    <a:lnTo>
                      <a:pt x="283" y="8"/>
                    </a:lnTo>
                    <a:lnTo>
                      <a:pt x="280" y="4"/>
                    </a:lnTo>
                    <a:lnTo>
                      <a:pt x="274" y="1"/>
                    </a:lnTo>
                    <a:lnTo>
                      <a:pt x="270" y="0"/>
                    </a:lnTo>
                    <a:lnTo>
                      <a:pt x="270" y="0"/>
                    </a:lnTo>
                    <a:lnTo>
                      <a:pt x="266" y="3"/>
                    </a:lnTo>
                    <a:lnTo>
                      <a:pt x="262" y="7"/>
                    </a:lnTo>
                    <a:lnTo>
                      <a:pt x="259" y="11"/>
                    </a:lnTo>
                    <a:lnTo>
                      <a:pt x="257" y="17"/>
                    </a:lnTo>
                    <a:lnTo>
                      <a:pt x="257" y="17"/>
                    </a:lnTo>
                    <a:lnTo>
                      <a:pt x="256" y="20"/>
                    </a:lnTo>
                    <a:lnTo>
                      <a:pt x="252" y="21"/>
                    </a:lnTo>
                    <a:lnTo>
                      <a:pt x="249" y="24"/>
                    </a:lnTo>
                    <a:lnTo>
                      <a:pt x="249" y="25"/>
                    </a:lnTo>
                    <a:lnTo>
                      <a:pt x="249" y="27"/>
                    </a:lnTo>
                    <a:lnTo>
                      <a:pt x="249" y="27"/>
                    </a:lnTo>
                    <a:lnTo>
                      <a:pt x="247" y="30"/>
                    </a:lnTo>
                    <a:lnTo>
                      <a:pt x="244" y="31"/>
                    </a:lnTo>
                    <a:lnTo>
                      <a:pt x="244" y="31"/>
                    </a:lnTo>
                    <a:lnTo>
                      <a:pt x="246" y="38"/>
                    </a:lnTo>
                    <a:lnTo>
                      <a:pt x="246" y="41"/>
                    </a:lnTo>
                    <a:lnTo>
                      <a:pt x="246" y="41"/>
                    </a:lnTo>
                    <a:lnTo>
                      <a:pt x="246" y="41"/>
                    </a:lnTo>
                    <a:lnTo>
                      <a:pt x="243" y="41"/>
                    </a:lnTo>
                    <a:lnTo>
                      <a:pt x="240" y="42"/>
                    </a:lnTo>
                    <a:lnTo>
                      <a:pt x="239" y="44"/>
                    </a:lnTo>
                    <a:lnTo>
                      <a:pt x="234" y="45"/>
                    </a:lnTo>
                    <a:lnTo>
                      <a:pt x="234" y="45"/>
                    </a:lnTo>
                    <a:lnTo>
                      <a:pt x="233" y="44"/>
                    </a:lnTo>
                    <a:lnTo>
                      <a:pt x="232" y="41"/>
                    </a:lnTo>
                    <a:lnTo>
                      <a:pt x="226" y="34"/>
                    </a:lnTo>
                    <a:lnTo>
                      <a:pt x="226" y="34"/>
                    </a:lnTo>
                    <a:lnTo>
                      <a:pt x="226" y="34"/>
                    </a:lnTo>
                    <a:lnTo>
                      <a:pt x="226" y="34"/>
                    </a:lnTo>
                    <a:lnTo>
                      <a:pt x="222" y="35"/>
                    </a:lnTo>
                    <a:lnTo>
                      <a:pt x="217" y="41"/>
                    </a:lnTo>
                    <a:lnTo>
                      <a:pt x="215" y="48"/>
                    </a:lnTo>
                    <a:lnTo>
                      <a:pt x="212" y="55"/>
                    </a:lnTo>
                    <a:lnTo>
                      <a:pt x="212" y="55"/>
                    </a:lnTo>
                    <a:lnTo>
                      <a:pt x="210" y="58"/>
                    </a:lnTo>
                    <a:lnTo>
                      <a:pt x="209" y="61"/>
                    </a:lnTo>
                    <a:lnTo>
                      <a:pt x="205" y="62"/>
                    </a:lnTo>
                    <a:lnTo>
                      <a:pt x="189" y="62"/>
                    </a:lnTo>
                    <a:lnTo>
                      <a:pt x="189" y="62"/>
                    </a:lnTo>
                    <a:lnTo>
                      <a:pt x="185" y="64"/>
                    </a:lnTo>
                    <a:lnTo>
                      <a:pt x="182" y="65"/>
                    </a:lnTo>
                    <a:lnTo>
                      <a:pt x="180" y="68"/>
                    </a:lnTo>
                    <a:lnTo>
                      <a:pt x="179" y="71"/>
                    </a:lnTo>
                    <a:lnTo>
                      <a:pt x="179" y="78"/>
                    </a:lnTo>
                    <a:lnTo>
                      <a:pt x="178" y="84"/>
                    </a:lnTo>
                    <a:lnTo>
                      <a:pt x="178" y="84"/>
                    </a:lnTo>
                    <a:lnTo>
                      <a:pt x="176" y="85"/>
                    </a:lnTo>
                    <a:lnTo>
                      <a:pt x="175" y="85"/>
                    </a:lnTo>
                    <a:lnTo>
                      <a:pt x="168" y="82"/>
                    </a:lnTo>
                    <a:lnTo>
                      <a:pt x="161" y="79"/>
                    </a:lnTo>
                    <a:lnTo>
                      <a:pt x="153" y="77"/>
                    </a:lnTo>
                    <a:lnTo>
                      <a:pt x="153" y="77"/>
                    </a:lnTo>
                    <a:lnTo>
                      <a:pt x="156" y="84"/>
                    </a:lnTo>
                    <a:lnTo>
                      <a:pt x="158" y="86"/>
                    </a:lnTo>
                    <a:lnTo>
                      <a:pt x="159" y="88"/>
                    </a:lnTo>
                    <a:lnTo>
                      <a:pt x="159" y="88"/>
                    </a:lnTo>
                    <a:lnTo>
                      <a:pt x="162" y="89"/>
                    </a:lnTo>
                    <a:lnTo>
                      <a:pt x="166" y="92"/>
                    </a:lnTo>
                    <a:lnTo>
                      <a:pt x="169" y="94"/>
                    </a:lnTo>
                    <a:lnTo>
                      <a:pt x="170" y="95"/>
                    </a:lnTo>
                    <a:lnTo>
                      <a:pt x="172" y="94"/>
                    </a:lnTo>
                    <a:lnTo>
                      <a:pt x="172" y="94"/>
                    </a:lnTo>
                    <a:lnTo>
                      <a:pt x="176" y="92"/>
                    </a:lnTo>
                    <a:lnTo>
                      <a:pt x="182" y="92"/>
                    </a:lnTo>
                    <a:lnTo>
                      <a:pt x="188" y="92"/>
                    </a:lnTo>
                    <a:lnTo>
                      <a:pt x="193" y="92"/>
                    </a:lnTo>
                    <a:lnTo>
                      <a:pt x="193" y="92"/>
                    </a:lnTo>
                    <a:lnTo>
                      <a:pt x="196" y="91"/>
                    </a:lnTo>
                    <a:lnTo>
                      <a:pt x="200" y="88"/>
                    </a:lnTo>
                    <a:lnTo>
                      <a:pt x="203" y="86"/>
                    </a:lnTo>
                    <a:lnTo>
                      <a:pt x="209" y="85"/>
                    </a:lnTo>
                    <a:lnTo>
                      <a:pt x="209" y="85"/>
                    </a:lnTo>
                    <a:lnTo>
                      <a:pt x="215" y="86"/>
                    </a:lnTo>
                    <a:lnTo>
                      <a:pt x="217" y="89"/>
                    </a:lnTo>
                    <a:lnTo>
                      <a:pt x="219" y="89"/>
                    </a:lnTo>
                    <a:lnTo>
                      <a:pt x="225" y="88"/>
                    </a:lnTo>
                    <a:lnTo>
                      <a:pt x="225" y="88"/>
                    </a:lnTo>
                    <a:lnTo>
                      <a:pt x="230" y="86"/>
                    </a:lnTo>
                    <a:lnTo>
                      <a:pt x="236" y="85"/>
                    </a:lnTo>
                    <a:lnTo>
                      <a:pt x="239" y="84"/>
                    </a:lnTo>
                    <a:lnTo>
                      <a:pt x="239" y="79"/>
                    </a:lnTo>
                    <a:lnTo>
                      <a:pt x="239" y="79"/>
                    </a:lnTo>
                    <a:lnTo>
                      <a:pt x="239" y="74"/>
                    </a:lnTo>
                    <a:lnTo>
                      <a:pt x="242" y="71"/>
                    </a:lnTo>
                    <a:lnTo>
                      <a:pt x="243" y="68"/>
                    </a:lnTo>
                    <a:lnTo>
                      <a:pt x="243" y="64"/>
                    </a:lnTo>
                    <a:lnTo>
                      <a:pt x="243" y="64"/>
                    </a:lnTo>
                    <a:lnTo>
                      <a:pt x="243" y="62"/>
                    </a:lnTo>
                    <a:lnTo>
                      <a:pt x="244" y="61"/>
                    </a:lnTo>
                    <a:lnTo>
                      <a:pt x="249" y="58"/>
                    </a:lnTo>
                    <a:lnTo>
                      <a:pt x="252" y="55"/>
                    </a:lnTo>
                    <a:lnTo>
                      <a:pt x="253" y="54"/>
                    </a:lnTo>
                    <a:lnTo>
                      <a:pt x="253" y="49"/>
                    </a:lnTo>
                    <a:lnTo>
                      <a:pt x="253" y="49"/>
                    </a:lnTo>
                    <a:lnTo>
                      <a:pt x="253" y="45"/>
                    </a:lnTo>
                    <a:lnTo>
                      <a:pt x="256" y="42"/>
                    </a:lnTo>
                    <a:lnTo>
                      <a:pt x="259" y="41"/>
                    </a:lnTo>
                    <a:lnTo>
                      <a:pt x="262" y="40"/>
                    </a:lnTo>
                    <a:lnTo>
                      <a:pt x="270" y="40"/>
                    </a:lnTo>
                    <a:lnTo>
                      <a:pt x="277" y="40"/>
                    </a:lnTo>
                    <a:lnTo>
                      <a:pt x="277" y="40"/>
                    </a:lnTo>
                    <a:lnTo>
                      <a:pt x="286" y="41"/>
                    </a:lnTo>
                    <a:lnTo>
                      <a:pt x="286" y="41"/>
                    </a:lnTo>
                    <a:lnTo>
                      <a:pt x="293" y="37"/>
                    </a:lnTo>
                    <a:lnTo>
                      <a:pt x="296" y="34"/>
                    </a:lnTo>
                    <a:lnTo>
                      <a:pt x="296" y="32"/>
                    </a:lnTo>
                    <a:lnTo>
                      <a:pt x="296" y="32"/>
                    </a:lnTo>
                    <a:lnTo>
                      <a:pt x="296" y="32"/>
                    </a:lnTo>
                    <a:lnTo>
                      <a:pt x="294" y="31"/>
                    </a:lnTo>
                    <a:lnTo>
                      <a:pt x="296" y="30"/>
                    </a:lnTo>
                    <a:lnTo>
                      <a:pt x="300" y="30"/>
                    </a:lnTo>
                    <a:lnTo>
                      <a:pt x="306" y="28"/>
                    </a:lnTo>
                    <a:lnTo>
                      <a:pt x="308" y="27"/>
                    </a:lnTo>
                    <a:lnTo>
                      <a:pt x="310" y="25"/>
                    </a:lnTo>
                    <a:lnTo>
                      <a:pt x="310" y="25"/>
                    </a:lnTo>
                    <a:lnTo>
                      <a:pt x="310" y="24"/>
                    </a:lnTo>
                    <a:lnTo>
                      <a:pt x="310" y="21"/>
                    </a:lnTo>
                    <a:lnTo>
                      <a:pt x="307" y="18"/>
                    </a:lnTo>
                    <a:lnTo>
                      <a:pt x="303" y="17"/>
                    </a:lnTo>
                    <a:lnTo>
                      <a:pt x="298" y="17"/>
                    </a:lnTo>
                    <a:lnTo>
                      <a:pt x="298" y="1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810" name="Brunei">
                <a:extLst>
                  <a:ext uri="{FF2B5EF4-FFF2-40B4-BE49-F238E27FC236}">
                    <a16:creationId xmlns:a16="http://schemas.microsoft.com/office/drawing/2014/main" id="{08FA2E2E-7B07-D748-9D88-83E605BFF76E}"/>
                  </a:ext>
                </a:extLst>
              </p:cNvPr>
              <p:cNvSpPr>
                <a:spLocks/>
              </p:cNvSpPr>
              <p:nvPr/>
            </p:nvSpPr>
            <p:spPr bwMode="auto">
              <a:xfrm>
                <a:off x="7000325" y="4200235"/>
                <a:ext cx="29596" cy="20717"/>
              </a:xfrm>
              <a:custGeom>
                <a:avLst/>
                <a:gdLst/>
                <a:ahLst/>
                <a:cxnLst>
                  <a:cxn ang="0">
                    <a:pos x="8" y="14"/>
                  </a:cxn>
                  <a:cxn ang="0">
                    <a:pos x="8" y="14"/>
                  </a:cxn>
                  <a:cxn ang="0">
                    <a:pos x="13" y="13"/>
                  </a:cxn>
                  <a:cxn ang="0">
                    <a:pos x="14" y="11"/>
                  </a:cxn>
                  <a:cxn ang="0">
                    <a:pos x="17" y="10"/>
                  </a:cxn>
                  <a:cxn ang="0">
                    <a:pos x="20" y="10"/>
                  </a:cxn>
                  <a:cxn ang="0">
                    <a:pos x="20" y="10"/>
                  </a:cxn>
                  <a:cxn ang="0">
                    <a:pos x="20" y="10"/>
                  </a:cxn>
                  <a:cxn ang="0">
                    <a:pos x="20" y="7"/>
                  </a:cxn>
                  <a:cxn ang="0">
                    <a:pos x="18" y="0"/>
                  </a:cxn>
                  <a:cxn ang="0">
                    <a:pos x="18" y="0"/>
                  </a:cxn>
                  <a:cxn ang="0">
                    <a:pos x="14" y="1"/>
                  </a:cxn>
                  <a:cxn ang="0">
                    <a:pos x="11" y="3"/>
                  </a:cxn>
                  <a:cxn ang="0">
                    <a:pos x="11" y="4"/>
                  </a:cxn>
                  <a:cxn ang="0">
                    <a:pos x="11" y="4"/>
                  </a:cxn>
                  <a:cxn ang="0">
                    <a:pos x="11" y="6"/>
                  </a:cxn>
                  <a:cxn ang="0">
                    <a:pos x="10" y="6"/>
                  </a:cxn>
                  <a:cxn ang="0">
                    <a:pos x="7" y="4"/>
                  </a:cxn>
                  <a:cxn ang="0">
                    <a:pos x="0" y="3"/>
                  </a:cxn>
                  <a:cxn ang="0">
                    <a:pos x="0" y="3"/>
                  </a:cxn>
                  <a:cxn ang="0">
                    <a:pos x="6" y="10"/>
                  </a:cxn>
                  <a:cxn ang="0">
                    <a:pos x="7" y="13"/>
                  </a:cxn>
                  <a:cxn ang="0">
                    <a:pos x="8" y="14"/>
                  </a:cxn>
                  <a:cxn ang="0">
                    <a:pos x="8" y="14"/>
                  </a:cxn>
                </a:cxnLst>
                <a:rect l="0" t="0" r="r" b="b"/>
                <a:pathLst>
                  <a:path w="20" h="14">
                    <a:moveTo>
                      <a:pt x="8" y="14"/>
                    </a:moveTo>
                    <a:lnTo>
                      <a:pt x="8" y="14"/>
                    </a:lnTo>
                    <a:lnTo>
                      <a:pt x="13" y="13"/>
                    </a:lnTo>
                    <a:lnTo>
                      <a:pt x="14" y="11"/>
                    </a:lnTo>
                    <a:lnTo>
                      <a:pt x="17" y="10"/>
                    </a:lnTo>
                    <a:lnTo>
                      <a:pt x="20" y="10"/>
                    </a:lnTo>
                    <a:lnTo>
                      <a:pt x="20" y="10"/>
                    </a:lnTo>
                    <a:lnTo>
                      <a:pt x="20" y="10"/>
                    </a:lnTo>
                    <a:lnTo>
                      <a:pt x="20" y="7"/>
                    </a:lnTo>
                    <a:lnTo>
                      <a:pt x="18" y="0"/>
                    </a:lnTo>
                    <a:lnTo>
                      <a:pt x="18" y="0"/>
                    </a:lnTo>
                    <a:lnTo>
                      <a:pt x="14" y="1"/>
                    </a:lnTo>
                    <a:lnTo>
                      <a:pt x="11" y="3"/>
                    </a:lnTo>
                    <a:lnTo>
                      <a:pt x="11" y="4"/>
                    </a:lnTo>
                    <a:lnTo>
                      <a:pt x="11" y="4"/>
                    </a:lnTo>
                    <a:lnTo>
                      <a:pt x="11" y="6"/>
                    </a:lnTo>
                    <a:lnTo>
                      <a:pt x="10" y="6"/>
                    </a:lnTo>
                    <a:lnTo>
                      <a:pt x="7" y="4"/>
                    </a:lnTo>
                    <a:lnTo>
                      <a:pt x="0" y="3"/>
                    </a:lnTo>
                    <a:lnTo>
                      <a:pt x="0" y="3"/>
                    </a:lnTo>
                    <a:lnTo>
                      <a:pt x="6" y="10"/>
                    </a:lnTo>
                    <a:lnTo>
                      <a:pt x="7" y="13"/>
                    </a:lnTo>
                    <a:lnTo>
                      <a:pt x="8" y="14"/>
                    </a:lnTo>
                    <a:lnTo>
                      <a:pt x="8" y="1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1" name="Sri Lanka">
                <a:extLst>
                  <a:ext uri="{FF2B5EF4-FFF2-40B4-BE49-F238E27FC236}">
                    <a16:creationId xmlns:a16="http://schemas.microsoft.com/office/drawing/2014/main" id="{DDBC8C89-1A66-4B4A-893D-0710474DB438}"/>
                  </a:ext>
                </a:extLst>
              </p:cNvPr>
              <p:cNvSpPr>
                <a:spLocks/>
              </p:cNvSpPr>
              <p:nvPr/>
            </p:nvSpPr>
            <p:spPr bwMode="auto">
              <a:xfrm>
                <a:off x="6213081" y="4084812"/>
                <a:ext cx="48833" cy="90267"/>
              </a:xfrm>
              <a:custGeom>
                <a:avLst/>
                <a:gdLst/>
                <a:ahLst/>
                <a:cxnLst>
                  <a:cxn ang="0">
                    <a:pos x="7" y="0"/>
                  </a:cxn>
                  <a:cxn ang="0">
                    <a:pos x="7" y="0"/>
                  </a:cxn>
                  <a:cxn ang="0">
                    <a:pos x="4" y="1"/>
                  </a:cxn>
                  <a:cxn ang="0">
                    <a:pos x="3" y="4"/>
                  </a:cxn>
                  <a:cxn ang="0">
                    <a:pos x="1" y="14"/>
                  </a:cxn>
                  <a:cxn ang="0">
                    <a:pos x="1" y="14"/>
                  </a:cxn>
                  <a:cxn ang="0">
                    <a:pos x="0" y="20"/>
                  </a:cxn>
                  <a:cxn ang="0">
                    <a:pos x="0" y="24"/>
                  </a:cxn>
                  <a:cxn ang="0">
                    <a:pos x="0" y="35"/>
                  </a:cxn>
                  <a:cxn ang="0">
                    <a:pos x="0" y="35"/>
                  </a:cxn>
                  <a:cxn ang="0">
                    <a:pos x="1" y="50"/>
                  </a:cxn>
                  <a:cxn ang="0">
                    <a:pos x="4" y="55"/>
                  </a:cxn>
                  <a:cxn ang="0">
                    <a:pos x="8" y="60"/>
                  </a:cxn>
                  <a:cxn ang="0">
                    <a:pos x="8" y="60"/>
                  </a:cxn>
                  <a:cxn ang="0">
                    <a:pos x="11" y="61"/>
                  </a:cxn>
                  <a:cxn ang="0">
                    <a:pos x="16" y="61"/>
                  </a:cxn>
                  <a:cxn ang="0">
                    <a:pos x="20" y="58"/>
                  </a:cxn>
                  <a:cxn ang="0">
                    <a:pos x="24" y="55"/>
                  </a:cxn>
                  <a:cxn ang="0">
                    <a:pos x="27" y="51"/>
                  </a:cxn>
                  <a:cxn ang="0">
                    <a:pos x="30" y="47"/>
                  </a:cxn>
                  <a:cxn ang="0">
                    <a:pos x="33" y="41"/>
                  </a:cxn>
                  <a:cxn ang="0">
                    <a:pos x="33" y="37"/>
                  </a:cxn>
                  <a:cxn ang="0">
                    <a:pos x="33" y="37"/>
                  </a:cxn>
                  <a:cxn ang="0">
                    <a:pos x="33" y="31"/>
                  </a:cxn>
                  <a:cxn ang="0">
                    <a:pos x="30" y="25"/>
                  </a:cxn>
                  <a:cxn ang="0">
                    <a:pos x="21" y="13"/>
                  </a:cxn>
                  <a:cxn ang="0">
                    <a:pos x="13" y="3"/>
                  </a:cxn>
                  <a:cxn ang="0">
                    <a:pos x="8" y="0"/>
                  </a:cxn>
                  <a:cxn ang="0">
                    <a:pos x="7" y="0"/>
                  </a:cxn>
                  <a:cxn ang="0">
                    <a:pos x="7" y="0"/>
                  </a:cxn>
                </a:cxnLst>
                <a:rect l="0" t="0" r="r" b="b"/>
                <a:pathLst>
                  <a:path w="33" h="61">
                    <a:moveTo>
                      <a:pt x="7" y="0"/>
                    </a:moveTo>
                    <a:lnTo>
                      <a:pt x="7" y="0"/>
                    </a:lnTo>
                    <a:lnTo>
                      <a:pt x="4" y="1"/>
                    </a:lnTo>
                    <a:lnTo>
                      <a:pt x="3" y="4"/>
                    </a:lnTo>
                    <a:lnTo>
                      <a:pt x="1" y="14"/>
                    </a:lnTo>
                    <a:lnTo>
                      <a:pt x="1" y="14"/>
                    </a:lnTo>
                    <a:lnTo>
                      <a:pt x="0" y="20"/>
                    </a:lnTo>
                    <a:lnTo>
                      <a:pt x="0" y="24"/>
                    </a:lnTo>
                    <a:lnTo>
                      <a:pt x="0" y="35"/>
                    </a:lnTo>
                    <a:lnTo>
                      <a:pt x="0" y="35"/>
                    </a:lnTo>
                    <a:lnTo>
                      <a:pt x="1" y="50"/>
                    </a:lnTo>
                    <a:lnTo>
                      <a:pt x="4" y="55"/>
                    </a:lnTo>
                    <a:lnTo>
                      <a:pt x="8" y="60"/>
                    </a:lnTo>
                    <a:lnTo>
                      <a:pt x="8" y="60"/>
                    </a:lnTo>
                    <a:lnTo>
                      <a:pt x="11" y="61"/>
                    </a:lnTo>
                    <a:lnTo>
                      <a:pt x="16" y="61"/>
                    </a:lnTo>
                    <a:lnTo>
                      <a:pt x="20" y="58"/>
                    </a:lnTo>
                    <a:lnTo>
                      <a:pt x="24" y="55"/>
                    </a:lnTo>
                    <a:lnTo>
                      <a:pt x="27" y="51"/>
                    </a:lnTo>
                    <a:lnTo>
                      <a:pt x="30" y="47"/>
                    </a:lnTo>
                    <a:lnTo>
                      <a:pt x="33" y="41"/>
                    </a:lnTo>
                    <a:lnTo>
                      <a:pt x="33" y="37"/>
                    </a:lnTo>
                    <a:lnTo>
                      <a:pt x="33" y="37"/>
                    </a:lnTo>
                    <a:lnTo>
                      <a:pt x="33" y="31"/>
                    </a:lnTo>
                    <a:lnTo>
                      <a:pt x="30" y="25"/>
                    </a:lnTo>
                    <a:lnTo>
                      <a:pt x="21" y="13"/>
                    </a:lnTo>
                    <a:lnTo>
                      <a:pt x="13" y="3"/>
                    </a:lnTo>
                    <a:lnTo>
                      <a:pt x="8" y="0"/>
                    </a:lnTo>
                    <a:lnTo>
                      <a:pt x="7" y="0"/>
                    </a:lnTo>
                    <a:lnTo>
                      <a:pt x="7"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2" name="Timor-Leste">
                <a:extLst>
                  <a:ext uri="{FF2B5EF4-FFF2-40B4-BE49-F238E27FC236}">
                    <a16:creationId xmlns:a16="http://schemas.microsoft.com/office/drawing/2014/main" id="{4CE8D024-AB00-9347-B188-FEF250828BEF}"/>
                  </a:ext>
                </a:extLst>
              </p:cNvPr>
              <p:cNvSpPr>
                <a:spLocks noEditPoints="1"/>
              </p:cNvSpPr>
              <p:nvPr/>
            </p:nvSpPr>
            <p:spPr bwMode="auto">
              <a:xfrm>
                <a:off x="7240050" y="4513950"/>
                <a:ext cx="78429" cy="26636"/>
              </a:xfrm>
              <a:custGeom>
                <a:avLst/>
                <a:gdLst/>
                <a:ahLst/>
                <a:cxnLst>
                  <a:cxn ang="0">
                    <a:pos x="6" y="14"/>
                  </a:cxn>
                  <a:cxn ang="0">
                    <a:pos x="6" y="14"/>
                  </a:cxn>
                  <a:cxn ang="0">
                    <a:pos x="0" y="16"/>
                  </a:cxn>
                  <a:cxn ang="0">
                    <a:pos x="0" y="16"/>
                  </a:cxn>
                  <a:cxn ang="0">
                    <a:pos x="3" y="18"/>
                  </a:cxn>
                  <a:cxn ang="0">
                    <a:pos x="4" y="18"/>
                  </a:cxn>
                  <a:cxn ang="0">
                    <a:pos x="6" y="18"/>
                  </a:cxn>
                  <a:cxn ang="0">
                    <a:pos x="6" y="18"/>
                  </a:cxn>
                  <a:cxn ang="0">
                    <a:pos x="7" y="17"/>
                  </a:cxn>
                  <a:cxn ang="0">
                    <a:pos x="9" y="14"/>
                  </a:cxn>
                  <a:cxn ang="0">
                    <a:pos x="9" y="14"/>
                  </a:cxn>
                  <a:cxn ang="0">
                    <a:pos x="6" y="14"/>
                  </a:cxn>
                  <a:cxn ang="0">
                    <a:pos x="6" y="14"/>
                  </a:cxn>
                  <a:cxn ang="0">
                    <a:pos x="6" y="14"/>
                  </a:cxn>
                  <a:cxn ang="0">
                    <a:pos x="6" y="14"/>
                  </a:cxn>
                  <a:cxn ang="0">
                    <a:pos x="29" y="3"/>
                  </a:cxn>
                  <a:cxn ang="0">
                    <a:pos x="29" y="3"/>
                  </a:cxn>
                  <a:cxn ang="0">
                    <a:pos x="24" y="3"/>
                  </a:cxn>
                  <a:cxn ang="0">
                    <a:pos x="21" y="6"/>
                  </a:cxn>
                  <a:cxn ang="0">
                    <a:pos x="14" y="11"/>
                  </a:cxn>
                  <a:cxn ang="0">
                    <a:pos x="14" y="11"/>
                  </a:cxn>
                  <a:cxn ang="0">
                    <a:pos x="13" y="11"/>
                  </a:cxn>
                  <a:cxn ang="0">
                    <a:pos x="13" y="11"/>
                  </a:cxn>
                  <a:cxn ang="0">
                    <a:pos x="19" y="17"/>
                  </a:cxn>
                  <a:cxn ang="0">
                    <a:pos x="19" y="17"/>
                  </a:cxn>
                  <a:cxn ang="0">
                    <a:pos x="27" y="13"/>
                  </a:cxn>
                  <a:cxn ang="0">
                    <a:pos x="39" y="8"/>
                  </a:cxn>
                  <a:cxn ang="0">
                    <a:pos x="47" y="4"/>
                  </a:cxn>
                  <a:cxn ang="0">
                    <a:pos x="53" y="1"/>
                  </a:cxn>
                  <a:cxn ang="0">
                    <a:pos x="53" y="1"/>
                  </a:cxn>
                  <a:cxn ang="0">
                    <a:pos x="51" y="1"/>
                  </a:cxn>
                  <a:cxn ang="0">
                    <a:pos x="50" y="0"/>
                  </a:cxn>
                  <a:cxn ang="0">
                    <a:pos x="44" y="1"/>
                  </a:cxn>
                  <a:cxn ang="0">
                    <a:pos x="36" y="1"/>
                  </a:cxn>
                  <a:cxn ang="0">
                    <a:pos x="29" y="3"/>
                  </a:cxn>
                  <a:cxn ang="0">
                    <a:pos x="29" y="3"/>
                  </a:cxn>
                </a:cxnLst>
                <a:rect l="0" t="0" r="r" b="b"/>
                <a:pathLst>
                  <a:path w="53" h="18">
                    <a:moveTo>
                      <a:pt x="6" y="14"/>
                    </a:moveTo>
                    <a:lnTo>
                      <a:pt x="6" y="14"/>
                    </a:lnTo>
                    <a:lnTo>
                      <a:pt x="0" y="16"/>
                    </a:lnTo>
                    <a:lnTo>
                      <a:pt x="0" y="16"/>
                    </a:lnTo>
                    <a:lnTo>
                      <a:pt x="3" y="18"/>
                    </a:lnTo>
                    <a:lnTo>
                      <a:pt x="4" y="18"/>
                    </a:lnTo>
                    <a:lnTo>
                      <a:pt x="6" y="18"/>
                    </a:lnTo>
                    <a:lnTo>
                      <a:pt x="6" y="18"/>
                    </a:lnTo>
                    <a:lnTo>
                      <a:pt x="7" y="17"/>
                    </a:lnTo>
                    <a:lnTo>
                      <a:pt x="9" y="14"/>
                    </a:lnTo>
                    <a:lnTo>
                      <a:pt x="9" y="14"/>
                    </a:lnTo>
                    <a:lnTo>
                      <a:pt x="6" y="14"/>
                    </a:lnTo>
                    <a:lnTo>
                      <a:pt x="6" y="14"/>
                    </a:lnTo>
                    <a:lnTo>
                      <a:pt x="6" y="14"/>
                    </a:lnTo>
                    <a:lnTo>
                      <a:pt x="6" y="14"/>
                    </a:lnTo>
                    <a:close/>
                    <a:moveTo>
                      <a:pt x="29" y="3"/>
                    </a:moveTo>
                    <a:lnTo>
                      <a:pt x="29" y="3"/>
                    </a:lnTo>
                    <a:lnTo>
                      <a:pt x="24" y="3"/>
                    </a:lnTo>
                    <a:lnTo>
                      <a:pt x="21" y="6"/>
                    </a:lnTo>
                    <a:lnTo>
                      <a:pt x="14" y="11"/>
                    </a:lnTo>
                    <a:lnTo>
                      <a:pt x="14" y="11"/>
                    </a:lnTo>
                    <a:lnTo>
                      <a:pt x="13" y="11"/>
                    </a:lnTo>
                    <a:lnTo>
                      <a:pt x="13" y="11"/>
                    </a:lnTo>
                    <a:lnTo>
                      <a:pt x="19" y="17"/>
                    </a:lnTo>
                    <a:lnTo>
                      <a:pt x="19" y="17"/>
                    </a:lnTo>
                    <a:lnTo>
                      <a:pt x="27" y="13"/>
                    </a:lnTo>
                    <a:lnTo>
                      <a:pt x="39" y="8"/>
                    </a:lnTo>
                    <a:lnTo>
                      <a:pt x="47" y="4"/>
                    </a:lnTo>
                    <a:lnTo>
                      <a:pt x="53" y="1"/>
                    </a:lnTo>
                    <a:lnTo>
                      <a:pt x="53" y="1"/>
                    </a:lnTo>
                    <a:lnTo>
                      <a:pt x="51" y="1"/>
                    </a:lnTo>
                    <a:lnTo>
                      <a:pt x="50" y="0"/>
                    </a:lnTo>
                    <a:lnTo>
                      <a:pt x="44" y="1"/>
                    </a:lnTo>
                    <a:lnTo>
                      <a:pt x="36" y="1"/>
                    </a:lnTo>
                    <a:lnTo>
                      <a:pt x="29" y="3"/>
                    </a:lnTo>
                    <a:lnTo>
                      <a:pt x="29" y="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87" name="Middle East">
              <a:extLst>
                <a:ext uri="{FF2B5EF4-FFF2-40B4-BE49-F238E27FC236}">
                  <a16:creationId xmlns:a16="http://schemas.microsoft.com/office/drawing/2014/main" id="{163836FD-0F66-0C47-A29E-3109D505B417}"/>
                </a:ext>
              </a:extLst>
            </p:cNvPr>
            <p:cNvGrpSpPr/>
            <p:nvPr/>
          </p:nvGrpSpPr>
          <p:grpSpPr>
            <a:xfrm>
              <a:off x="8556212" y="2663665"/>
              <a:ext cx="819482" cy="554115"/>
              <a:chOff x="5122480" y="3303486"/>
              <a:chExt cx="1037328" cy="701418"/>
            </a:xfrm>
            <a:grpFill/>
          </p:grpSpPr>
          <p:sp>
            <p:nvSpPr>
              <p:cNvPr id="1775" name="Saudi Arabia">
                <a:extLst>
                  <a:ext uri="{FF2B5EF4-FFF2-40B4-BE49-F238E27FC236}">
                    <a16:creationId xmlns:a16="http://schemas.microsoft.com/office/drawing/2014/main" id="{680DB3D8-31C8-2745-8AFD-FABD959B27E0}"/>
                  </a:ext>
                </a:extLst>
              </p:cNvPr>
              <p:cNvSpPr>
                <a:spLocks/>
              </p:cNvSpPr>
              <p:nvPr/>
            </p:nvSpPr>
            <p:spPr bwMode="auto">
              <a:xfrm>
                <a:off x="5135798" y="3513616"/>
                <a:ext cx="498687" cy="402501"/>
              </a:xfrm>
              <a:custGeom>
                <a:avLst/>
                <a:gdLst/>
                <a:ahLst/>
                <a:cxnLst>
                  <a:cxn ang="0">
                    <a:pos x="173" y="54"/>
                  </a:cxn>
                  <a:cxn ang="0">
                    <a:pos x="159" y="51"/>
                  </a:cxn>
                  <a:cxn ang="0">
                    <a:pos x="135" y="33"/>
                  </a:cxn>
                  <a:cxn ang="0">
                    <a:pos x="99" y="10"/>
                  </a:cxn>
                  <a:cxn ang="0">
                    <a:pos x="83" y="2"/>
                  </a:cxn>
                  <a:cxn ang="0">
                    <a:pos x="71" y="2"/>
                  </a:cxn>
                  <a:cxn ang="0">
                    <a:pos x="61" y="5"/>
                  </a:cxn>
                  <a:cxn ang="0">
                    <a:pos x="45" y="7"/>
                  </a:cxn>
                  <a:cxn ang="0">
                    <a:pos x="37" y="16"/>
                  </a:cxn>
                  <a:cxn ang="0">
                    <a:pos x="42" y="19"/>
                  </a:cxn>
                  <a:cxn ang="0">
                    <a:pos x="51" y="29"/>
                  </a:cxn>
                  <a:cxn ang="0">
                    <a:pos x="48" y="33"/>
                  </a:cxn>
                  <a:cxn ang="0">
                    <a:pos x="41" y="37"/>
                  </a:cxn>
                  <a:cxn ang="0">
                    <a:pos x="31" y="40"/>
                  </a:cxn>
                  <a:cxn ang="0">
                    <a:pos x="29" y="46"/>
                  </a:cxn>
                  <a:cxn ang="0">
                    <a:pos x="18" y="51"/>
                  </a:cxn>
                  <a:cxn ang="0">
                    <a:pos x="1" y="44"/>
                  </a:cxn>
                  <a:cxn ang="0">
                    <a:pos x="0" y="54"/>
                  </a:cxn>
                  <a:cxn ang="0">
                    <a:pos x="2" y="71"/>
                  </a:cxn>
                  <a:cxn ang="0">
                    <a:pos x="7" y="77"/>
                  </a:cxn>
                  <a:cxn ang="0">
                    <a:pos x="29" y="107"/>
                  </a:cxn>
                  <a:cxn ang="0">
                    <a:pos x="38" y="124"/>
                  </a:cxn>
                  <a:cxn ang="0">
                    <a:pos x="45" y="137"/>
                  </a:cxn>
                  <a:cxn ang="0">
                    <a:pos x="56" y="147"/>
                  </a:cxn>
                  <a:cxn ang="0">
                    <a:pos x="65" y="160"/>
                  </a:cxn>
                  <a:cxn ang="0">
                    <a:pos x="69" y="167"/>
                  </a:cxn>
                  <a:cxn ang="0">
                    <a:pos x="71" y="185"/>
                  </a:cxn>
                  <a:cxn ang="0">
                    <a:pos x="82" y="205"/>
                  </a:cxn>
                  <a:cxn ang="0">
                    <a:pos x="93" y="214"/>
                  </a:cxn>
                  <a:cxn ang="0">
                    <a:pos x="101" y="225"/>
                  </a:cxn>
                  <a:cxn ang="0">
                    <a:pos x="115" y="251"/>
                  </a:cxn>
                  <a:cxn ang="0">
                    <a:pos x="119" y="259"/>
                  </a:cxn>
                  <a:cxn ang="0">
                    <a:pos x="126" y="272"/>
                  </a:cxn>
                  <a:cxn ang="0">
                    <a:pos x="133" y="268"/>
                  </a:cxn>
                  <a:cxn ang="0">
                    <a:pos x="133" y="259"/>
                  </a:cxn>
                  <a:cxn ang="0">
                    <a:pos x="140" y="253"/>
                  </a:cxn>
                  <a:cxn ang="0">
                    <a:pos x="145" y="253"/>
                  </a:cxn>
                  <a:cxn ang="0">
                    <a:pos x="152" y="255"/>
                  </a:cxn>
                  <a:cxn ang="0">
                    <a:pos x="172" y="256"/>
                  </a:cxn>
                  <a:cxn ang="0">
                    <a:pos x="189" y="259"/>
                  </a:cxn>
                  <a:cxn ang="0">
                    <a:pos x="197" y="262"/>
                  </a:cxn>
                  <a:cxn ang="0">
                    <a:pos x="204" y="256"/>
                  </a:cxn>
                  <a:cxn ang="0">
                    <a:pos x="217" y="243"/>
                  </a:cxn>
                  <a:cxn ang="0">
                    <a:pos x="234" y="234"/>
                  </a:cxn>
                  <a:cxn ang="0">
                    <a:pos x="261" y="232"/>
                  </a:cxn>
                  <a:cxn ang="0">
                    <a:pos x="325" y="212"/>
                  </a:cxn>
                  <a:cxn ang="0">
                    <a:pos x="332" y="195"/>
                  </a:cxn>
                  <a:cxn ang="0">
                    <a:pos x="337" y="175"/>
                  </a:cxn>
                  <a:cxn ang="0">
                    <a:pos x="328" y="167"/>
                  </a:cxn>
                  <a:cxn ang="0">
                    <a:pos x="288" y="162"/>
                  </a:cxn>
                  <a:cxn ang="0">
                    <a:pos x="278" y="151"/>
                  </a:cxn>
                  <a:cxn ang="0">
                    <a:pos x="273" y="141"/>
                  </a:cxn>
                  <a:cxn ang="0">
                    <a:pos x="266" y="135"/>
                  </a:cxn>
                  <a:cxn ang="0">
                    <a:pos x="256" y="125"/>
                  </a:cxn>
                  <a:cxn ang="0">
                    <a:pos x="250" y="117"/>
                  </a:cxn>
                  <a:cxn ang="0">
                    <a:pos x="247" y="108"/>
                  </a:cxn>
                  <a:cxn ang="0">
                    <a:pos x="247" y="100"/>
                  </a:cxn>
                  <a:cxn ang="0">
                    <a:pos x="240" y="91"/>
                  </a:cxn>
                  <a:cxn ang="0">
                    <a:pos x="224" y="71"/>
                  </a:cxn>
                  <a:cxn ang="0">
                    <a:pos x="209" y="64"/>
                  </a:cxn>
                </a:cxnLst>
                <a:rect l="0" t="0" r="r" b="b"/>
                <a:pathLst>
                  <a:path w="337" h="272">
                    <a:moveTo>
                      <a:pt x="202" y="57"/>
                    </a:moveTo>
                    <a:lnTo>
                      <a:pt x="202" y="57"/>
                    </a:lnTo>
                    <a:lnTo>
                      <a:pt x="173" y="54"/>
                    </a:lnTo>
                    <a:lnTo>
                      <a:pt x="173" y="54"/>
                    </a:lnTo>
                    <a:lnTo>
                      <a:pt x="163" y="53"/>
                    </a:lnTo>
                    <a:lnTo>
                      <a:pt x="159" y="51"/>
                    </a:lnTo>
                    <a:lnTo>
                      <a:pt x="153" y="49"/>
                    </a:lnTo>
                    <a:lnTo>
                      <a:pt x="153" y="49"/>
                    </a:lnTo>
                    <a:lnTo>
                      <a:pt x="135" y="33"/>
                    </a:lnTo>
                    <a:lnTo>
                      <a:pt x="115" y="20"/>
                    </a:lnTo>
                    <a:lnTo>
                      <a:pt x="115" y="20"/>
                    </a:lnTo>
                    <a:lnTo>
                      <a:pt x="99" y="10"/>
                    </a:lnTo>
                    <a:lnTo>
                      <a:pt x="91" y="5"/>
                    </a:lnTo>
                    <a:lnTo>
                      <a:pt x="83" y="2"/>
                    </a:lnTo>
                    <a:lnTo>
                      <a:pt x="83" y="2"/>
                    </a:lnTo>
                    <a:lnTo>
                      <a:pt x="78" y="0"/>
                    </a:lnTo>
                    <a:lnTo>
                      <a:pt x="71" y="2"/>
                    </a:lnTo>
                    <a:lnTo>
                      <a:pt x="71" y="2"/>
                    </a:lnTo>
                    <a:lnTo>
                      <a:pt x="66" y="2"/>
                    </a:lnTo>
                    <a:lnTo>
                      <a:pt x="64" y="3"/>
                    </a:lnTo>
                    <a:lnTo>
                      <a:pt x="61" y="5"/>
                    </a:lnTo>
                    <a:lnTo>
                      <a:pt x="54" y="6"/>
                    </a:lnTo>
                    <a:lnTo>
                      <a:pt x="54" y="6"/>
                    </a:lnTo>
                    <a:lnTo>
                      <a:pt x="45" y="7"/>
                    </a:lnTo>
                    <a:lnTo>
                      <a:pt x="39" y="12"/>
                    </a:lnTo>
                    <a:lnTo>
                      <a:pt x="37" y="14"/>
                    </a:lnTo>
                    <a:lnTo>
                      <a:pt x="37" y="16"/>
                    </a:lnTo>
                    <a:lnTo>
                      <a:pt x="38" y="16"/>
                    </a:lnTo>
                    <a:lnTo>
                      <a:pt x="38" y="16"/>
                    </a:lnTo>
                    <a:lnTo>
                      <a:pt x="42" y="19"/>
                    </a:lnTo>
                    <a:lnTo>
                      <a:pt x="46" y="23"/>
                    </a:lnTo>
                    <a:lnTo>
                      <a:pt x="49" y="27"/>
                    </a:lnTo>
                    <a:lnTo>
                      <a:pt x="51" y="29"/>
                    </a:lnTo>
                    <a:lnTo>
                      <a:pt x="49" y="30"/>
                    </a:lnTo>
                    <a:lnTo>
                      <a:pt x="49" y="30"/>
                    </a:lnTo>
                    <a:lnTo>
                      <a:pt x="48" y="33"/>
                    </a:lnTo>
                    <a:lnTo>
                      <a:pt x="45" y="34"/>
                    </a:lnTo>
                    <a:lnTo>
                      <a:pt x="44" y="37"/>
                    </a:lnTo>
                    <a:lnTo>
                      <a:pt x="41" y="37"/>
                    </a:lnTo>
                    <a:lnTo>
                      <a:pt x="41" y="37"/>
                    </a:lnTo>
                    <a:lnTo>
                      <a:pt x="34" y="39"/>
                    </a:lnTo>
                    <a:lnTo>
                      <a:pt x="31" y="40"/>
                    </a:lnTo>
                    <a:lnTo>
                      <a:pt x="31" y="43"/>
                    </a:lnTo>
                    <a:lnTo>
                      <a:pt x="31" y="43"/>
                    </a:lnTo>
                    <a:lnTo>
                      <a:pt x="29" y="46"/>
                    </a:lnTo>
                    <a:lnTo>
                      <a:pt x="27" y="49"/>
                    </a:lnTo>
                    <a:lnTo>
                      <a:pt x="22" y="51"/>
                    </a:lnTo>
                    <a:lnTo>
                      <a:pt x="18" y="51"/>
                    </a:lnTo>
                    <a:lnTo>
                      <a:pt x="18" y="51"/>
                    </a:lnTo>
                    <a:lnTo>
                      <a:pt x="11" y="49"/>
                    </a:lnTo>
                    <a:lnTo>
                      <a:pt x="1" y="44"/>
                    </a:lnTo>
                    <a:lnTo>
                      <a:pt x="0" y="50"/>
                    </a:lnTo>
                    <a:lnTo>
                      <a:pt x="0" y="54"/>
                    </a:lnTo>
                    <a:lnTo>
                      <a:pt x="0" y="54"/>
                    </a:lnTo>
                    <a:lnTo>
                      <a:pt x="0" y="64"/>
                    </a:lnTo>
                    <a:lnTo>
                      <a:pt x="1" y="69"/>
                    </a:lnTo>
                    <a:lnTo>
                      <a:pt x="2" y="71"/>
                    </a:lnTo>
                    <a:lnTo>
                      <a:pt x="2" y="71"/>
                    </a:lnTo>
                    <a:lnTo>
                      <a:pt x="4" y="74"/>
                    </a:lnTo>
                    <a:lnTo>
                      <a:pt x="7" y="77"/>
                    </a:lnTo>
                    <a:lnTo>
                      <a:pt x="15" y="88"/>
                    </a:lnTo>
                    <a:lnTo>
                      <a:pt x="15" y="88"/>
                    </a:lnTo>
                    <a:lnTo>
                      <a:pt x="29" y="107"/>
                    </a:lnTo>
                    <a:lnTo>
                      <a:pt x="35" y="117"/>
                    </a:lnTo>
                    <a:lnTo>
                      <a:pt x="38" y="124"/>
                    </a:lnTo>
                    <a:lnTo>
                      <a:pt x="38" y="124"/>
                    </a:lnTo>
                    <a:lnTo>
                      <a:pt x="39" y="128"/>
                    </a:lnTo>
                    <a:lnTo>
                      <a:pt x="41" y="133"/>
                    </a:lnTo>
                    <a:lnTo>
                      <a:pt x="45" y="137"/>
                    </a:lnTo>
                    <a:lnTo>
                      <a:pt x="51" y="141"/>
                    </a:lnTo>
                    <a:lnTo>
                      <a:pt x="51" y="141"/>
                    </a:lnTo>
                    <a:lnTo>
                      <a:pt x="56" y="147"/>
                    </a:lnTo>
                    <a:lnTo>
                      <a:pt x="59" y="151"/>
                    </a:lnTo>
                    <a:lnTo>
                      <a:pt x="62" y="157"/>
                    </a:lnTo>
                    <a:lnTo>
                      <a:pt x="65" y="160"/>
                    </a:lnTo>
                    <a:lnTo>
                      <a:pt x="65" y="160"/>
                    </a:lnTo>
                    <a:lnTo>
                      <a:pt x="68" y="162"/>
                    </a:lnTo>
                    <a:lnTo>
                      <a:pt x="69" y="167"/>
                    </a:lnTo>
                    <a:lnTo>
                      <a:pt x="69" y="178"/>
                    </a:lnTo>
                    <a:lnTo>
                      <a:pt x="69" y="178"/>
                    </a:lnTo>
                    <a:lnTo>
                      <a:pt x="71" y="185"/>
                    </a:lnTo>
                    <a:lnTo>
                      <a:pt x="72" y="192"/>
                    </a:lnTo>
                    <a:lnTo>
                      <a:pt x="76" y="199"/>
                    </a:lnTo>
                    <a:lnTo>
                      <a:pt x="82" y="205"/>
                    </a:lnTo>
                    <a:lnTo>
                      <a:pt x="82" y="205"/>
                    </a:lnTo>
                    <a:lnTo>
                      <a:pt x="88" y="208"/>
                    </a:lnTo>
                    <a:lnTo>
                      <a:pt x="93" y="214"/>
                    </a:lnTo>
                    <a:lnTo>
                      <a:pt x="98" y="219"/>
                    </a:lnTo>
                    <a:lnTo>
                      <a:pt x="101" y="225"/>
                    </a:lnTo>
                    <a:lnTo>
                      <a:pt x="101" y="225"/>
                    </a:lnTo>
                    <a:lnTo>
                      <a:pt x="108" y="239"/>
                    </a:lnTo>
                    <a:lnTo>
                      <a:pt x="115" y="251"/>
                    </a:lnTo>
                    <a:lnTo>
                      <a:pt x="115" y="251"/>
                    </a:lnTo>
                    <a:lnTo>
                      <a:pt x="118" y="253"/>
                    </a:lnTo>
                    <a:lnTo>
                      <a:pt x="119" y="256"/>
                    </a:lnTo>
                    <a:lnTo>
                      <a:pt x="119" y="259"/>
                    </a:lnTo>
                    <a:lnTo>
                      <a:pt x="120" y="262"/>
                    </a:lnTo>
                    <a:lnTo>
                      <a:pt x="120" y="262"/>
                    </a:lnTo>
                    <a:lnTo>
                      <a:pt x="126" y="272"/>
                    </a:lnTo>
                    <a:lnTo>
                      <a:pt x="126" y="272"/>
                    </a:lnTo>
                    <a:lnTo>
                      <a:pt x="133" y="268"/>
                    </a:lnTo>
                    <a:lnTo>
                      <a:pt x="133" y="268"/>
                    </a:lnTo>
                    <a:lnTo>
                      <a:pt x="133" y="263"/>
                    </a:lnTo>
                    <a:lnTo>
                      <a:pt x="133" y="261"/>
                    </a:lnTo>
                    <a:lnTo>
                      <a:pt x="133" y="259"/>
                    </a:lnTo>
                    <a:lnTo>
                      <a:pt x="133" y="259"/>
                    </a:lnTo>
                    <a:lnTo>
                      <a:pt x="136" y="255"/>
                    </a:lnTo>
                    <a:lnTo>
                      <a:pt x="140" y="253"/>
                    </a:lnTo>
                    <a:lnTo>
                      <a:pt x="140" y="253"/>
                    </a:lnTo>
                    <a:lnTo>
                      <a:pt x="142" y="253"/>
                    </a:lnTo>
                    <a:lnTo>
                      <a:pt x="145" y="253"/>
                    </a:lnTo>
                    <a:lnTo>
                      <a:pt x="147" y="255"/>
                    </a:lnTo>
                    <a:lnTo>
                      <a:pt x="152" y="255"/>
                    </a:lnTo>
                    <a:lnTo>
                      <a:pt x="152" y="255"/>
                    </a:lnTo>
                    <a:lnTo>
                      <a:pt x="163" y="255"/>
                    </a:lnTo>
                    <a:lnTo>
                      <a:pt x="172" y="256"/>
                    </a:lnTo>
                    <a:lnTo>
                      <a:pt x="172" y="256"/>
                    </a:lnTo>
                    <a:lnTo>
                      <a:pt x="175" y="258"/>
                    </a:lnTo>
                    <a:lnTo>
                      <a:pt x="182" y="258"/>
                    </a:lnTo>
                    <a:lnTo>
                      <a:pt x="189" y="259"/>
                    </a:lnTo>
                    <a:lnTo>
                      <a:pt x="194" y="261"/>
                    </a:lnTo>
                    <a:lnTo>
                      <a:pt x="194" y="261"/>
                    </a:lnTo>
                    <a:lnTo>
                      <a:pt x="197" y="262"/>
                    </a:lnTo>
                    <a:lnTo>
                      <a:pt x="200" y="262"/>
                    </a:lnTo>
                    <a:lnTo>
                      <a:pt x="203" y="261"/>
                    </a:lnTo>
                    <a:lnTo>
                      <a:pt x="204" y="256"/>
                    </a:lnTo>
                    <a:lnTo>
                      <a:pt x="204" y="256"/>
                    </a:lnTo>
                    <a:lnTo>
                      <a:pt x="210" y="251"/>
                    </a:lnTo>
                    <a:lnTo>
                      <a:pt x="217" y="243"/>
                    </a:lnTo>
                    <a:lnTo>
                      <a:pt x="230" y="235"/>
                    </a:lnTo>
                    <a:lnTo>
                      <a:pt x="230" y="235"/>
                    </a:lnTo>
                    <a:lnTo>
                      <a:pt x="234" y="234"/>
                    </a:lnTo>
                    <a:lnTo>
                      <a:pt x="243" y="234"/>
                    </a:lnTo>
                    <a:lnTo>
                      <a:pt x="253" y="234"/>
                    </a:lnTo>
                    <a:lnTo>
                      <a:pt x="261" y="232"/>
                    </a:lnTo>
                    <a:lnTo>
                      <a:pt x="261" y="232"/>
                    </a:lnTo>
                    <a:lnTo>
                      <a:pt x="295" y="222"/>
                    </a:lnTo>
                    <a:lnTo>
                      <a:pt x="325" y="212"/>
                    </a:lnTo>
                    <a:lnTo>
                      <a:pt x="325" y="212"/>
                    </a:lnTo>
                    <a:lnTo>
                      <a:pt x="328" y="207"/>
                    </a:lnTo>
                    <a:lnTo>
                      <a:pt x="332" y="195"/>
                    </a:lnTo>
                    <a:lnTo>
                      <a:pt x="337" y="178"/>
                    </a:lnTo>
                    <a:lnTo>
                      <a:pt x="337" y="178"/>
                    </a:lnTo>
                    <a:lnTo>
                      <a:pt x="337" y="175"/>
                    </a:lnTo>
                    <a:lnTo>
                      <a:pt x="334" y="171"/>
                    </a:lnTo>
                    <a:lnTo>
                      <a:pt x="331" y="168"/>
                    </a:lnTo>
                    <a:lnTo>
                      <a:pt x="328" y="167"/>
                    </a:lnTo>
                    <a:lnTo>
                      <a:pt x="328" y="167"/>
                    </a:lnTo>
                    <a:lnTo>
                      <a:pt x="308" y="165"/>
                    </a:lnTo>
                    <a:lnTo>
                      <a:pt x="288" y="162"/>
                    </a:lnTo>
                    <a:lnTo>
                      <a:pt x="288" y="162"/>
                    </a:lnTo>
                    <a:lnTo>
                      <a:pt x="283" y="157"/>
                    </a:lnTo>
                    <a:lnTo>
                      <a:pt x="278" y="151"/>
                    </a:lnTo>
                    <a:lnTo>
                      <a:pt x="276" y="145"/>
                    </a:lnTo>
                    <a:lnTo>
                      <a:pt x="276" y="145"/>
                    </a:lnTo>
                    <a:lnTo>
                      <a:pt x="273" y="141"/>
                    </a:lnTo>
                    <a:lnTo>
                      <a:pt x="270" y="135"/>
                    </a:lnTo>
                    <a:lnTo>
                      <a:pt x="270" y="135"/>
                    </a:lnTo>
                    <a:lnTo>
                      <a:pt x="266" y="135"/>
                    </a:lnTo>
                    <a:lnTo>
                      <a:pt x="263" y="134"/>
                    </a:lnTo>
                    <a:lnTo>
                      <a:pt x="258" y="131"/>
                    </a:lnTo>
                    <a:lnTo>
                      <a:pt x="256" y="125"/>
                    </a:lnTo>
                    <a:lnTo>
                      <a:pt x="256" y="125"/>
                    </a:lnTo>
                    <a:lnTo>
                      <a:pt x="253" y="123"/>
                    </a:lnTo>
                    <a:lnTo>
                      <a:pt x="250" y="117"/>
                    </a:lnTo>
                    <a:lnTo>
                      <a:pt x="247" y="113"/>
                    </a:lnTo>
                    <a:lnTo>
                      <a:pt x="247" y="110"/>
                    </a:lnTo>
                    <a:lnTo>
                      <a:pt x="247" y="108"/>
                    </a:lnTo>
                    <a:lnTo>
                      <a:pt x="247" y="108"/>
                    </a:lnTo>
                    <a:lnTo>
                      <a:pt x="248" y="104"/>
                    </a:lnTo>
                    <a:lnTo>
                      <a:pt x="247" y="100"/>
                    </a:lnTo>
                    <a:lnTo>
                      <a:pt x="244" y="96"/>
                    </a:lnTo>
                    <a:lnTo>
                      <a:pt x="240" y="91"/>
                    </a:lnTo>
                    <a:lnTo>
                      <a:pt x="240" y="91"/>
                    </a:lnTo>
                    <a:lnTo>
                      <a:pt x="230" y="81"/>
                    </a:lnTo>
                    <a:lnTo>
                      <a:pt x="226" y="77"/>
                    </a:lnTo>
                    <a:lnTo>
                      <a:pt x="224" y="71"/>
                    </a:lnTo>
                    <a:lnTo>
                      <a:pt x="224" y="71"/>
                    </a:lnTo>
                    <a:lnTo>
                      <a:pt x="221" y="66"/>
                    </a:lnTo>
                    <a:lnTo>
                      <a:pt x="209" y="64"/>
                    </a:lnTo>
                    <a:lnTo>
                      <a:pt x="202" y="5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6" name="Afghanistan">
                <a:extLst>
                  <a:ext uri="{FF2B5EF4-FFF2-40B4-BE49-F238E27FC236}">
                    <a16:creationId xmlns:a16="http://schemas.microsoft.com/office/drawing/2014/main" id="{1FE43339-6679-5F4F-8B21-CF9FA2957426}"/>
                  </a:ext>
                </a:extLst>
              </p:cNvPr>
              <p:cNvSpPr>
                <a:spLocks/>
              </p:cNvSpPr>
              <p:nvPr/>
            </p:nvSpPr>
            <p:spPr bwMode="auto">
              <a:xfrm>
                <a:off x="5758786" y="3347880"/>
                <a:ext cx="335911" cy="239725"/>
              </a:xfrm>
              <a:custGeom>
                <a:avLst/>
                <a:gdLst/>
                <a:ahLst/>
                <a:cxnLst>
                  <a:cxn ang="0">
                    <a:pos x="216" y="21"/>
                  </a:cxn>
                  <a:cxn ang="0">
                    <a:pos x="206" y="21"/>
                  </a:cxn>
                  <a:cxn ang="0">
                    <a:pos x="187" y="33"/>
                  </a:cxn>
                  <a:cxn ang="0">
                    <a:pos x="179" y="30"/>
                  </a:cxn>
                  <a:cxn ang="0">
                    <a:pos x="180" y="14"/>
                  </a:cxn>
                  <a:cxn ang="0">
                    <a:pos x="176" y="10"/>
                  </a:cxn>
                  <a:cxn ang="0">
                    <a:pos x="173" y="0"/>
                  </a:cxn>
                  <a:cxn ang="0">
                    <a:pos x="159" y="10"/>
                  </a:cxn>
                  <a:cxn ang="0">
                    <a:pos x="156" y="16"/>
                  </a:cxn>
                  <a:cxn ang="0">
                    <a:pos x="143" y="21"/>
                  </a:cxn>
                  <a:cxn ang="0">
                    <a:pos x="136" y="24"/>
                  </a:cxn>
                  <a:cxn ang="0">
                    <a:pos x="126" y="25"/>
                  </a:cxn>
                  <a:cxn ang="0">
                    <a:pos x="116" y="23"/>
                  </a:cxn>
                  <a:cxn ang="0">
                    <a:pos x="106" y="20"/>
                  </a:cxn>
                  <a:cxn ang="0">
                    <a:pos x="95" y="18"/>
                  </a:cxn>
                  <a:cxn ang="0">
                    <a:pos x="82" y="17"/>
                  </a:cxn>
                  <a:cxn ang="0">
                    <a:pos x="74" y="23"/>
                  </a:cxn>
                  <a:cxn ang="0">
                    <a:pos x="68" y="27"/>
                  </a:cxn>
                  <a:cxn ang="0">
                    <a:pos x="59" y="43"/>
                  </a:cxn>
                  <a:cxn ang="0">
                    <a:pos x="41" y="51"/>
                  </a:cxn>
                  <a:cxn ang="0">
                    <a:pos x="35" y="58"/>
                  </a:cxn>
                  <a:cxn ang="0">
                    <a:pos x="27" y="57"/>
                  </a:cxn>
                  <a:cxn ang="0">
                    <a:pos x="15" y="54"/>
                  </a:cxn>
                  <a:cxn ang="0">
                    <a:pos x="8" y="61"/>
                  </a:cxn>
                  <a:cxn ang="0">
                    <a:pos x="2" y="74"/>
                  </a:cxn>
                  <a:cxn ang="0">
                    <a:pos x="1" y="88"/>
                  </a:cxn>
                  <a:cxn ang="0">
                    <a:pos x="0" y="99"/>
                  </a:cxn>
                  <a:cxn ang="0">
                    <a:pos x="2" y="117"/>
                  </a:cxn>
                  <a:cxn ang="0">
                    <a:pos x="11" y="126"/>
                  </a:cxn>
                  <a:cxn ang="0">
                    <a:pos x="18" y="132"/>
                  </a:cxn>
                  <a:cxn ang="0">
                    <a:pos x="5" y="151"/>
                  </a:cxn>
                  <a:cxn ang="0">
                    <a:pos x="5" y="159"/>
                  </a:cxn>
                  <a:cxn ang="0">
                    <a:pos x="31" y="162"/>
                  </a:cxn>
                  <a:cxn ang="0">
                    <a:pos x="95" y="155"/>
                  </a:cxn>
                  <a:cxn ang="0">
                    <a:pos x="94" y="138"/>
                  </a:cxn>
                  <a:cxn ang="0">
                    <a:pos x="106" y="131"/>
                  </a:cxn>
                  <a:cxn ang="0">
                    <a:pos x="118" y="128"/>
                  </a:cxn>
                  <a:cxn ang="0">
                    <a:pos x="125" y="122"/>
                  </a:cxn>
                  <a:cxn ang="0">
                    <a:pos x="135" y="122"/>
                  </a:cxn>
                  <a:cxn ang="0">
                    <a:pos x="142" y="115"/>
                  </a:cxn>
                  <a:cxn ang="0">
                    <a:pos x="148" y="98"/>
                  </a:cxn>
                  <a:cxn ang="0">
                    <a:pos x="158" y="94"/>
                  </a:cxn>
                  <a:cxn ang="0">
                    <a:pos x="152" y="82"/>
                  </a:cxn>
                  <a:cxn ang="0">
                    <a:pos x="162" y="82"/>
                  </a:cxn>
                  <a:cxn ang="0">
                    <a:pos x="170" y="81"/>
                  </a:cxn>
                  <a:cxn ang="0">
                    <a:pos x="172" y="68"/>
                  </a:cxn>
                  <a:cxn ang="0">
                    <a:pos x="180" y="57"/>
                  </a:cxn>
                  <a:cxn ang="0">
                    <a:pos x="177" y="48"/>
                  </a:cxn>
                  <a:cxn ang="0">
                    <a:pos x="176" y="41"/>
                  </a:cxn>
                  <a:cxn ang="0">
                    <a:pos x="182" y="38"/>
                  </a:cxn>
                  <a:cxn ang="0">
                    <a:pos x="195" y="33"/>
                  </a:cxn>
                  <a:cxn ang="0">
                    <a:pos x="212" y="30"/>
                  </a:cxn>
                  <a:cxn ang="0">
                    <a:pos x="227" y="24"/>
                  </a:cxn>
                  <a:cxn ang="0">
                    <a:pos x="220" y="23"/>
                  </a:cxn>
                </a:cxnLst>
                <a:rect l="0" t="0" r="r" b="b"/>
                <a:pathLst>
                  <a:path w="227" h="162">
                    <a:moveTo>
                      <a:pt x="220" y="23"/>
                    </a:moveTo>
                    <a:lnTo>
                      <a:pt x="220" y="23"/>
                    </a:lnTo>
                    <a:lnTo>
                      <a:pt x="217" y="23"/>
                    </a:lnTo>
                    <a:lnTo>
                      <a:pt x="216" y="21"/>
                    </a:lnTo>
                    <a:lnTo>
                      <a:pt x="213" y="18"/>
                    </a:lnTo>
                    <a:lnTo>
                      <a:pt x="213" y="18"/>
                    </a:lnTo>
                    <a:lnTo>
                      <a:pt x="210" y="18"/>
                    </a:lnTo>
                    <a:lnTo>
                      <a:pt x="206" y="21"/>
                    </a:lnTo>
                    <a:lnTo>
                      <a:pt x="196" y="30"/>
                    </a:lnTo>
                    <a:lnTo>
                      <a:pt x="196" y="30"/>
                    </a:lnTo>
                    <a:lnTo>
                      <a:pt x="187" y="33"/>
                    </a:lnTo>
                    <a:lnTo>
                      <a:pt x="187" y="33"/>
                    </a:lnTo>
                    <a:lnTo>
                      <a:pt x="183" y="34"/>
                    </a:lnTo>
                    <a:lnTo>
                      <a:pt x="180" y="33"/>
                    </a:lnTo>
                    <a:lnTo>
                      <a:pt x="180" y="33"/>
                    </a:lnTo>
                    <a:lnTo>
                      <a:pt x="179" y="30"/>
                    </a:lnTo>
                    <a:lnTo>
                      <a:pt x="179" y="28"/>
                    </a:lnTo>
                    <a:lnTo>
                      <a:pt x="180" y="23"/>
                    </a:lnTo>
                    <a:lnTo>
                      <a:pt x="182" y="17"/>
                    </a:lnTo>
                    <a:lnTo>
                      <a:pt x="180" y="14"/>
                    </a:lnTo>
                    <a:lnTo>
                      <a:pt x="179" y="13"/>
                    </a:lnTo>
                    <a:lnTo>
                      <a:pt x="179" y="13"/>
                    </a:lnTo>
                    <a:lnTo>
                      <a:pt x="177" y="11"/>
                    </a:lnTo>
                    <a:lnTo>
                      <a:pt x="176" y="10"/>
                    </a:lnTo>
                    <a:lnTo>
                      <a:pt x="176" y="6"/>
                    </a:lnTo>
                    <a:lnTo>
                      <a:pt x="175" y="1"/>
                    </a:lnTo>
                    <a:lnTo>
                      <a:pt x="175" y="0"/>
                    </a:lnTo>
                    <a:lnTo>
                      <a:pt x="173" y="0"/>
                    </a:lnTo>
                    <a:lnTo>
                      <a:pt x="173" y="0"/>
                    </a:lnTo>
                    <a:lnTo>
                      <a:pt x="167" y="1"/>
                    </a:lnTo>
                    <a:lnTo>
                      <a:pt x="163" y="6"/>
                    </a:lnTo>
                    <a:lnTo>
                      <a:pt x="159" y="10"/>
                    </a:lnTo>
                    <a:lnTo>
                      <a:pt x="158" y="14"/>
                    </a:lnTo>
                    <a:lnTo>
                      <a:pt x="158" y="14"/>
                    </a:lnTo>
                    <a:lnTo>
                      <a:pt x="158" y="16"/>
                    </a:lnTo>
                    <a:lnTo>
                      <a:pt x="156" y="16"/>
                    </a:lnTo>
                    <a:lnTo>
                      <a:pt x="150" y="17"/>
                    </a:lnTo>
                    <a:lnTo>
                      <a:pt x="145" y="18"/>
                    </a:lnTo>
                    <a:lnTo>
                      <a:pt x="143" y="20"/>
                    </a:lnTo>
                    <a:lnTo>
                      <a:pt x="143" y="21"/>
                    </a:lnTo>
                    <a:lnTo>
                      <a:pt x="143" y="21"/>
                    </a:lnTo>
                    <a:lnTo>
                      <a:pt x="142" y="23"/>
                    </a:lnTo>
                    <a:lnTo>
                      <a:pt x="140" y="23"/>
                    </a:lnTo>
                    <a:lnTo>
                      <a:pt x="136" y="24"/>
                    </a:lnTo>
                    <a:lnTo>
                      <a:pt x="130" y="24"/>
                    </a:lnTo>
                    <a:lnTo>
                      <a:pt x="128" y="24"/>
                    </a:lnTo>
                    <a:lnTo>
                      <a:pt x="126" y="25"/>
                    </a:lnTo>
                    <a:lnTo>
                      <a:pt x="126" y="25"/>
                    </a:lnTo>
                    <a:lnTo>
                      <a:pt x="125" y="27"/>
                    </a:lnTo>
                    <a:lnTo>
                      <a:pt x="123" y="27"/>
                    </a:lnTo>
                    <a:lnTo>
                      <a:pt x="121" y="25"/>
                    </a:lnTo>
                    <a:lnTo>
                      <a:pt x="116" y="23"/>
                    </a:lnTo>
                    <a:lnTo>
                      <a:pt x="112" y="23"/>
                    </a:lnTo>
                    <a:lnTo>
                      <a:pt x="112" y="23"/>
                    </a:lnTo>
                    <a:lnTo>
                      <a:pt x="109" y="21"/>
                    </a:lnTo>
                    <a:lnTo>
                      <a:pt x="106" y="20"/>
                    </a:lnTo>
                    <a:lnTo>
                      <a:pt x="103" y="17"/>
                    </a:lnTo>
                    <a:lnTo>
                      <a:pt x="99" y="17"/>
                    </a:lnTo>
                    <a:lnTo>
                      <a:pt x="99" y="17"/>
                    </a:lnTo>
                    <a:lnTo>
                      <a:pt x="95" y="18"/>
                    </a:lnTo>
                    <a:lnTo>
                      <a:pt x="92" y="17"/>
                    </a:lnTo>
                    <a:lnTo>
                      <a:pt x="86" y="16"/>
                    </a:lnTo>
                    <a:lnTo>
                      <a:pt x="86" y="16"/>
                    </a:lnTo>
                    <a:lnTo>
                      <a:pt x="82" y="17"/>
                    </a:lnTo>
                    <a:lnTo>
                      <a:pt x="79" y="20"/>
                    </a:lnTo>
                    <a:lnTo>
                      <a:pt x="76" y="23"/>
                    </a:lnTo>
                    <a:lnTo>
                      <a:pt x="75" y="23"/>
                    </a:lnTo>
                    <a:lnTo>
                      <a:pt x="74" y="23"/>
                    </a:lnTo>
                    <a:lnTo>
                      <a:pt x="74" y="23"/>
                    </a:lnTo>
                    <a:lnTo>
                      <a:pt x="72" y="23"/>
                    </a:lnTo>
                    <a:lnTo>
                      <a:pt x="69" y="24"/>
                    </a:lnTo>
                    <a:lnTo>
                      <a:pt x="68" y="27"/>
                    </a:lnTo>
                    <a:lnTo>
                      <a:pt x="64" y="38"/>
                    </a:lnTo>
                    <a:lnTo>
                      <a:pt x="64" y="38"/>
                    </a:lnTo>
                    <a:lnTo>
                      <a:pt x="62" y="41"/>
                    </a:lnTo>
                    <a:lnTo>
                      <a:pt x="59" y="43"/>
                    </a:lnTo>
                    <a:lnTo>
                      <a:pt x="51" y="45"/>
                    </a:lnTo>
                    <a:lnTo>
                      <a:pt x="44" y="48"/>
                    </a:lnTo>
                    <a:lnTo>
                      <a:pt x="42" y="50"/>
                    </a:lnTo>
                    <a:lnTo>
                      <a:pt x="41" y="51"/>
                    </a:lnTo>
                    <a:lnTo>
                      <a:pt x="41" y="51"/>
                    </a:lnTo>
                    <a:lnTo>
                      <a:pt x="41" y="54"/>
                    </a:lnTo>
                    <a:lnTo>
                      <a:pt x="39" y="57"/>
                    </a:lnTo>
                    <a:lnTo>
                      <a:pt x="35" y="58"/>
                    </a:lnTo>
                    <a:lnTo>
                      <a:pt x="29" y="60"/>
                    </a:lnTo>
                    <a:lnTo>
                      <a:pt x="28" y="58"/>
                    </a:lnTo>
                    <a:lnTo>
                      <a:pt x="27" y="57"/>
                    </a:lnTo>
                    <a:lnTo>
                      <a:pt x="27" y="57"/>
                    </a:lnTo>
                    <a:lnTo>
                      <a:pt x="25" y="55"/>
                    </a:lnTo>
                    <a:lnTo>
                      <a:pt x="21" y="54"/>
                    </a:lnTo>
                    <a:lnTo>
                      <a:pt x="15" y="54"/>
                    </a:lnTo>
                    <a:lnTo>
                      <a:pt x="15" y="54"/>
                    </a:lnTo>
                    <a:lnTo>
                      <a:pt x="14" y="54"/>
                    </a:lnTo>
                    <a:lnTo>
                      <a:pt x="11" y="54"/>
                    </a:lnTo>
                    <a:lnTo>
                      <a:pt x="10" y="57"/>
                    </a:lnTo>
                    <a:lnTo>
                      <a:pt x="8" y="61"/>
                    </a:lnTo>
                    <a:lnTo>
                      <a:pt x="8" y="61"/>
                    </a:lnTo>
                    <a:lnTo>
                      <a:pt x="8" y="65"/>
                    </a:lnTo>
                    <a:lnTo>
                      <a:pt x="5" y="70"/>
                    </a:lnTo>
                    <a:lnTo>
                      <a:pt x="2" y="74"/>
                    </a:lnTo>
                    <a:lnTo>
                      <a:pt x="2" y="74"/>
                    </a:lnTo>
                    <a:lnTo>
                      <a:pt x="0" y="81"/>
                    </a:lnTo>
                    <a:lnTo>
                      <a:pt x="0" y="84"/>
                    </a:lnTo>
                    <a:lnTo>
                      <a:pt x="1" y="88"/>
                    </a:lnTo>
                    <a:lnTo>
                      <a:pt x="1" y="88"/>
                    </a:lnTo>
                    <a:lnTo>
                      <a:pt x="1" y="91"/>
                    </a:lnTo>
                    <a:lnTo>
                      <a:pt x="0" y="95"/>
                    </a:lnTo>
                    <a:lnTo>
                      <a:pt x="0" y="99"/>
                    </a:lnTo>
                    <a:lnTo>
                      <a:pt x="1" y="105"/>
                    </a:lnTo>
                    <a:lnTo>
                      <a:pt x="1" y="105"/>
                    </a:lnTo>
                    <a:lnTo>
                      <a:pt x="2" y="111"/>
                    </a:lnTo>
                    <a:lnTo>
                      <a:pt x="2" y="117"/>
                    </a:lnTo>
                    <a:lnTo>
                      <a:pt x="2" y="124"/>
                    </a:lnTo>
                    <a:lnTo>
                      <a:pt x="2" y="124"/>
                    </a:lnTo>
                    <a:lnTo>
                      <a:pt x="5" y="125"/>
                    </a:lnTo>
                    <a:lnTo>
                      <a:pt x="11" y="126"/>
                    </a:lnTo>
                    <a:lnTo>
                      <a:pt x="15" y="128"/>
                    </a:lnTo>
                    <a:lnTo>
                      <a:pt x="18" y="129"/>
                    </a:lnTo>
                    <a:lnTo>
                      <a:pt x="18" y="132"/>
                    </a:lnTo>
                    <a:lnTo>
                      <a:pt x="18" y="132"/>
                    </a:lnTo>
                    <a:lnTo>
                      <a:pt x="20" y="135"/>
                    </a:lnTo>
                    <a:lnTo>
                      <a:pt x="17" y="138"/>
                    </a:lnTo>
                    <a:lnTo>
                      <a:pt x="12" y="144"/>
                    </a:lnTo>
                    <a:lnTo>
                      <a:pt x="5" y="151"/>
                    </a:lnTo>
                    <a:lnTo>
                      <a:pt x="2" y="155"/>
                    </a:lnTo>
                    <a:lnTo>
                      <a:pt x="2" y="155"/>
                    </a:lnTo>
                    <a:lnTo>
                      <a:pt x="2" y="156"/>
                    </a:lnTo>
                    <a:lnTo>
                      <a:pt x="5" y="159"/>
                    </a:lnTo>
                    <a:lnTo>
                      <a:pt x="5" y="159"/>
                    </a:lnTo>
                    <a:lnTo>
                      <a:pt x="18" y="161"/>
                    </a:lnTo>
                    <a:lnTo>
                      <a:pt x="31" y="162"/>
                    </a:lnTo>
                    <a:lnTo>
                      <a:pt x="31" y="162"/>
                    </a:lnTo>
                    <a:lnTo>
                      <a:pt x="45" y="162"/>
                    </a:lnTo>
                    <a:lnTo>
                      <a:pt x="66" y="159"/>
                    </a:lnTo>
                    <a:lnTo>
                      <a:pt x="86" y="156"/>
                    </a:lnTo>
                    <a:lnTo>
                      <a:pt x="95" y="155"/>
                    </a:lnTo>
                    <a:lnTo>
                      <a:pt x="95" y="155"/>
                    </a:lnTo>
                    <a:lnTo>
                      <a:pt x="94" y="146"/>
                    </a:lnTo>
                    <a:lnTo>
                      <a:pt x="94" y="138"/>
                    </a:lnTo>
                    <a:lnTo>
                      <a:pt x="94" y="138"/>
                    </a:lnTo>
                    <a:lnTo>
                      <a:pt x="95" y="136"/>
                    </a:lnTo>
                    <a:lnTo>
                      <a:pt x="98" y="134"/>
                    </a:lnTo>
                    <a:lnTo>
                      <a:pt x="102" y="131"/>
                    </a:lnTo>
                    <a:lnTo>
                      <a:pt x="106" y="131"/>
                    </a:lnTo>
                    <a:lnTo>
                      <a:pt x="106" y="131"/>
                    </a:lnTo>
                    <a:lnTo>
                      <a:pt x="113" y="131"/>
                    </a:lnTo>
                    <a:lnTo>
                      <a:pt x="116" y="131"/>
                    </a:lnTo>
                    <a:lnTo>
                      <a:pt x="118" y="128"/>
                    </a:lnTo>
                    <a:lnTo>
                      <a:pt x="118" y="128"/>
                    </a:lnTo>
                    <a:lnTo>
                      <a:pt x="118" y="126"/>
                    </a:lnTo>
                    <a:lnTo>
                      <a:pt x="119" y="125"/>
                    </a:lnTo>
                    <a:lnTo>
                      <a:pt x="125" y="122"/>
                    </a:lnTo>
                    <a:lnTo>
                      <a:pt x="130" y="121"/>
                    </a:lnTo>
                    <a:lnTo>
                      <a:pt x="133" y="121"/>
                    </a:lnTo>
                    <a:lnTo>
                      <a:pt x="135" y="122"/>
                    </a:lnTo>
                    <a:lnTo>
                      <a:pt x="135" y="122"/>
                    </a:lnTo>
                    <a:lnTo>
                      <a:pt x="136" y="124"/>
                    </a:lnTo>
                    <a:lnTo>
                      <a:pt x="138" y="124"/>
                    </a:lnTo>
                    <a:lnTo>
                      <a:pt x="140" y="121"/>
                    </a:lnTo>
                    <a:lnTo>
                      <a:pt x="142" y="115"/>
                    </a:lnTo>
                    <a:lnTo>
                      <a:pt x="142" y="115"/>
                    </a:lnTo>
                    <a:lnTo>
                      <a:pt x="142" y="104"/>
                    </a:lnTo>
                    <a:lnTo>
                      <a:pt x="143" y="99"/>
                    </a:lnTo>
                    <a:lnTo>
                      <a:pt x="148" y="98"/>
                    </a:lnTo>
                    <a:lnTo>
                      <a:pt x="148" y="98"/>
                    </a:lnTo>
                    <a:lnTo>
                      <a:pt x="150" y="97"/>
                    </a:lnTo>
                    <a:lnTo>
                      <a:pt x="155" y="95"/>
                    </a:lnTo>
                    <a:lnTo>
                      <a:pt x="158" y="94"/>
                    </a:lnTo>
                    <a:lnTo>
                      <a:pt x="158" y="91"/>
                    </a:lnTo>
                    <a:lnTo>
                      <a:pt x="158" y="91"/>
                    </a:lnTo>
                    <a:lnTo>
                      <a:pt x="155" y="85"/>
                    </a:lnTo>
                    <a:lnTo>
                      <a:pt x="152" y="82"/>
                    </a:lnTo>
                    <a:lnTo>
                      <a:pt x="153" y="81"/>
                    </a:lnTo>
                    <a:lnTo>
                      <a:pt x="153" y="81"/>
                    </a:lnTo>
                    <a:lnTo>
                      <a:pt x="156" y="81"/>
                    </a:lnTo>
                    <a:lnTo>
                      <a:pt x="162" y="82"/>
                    </a:lnTo>
                    <a:lnTo>
                      <a:pt x="167" y="82"/>
                    </a:lnTo>
                    <a:lnTo>
                      <a:pt x="169" y="82"/>
                    </a:lnTo>
                    <a:lnTo>
                      <a:pt x="170" y="81"/>
                    </a:lnTo>
                    <a:lnTo>
                      <a:pt x="170" y="81"/>
                    </a:lnTo>
                    <a:lnTo>
                      <a:pt x="172" y="78"/>
                    </a:lnTo>
                    <a:lnTo>
                      <a:pt x="172" y="75"/>
                    </a:lnTo>
                    <a:lnTo>
                      <a:pt x="172" y="71"/>
                    </a:lnTo>
                    <a:lnTo>
                      <a:pt x="172" y="68"/>
                    </a:lnTo>
                    <a:lnTo>
                      <a:pt x="172" y="68"/>
                    </a:lnTo>
                    <a:lnTo>
                      <a:pt x="177" y="62"/>
                    </a:lnTo>
                    <a:lnTo>
                      <a:pt x="179" y="60"/>
                    </a:lnTo>
                    <a:lnTo>
                      <a:pt x="180" y="57"/>
                    </a:lnTo>
                    <a:lnTo>
                      <a:pt x="180" y="57"/>
                    </a:lnTo>
                    <a:lnTo>
                      <a:pt x="179" y="52"/>
                    </a:lnTo>
                    <a:lnTo>
                      <a:pt x="179" y="50"/>
                    </a:lnTo>
                    <a:lnTo>
                      <a:pt x="177" y="48"/>
                    </a:lnTo>
                    <a:lnTo>
                      <a:pt x="177" y="48"/>
                    </a:lnTo>
                    <a:lnTo>
                      <a:pt x="175" y="45"/>
                    </a:lnTo>
                    <a:lnTo>
                      <a:pt x="175" y="43"/>
                    </a:lnTo>
                    <a:lnTo>
                      <a:pt x="176" y="41"/>
                    </a:lnTo>
                    <a:lnTo>
                      <a:pt x="179" y="40"/>
                    </a:lnTo>
                    <a:lnTo>
                      <a:pt x="179" y="40"/>
                    </a:lnTo>
                    <a:lnTo>
                      <a:pt x="182" y="38"/>
                    </a:lnTo>
                    <a:lnTo>
                      <a:pt x="182" y="38"/>
                    </a:lnTo>
                    <a:lnTo>
                      <a:pt x="186" y="37"/>
                    </a:lnTo>
                    <a:lnTo>
                      <a:pt x="190" y="35"/>
                    </a:lnTo>
                    <a:lnTo>
                      <a:pt x="190" y="35"/>
                    </a:lnTo>
                    <a:lnTo>
                      <a:pt x="195" y="33"/>
                    </a:lnTo>
                    <a:lnTo>
                      <a:pt x="202" y="30"/>
                    </a:lnTo>
                    <a:lnTo>
                      <a:pt x="207" y="28"/>
                    </a:lnTo>
                    <a:lnTo>
                      <a:pt x="212" y="30"/>
                    </a:lnTo>
                    <a:lnTo>
                      <a:pt x="212" y="30"/>
                    </a:lnTo>
                    <a:lnTo>
                      <a:pt x="214" y="30"/>
                    </a:lnTo>
                    <a:lnTo>
                      <a:pt x="219" y="30"/>
                    </a:lnTo>
                    <a:lnTo>
                      <a:pt x="223" y="27"/>
                    </a:lnTo>
                    <a:lnTo>
                      <a:pt x="227" y="24"/>
                    </a:lnTo>
                    <a:lnTo>
                      <a:pt x="227" y="24"/>
                    </a:lnTo>
                    <a:lnTo>
                      <a:pt x="223" y="23"/>
                    </a:lnTo>
                    <a:lnTo>
                      <a:pt x="220" y="23"/>
                    </a:lnTo>
                    <a:lnTo>
                      <a:pt x="220" y="2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7" name="Pakistan">
                <a:extLst>
                  <a:ext uri="{FF2B5EF4-FFF2-40B4-BE49-F238E27FC236}">
                    <a16:creationId xmlns:a16="http://schemas.microsoft.com/office/drawing/2014/main" id="{FAAB8C0C-3D70-C640-958B-0C5300C108A4}"/>
                  </a:ext>
                </a:extLst>
              </p:cNvPr>
              <p:cNvSpPr>
                <a:spLocks/>
              </p:cNvSpPr>
              <p:nvPr/>
            </p:nvSpPr>
            <p:spPr bwMode="auto">
              <a:xfrm>
                <a:off x="5766186" y="3383395"/>
                <a:ext cx="393622" cy="355148"/>
              </a:xfrm>
              <a:custGeom>
                <a:avLst/>
                <a:gdLst/>
                <a:ahLst/>
                <a:cxnLst>
                  <a:cxn ang="0">
                    <a:pos x="245" y="13"/>
                  </a:cxn>
                  <a:cxn ang="0">
                    <a:pos x="231" y="1"/>
                  </a:cxn>
                  <a:cxn ang="0">
                    <a:pos x="218" y="3"/>
                  </a:cxn>
                  <a:cxn ang="0">
                    <a:pos x="202" y="4"/>
                  </a:cxn>
                  <a:cxn ang="0">
                    <a:pos x="181" y="13"/>
                  </a:cxn>
                  <a:cxn ang="0">
                    <a:pos x="171" y="17"/>
                  </a:cxn>
                  <a:cxn ang="0">
                    <a:pos x="174" y="26"/>
                  </a:cxn>
                  <a:cxn ang="0">
                    <a:pos x="172" y="38"/>
                  </a:cxn>
                  <a:cxn ang="0">
                    <a:pos x="167" y="54"/>
                  </a:cxn>
                  <a:cxn ang="0">
                    <a:pos x="157" y="58"/>
                  </a:cxn>
                  <a:cxn ang="0">
                    <a:pos x="150" y="61"/>
                  </a:cxn>
                  <a:cxn ang="0">
                    <a:pos x="145" y="73"/>
                  </a:cxn>
                  <a:cxn ang="0">
                    <a:pos x="137" y="91"/>
                  </a:cxn>
                  <a:cxn ang="0">
                    <a:pos x="130" y="98"/>
                  </a:cxn>
                  <a:cxn ang="0">
                    <a:pos x="114" y="101"/>
                  </a:cxn>
                  <a:cxn ang="0">
                    <a:pos x="108" y="107"/>
                  </a:cxn>
                  <a:cxn ang="0">
                    <a:pos x="90" y="112"/>
                  </a:cxn>
                  <a:cxn ang="0">
                    <a:pos x="90" y="131"/>
                  </a:cxn>
                  <a:cxn ang="0">
                    <a:pos x="26" y="138"/>
                  </a:cxn>
                  <a:cxn ang="0">
                    <a:pos x="7" y="144"/>
                  </a:cxn>
                  <a:cxn ang="0">
                    <a:pos x="24" y="158"/>
                  </a:cxn>
                  <a:cxn ang="0">
                    <a:pos x="30" y="174"/>
                  </a:cxn>
                  <a:cxn ang="0">
                    <a:pos x="37" y="182"/>
                  </a:cxn>
                  <a:cxn ang="0">
                    <a:pos x="29" y="189"/>
                  </a:cxn>
                  <a:cxn ang="0">
                    <a:pos x="12" y="203"/>
                  </a:cxn>
                  <a:cxn ang="0">
                    <a:pos x="30" y="212"/>
                  </a:cxn>
                  <a:cxn ang="0">
                    <a:pos x="47" y="208"/>
                  </a:cxn>
                  <a:cxn ang="0">
                    <a:pos x="66" y="211"/>
                  </a:cxn>
                  <a:cxn ang="0">
                    <a:pos x="89" y="208"/>
                  </a:cxn>
                  <a:cxn ang="0">
                    <a:pos x="96" y="216"/>
                  </a:cxn>
                  <a:cxn ang="0">
                    <a:pos x="103" y="229"/>
                  </a:cxn>
                  <a:cxn ang="0">
                    <a:pos x="117" y="238"/>
                  </a:cxn>
                  <a:cxn ang="0">
                    <a:pos x="121" y="239"/>
                  </a:cxn>
                  <a:cxn ang="0">
                    <a:pos x="141" y="229"/>
                  </a:cxn>
                  <a:cxn ang="0">
                    <a:pos x="158" y="228"/>
                  </a:cxn>
                  <a:cxn ang="0">
                    <a:pos x="162" y="218"/>
                  </a:cxn>
                  <a:cxn ang="0">
                    <a:pos x="150" y="194"/>
                  </a:cxn>
                  <a:cxn ang="0">
                    <a:pos x="141" y="185"/>
                  </a:cxn>
                  <a:cxn ang="0">
                    <a:pos x="145" y="174"/>
                  </a:cxn>
                  <a:cxn ang="0">
                    <a:pos x="161" y="169"/>
                  </a:cxn>
                  <a:cxn ang="0">
                    <a:pos x="168" y="166"/>
                  </a:cxn>
                  <a:cxn ang="0">
                    <a:pos x="182" y="159"/>
                  </a:cxn>
                  <a:cxn ang="0">
                    <a:pos x="190" y="151"/>
                  </a:cxn>
                  <a:cxn ang="0">
                    <a:pos x="204" y="131"/>
                  </a:cxn>
                  <a:cxn ang="0">
                    <a:pos x="212" y="122"/>
                  </a:cxn>
                  <a:cxn ang="0">
                    <a:pos x="221" y="114"/>
                  </a:cxn>
                  <a:cxn ang="0">
                    <a:pos x="224" y="102"/>
                  </a:cxn>
                  <a:cxn ang="0">
                    <a:pos x="232" y="90"/>
                  </a:cxn>
                  <a:cxn ang="0">
                    <a:pos x="224" y="83"/>
                  </a:cxn>
                  <a:cxn ang="0">
                    <a:pos x="215" y="68"/>
                  </a:cxn>
                  <a:cxn ang="0">
                    <a:pos x="212" y="53"/>
                  </a:cxn>
                  <a:cxn ang="0">
                    <a:pos x="221" y="44"/>
                  </a:cxn>
                  <a:cxn ang="0">
                    <a:pos x="244" y="48"/>
                  </a:cxn>
                  <a:cxn ang="0">
                    <a:pos x="263" y="37"/>
                  </a:cxn>
                </a:cxnLst>
                <a:rect l="0" t="0" r="r" b="b"/>
                <a:pathLst>
                  <a:path w="266" h="240">
                    <a:moveTo>
                      <a:pt x="254" y="26"/>
                    </a:moveTo>
                    <a:lnTo>
                      <a:pt x="254" y="26"/>
                    </a:lnTo>
                    <a:lnTo>
                      <a:pt x="249" y="21"/>
                    </a:lnTo>
                    <a:lnTo>
                      <a:pt x="246" y="19"/>
                    </a:lnTo>
                    <a:lnTo>
                      <a:pt x="245" y="13"/>
                    </a:lnTo>
                    <a:lnTo>
                      <a:pt x="245" y="13"/>
                    </a:lnTo>
                    <a:lnTo>
                      <a:pt x="244" y="11"/>
                    </a:lnTo>
                    <a:lnTo>
                      <a:pt x="241" y="9"/>
                    </a:lnTo>
                    <a:lnTo>
                      <a:pt x="231" y="1"/>
                    </a:lnTo>
                    <a:lnTo>
                      <a:pt x="231" y="1"/>
                    </a:lnTo>
                    <a:lnTo>
                      <a:pt x="225" y="1"/>
                    </a:lnTo>
                    <a:lnTo>
                      <a:pt x="225" y="1"/>
                    </a:lnTo>
                    <a:lnTo>
                      <a:pt x="222" y="0"/>
                    </a:lnTo>
                    <a:lnTo>
                      <a:pt x="222" y="0"/>
                    </a:lnTo>
                    <a:lnTo>
                      <a:pt x="218" y="3"/>
                    </a:lnTo>
                    <a:lnTo>
                      <a:pt x="214" y="6"/>
                    </a:lnTo>
                    <a:lnTo>
                      <a:pt x="209" y="6"/>
                    </a:lnTo>
                    <a:lnTo>
                      <a:pt x="207" y="6"/>
                    </a:lnTo>
                    <a:lnTo>
                      <a:pt x="207" y="6"/>
                    </a:lnTo>
                    <a:lnTo>
                      <a:pt x="202" y="4"/>
                    </a:lnTo>
                    <a:lnTo>
                      <a:pt x="197" y="6"/>
                    </a:lnTo>
                    <a:lnTo>
                      <a:pt x="190" y="9"/>
                    </a:lnTo>
                    <a:lnTo>
                      <a:pt x="185" y="11"/>
                    </a:lnTo>
                    <a:lnTo>
                      <a:pt x="185" y="11"/>
                    </a:lnTo>
                    <a:lnTo>
                      <a:pt x="181" y="13"/>
                    </a:lnTo>
                    <a:lnTo>
                      <a:pt x="177" y="14"/>
                    </a:lnTo>
                    <a:lnTo>
                      <a:pt x="177" y="14"/>
                    </a:lnTo>
                    <a:lnTo>
                      <a:pt x="174" y="16"/>
                    </a:lnTo>
                    <a:lnTo>
                      <a:pt x="174" y="16"/>
                    </a:lnTo>
                    <a:lnTo>
                      <a:pt x="171" y="17"/>
                    </a:lnTo>
                    <a:lnTo>
                      <a:pt x="170" y="19"/>
                    </a:lnTo>
                    <a:lnTo>
                      <a:pt x="170" y="21"/>
                    </a:lnTo>
                    <a:lnTo>
                      <a:pt x="172" y="24"/>
                    </a:lnTo>
                    <a:lnTo>
                      <a:pt x="172" y="24"/>
                    </a:lnTo>
                    <a:lnTo>
                      <a:pt x="174" y="26"/>
                    </a:lnTo>
                    <a:lnTo>
                      <a:pt x="174" y="28"/>
                    </a:lnTo>
                    <a:lnTo>
                      <a:pt x="175" y="33"/>
                    </a:lnTo>
                    <a:lnTo>
                      <a:pt x="175" y="33"/>
                    </a:lnTo>
                    <a:lnTo>
                      <a:pt x="174" y="36"/>
                    </a:lnTo>
                    <a:lnTo>
                      <a:pt x="172" y="38"/>
                    </a:lnTo>
                    <a:lnTo>
                      <a:pt x="167" y="44"/>
                    </a:lnTo>
                    <a:lnTo>
                      <a:pt x="167" y="44"/>
                    </a:lnTo>
                    <a:lnTo>
                      <a:pt x="167" y="47"/>
                    </a:lnTo>
                    <a:lnTo>
                      <a:pt x="167" y="51"/>
                    </a:lnTo>
                    <a:lnTo>
                      <a:pt x="167" y="54"/>
                    </a:lnTo>
                    <a:lnTo>
                      <a:pt x="165" y="57"/>
                    </a:lnTo>
                    <a:lnTo>
                      <a:pt x="165" y="57"/>
                    </a:lnTo>
                    <a:lnTo>
                      <a:pt x="164" y="58"/>
                    </a:lnTo>
                    <a:lnTo>
                      <a:pt x="162" y="58"/>
                    </a:lnTo>
                    <a:lnTo>
                      <a:pt x="157" y="58"/>
                    </a:lnTo>
                    <a:lnTo>
                      <a:pt x="151" y="57"/>
                    </a:lnTo>
                    <a:lnTo>
                      <a:pt x="148" y="57"/>
                    </a:lnTo>
                    <a:lnTo>
                      <a:pt x="148" y="57"/>
                    </a:lnTo>
                    <a:lnTo>
                      <a:pt x="147" y="58"/>
                    </a:lnTo>
                    <a:lnTo>
                      <a:pt x="150" y="61"/>
                    </a:lnTo>
                    <a:lnTo>
                      <a:pt x="153" y="67"/>
                    </a:lnTo>
                    <a:lnTo>
                      <a:pt x="153" y="67"/>
                    </a:lnTo>
                    <a:lnTo>
                      <a:pt x="153" y="70"/>
                    </a:lnTo>
                    <a:lnTo>
                      <a:pt x="150" y="71"/>
                    </a:lnTo>
                    <a:lnTo>
                      <a:pt x="145" y="73"/>
                    </a:lnTo>
                    <a:lnTo>
                      <a:pt x="143" y="74"/>
                    </a:lnTo>
                    <a:lnTo>
                      <a:pt x="143" y="74"/>
                    </a:lnTo>
                    <a:lnTo>
                      <a:pt x="138" y="75"/>
                    </a:lnTo>
                    <a:lnTo>
                      <a:pt x="137" y="80"/>
                    </a:lnTo>
                    <a:lnTo>
                      <a:pt x="137" y="91"/>
                    </a:lnTo>
                    <a:lnTo>
                      <a:pt x="137" y="91"/>
                    </a:lnTo>
                    <a:lnTo>
                      <a:pt x="135" y="97"/>
                    </a:lnTo>
                    <a:lnTo>
                      <a:pt x="133" y="100"/>
                    </a:lnTo>
                    <a:lnTo>
                      <a:pt x="131" y="100"/>
                    </a:lnTo>
                    <a:lnTo>
                      <a:pt x="130" y="98"/>
                    </a:lnTo>
                    <a:lnTo>
                      <a:pt x="130" y="98"/>
                    </a:lnTo>
                    <a:lnTo>
                      <a:pt x="128" y="97"/>
                    </a:lnTo>
                    <a:lnTo>
                      <a:pt x="125" y="97"/>
                    </a:lnTo>
                    <a:lnTo>
                      <a:pt x="120" y="98"/>
                    </a:lnTo>
                    <a:lnTo>
                      <a:pt x="114" y="101"/>
                    </a:lnTo>
                    <a:lnTo>
                      <a:pt x="113" y="102"/>
                    </a:lnTo>
                    <a:lnTo>
                      <a:pt x="113" y="104"/>
                    </a:lnTo>
                    <a:lnTo>
                      <a:pt x="113" y="104"/>
                    </a:lnTo>
                    <a:lnTo>
                      <a:pt x="111" y="107"/>
                    </a:lnTo>
                    <a:lnTo>
                      <a:pt x="108" y="107"/>
                    </a:lnTo>
                    <a:lnTo>
                      <a:pt x="101" y="107"/>
                    </a:lnTo>
                    <a:lnTo>
                      <a:pt x="101" y="107"/>
                    </a:lnTo>
                    <a:lnTo>
                      <a:pt x="97" y="107"/>
                    </a:lnTo>
                    <a:lnTo>
                      <a:pt x="93" y="110"/>
                    </a:lnTo>
                    <a:lnTo>
                      <a:pt x="90" y="112"/>
                    </a:lnTo>
                    <a:lnTo>
                      <a:pt x="89" y="114"/>
                    </a:lnTo>
                    <a:lnTo>
                      <a:pt x="89" y="114"/>
                    </a:lnTo>
                    <a:lnTo>
                      <a:pt x="89" y="122"/>
                    </a:lnTo>
                    <a:lnTo>
                      <a:pt x="90" y="131"/>
                    </a:lnTo>
                    <a:lnTo>
                      <a:pt x="90" y="131"/>
                    </a:lnTo>
                    <a:lnTo>
                      <a:pt x="81" y="132"/>
                    </a:lnTo>
                    <a:lnTo>
                      <a:pt x="61" y="135"/>
                    </a:lnTo>
                    <a:lnTo>
                      <a:pt x="40" y="138"/>
                    </a:lnTo>
                    <a:lnTo>
                      <a:pt x="26" y="138"/>
                    </a:lnTo>
                    <a:lnTo>
                      <a:pt x="26" y="138"/>
                    </a:lnTo>
                    <a:lnTo>
                      <a:pt x="13" y="137"/>
                    </a:lnTo>
                    <a:lnTo>
                      <a:pt x="0" y="135"/>
                    </a:lnTo>
                    <a:lnTo>
                      <a:pt x="0" y="135"/>
                    </a:lnTo>
                    <a:lnTo>
                      <a:pt x="5" y="139"/>
                    </a:lnTo>
                    <a:lnTo>
                      <a:pt x="7" y="144"/>
                    </a:lnTo>
                    <a:lnTo>
                      <a:pt x="7" y="144"/>
                    </a:lnTo>
                    <a:lnTo>
                      <a:pt x="10" y="148"/>
                    </a:lnTo>
                    <a:lnTo>
                      <a:pt x="15" y="152"/>
                    </a:lnTo>
                    <a:lnTo>
                      <a:pt x="19" y="155"/>
                    </a:lnTo>
                    <a:lnTo>
                      <a:pt x="24" y="158"/>
                    </a:lnTo>
                    <a:lnTo>
                      <a:pt x="24" y="158"/>
                    </a:lnTo>
                    <a:lnTo>
                      <a:pt x="27" y="159"/>
                    </a:lnTo>
                    <a:lnTo>
                      <a:pt x="29" y="162"/>
                    </a:lnTo>
                    <a:lnTo>
                      <a:pt x="30" y="168"/>
                    </a:lnTo>
                    <a:lnTo>
                      <a:pt x="30" y="174"/>
                    </a:lnTo>
                    <a:lnTo>
                      <a:pt x="32" y="175"/>
                    </a:lnTo>
                    <a:lnTo>
                      <a:pt x="32" y="176"/>
                    </a:lnTo>
                    <a:lnTo>
                      <a:pt x="32" y="176"/>
                    </a:lnTo>
                    <a:lnTo>
                      <a:pt x="34" y="178"/>
                    </a:lnTo>
                    <a:lnTo>
                      <a:pt x="37" y="182"/>
                    </a:lnTo>
                    <a:lnTo>
                      <a:pt x="39" y="186"/>
                    </a:lnTo>
                    <a:lnTo>
                      <a:pt x="37" y="188"/>
                    </a:lnTo>
                    <a:lnTo>
                      <a:pt x="36" y="188"/>
                    </a:lnTo>
                    <a:lnTo>
                      <a:pt x="36" y="188"/>
                    </a:lnTo>
                    <a:lnTo>
                      <a:pt x="29" y="189"/>
                    </a:lnTo>
                    <a:lnTo>
                      <a:pt x="22" y="192"/>
                    </a:lnTo>
                    <a:lnTo>
                      <a:pt x="22" y="192"/>
                    </a:lnTo>
                    <a:lnTo>
                      <a:pt x="17" y="195"/>
                    </a:lnTo>
                    <a:lnTo>
                      <a:pt x="15" y="199"/>
                    </a:lnTo>
                    <a:lnTo>
                      <a:pt x="12" y="203"/>
                    </a:lnTo>
                    <a:lnTo>
                      <a:pt x="12" y="209"/>
                    </a:lnTo>
                    <a:lnTo>
                      <a:pt x="12" y="209"/>
                    </a:lnTo>
                    <a:lnTo>
                      <a:pt x="12" y="213"/>
                    </a:lnTo>
                    <a:lnTo>
                      <a:pt x="12" y="213"/>
                    </a:lnTo>
                    <a:lnTo>
                      <a:pt x="30" y="212"/>
                    </a:lnTo>
                    <a:lnTo>
                      <a:pt x="39" y="212"/>
                    </a:lnTo>
                    <a:lnTo>
                      <a:pt x="42" y="211"/>
                    </a:lnTo>
                    <a:lnTo>
                      <a:pt x="42" y="211"/>
                    </a:lnTo>
                    <a:lnTo>
                      <a:pt x="44" y="209"/>
                    </a:lnTo>
                    <a:lnTo>
                      <a:pt x="47" y="208"/>
                    </a:lnTo>
                    <a:lnTo>
                      <a:pt x="52" y="208"/>
                    </a:lnTo>
                    <a:lnTo>
                      <a:pt x="54" y="209"/>
                    </a:lnTo>
                    <a:lnTo>
                      <a:pt x="54" y="209"/>
                    </a:lnTo>
                    <a:lnTo>
                      <a:pt x="59" y="211"/>
                    </a:lnTo>
                    <a:lnTo>
                      <a:pt x="66" y="211"/>
                    </a:lnTo>
                    <a:lnTo>
                      <a:pt x="73" y="211"/>
                    </a:lnTo>
                    <a:lnTo>
                      <a:pt x="80" y="209"/>
                    </a:lnTo>
                    <a:lnTo>
                      <a:pt x="80" y="209"/>
                    </a:lnTo>
                    <a:lnTo>
                      <a:pt x="86" y="206"/>
                    </a:lnTo>
                    <a:lnTo>
                      <a:pt x="89" y="208"/>
                    </a:lnTo>
                    <a:lnTo>
                      <a:pt x="91" y="209"/>
                    </a:lnTo>
                    <a:lnTo>
                      <a:pt x="93" y="212"/>
                    </a:lnTo>
                    <a:lnTo>
                      <a:pt x="93" y="212"/>
                    </a:lnTo>
                    <a:lnTo>
                      <a:pt x="93" y="215"/>
                    </a:lnTo>
                    <a:lnTo>
                      <a:pt x="96" y="216"/>
                    </a:lnTo>
                    <a:lnTo>
                      <a:pt x="100" y="221"/>
                    </a:lnTo>
                    <a:lnTo>
                      <a:pt x="100" y="221"/>
                    </a:lnTo>
                    <a:lnTo>
                      <a:pt x="101" y="223"/>
                    </a:lnTo>
                    <a:lnTo>
                      <a:pt x="101" y="226"/>
                    </a:lnTo>
                    <a:lnTo>
                      <a:pt x="103" y="229"/>
                    </a:lnTo>
                    <a:lnTo>
                      <a:pt x="103" y="232"/>
                    </a:lnTo>
                    <a:lnTo>
                      <a:pt x="103" y="232"/>
                    </a:lnTo>
                    <a:lnTo>
                      <a:pt x="106" y="235"/>
                    </a:lnTo>
                    <a:lnTo>
                      <a:pt x="108" y="235"/>
                    </a:lnTo>
                    <a:lnTo>
                      <a:pt x="117" y="238"/>
                    </a:lnTo>
                    <a:lnTo>
                      <a:pt x="117" y="238"/>
                    </a:lnTo>
                    <a:lnTo>
                      <a:pt x="120" y="240"/>
                    </a:lnTo>
                    <a:lnTo>
                      <a:pt x="120" y="240"/>
                    </a:lnTo>
                    <a:lnTo>
                      <a:pt x="121" y="239"/>
                    </a:lnTo>
                    <a:lnTo>
                      <a:pt x="121" y="239"/>
                    </a:lnTo>
                    <a:lnTo>
                      <a:pt x="125" y="230"/>
                    </a:lnTo>
                    <a:lnTo>
                      <a:pt x="130" y="229"/>
                    </a:lnTo>
                    <a:lnTo>
                      <a:pt x="135" y="229"/>
                    </a:lnTo>
                    <a:lnTo>
                      <a:pt x="135" y="229"/>
                    </a:lnTo>
                    <a:lnTo>
                      <a:pt x="141" y="229"/>
                    </a:lnTo>
                    <a:lnTo>
                      <a:pt x="144" y="229"/>
                    </a:lnTo>
                    <a:lnTo>
                      <a:pt x="147" y="228"/>
                    </a:lnTo>
                    <a:lnTo>
                      <a:pt x="151" y="228"/>
                    </a:lnTo>
                    <a:lnTo>
                      <a:pt x="151" y="228"/>
                    </a:lnTo>
                    <a:lnTo>
                      <a:pt x="158" y="228"/>
                    </a:lnTo>
                    <a:lnTo>
                      <a:pt x="161" y="228"/>
                    </a:lnTo>
                    <a:lnTo>
                      <a:pt x="162" y="225"/>
                    </a:lnTo>
                    <a:lnTo>
                      <a:pt x="162" y="225"/>
                    </a:lnTo>
                    <a:lnTo>
                      <a:pt x="164" y="222"/>
                    </a:lnTo>
                    <a:lnTo>
                      <a:pt x="162" y="218"/>
                    </a:lnTo>
                    <a:lnTo>
                      <a:pt x="157" y="211"/>
                    </a:lnTo>
                    <a:lnTo>
                      <a:pt x="157" y="211"/>
                    </a:lnTo>
                    <a:lnTo>
                      <a:pt x="153" y="203"/>
                    </a:lnTo>
                    <a:lnTo>
                      <a:pt x="150" y="198"/>
                    </a:lnTo>
                    <a:lnTo>
                      <a:pt x="150" y="194"/>
                    </a:lnTo>
                    <a:lnTo>
                      <a:pt x="150" y="194"/>
                    </a:lnTo>
                    <a:lnTo>
                      <a:pt x="150" y="192"/>
                    </a:lnTo>
                    <a:lnTo>
                      <a:pt x="148" y="189"/>
                    </a:lnTo>
                    <a:lnTo>
                      <a:pt x="145" y="188"/>
                    </a:lnTo>
                    <a:lnTo>
                      <a:pt x="141" y="185"/>
                    </a:lnTo>
                    <a:lnTo>
                      <a:pt x="140" y="184"/>
                    </a:lnTo>
                    <a:lnTo>
                      <a:pt x="140" y="182"/>
                    </a:lnTo>
                    <a:lnTo>
                      <a:pt x="140" y="182"/>
                    </a:lnTo>
                    <a:lnTo>
                      <a:pt x="141" y="178"/>
                    </a:lnTo>
                    <a:lnTo>
                      <a:pt x="145" y="174"/>
                    </a:lnTo>
                    <a:lnTo>
                      <a:pt x="153" y="166"/>
                    </a:lnTo>
                    <a:lnTo>
                      <a:pt x="153" y="166"/>
                    </a:lnTo>
                    <a:lnTo>
                      <a:pt x="154" y="166"/>
                    </a:lnTo>
                    <a:lnTo>
                      <a:pt x="158" y="168"/>
                    </a:lnTo>
                    <a:lnTo>
                      <a:pt x="161" y="169"/>
                    </a:lnTo>
                    <a:lnTo>
                      <a:pt x="162" y="169"/>
                    </a:lnTo>
                    <a:lnTo>
                      <a:pt x="164" y="168"/>
                    </a:lnTo>
                    <a:lnTo>
                      <a:pt x="164" y="168"/>
                    </a:lnTo>
                    <a:lnTo>
                      <a:pt x="165" y="166"/>
                    </a:lnTo>
                    <a:lnTo>
                      <a:pt x="168" y="166"/>
                    </a:lnTo>
                    <a:lnTo>
                      <a:pt x="175" y="168"/>
                    </a:lnTo>
                    <a:lnTo>
                      <a:pt x="175" y="168"/>
                    </a:lnTo>
                    <a:lnTo>
                      <a:pt x="177" y="166"/>
                    </a:lnTo>
                    <a:lnTo>
                      <a:pt x="180" y="164"/>
                    </a:lnTo>
                    <a:lnTo>
                      <a:pt x="182" y="159"/>
                    </a:lnTo>
                    <a:lnTo>
                      <a:pt x="184" y="155"/>
                    </a:lnTo>
                    <a:lnTo>
                      <a:pt x="184" y="155"/>
                    </a:lnTo>
                    <a:lnTo>
                      <a:pt x="184" y="154"/>
                    </a:lnTo>
                    <a:lnTo>
                      <a:pt x="185" y="152"/>
                    </a:lnTo>
                    <a:lnTo>
                      <a:pt x="190" y="151"/>
                    </a:lnTo>
                    <a:lnTo>
                      <a:pt x="197" y="148"/>
                    </a:lnTo>
                    <a:lnTo>
                      <a:pt x="197" y="148"/>
                    </a:lnTo>
                    <a:lnTo>
                      <a:pt x="201" y="139"/>
                    </a:lnTo>
                    <a:lnTo>
                      <a:pt x="204" y="131"/>
                    </a:lnTo>
                    <a:lnTo>
                      <a:pt x="204" y="131"/>
                    </a:lnTo>
                    <a:lnTo>
                      <a:pt x="205" y="129"/>
                    </a:lnTo>
                    <a:lnTo>
                      <a:pt x="208" y="128"/>
                    </a:lnTo>
                    <a:lnTo>
                      <a:pt x="211" y="127"/>
                    </a:lnTo>
                    <a:lnTo>
                      <a:pt x="212" y="125"/>
                    </a:lnTo>
                    <a:lnTo>
                      <a:pt x="212" y="122"/>
                    </a:lnTo>
                    <a:lnTo>
                      <a:pt x="212" y="122"/>
                    </a:lnTo>
                    <a:lnTo>
                      <a:pt x="214" y="118"/>
                    </a:lnTo>
                    <a:lnTo>
                      <a:pt x="215" y="115"/>
                    </a:lnTo>
                    <a:lnTo>
                      <a:pt x="218" y="114"/>
                    </a:lnTo>
                    <a:lnTo>
                      <a:pt x="221" y="114"/>
                    </a:lnTo>
                    <a:lnTo>
                      <a:pt x="221" y="114"/>
                    </a:lnTo>
                    <a:lnTo>
                      <a:pt x="222" y="112"/>
                    </a:lnTo>
                    <a:lnTo>
                      <a:pt x="224" y="110"/>
                    </a:lnTo>
                    <a:lnTo>
                      <a:pt x="224" y="102"/>
                    </a:lnTo>
                    <a:lnTo>
                      <a:pt x="224" y="102"/>
                    </a:lnTo>
                    <a:lnTo>
                      <a:pt x="224" y="98"/>
                    </a:lnTo>
                    <a:lnTo>
                      <a:pt x="226" y="94"/>
                    </a:lnTo>
                    <a:lnTo>
                      <a:pt x="228" y="91"/>
                    </a:lnTo>
                    <a:lnTo>
                      <a:pt x="232" y="90"/>
                    </a:lnTo>
                    <a:lnTo>
                      <a:pt x="232" y="90"/>
                    </a:lnTo>
                    <a:lnTo>
                      <a:pt x="234" y="90"/>
                    </a:lnTo>
                    <a:lnTo>
                      <a:pt x="234" y="88"/>
                    </a:lnTo>
                    <a:lnTo>
                      <a:pt x="232" y="85"/>
                    </a:lnTo>
                    <a:lnTo>
                      <a:pt x="228" y="83"/>
                    </a:lnTo>
                    <a:lnTo>
                      <a:pt x="224" y="83"/>
                    </a:lnTo>
                    <a:lnTo>
                      <a:pt x="224" y="83"/>
                    </a:lnTo>
                    <a:lnTo>
                      <a:pt x="222" y="83"/>
                    </a:lnTo>
                    <a:lnTo>
                      <a:pt x="221" y="81"/>
                    </a:lnTo>
                    <a:lnTo>
                      <a:pt x="217" y="75"/>
                    </a:lnTo>
                    <a:lnTo>
                      <a:pt x="215" y="68"/>
                    </a:lnTo>
                    <a:lnTo>
                      <a:pt x="215" y="68"/>
                    </a:lnTo>
                    <a:lnTo>
                      <a:pt x="215" y="61"/>
                    </a:lnTo>
                    <a:lnTo>
                      <a:pt x="214" y="56"/>
                    </a:lnTo>
                    <a:lnTo>
                      <a:pt x="212" y="53"/>
                    </a:lnTo>
                    <a:lnTo>
                      <a:pt x="212" y="53"/>
                    </a:lnTo>
                    <a:lnTo>
                      <a:pt x="211" y="50"/>
                    </a:lnTo>
                    <a:lnTo>
                      <a:pt x="212" y="47"/>
                    </a:lnTo>
                    <a:lnTo>
                      <a:pt x="215" y="44"/>
                    </a:lnTo>
                    <a:lnTo>
                      <a:pt x="221" y="44"/>
                    </a:lnTo>
                    <a:lnTo>
                      <a:pt x="221" y="44"/>
                    </a:lnTo>
                    <a:lnTo>
                      <a:pt x="226" y="44"/>
                    </a:lnTo>
                    <a:lnTo>
                      <a:pt x="234" y="47"/>
                    </a:lnTo>
                    <a:lnTo>
                      <a:pt x="239" y="48"/>
                    </a:lnTo>
                    <a:lnTo>
                      <a:pt x="242" y="48"/>
                    </a:lnTo>
                    <a:lnTo>
                      <a:pt x="244" y="48"/>
                    </a:lnTo>
                    <a:lnTo>
                      <a:pt x="244" y="48"/>
                    </a:lnTo>
                    <a:lnTo>
                      <a:pt x="254" y="44"/>
                    </a:lnTo>
                    <a:lnTo>
                      <a:pt x="261" y="41"/>
                    </a:lnTo>
                    <a:lnTo>
                      <a:pt x="261" y="41"/>
                    </a:lnTo>
                    <a:lnTo>
                      <a:pt x="263" y="37"/>
                    </a:lnTo>
                    <a:lnTo>
                      <a:pt x="266" y="31"/>
                    </a:lnTo>
                    <a:lnTo>
                      <a:pt x="266" y="31"/>
                    </a:lnTo>
                    <a:lnTo>
                      <a:pt x="254" y="26"/>
                    </a:lnTo>
                    <a:lnTo>
                      <a:pt x="254" y="2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8" name="Iran">
                <a:extLst>
                  <a:ext uri="{FF2B5EF4-FFF2-40B4-BE49-F238E27FC236}">
                    <a16:creationId xmlns:a16="http://schemas.microsoft.com/office/drawing/2014/main" id="{83FB8AAB-6285-8245-B42B-439F69943E32}"/>
                  </a:ext>
                </a:extLst>
              </p:cNvPr>
              <p:cNvSpPr>
                <a:spLocks/>
              </p:cNvSpPr>
              <p:nvPr/>
            </p:nvSpPr>
            <p:spPr bwMode="auto">
              <a:xfrm>
                <a:off x="5360726" y="3303486"/>
                <a:ext cx="463172" cy="395102"/>
              </a:xfrm>
              <a:custGeom>
                <a:avLst/>
                <a:gdLst/>
                <a:ahLst/>
                <a:cxnLst>
                  <a:cxn ang="0">
                    <a:pos x="304" y="222"/>
                  </a:cxn>
                  <a:cxn ang="0">
                    <a:pos x="293" y="209"/>
                  </a:cxn>
                  <a:cxn ang="0">
                    <a:pos x="280" y="195"/>
                  </a:cxn>
                  <a:cxn ang="0">
                    <a:pos x="274" y="181"/>
                  </a:cxn>
                  <a:cxn ang="0">
                    <a:pos x="287" y="162"/>
                  </a:cxn>
                  <a:cxn ang="0">
                    <a:pos x="271" y="154"/>
                  </a:cxn>
                  <a:cxn ang="0">
                    <a:pos x="270" y="135"/>
                  </a:cxn>
                  <a:cxn ang="0">
                    <a:pos x="270" y="118"/>
                  </a:cxn>
                  <a:cxn ang="0">
                    <a:pos x="274" y="100"/>
                  </a:cxn>
                  <a:cxn ang="0">
                    <a:pos x="281" y="84"/>
                  </a:cxn>
                  <a:cxn ang="0">
                    <a:pos x="277" y="63"/>
                  </a:cxn>
                  <a:cxn ang="0">
                    <a:pos x="262" y="58"/>
                  </a:cxn>
                  <a:cxn ang="0">
                    <a:pos x="252" y="51"/>
                  </a:cxn>
                  <a:cxn ang="0">
                    <a:pos x="244" y="44"/>
                  </a:cxn>
                  <a:cxn ang="0">
                    <a:pos x="229" y="40"/>
                  </a:cxn>
                  <a:cxn ang="0">
                    <a:pos x="216" y="34"/>
                  </a:cxn>
                  <a:cxn ang="0">
                    <a:pos x="197" y="34"/>
                  </a:cxn>
                  <a:cxn ang="0">
                    <a:pos x="186" y="36"/>
                  </a:cxn>
                  <a:cxn ang="0">
                    <a:pos x="169" y="47"/>
                  </a:cxn>
                  <a:cxn ang="0">
                    <a:pos x="158" y="57"/>
                  </a:cxn>
                  <a:cxn ang="0">
                    <a:pos x="124" y="64"/>
                  </a:cxn>
                  <a:cxn ang="0">
                    <a:pos x="102" y="50"/>
                  </a:cxn>
                  <a:cxn ang="0">
                    <a:pos x="87" y="44"/>
                  </a:cxn>
                  <a:cxn ang="0">
                    <a:pos x="67" y="23"/>
                  </a:cxn>
                  <a:cxn ang="0">
                    <a:pos x="65" y="10"/>
                  </a:cxn>
                  <a:cxn ang="0">
                    <a:pos x="47" y="14"/>
                  </a:cxn>
                  <a:cxn ang="0">
                    <a:pos x="21" y="17"/>
                  </a:cxn>
                  <a:cxn ang="0">
                    <a:pos x="14" y="9"/>
                  </a:cxn>
                  <a:cxn ang="0">
                    <a:pos x="7" y="0"/>
                  </a:cxn>
                  <a:cxn ang="0">
                    <a:pos x="3" y="9"/>
                  </a:cxn>
                  <a:cxn ang="0">
                    <a:pos x="0" y="14"/>
                  </a:cxn>
                  <a:cxn ang="0">
                    <a:pos x="1" y="36"/>
                  </a:cxn>
                  <a:cxn ang="0">
                    <a:pos x="10" y="48"/>
                  </a:cxn>
                  <a:cxn ang="0">
                    <a:pos x="14" y="61"/>
                  </a:cxn>
                  <a:cxn ang="0">
                    <a:pos x="21" y="73"/>
                  </a:cxn>
                  <a:cxn ang="0">
                    <a:pos x="31" y="80"/>
                  </a:cxn>
                  <a:cxn ang="0">
                    <a:pos x="28" y="88"/>
                  </a:cxn>
                  <a:cxn ang="0">
                    <a:pos x="24" y="98"/>
                  </a:cxn>
                  <a:cxn ang="0">
                    <a:pos x="23" y="114"/>
                  </a:cxn>
                  <a:cxn ang="0">
                    <a:pos x="32" y="125"/>
                  </a:cxn>
                  <a:cxn ang="0">
                    <a:pos x="45" y="135"/>
                  </a:cxn>
                  <a:cxn ang="0">
                    <a:pos x="57" y="147"/>
                  </a:cxn>
                  <a:cxn ang="0">
                    <a:pos x="57" y="156"/>
                  </a:cxn>
                  <a:cxn ang="0">
                    <a:pos x="62" y="168"/>
                  </a:cxn>
                  <a:cxn ang="0">
                    <a:pos x="71" y="181"/>
                  </a:cxn>
                  <a:cxn ang="0">
                    <a:pos x="79" y="176"/>
                  </a:cxn>
                  <a:cxn ang="0">
                    <a:pos x="94" y="178"/>
                  </a:cxn>
                  <a:cxn ang="0">
                    <a:pos x="109" y="202"/>
                  </a:cxn>
                  <a:cxn ang="0">
                    <a:pos x="124" y="219"/>
                  </a:cxn>
                  <a:cxn ang="0">
                    <a:pos x="146" y="232"/>
                  </a:cxn>
                  <a:cxn ang="0">
                    <a:pos x="180" y="240"/>
                  </a:cxn>
                  <a:cxn ang="0">
                    <a:pos x="200" y="233"/>
                  </a:cxn>
                  <a:cxn ang="0">
                    <a:pos x="213" y="255"/>
                  </a:cxn>
                  <a:cxn ang="0">
                    <a:pos x="269" y="266"/>
                  </a:cxn>
                  <a:cxn ang="0">
                    <a:pos x="286" y="263"/>
                  </a:cxn>
                  <a:cxn ang="0">
                    <a:pos x="296" y="246"/>
                  </a:cxn>
                  <a:cxn ang="0">
                    <a:pos x="313" y="240"/>
                  </a:cxn>
                </a:cxnLst>
                <a:rect l="0" t="0" r="r" b="b"/>
                <a:pathLst>
                  <a:path w="313" h="267">
                    <a:moveTo>
                      <a:pt x="306" y="230"/>
                    </a:moveTo>
                    <a:lnTo>
                      <a:pt x="306" y="230"/>
                    </a:lnTo>
                    <a:lnTo>
                      <a:pt x="306" y="229"/>
                    </a:lnTo>
                    <a:lnTo>
                      <a:pt x="304" y="228"/>
                    </a:lnTo>
                    <a:lnTo>
                      <a:pt x="304" y="222"/>
                    </a:lnTo>
                    <a:lnTo>
                      <a:pt x="303" y="216"/>
                    </a:lnTo>
                    <a:lnTo>
                      <a:pt x="301" y="213"/>
                    </a:lnTo>
                    <a:lnTo>
                      <a:pt x="298" y="212"/>
                    </a:lnTo>
                    <a:lnTo>
                      <a:pt x="298" y="212"/>
                    </a:lnTo>
                    <a:lnTo>
                      <a:pt x="293" y="209"/>
                    </a:lnTo>
                    <a:lnTo>
                      <a:pt x="289" y="206"/>
                    </a:lnTo>
                    <a:lnTo>
                      <a:pt x="284" y="202"/>
                    </a:lnTo>
                    <a:lnTo>
                      <a:pt x="281" y="198"/>
                    </a:lnTo>
                    <a:lnTo>
                      <a:pt x="281" y="198"/>
                    </a:lnTo>
                    <a:lnTo>
                      <a:pt x="280" y="195"/>
                    </a:lnTo>
                    <a:lnTo>
                      <a:pt x="276" y="191"/>
                    </a:lnTo>
                    <a:lnTo>
                      <a:pt x="273" y="188"/>
                    </a:lnTo>
                    <a:lnTo>
                      <a:pt x="271" y="185"/>
                    </a:lnTo>
                    <a:lnTo>
                      <a:pt x="271" y="185"/>
                    </a:lnTo>
                    <a:lnTo>
                      <a:pt x="274" y="181"/>
                    </a:lnTo>
                    <a:lnTo>
                      <a:pt x="281" y="174"/>
                    </a:lnTo>
                    <a:lnTo>
                      <a:pt x="286" y="168"/>
                    </a:lnTo>
                    <a:lnTo>
                      <a:pt x="289" y="165"/>
                    </a:lnTo>
                    <a:lnTo>
                      <a:pt x="287" y="162"/>
                    </a:lnTo>
                    <a:lnTo>
                      <a:pt x="287" y="162"/>
                    </a:lnTo>
                    <a:lnTo>
                      <a:pt x="287" y="159"/>
                    </a:lnTo>
                    <a:lnTo>
                      <a:pt x="284" y="158"/>
                    </a:lnTo>
                    <a:lnTo>
                      <a:pt x="280" y="156"/>
                    </a:lnTo>
                    <a:lnTo>
                      <a:pt x="274" y="155"/>
                    </a:lnTo>
                    <a:lnTo>
                      <a:pt x="271" y="154"/>
                    </a:lnTo>
                    <a:lnTo>
                      <a:pt x="271" y="154"/>
                    </a:lnTo>
                    <a:lnTo>
                      <a:pt x="271" y="147"/>
                    </a:lnTo>
                    <a:lnTo>
                      <a:pt x="271" y="141"/>
                    </a:lnTo>
                    <a:lnTo>
                      <a:pt x="270" y="135"/>
                    </a:lnTo>
                    <a:lnTo>
                      <a:pt x="270" y="135"/>
                    </a:lnTo>
                    <a:lnTo>
                      <a:pt x="269" y="129"/>
                    </a:lnTo>
                    <a:lnTo>
                      <a:pt x="269" y="125"/>
                    </a:lnTo>
                    <a:lnTo>
                      <a:pt x="270" y="121"/>
                    </a:lnTo>
                    <a:lnTo>
                      <a:pt x="270" y="118"/>
                    </a:lnTo>
                    <a:lnTo>
                      <a:pt x="270" y="118"/>
                    </a:lnTo>
                    <a:lnTo>
                      <a:pt x="269" y="114"/>
                    </a:lnTo>
                    <a:lnTo>
                      <a:pt x="269" y="111"/>
                    </a:lnTo>
                    <a:lnTo>
                      <a:pt x="271" y="104"/>
                    </a:lnTo>
                    <a:lnTo>
                      <a:pt x="271" y="104"/>
                    </a:lnTo>
                    <a:lnTo>
                      <a:pt x="274" y="100"/>
                    </a:lnTo>
                    <a:lnTo>
                      <a:pt x="277" y="95"/>
                    </a:lnTo>
                    <a:lnTo>
                      <a:pt x="277" y="91"/>
                    </a:lnTo>
                    <a:lnTo>
                      <a:pt x="277" y="91"/>
                    </a:lnTo>
                    <a:lnTo>
                      <a:pt x="279" y="87"/>
                    </a:lnTo>
                    <a:lnTo>
                      <a:pt x="281" y="84"/>
                    </a:lnTo>
                    <a:lnTo>
                      <a:pt x="281" y="84"/>
                    </a:lnTo>
                    <a:lnTo>
                      <a:pt x="279" y="73"/>
                    </a:lnTo>
                    <a:lnTo>
                      <a:pt x="279" y="64"/>
                    </a:lnTo>
                    <a:lnTo>
                      <a:pt x="279" y="64"/>
                    </a:lnTo>
                    <a:lnTo>
                      <a:pt x="277" y="63"/>
                    </a:lnTo>
                    <a:lnTo>
                      <a:pt x="274" y="63"/>
                    </a:lnTo>
                    <a:lnTo>
                      <a:pt x="267" y="63"/>
                    </a:lnTo>
                    <a:lnTo>
                      <a:pt x="267" y="63"/>
                    </a:lnTo>
                    <a:lnTo>
                      <a:pt x="264" y="61"/>
                    </a:lnTo>
                    <a:lnTo>
                      <a:pt x="262" y="58"/>
                    </a:lnTo>
                    <a:lnTo>
                      <a:pt x="259" y="55"/>
                    </a:lnTo>
                    <a:lnTo>
                      <a:pt x="256" y="54"/>
                    </a:lnTo>
                    <a:lnTo>
                      <a:pt x="256" y="54"/>
                    </a:lnTo>
                    <a:lnTo>
                      <a:pt x="253" y="53"/>
                    </a:lnTo>
                    <a:lnTo>
                      <a:pt x="252" y="51"/>
                    </a:lnTo>
                    <a:lnTo>
                      <a:pt x="250" y="50"/>
                    </a:lnTo>
                    <a:lnTo>
                      <a:pt x="249" y="48"/>
                    </a:lnTo>
                    <a:lnTo>
                      <a:pt x="249" y="48"/>
                    </a:lnTo>
                    <a:lnTo>
                      <a:pt x="247" y="46"/>
                    </a:lnTo>
                    <a:lnTo>
                      <a:pt x="244" y="44"/>
                    </a:lnTo>
                    <a:lnTo>
                      <a:pt x="236" y="44"/>
                    </a:lnTo>
                    <a:lnTo>
                      <a:pt x="236" y="44"/>
                    </a:lnTo>
                    <a:lnTo>
                      <a:pt x="232" y="43"/>
                    </a:lnTo>
                    <a:lnTo>
                      <a:pt x="230" y="41"/>
                    </a:lnTo>
                    <a:lnTo>
                      <a:pt x="229" y="40"/>
                    </a:lnTo>
                    <a:lnTo>
                      <a:pt x="227" y="40"/>
                    </a:lnTo>
                    <a:lnTo>
                      <a:pt x="227" y="40"/>
                    </a:lnTo>
                    <a:lnTo>
                      <a:pt x="222" y="38"/>
                    </a:lnTo>
                    <a:lnTo>
                      <a:pt x="219" y="37"/>
                    </a:lnTo>
                    <a:lnTo>
                      <a:pt x="216" y="34"/>
                    </a:lnTo>
                    <a:lnTo>
                      <a:pt x="216" y="34"/>
                    </a:lnTo>
                    <a:lnTo>
                      <a:pt x="212" y="33"/>
                    </a:lnTo>
                    <a:lnTo>
                      <a:pt x="206" y="31"/>
                    </a:lnTo>
                    <a:lnTo>
                      <a:pt x="200" y="33"/>
                    </a:lnTo>
                    <a:lnTo>
                      <a:pt x="197" y="34"/>
                    </a:lnTo>
                    <a:lnTo>
                      <a:pt x="197" y="34"/>
                    </a:lnTo>
                    <a:lnTo>
                      <a:pt x="195" y="36"/>
                    </a:lnTo>
                    <a:lnTo>
                      <a:pt x="192" y="36"/>
                    </a:lnTo>
                    <a:lnTo>
                      <a:pt x="186" y="36"/>
                    </a:lnTo>
                    <a:lnTo>
                      <a:pt x="186" y="36"/>
                    </a:lnTo>
                    <a:lnTo>
                      <a:pt x="182" y="37"/>
                    </a:lnTo>
                    <a:lnTo>
                      <a:pt x="178" y="40"/>
                    </a:lnTo>
                    <a:lnTo>
                      <a:pt x="172" y="46"/>
                    </a:lnTo>
                    <a:lnTo>
                      <a:pt x="172" y="46"/>
                    </a:lnTo>
                    <a:lnTo>
                      <a:pt x="169" y="47"/>
                    </a:lnTo>
                    <a:lnTo>
                      <a:pt x="166" y="47"/>
                    </a:lnTo>
                    <a:lnTo>
                      <a:pt x="159" y="48"/>
                    </a:lnTo>
                    <a:lnTo>
                      <a:pt x="159" y="48"/>
                    </a:lnTo>
                    <a:lnTo>
                      <a:pt x="159" y="53"/>
                    </a:lnTo>
                    <a:lnTo>
                      <a:pt x="158" y="57"/>
                    </a:lnTo>
                    <a:lnTo>
                      <a:pt x="158" y="57"/>
                    </a:lnTo>
                    <a:lnTo>
                      <a:pt x="153" y="58"/>
                    </a:lnTo>
                    <a:lnTo>
                      <a:pt x="145" y="61"/>
                    </a:lnTo>
                    <a:lnTo>
                      <a:pt x="133" y="63"/>
                    </a:lnTo>
                    <a:lnTo>
                      <a:pt x="124" y="64"/>
                    </a:lnTo>
                    <a:lnTo>
                      <a:pt x="124" y="64"/>
                    </a:lnTo>
                    <a:lnTo>
                      <a:pt x="119" y="63"/>
                    </a:lnTo>
                    <a:lnTo>
                      <a:pt x="115" y="61"/>
                    </a:lnTo>
                    <a:lnTo>
                      <a:pt x="109" y="55"/>
                    </a:lnTo>
                    <a:lnTo>
                      <a:pt x="102" y="50"/>
                    </a:lnTo>
                    <a:lnTo>
                      <a:pt x="99" y="47"/>
                    </a:lnTo>
                    <a:lnTo>
                      <a:pt x="94" y="47"/>
                    </a:lnTo>
                    <a:lnTo>
                      <a:pt x="94" y="47"/>
                    </a:lnTo>
                    <a:lnTo>
                      <a:pt x="89" y="46"/>
                    </a:lnTo>
                    <a:lnTo>
                      <a:pt x="87" y="44"/>
                    </a:lnTo>
                    <a:lnTo>
                      <a:pt x="81" y="40"/>
                    </a:lnTo>
                    <a:lnTo>
                      <a:pt x="77" y="34"/>
                    </a:lnTo>
                    <a:lnTo>
                      <a:pt x="75" y="27"/>
                    </a:lnTo>
                    <a:lnTo>
                      <a:pt x="75" y="27"/>
                    </a:lnTo>
                    <a:lnTo>
                      <a:pt x="67" y="23"/>
                    </a:lnTo>
                    <a:lnTo>
                      <a:pt x="64" y="21"/>
                    </a:lnTo>
                    <a:lnTo>
                      <a:pt x="62" y="18"/>
                    </a:lnTo>
                    <a:lnTo>
                      <a:pt x="62" y="18"/>
                    </a:lnTo>
                    <a:lnTo>
                      <a:pt x="64" y="16"/>
                    </a:lnTo>
                    <a:lnTo>
                      <a:pt x="65" y="10"/>
                    </a:lnTo>
                    <a:lnTo>
                      <a:pt x="64" y="4"/>
                    </a:lnTo>
                    <a:lnTo>
                      <a:pt x="62" y="4"/>
                    </a:lnTo>
                    <a:lnTo>
                      <a:pt x="60" y="4"/>
                    </a:lnTo>
                    <a:lnTo>
                      <a:pt x="60" y="4"/>
                    </a:lnTo>
                    <a:lnTo>
                      <a:pt x="47" y="14"/>
                    </a:lnTo>
                    <a:lnTo>
                      <a:pt x="37" y="17"/>
                    </a:lnTo>
                    <a:lnTo>
                      <a:pt x="32" y="18"/>
                    </a:lnTo>
                    <a:lnTo>
                      <a:pt x="28" y="18"/>
                    </a:lnTo>
                    <a:lnTo>
                      <a:pt x="28" y="18"/>
                    </a:lnTo>
                    <a:lnTo>
                      <a:pt x="21" y="17"/>
                    </a:lnTo>
                    <a:lnTo>
                      <a:pt x="20" y="16"/>
                    </a:lnTo>
                    <a:lnTo>
                      <a:pt x="20" y="14"/>
                    </a:lnTo>
                    <a:lnTo>
                      <a:pt x="17" y="13"/>
                    </a:lnTo>
                    <a:lnTo>
                      <a:pt x="17" y="13"/>
                    </a:lnTo>
                    <a:lnTo>
                      <a:pt x="14" y="9"/>
                    </a:lnTo>
                    <a:lnTo>
                      <a:pt x="13" y="6"/>
                    </a:lnTo>
                    <a:lnTo>
                      <a:pt x="11" y="1"/>
                    </a:lnTo>
                    <a:lnTo>
                      <a:pt x="10" y="1"/>
                    </a:lnTo>
                    <a:lnTo>
                      <a:pt x="7" y="0"/>
                    </a:lnTo>
                    <a:lnTo>
                      <a:pt x="7" y="0"/>
                    </a:lnTo>
                    <a:lnTo>
                      <a:pt x="5" y="0"/>
                    </a:lnTo>
                    <a:lnTo>
                      <a:pt x="4" y="1"/>
                    </a:lnTo>
                    <a:lnTo>
                      <a:pt x="3" y="4"/>
                    </a:lnTo>
                    <a:lnTo>
                      <a:pt x="3" y="7"/>
                    </a:lnTo>
                    <a:lnTo>
                      <a:pt x="3" y="9"/>
                    </a:lnTo>
                    <a:lnTo>
                      <a:pt x="1" y="9"/>
                    </a:lnTo>
                    <a:lnTo>
                      <a:pt x="1" y="9"/>
                    </a:lnTo>
                    <a:lnTo>
                      <a:pt x="1" y="9"/>
                    </a:lnTo>
                    <a:lnTo>
                      <a:pt x="0" y="10"/>
                    </a:lnTo>
                    <a:lnTo>
                      <a:pt x="0" y="14"/>
                    </a:lnTo>
                    <a:lnTo>
                      <a:pt x="3" y="21"/>
                    </a:lnTo>
                    <a:lnTo>
                      <a:pt x="3" y="21"/>
                    </a:lnTo>
                    <a:lnTo>
                      <a:pt x="3" y="26"/>
                    </a:lnTo>
                    <a:lnTo>
                      <a:pt x="1" y="31"/>
                    </a:lnTo>
                    <a:lnTo>
                      <a:pt x="1" y="36"/>
                    </a:lnTo>
                    <a:lnTo>
                      <a:pt x="3" y="38"/>
                    </a:lnTo>
                    <a:lnTo>
                      <a:pt x="3" y="38"/>
                    </a:lnTo>
                    <a:lnTo>
                      <a:pt x="4" y="41"/>
                    </a:lnTo>
                    <a:lnTo>
                      <a:pt x="7" y="44"/>
                    </a:lnTo>
                    <a:lnTo>
                      <a:pt x="10" y="48"/>
                    </a:lnTo>
                    <a:lnTo>
                      <a:pt x="10" y="51"/>
                    </a:lnTo>
                    <a:lnTo>
                      <a:pt x="10" y="51"/>
                    </a:lnTo>
                    <a:lnTo>
                      <a:pt x="11" y="54"/>
                    </a:lnTo>
                    <a:lnTo>
                      <a:pt x="13" y="57"/>
                    </a:lnTo>
                    <a:lnTo>
                      <a:pt x="14" y="61"/>
                    </a:lnTo>
                    <a:lnTo>
                      <a:pt x="15" y="64"/>
                    </a:lnTo>
                    <a:lnTo>
                      <a:pt x="15" y="64"/>
                    </a:lnTo>
                    <a:lnTo>
                      <a:pt x="17" y="67"/>
                    </a:lnTo>
                    <a:lnTo>
                      <a:pt x="18" y="71"/>
                    </a:lnTo>
                    <a:lnTo>
                      <a:pt x="21" y="73"/>
                    </a:lnTo>
                    <a:lnTo>
                      <a:pt x="24" y="74"/>
                    </a:lnTo>
                    <a:lnTo>
                      <a:pt x="24" y="74"/>
                    </a:lnTo>
                    <a:lnTo>
                      <a:pt x="30" y="75"/>
                    </a:lnTo>
                    <a:lnTo>
                      <a:pt x="31" y="77"/>
                    </a:lnTo>
                    <a:lnTo>
                      <a:pt x="31" y="80"/>
                    </a:lnTo>
                    <a:lnTo>
                      <a:pt x="31" y="80"/>
                    </a:lnTo>
                    <a:lnTo>
                      <a:pt x="31" y="82"/>
                    </a:lnTo>
                    <a:lnTo>
                      <a:pt x="31" y="85"/>
                    </a:lnTo>
                    <a:lnTo>
                      <a:pt x="31" y="88"/>
                    </a:lnTo>
                    <a:lnTo>
                      <a:pt x="28" y="88"/>
                    </a:lnTo>
                    <a:lnTo>
                      <a:pt x="28" y="88"/>
                    </a:lnTo>
                    <a:lnTo>
                      <a:pt x="28" y="90"/>
                    </a:lnTo>
                    <a:lnTo>
                      <a:pt x="27" y="91"/>
                    </a:lnTo>
                    <a:lnTo>
                      <a:pt x="25" y="94"/>
                    </a:lnTo>
                    <a:lnTo>
                      <a:pt x="24" y="98"/>
                    </a:lnTo>
                    <a:lnTo>
                      <a:pt x="23" y="101"/>
                    </a:lnTo>
                    <a:lnTo>
                      <a:pt x="23" y="101"/>
                    </a:lnTo>
                    <a:lnTo>
                      <a:pt x="21" y="104"/>
                    </a:lnTo>
                    <a:lnTo>
                      <a:pt x="21" y="110"/>
                    </a:lnTo>
                    <a:lnTo>
                      <a:pt x="23" y="114"/>
                    </a:lnTo>
                    <a:lnTo>
                      <a:pt x="24" y="117"/>
                    </a:lnTo>
                    <a:lnTo>
                      <a:pt x="24" y="117"/>
                    </a:lnTo>
                    <a:lnTo>
                      <a:pt x="30" y="119"/>
                    </a:lnTo>
                    <a:lnTo>
                      <a:pt x="31" y="122"/>
                    </a:lnTo>
                    <a:lnTo>
                      <a:pt x="32" y="125"/>
                    </a:lnTo>
                    <a:lnTo>
                      <a:pt x="32" y="125"/>
                    </a:lnTo>
                    <a:lnTo>
                      <a:pt x="32" y="127"/>
                    </a:lnTo>
                    <a:lnTo>
                      <a:pt x="34" y="128"/>
                    </a:lnTo>
                    <a:lnTo>
                      <a:pt x="40" y="132"/>
                    </a:lnTo>
                    <a:lnTo>
                      <a:pt x="45" y="135"/>
                    </a:lnTo>
                    <a:lnTo>
                      <a:pt x="50" y="137"/>
                    </a:lnTo>
                    <a:lnTo>
                      <a:pt x="50" y="137"/>
                    </a:lnTo>
                    <a:lnTo>
                      <a:pt x="52" y="138"/>
                    </a:lnTo>
                    <a:lnTo>
                      <a:pt x="54" y="141"/>
                    </a:lnTo>
                    <a:lnTo>
                      <a:pt x="57" y="147"/>
                    </a:lnTo>
                    <a:lnTo>
                      <a:pt x="57" y="147"/>
                    </a:lnTo>
                    <a:lnTo>
                      <a:pt x="58" y="149"/>
                    </a:lnTo>
                    <a:lnTo>
                      <a:pt x="58" y="152"/>
                    </a:lnTo>
                    <a:lnTo>
                      <a:pt x="57" y="155"/>
                    </a:lnTo>
                    <a:lnTo>
                      <a:pt x="57" y="156"/>
                    </a:lnTo>
                    <a:lnTo>
                      <a:pt x="57" y="156"/>
                    </a:lnTo>
                    <a:lnTo>
                      <a:pt x="57" y="159"/>
                    </a:lnTo>
                    <a:lnTo>
                      <a:pt x="60" y="162"/>
                    </a:lnTo>
                    <a:lnTo>
                      <a:pt x="61" y="165"/>
                    </a:lnTo>
                    <a:lnTo>
                      <a:pt x="62" y="168"/>
                    </a:lnTo>
                    <a:lnTo>
                      <a:pt x="62" y="168"/>
                    </a:lnTo>
                    <a:lnTo>
                      <a:pt x="62" y="171"/>
                    </a:lnTo>
                    <a:lnTo>
                      <a:pt x="65" y="174"/>
                    </a:lnTo>
                    <a:lnTo>
                      <a:pt x="71" y="181"/>
                    </a:lnTo>
                    <a:lnTo>
                      <a:pt x="71" y="181"/>
                    </a:lnTo>
                    <a:lnTo>
                      <a:pt x="75" y="179"/>
                    </a:lnTo>
                    <a:lnTo>
                      <a:pt x="75" y="179"/>
                    </a:lnTo>
                    <a:lnTo>
                      <a:pt x="77" y="179"/>
                    </a:lnTo>
                    <a:lnTo>
                      <a:pt x="79" y="178"/>
                    </a:lnTo>
                    <a:lnTo>
                      <a:pt x="79" y="176"/>
                    </a:lnTo>
                    <a:lnTo>
                      <a:pt x="82" y="178"/>
                    </a:lnTo>
                    <a:lnTo>
                      <a:pt x="82" y="178"/>
                    </a:lnTo>
                    <a:lnTo>
                      <a:pt x="85" y="179"/>
                    </a:lnTo>
                    <a:lnTo>
                      <a:pt x="88" y="179"/>
                    </a:lnTo>
                    <a:lnTo>
                      <a:pt x="94" y="178"/>
                    </a:lnTo>
                    <a:lnTo>
                      <a:pt x="94" y="178"/>
                    </a:lnTo>
                    <a:lnTo>
                      <a:pt x="96" y="181"/>
                    </a:lnTo>
                    <a:lnTo>
                      <a:pt x="101" y="186"/>
                    </a:lnTo>
                    <a:lnTo>
                      <a:pt x="109" y="202"/>
                    </a:lnTo>
                    <a:lnTo>
                      <a:pt x="109" y="202"/>
                    </a:lnTo>
                    <a:lnTo>
                      <a:pt x="114" y="212"/>
                    </a:lnTo>
                    <a:lnTo>
                      <a:pt x="115" y="215"/>
                    </a:lnTo>
                    <a:lnTo>
                      <a:pt x="119" y="218"/>
                    </a:lnTo>
                    <a:lnTo>
                      <a:pt x="119" y="218"/>
                    </a:lnTo>
                    <a:lnTo>
                      <a:pt x="124" y="219"/>
                    </a:lnTo>
                    <a:lnTo>
                      <a:pt x="128" y="220"/>
                    </a:lnTo>
                    <a:lnTo>
                      <a:pt x="132" y="222"/>
                    </a:lnTo>
                    <a:lnTo>
                      <a:pt x="138" y="228"/>
                    </a:lnTo>
                    <a:lnTo>
                      <a:pt x="138" y="228"/>
                    </a:lnTo>
                    <a:lnTo>
                      <a:pt x="146" y="232"/>
                    </a:lnTo>
                    <a:lnTo>
                      <a:pt x="156" y="238"/>
                    </a:lnTo>
                    <a:lnTo>
                      <a:pt x="166" y="240"/>
                    </a:lnTo>
                    <a:lnTo>
                      <a:pt x="175" y="240"/>
                    </a:lnTo>
                    <a:lnTo>
                      <a:pt x="175" y="240"/>
                    </a:lnTo>
                    <a:lnTo>
                      <a:pt x="180" y="240"/>
                    </a:lnTo>
                    <a:lnTo>
                      <a:pt x="186" y="236"/>
                    </a:lnTo>
                    <a:lnTo>
                      <a:pt x="193" y="235"/>
                    </a:lnTo>
                    <a:lnTo>
                      <a:pt x="196" y="233"/>
                    </a:lnTo>
                    <a:lnTo>
                      <a:pt x="200" y="233"/>
                    </a:lnTo>
                    <a:lnTo>
                      <a:pt x="200" y="233"/>
                    </a:lnTo>
                    <a:lnTo>
                      <a:pt x="205" y="235"/>
                    </a:lnTo>
                    <a:lnTo>
                      <a:pt x="206" y="238"/>
                    </a:lnTo>
                    <a:lnTo>
                      <a:pt x="209" y="243"/>
                    </a:lnTo>
                    <a:lnTo>
                      <a:pt x="210" y="250"/>
                    </a:lnTo>
                    <a:lnTo>
                      <a:pt x="213" y="255"/>
                    </a:lnTo>
                    <a:lnTo>
                      <a:pt x="213" y="255"/>
                    </a:lnTo>
                    <a:lnTo>
                      <a:pt x="216" y="257"/>
                    </a:lnTo>
                    <a:lnTo>
                      <a:pt x="222" y="259"/>
                    </a:lnTo>
                    <a:lnTo>
                      <a:pt x="240" y="262"/>
                    </a:lnTo>
                    <a:lnTo>
                      <a:pt x="269" y="266"/>
                    </a:lnTo>
                    <a:lnTo>
                      <a:pt x="269" y="266"/>
                    </a:lnTo>
                    <a:lnTo>
                      <a:pt x="286" y="267"/>
                    </a:lnTo>
                    <a:lnTo>
                      <a:pt x="286" y="267"/>
                    </a:lnTo>
                    <a:lnTo>
                      <a:pt x="286" y="263"/>
                    </a:lnTo>
                    <a:lnTo>
                      <a:pt x="286" y="263"/>
                    </a:lnTo>
                    <a:lnTo>
                      <a:pt x="286" y="257"/>
                    </a:lnTo>
                    <a:lnTo>
                      <a:pt x="289" y="253"/>
                    </a:lnTo>
                    <a:lnTo>
                      <a:pt x="291" y="249"/>
                    </a:lnTo>
                    <a:lnTo>
                      <a:pt x="296" y="246"/>
                    </a:lnTo>
                    <a:lnTo>
                      <a:pt x="296" y="246"/>
                    </a:lnTo>
                    <a:lnTo>
                      <a:pt x="303" y="243"/>
                    </a:lnTo>
                    <a:lnTo>
                      <a:pt x="310" y="242"/>
                    </a:lnTo>
                    <a:lnTo>
                      <a:pt x="310" y="242"/>
                    </a:lnTo>
                    <a:lnTo>
                      <a:pt x="311" y="242"/>
                    </a:lnTo>
                    <a:lnTo>
                      <a:pt x="313" y="240"/>
                    </a:lnTo>
                    <a:lnTo>
                      <a:pt x="311" y="236"/>
                    </a:lnTo>
                    <a:lnTo>
                      <a:pt x="308" y="232"/>
                    </a:lnTo>
                    <a:lnTo>
                      <a:pt x="306" y="230"/>
                    </a:lnTo>
                    <a:lnTo>
                      <a:pt x="306" y="23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9" name="Iraq">
                <a:extLst>
                  <a:ext uri="{FF2B5EF4-FFF2-40B4-BE49-F238E27FC236}">
                    <a16:creationId xmlns:a16="http://schemas.microsoft.com/office/drawing/2014/main" id="{D232C46F-1CD3-D14F-8D2F-0F1AEC8A189E}"/>
                  </a:ext>
                </a:extLst>
              </p:cNvPr>
              <p:cNvSpPr>
                <a:spLocks/>
              </p:cNvSpPr>
              <p:nvPr/>
            </p:nvSpPr>
            <p:spPr bwMode="auto">
              <a:xfrm>
                <a:off x="5233464" y="3371556"/>
                <a:ext cx="232326" cy="224928"/>
              </a:xfrm>
              <a:custGeom>
                <a:avLst/>
                <a:gdLst/>
                <a:ahLst/>
                <a:cxnLst>
                  <a:cxn ang="0">
                    <a:pos x="134" y="135"/>
                  </a:cxn>
                  <a:cxn ang="0">
                    <a:pos x="140" y="132"/>
                  </a:cxn>
                  <a:cxn ang="0">
                    <a:pos x="150" y="139"/>
                  </a:cxn>
                  <a:cxn ang="0">
                    <a:pos x="157" y="135"/>
                  </a:cxn>
                  <a:cxn ang="0">
                    <a:pos x="148" y="125"/>
                  </a:cxn>
                  <a:cxn ang="0">
                    <a:pos x="147" y="119"/>
                  </a:cxn>
                  <a:cxn ang="0">
                    <a:pos x="143" y="110"/>
                  </a:cxn>
                  <a:cxn ang="0">
                    <a:pos x="144" y="106"/>
                  </a:cxn>
                  <a:cxn ang="0">
                    <a:pos x="143" y="101"/>
                  </a:cxn>
                  <a:cxn ang="0">
                    <a:pos x="136" y="91"/>
                  </a:cxn>
                  <a:cxn ang="0">
                    <a:pos x="126" y="86"/>
                  </a:cxn>
                  <a:cxn ang="0">
                    <a:pos x="118" y="79"/>
                  </a:cxn>
                  <a:cxn ang="0">
                    <a:pos x="116" y="73"/>
                  </a:cxn>
                  <a:cxn ang="0">
                    <a:pos x="109" y="68"/>
                  </a:cxn>
                  <a:cxn ang="0">
                    <a:pos x="109" y="55"/>
                  </a:cxn>
                  <a:cxn ang="0">
                    <a:pos x="111" y="48"/>
                  </a:cxn>
                  <a:cxn ang="0">
                    <a:pos x="114" y="42"/>
                  </a:cxn>
                  <a:cxn ang="0">
                    <a:pos x="117" y="39"/>
                  </a:cxn>
                  <a:cxn ang="0">
                    <a:pos x="117" y="34"/>
                  </a:cxn>
                  <a:cxn ang="0">
                    <a:pos x="110" y="28"/>
                  </a:cxn>
                  <a:cxn ang="0">
                    <a:pos x="104" y="25"/>
                  </a:cxn>
                  <a:cxn ang="0">
                    <a:pos x="101" y="18"/>
                  </a:cxn>
                  <a:cxn ang="0">
                    <a:pos x="97" y="8"/>
                  </a:cxn>
                  <a:cxn ang="0">
                    <a:pos x="94" y="8"/>
                  </a:cxn>
                  <a:cxn ang="0">
                    <a:pos x="83" y="4"/>
                  </a:cxn>
                  <a:cxn ang="0">
                    <a:pos x="79" y="2"/>
                  </a:cxn>
                  <a:cxn ang="0">
                    <a:pos x="70" y="0"/>
                  </a:cxn>
                  <a:cxn ang="0">
                    <a:pos x="62" y="1"/>
                  </a:cxn>
                  <a:cxn ang="0">
                    <a:pos x="57" y="5"/>
                  </a:cxn>
                  <a:cxn ang="0">
                    <a:pos x="44" y="14"/>
                  </a:cxn>
                  <a:cxn ang="0">
                    <a:pos x="39" y="19"/>
                  </a:cxn>
                  <a:cxn ang="0">
                    <a:pos x="40" y="31"/>
                  </a:cxn>
                  <a:cxn ang="0">
                    <a:pos x="39" y="36"/>
                  </a:cxn>
                  <a:cxn ang="0">
                    <a:pos x="39" y="46"/>
                  </a:cxn>
                  <a:cxn ang="0">
                    <a:pos x="35" y="55"/>
                  </a:cxn>
                  <a:cxn ang="0">
                    <a:pos x="0" y="73"/>
                  </a:cxn>
                  <a:cxn ang="0">
                    <a:pos x="5" y="98"/>
                  </a:cxn>
                  <a:cxn ang="0">
                    <a:pos x="17" y="98"/>
                  </a:cxn>
                  <a:cxn ang="0">
                    <a:pos x="33" y="106"/>
                  </a:cxn>
                  <a:cxn ang="0">
                    <a:pos x="69" y="129"/>
                  </a:cxn>
                  <a:cxn ang="0">
                    <a:pos x="93" y="147"/>
                  </a:cxn>
                  <a:cxn ang="0">
                    <a:pos x="107" y="150"/>
                  </a:cxn>
                  <a:cxn ang="0">
                    <a:pos x="128" y="143"/>
                  </a:cxn>
                </a:cxnLst>
                <a:rect l="0" t="0" r="r" b="b"/>
                <a:pathLst>
                  <a:path w="157" h="152">
                    <a:moveTo>
                      <a:pt x="131" y="137"/>
                    </a:moveTo>
                    <a:lnTo>
                      <a:pt x="131" y="137"/>
                    </a:lnTo>
                    <a:lnTo>
                      <a:pt x="134" y="135"/>
                    </a:lnTo>
                    <a:lnTo>
                      <a:pt x="136" y="133"/>
                    </a:lnTo>
                    <a:lnTo>
                      <a:pt x="140" y="132"/>
                    </a:lnTo>
                    <a:lnTo>
                      <a:pt x="140" y="132"/>
                    </a:lnTo>
                    <a:lnTo>
                      <a:pt x="141" y="132"/>
                    </a:lnTo>
                    <a:lnTo>
                      <a:pt x="144" y="133"/>
                    </a:lnTo>
                    <a:lnTo>
                      <a:pt x="150" y="139"/>
                    </a:lnTo>
                    <a:lnTo>
                      <a:pt x="150" y="139"/>
                    </a:lnTo>
                    <a:lnTo>
                      <a:pt x="153" y="136"/>
                    </a:lnTo>
                    <a:lnTo>
                      <a:pt x="157" y="135"/>
                    </a:lnTo>
                    <a:lnTo>
                      <a:pt x="157" y="135"/>
                    </a:lnTo>
                    <a:lnTo>
                      <a:pt x="151" y="128"/>
                    </a:lnTo>
                    <a:lnTo>
                      <a:pt x="148" y="125"/>
                    </a:lnTo>
                    <a:lnTo>
                      <a:pt x="148" y="122"/>
                    </a:lnTo>
                    <a:lnTo>
                      <a:pt x="148" y="122"/>
                    </a:lnTo>
                    <a:lnTo>
                      <a:pt x="147" y="119"/>
                    </a:lnTo>
                    <a:lnTo>
                      <a:pt x="146" y="116"/>
                    </a:lnTo>
                    <a:lnTo>
                      <a:pt x="143" y="113"/>
                    </a:lnTo>
                    <a:lnTo>
                      <a:pt x="143" y="110"/>
                    </a:lnTo>
                    <a:lnTo>
                      <a:pt x="143" y="110"/>
                    </a:lnTo>
                    <a:lnTo>
                      <a:pt x="143" y="109"/>
                    </a:lnTo>
                    <a:lnTo>
                      <a:pt x="144" y="106"/>
                    </a:lnTo>
                    <a:lnTo>
                      <a:pt x="144" y="103"/>
                    </a:lnTo>
                    <a:lnTo>
                      <a:pt x="143" y="101"/>
                    </a:lnTo>
                    <a:lnTo>
                      <a:pt x="143" y="101"/>
                    </a:lnTo>
                    <a:lnTo>
                      <a:pt x="140" y="95"/>
                    </a:lnTo>
                    <a:lnTo>
                      <a:pt x="138" y="92"/>
                    </a:lnTo>
                    <a:lnTo>
                      <a:pt x="136" y="91"/>
                    </a:lnTo>
                    <a:lnTo>
                      <a:pt x="136" y="91"/>
                    </a:lnTo>
                    <a:lnTo>
                      <a:pt x="131" y="89"/>
                    </a:lnTo>
                    <a:lnTo>
                      <a:pt x="126" y="86"/>
                    </a:lnTo>
                    <a:lnTo>
                      <a:pt x="120" y="82"/>
                    </a:lnTo>
                    <a:lnTo>
                      <a:pt x="118" y="81"/>
                    </a:lnTo>
                    <a:lnTo>
                      <a:pt x="118" y="79"/>
                    </a:lnTo>
                    <a:lnTo>
                      <a:pt x="118" y="79"/>
                    </a:lnTo>
                    <a:lnTo>
                      <a:pt x="117" y="76"/>
                    </a:lnTo>
                    <a:lnTo>
                      <a:pt x="116" y="73"/>
                    </a:lnTo>
                    <a:lnTo>
                      <a:pt x="110" y="71"/>
                    </a:lnTo>
                    <a:lnTo>
                      <a:pt x="110" y="71"/>
                    </a:lnTo>
                    <a:lnTo>
                      <a:pt x="109" y="68"/>
                    </a:lnTo>
                    <a:lnTo>
                      <a:pt x="107" y="64"/>
                    </a:lnTo>
                    <a:lnTo>
                      <a:pt x="107" y="58"/>
                    </a:lnTo>
                    <a:lnTo>
                      <a:pt x="109" y="55"/>
                    </a:lnTo>
                    <a:lnTo>
                      <a:pt x="109" y="55"/>
                    </a:lnTo>
                    <a:lnTo>
                      <a:pt x="110" y="52"/>
                    </a:lnTo>
                    <a:lnTo>
                      <a:pt x="111" y="48"/>
                    </a:lnTo>
                    <a:lnTo>
                      <a:pt x="113" y="45"/>
                    </a:lnTo>
                    <a:lnTo>
                      <a:pt x="114" y="44"/>
                    </a:lnTo>
                    <a:lnTo>
                      <a:pt x="114" y="42"/>
                    </a:lnTo>
                    <a:lnTo>
                      <a:pt x="114" y="42"/>
                    </a:lnTo>
                    <a:lnTo>
                      <a:pt x="117" y="42"/>
                    </a:lnTo>
                    <a:lnTo>
                      <a:pt x="117" y="39"/>
                    </a:lnTo>
                    <a:lnTo>
                      <a:pt x="117" y="36"/>
                    </a:lnTo>
                    <a:lnTo>
                      <a:pt x="117" y="34"/>
                    </a:lnTo>
                    <a:lnTo>
                      <a:pt x="117" y="34"/>
                    </a:lnTo>
                    <a:lnTo>
                      <a:pt x="117" y="31"/>
                    </a:lnTo>
                    <a:lnTo>
                      <a:pt x="116" y="29"/>
                    </a:lnTo>
                    <a:lnTo>
                      <a:pt x="110" y="28"/>
                    </a:lnTo>
                    <a:lnTo>
                      <a:pt x="110" y="28"/>
                    </a:lnTo>
                    <a:lnTo>
                      <a:pt x="107" y="27"/>
                    </a:lnTo>
                    <a:lnTo>
                      <a:pt x="104" y="25"/>
                    </a:lnTo>
                    <a:lnTo>
                      <a:pt x="103" y="21"/>
                    </a:lnTo>
                    <a:lnTo>
                      <a:pt x="101" y="18"/>
                    </a:lnTo>
                    <a:lnTo>
                      <a:pt x="101" y="18"/>
                    </a:lnTo>
                    <a:lnTo>
                      <a:pt x="100" y="15"/>
                    </a:lnTo>
                    <a:lnTo>
                      <a:pt x="99" y="11"/>
                    </a:lnTo>
                    <a:lnTo>
                      <a:pt x="97" y="8"/>
                    </a:lnTo>
                    <a:lnTo>
                      <a:pt x="96" y="5"/>
                    </a:lnTo>
                    <a:lnTo>
                      <a:pt x="96" y="5"/>
                    </a:lnTo>
                    <a:lnTo>
                      <a:pt x="94" y="8"/>
                    </a:lnTo>
                    <a:lnTo>
                      <a:pt x="93" y="8"/>
                    </a:lnTo>
                    <a:lnTo>
                      <a:pt x="89" y="7"/>
                    </a:lnTo>
                    <a:lnTo>
                      <a:pt x="83" y="4"/>
                    </a:lnTo>
                    <a:lnTo>
                      <a:pt x="80" y="2"/>
                    </a:lnTo>
                    <a:lnTo>
                      <a:pt x="79" y="2"/>
                    </a:lnTo>
                    <a:lnTo>
                      <a:pt x="79" y="2"/>
                    </a:lnTo>
                    <a:lnTo>
                      <a:pt x="76" y="2"/>
                    </a:lnTo>
                    <a:lnTo>
                      <a:pt x="73" y="2"/>
                    </a:lnTo>
                    <a:lnTo>
                      <a:pt x="70" y="0"/>
                    </a:lnTo>
                    <a:lnTo>
                      <a:pt x="64" y="0"/>
                    </a:lnTo>
                    <a:lnTo>
                      <a:pt x="64" y="0"/>
                    </a:lnTo>
                    <a:lnTo>
                      <a:pt x="62" y="1"/>
                    </a:lnTo>
                    <a:lnTo>
                      <a:pt x="60" y="2"/>
                    </a:lnTo>
                    <a:lnTo>
                      <a:pt x="57" y="5"/>
                    </a:lnTo>
                    <a:lnTo>
                      <a:pt x="57" y="5"/>
                    </a:lnTo>
                    <a:lnTo>
                      <a:pt x="49" y="12"/>
                    </a:lnTo>
                    <a:lnTo>
                      <a:pt x="49" y="12"/>
                    </a:lnTo>
                    <a:lnTo>
                      <a:pt x="44" y="14"/>
                    </a:lnTo>
                    <a:lnTo>
                      <a:pt x="40" y="17"/>
                    </a:lnTo>
                    <a:lnTo>
                      <a:pt x="39" y="19"/>
                    </a:lnTo>
                    <a:lnTo>
                      <a:pt x="39" y="19"/>
                    </a:lnTo>
                    <a:lnTo>
                      <a:pt x="37" y="24"/>
                    </a:lnTo>
                    <a:lnTo>
                      <a:pt x="39" y="28"/>
                    </a:lnTo>
                    <a:lnTo>
                      <a:pt x="40" y="31"/>
                    </a:lnTo>
                    <a:lnTo>
                      <a:pt x="39" y="34"/>
                    </a:lnTo>
                    <a:lnTo>
                      <a:pt x="39" y="34"/>
                    </a:lnTo>
                    <a:lnTo>
                      <a:pt x="39" y="36"/>
                    </a:lnTo>
                    <a:lnTo>
                      <a:pt x="37" y="39"/>
                    </a:lnTo>
                    <a:lnTo>
                      <a:pt x="39" y="46"/>
                    </a:lnTo>
                    <a:lnTo>
                      <a:pt x="39" y="46"/>
                    </a:lnTo>
                    <a:lnTo>
                      <a:pt x="37" y="48"/>
                    </a:lnTo>
                    <a:lnTo>
                      <a:pt x="36" y="52"/>
                    </a:lnTo>
                    <a:lnTo>
                      <a:pt x="35" y="55"/>
                    </a:lnTo>
                    <a:lnTo>
                      <a:pt x="35" y="55"/>
                    </a:lnTo>
                    <a:lnTo>
                      <a:pt x="0" y="73"/>
                    </a:lnTo>
                    <a:lnTo>
                      <a:pt x="0" y="73"/>
                    </a:lnTo>
                    <a:lnTo>
                      <a:pt x="2" y="82"/>
                    </a:lnTo>
                    <a:lnTo>
                      <a:pt x="2" y="82"/>
                    </a:lnTo>
                    <a:lnTo>
                      <a:pt x="5" y="98"/>
                    </a:lnTo>
                    <a:lnTo>
                      <a:pt x="5" y="98"/>
                    </a:lnTo>
                    <a:lnTo>
                      <a:pt x="12" y="96"/>
                    </a:lnTo>
                    <a:lnTo>
                      <a:pt x="17" y="98"/>
                    </a:lnTo>
                    <a:lnTo>
                      <a:pt x="17" y="98"/>
                    </a:lnTo>
                    <a:lnTo>
                      <a:pt x="25" y="101"/>
                    </a:lnTo>
                    <a:lnTo>
                      <a:pt x="33" y="106"/>
                    </a:lnTo>
                    <a:lnTo>
                      <a:pt x="49" y="116"/>
                    </a:lnTo>
                    <a:lnTo>
                      <a:pt x="49" y="116"/>
                    </a:lnTo>
                    <a:lnTo>
                      <a:pt x="69" y="129"/>
                    </a:lnTo>
                    <a:lnTo>
                      <a:pt x="87" y="145"/>
                    </a:lnTo>
                    <a:lnTo>
                      <a:pt x="87" y="145"/>
                    </a:lnTo>
                    <a:lnTo>
                      <a:pt x="93" y="147"/>
                    </a:lnTo>
                    <a:lnTo>
                      <a:pt x="97" y="149"/>
                    </a:lnTo>
                    <a:lnTo>
                      <a:pt x="107" y="150"/>
                    </a:lnTo>
                    <a:lnTo>
                      <a:pt x="107" y="150"/>
                    </a:lnTo>
                    <a:lnTo>
                      <a:pt x="126" y="152"/>
                    </a:lnTo>
                    <a:lnTo>
                      <a:pt x="126" y="152"/>
                    </a:lnTo>
                    <a:lnTo>
                      <a:pt x="128" y="143"/>
                    </a:lnTo>
                    <a:lnTo>
                      <a:pt x="131" y="137"/>
                    </a:lnTo>
                    <a:lnTo>
                      <a:pt x="131" y="13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0" name="Kuwait">
                <a:extLst>
                  <a:ext uri="{FF2B5EF4-FFF2-40B4-BE49-F238E27FC236}">
                    <a16:creationId xmlns:a16="http://schemas.microsoft.com/office/drawing/2014/main" id="{2F4CD7AB-98E6-D444-866F-4C930B057D04}"/>
                  </a:ext>
                </a:extLst>
              </p:cNvPr>
              <p:cNvSpPr>
                <a:spLocks/>
              </p:cNvSpPr>
              <p:nvPr/>
            </p:nvSpPr>
            <p:spPr bwMode="auto">
              <a:xfrm>
                <a:off x="5419917" y="3566888"/>
                <a:ext cx="42915" cy="44394"/>
              </a:xfrm>
              <a:custGeom>
                <a:avLst/>
                <a:gdLst/>
                <a:ahLst/>
                <a:cxnLst>
                  <a:cxn ang="0">
                    <a:pos x="10" y="21"/>
                  </a:cxn>
                  <a:cxn ang="0">
                    <a:pos x="17" y="28"/>
                  </a:cxn>
                  <a:cxn ang="0">
                    <a:pos x="29" y="30"/>
                  </a:cxn>
                  <a:cxn ang="0">
                    <a:pos x="29" y="30"/>
                  </a:cxn>
                  <a:cxn ang="0">
                    <a:pos x="25" y="17"/>
                  </a:cxn>
                  <a:cxn ang="0">
                    <a:pos x="22" y="8"/>
                  </a:cxn>
                  <a:cxn ang="0">
                    <a:pos x="22" y="8"/>
                  </a:cxn>
                  <a:cxn ang="0">
                    <a:pos x="24" y="7"/>
                  </a:cxn>
                  <a:cxn ang="0">
                    <a:pos x="24" y="7"/>
                  </a:cxn>
                  <a:cxn ang="0">
                    <a:pos x="18" y="1"/>
                  </a:cxn>
                  <a:cxn ang="0">
                    <a:pos x="15" y="0"/>
                  </a:cxn>
                  <a:cxn ang="0">
                    <a:pos x="14" y="0"/>
                  </a:cxn>
                  <a:cxn ang="0">
                    <a:pos x="14" y="0"/>
                  </a:cxn>
                  <a:cxn ang="0">
                    <a:pos x="10" y="1"/>
                  </a:cxn>
                  <a:cxn ang="0">
                    <a:pos x="8" y="3"/>
                  </a:cxn>
                  <a:cxn ang="0">
                    <a:pos x="5" y="5"/>
                  </a:cxn>
                  <a:cxn ang="0">
                    <a:pos x="5" y="5"/>
                  </a:cxn>
                  <a:cxn ang="0">
                    <a:pos x="2" y="11"/>
                  </a:cxn>
                  <a:cxn ang="0">
                    <a:pos x="0" y="20"/>
                  </a:cxn>
                  <a:cxn ang="0">
                    <a:pos x="0" y="20"/>
                  </a:cxn>
                  <a:cxn ang="0">
                    <a:pos x="10" y="21"/>
                  </a:cxn>
                  <a:cxn ang="0">
                    <a:pos x="10" y="21"/>
                  </a:cxn>
                </a:cxnLst>
                <a:rect l="0" t="0" r="r" b="b"/>
                <a:pathLst>
                  <a:path w="29" h="30">
                    <a:moveTo>
                      <a:pt x="10" y="21"/>
                    </a:moveTo>
                    <a:lnTo>
                      <a:pt x="17" y="28"/>
                    </a:lnTo>
                    <a:lnTo>
                      <a:pt x="29" y="30"/>
                    </a:lnTo>
                    <a:lnTo>
                      <a:pt x="29" y="30"/>
                    </a:lnTo>
                    <a:lnTo>
                      <a:pt x="25" y="17"/>
                    </a:lnTo>
                    <a:lnTo>
                      <a:pt x="22" y="8"/>
                    </a:lnTo>
                    <a:lnTo>
                      <a:pt x="22" y="8"/>
                    </a:lnTo>
                    <a:lnTo>
                      <a:pt x="24" y="7"/>
                    </a:lnTo>
                    <a:lnTo>
                      <a:pt x="24" y="7"/>
                    </a:lnTo>
                    <a:lnTo>
                      <a:pt x="18" y="1"/>
                    </a:lnTo>
                    <a:lnTo>
                      <a:pt x="15" y="0"/>
                    </a:lnTo>
                    <a:lnTo>
                      <a:pt x="14" y="0"/>
                    </a:lnTo>
                    <a:lnTo>
                      <a:pt x="14" y="0"/>
                    </a:lnTo>
                    <a:lnTo>
                      <a:pt x="10" y="1"/>
                    </a:lnTo>
                    <a:lnTo>
                      <a:pt x="8" y="3"/>
                    </a:lnTo>
                    <a:lnTo>
                      <a:pt x="5" y="5"/>
                    </a:lnTo>
                    <a:lnTo>
                      <a:pt x="5" y="5"/>
                    </a:lnTo>
                    <a:lnTo>
                      <a:pt x="2" y="11"/>
                    </a:lnTo>
                    <a:lnTo>
                      <a:pt x="0" y="20"/>
                    </a:lnTo>
                    <a:lnTo>
                      <a:pt x="0" y="20"/>
                    </a:lnTo>
                    <a:lnTo>
                      <a:pt x="10" y="21"/>
                    </a:lnTo>
                    <a:lnTo>
                      <a:pt x="10" y="2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1" name="Yemen">
                <a:extLst>
                  <a:ext uri="{FF2B5EF4-FFF2-40B4-BE49-F238E27FC236}">
                    <a16:creationId xmlns:a16="http://schemas.microsoft.com/office/drawing/2014/main" id="{7365F785-291E-414F-BF80-C9DCE2B81B2F}"/>
                  </a:ext>
                </a:extLst>
              </p:cNvPr>
              <p:cNvSpPr>
                <a:spLocks/>
              </p:cNvSpPr>
              <p:nvPr/>
            </p:nvSpPr>
            <p:spPr bwMode="auto">
              <a:xfrm>
                <a:off x="5322250" y="3851007"/>
                <a:ext cx="253044" cy="153897"/>
              </a:xfrm>
              <a:custGeom>
                <a:avLst/>
                <a:gdLst/>
                <a:ahLst/>
                <a:cxnLst>
                  <a:cxn ang="0">
                    <a:pos x="135" y="4"/>
                  </a:cxn>
                  <a:cxn ang="0">
                    <a:pos x="117" y="6"/>
                  </a:cxn>
                  <a:cxn ang="0">
                    <a:pos x="104" y="7"/>
                  </a:cxn>
                  <a:cxn ang="0">
                    <a:pos x="91" y="15"/>
                  </a:cxn>
                  <a:cxn ang="0">
                    <a:pos x="78" y="28"/>
                  </a:cxn>
                  <a:cxn ang="0">
                    <a:pos x="77" y="33"/>
                  </a:cxn>
                  <a:cxn ang="0">
                    <a:pos x="71" y="34"/>
                  </a:cxn>
                  <a:cxn ang="0">
                    <a:pos x="68" y="33"/>
                  </a:cxn>
                  <a:cxn ang="0">
                    <a:pos x="56" y="30"/>
                  </a:cxn>
                  <a:cxn ang="0">
                    <a:pos x="46" y="28"/>
                  </a:cxn>
                  <a:cxn ang="0">
                    <a:pos x="37" y="27"/>
                  </a:cxn>
                  <a:cxn ang="0">
                    <a:pos x="26" y="27"/>
                  </a:cxn>
                  <a:cxn ang="0">
                    <a:pos x="19" y="25"/>
                  </a:cxn>
                  <a:cxn ang="0">
                    <a:pos x="14" y="25"/>
                  </a:cxn>
                  <a:cxn ang="0">
                    <a:pos x="10" y="27"/>
                  </a:cxn>
                  <a:cxn ang="0">
                    <a:pos x="7" y="31"/>
                  </a:cxn>
                  <a:cxn ang="0">
                    <a:pos x="7" y="35"/>
                  </a:cxn>
                  <a:cxn ang="0">
                    <a:pos x="7" y="40"/>
                  </a:cxn>
                  <a:cxn ang="0">
                    <a:pos x="0" y="44"/>
                  </a:cxn>
                  <a:cxn ang="0">
                    <a:pos x="2" y="54"/>
                  </a:cxn>
                  <a:cxn ang="0">
                    <a:pos x="0" y="58"/>
                  </a:cxn>
                  <a:cxn ang="0">
                    <a:pos x="3" y="72"/>
                  </a:cxn>
                  <a:cxn ang="0">
                    <a:pos x="6" y="80"/>
                  </a:cxn>
                  <a:cxn ang="0">
                    <a:pos x="10" y="92"/>
                  </a:cxn>
                  <a:cxn ang="0">
                    <a:pos x="12" y="102"/>
                  </a:cxn>
                  <a:cxn ang="0">
                    <a:pos x="16" y="104"/>
                  </a:cxn>
                  <a:cxn ang="0">
                    <a:pos x="33" y="102"/>
                  </a:cxn>
                  <a:cxn ang="0">
                    <a:pos x="41" y="99"/>
                  </a:cxn>
                  <a:cxn ang="0">
                    <a:pos x="51" y="94"/>
                  </a:cxn>
                  <a:cxn ang="0">
                    <a:pos x="61" y="92"/>
                  </a:cxn>
                  <a:cxn ang="0">
                    <a:pos x="71" y="89"/>
                  </a:cxn>
                  <a:cxn ang="0">
                    <a:pos x="78" y="84"/>
                  </a:cxn>
                  <a:cxn ang="0">
                    <a:pos x="86" y="82"/>
                  </a:cxn>
                  <a:cxn ang="0">
                    <a:pos x="95" y="82"/>
                  </a:cxn>
                  <a:cxn ang="0">
                    <a:pos x="101" y="80"/>
                  </a:cxn>
                  <a:cxn ang="0">
                    <a:pos x="107" y="74"/>
                  </a:cxn>
                  <a:cxn ang="0">
                    <a:pos x="120" y="68"/>
                  </a:cxn>
                  <a:cxn ang="0">
                    <a:pos x="141" y="62"/>
                  </a:cxn>
                  <a:cxn ang="0">
                    <a:pos x="154" y="54"/>
                  </a:cxn>
                  <a:cxn ang="0">
                    <a:pos x="157" y="45"/>
                  </a:cxn>
                  <a:cxn ang="0">
                    <a:pos x="159" y="44"/>
                  </a:cxn>
                  <a:cxn ang="0">
                    <a:pos x="171" y="41"/>
                  </a:cxn>
                  <a:cxn ang="0">
                    <a:pos x="151" y="0"/>
                  </a:cxn>
                  <a:cxn ang="0">
                    <a:pos x="135" y="4"/>
                  </a:cxn>
                </a:cxnLst>
                <a:rect l="0" t="0" r="r" b="b"/>
                <a:pathLst>
                  <a:path w="171" h="104">
                    <a:moveTo>
                      <a:pt x="135" y="4"/>
                    </a:moveTo>
                    <a:lnTo>
                      <a:pt x="135" y="4"/>
                    </a:lnTo>
                    <a:lnTo>
                      <a:pt x="127" y="6"/>
                    </a:lnTo>
                    <a:lnTo>
                      <a:pt x="117" y="6"/>
                    </a:lnTo>
                    <a:lnTo>
                      <a:pt x="108" y="6"/>
                    </a:lnTo>
                    <a:lnTo>
                      <a:pt x="104" y="7"/>
                    </a:lnTo>
                    <a:lnTo>
                      <a:pt x="104" y="7"/>
                    </a:lnTo>
                    <a:lnTo>
                      <a:pt x="91" y="15"/>
                    </a:lnTo>
                    <a:lnTo>
                      <a:pt x="84" y="23"/>
                    </a:lnTo>
                    <a:lnTo>
                      <a:pt x="78" y="28"/>
                    </a:lnTo>
                    <a:lnTo>
                      <a:pt x="78" y="28"/>
                    </a:lnTo>
                    <a:lnTo>
                      <a:pt x="77" y="33"/>
                    </a:lnTo>
                    <a:lnTo>
                      <a:pt x="74" y="34"/>
                    </a:lnTo>
                    <a:lnTo>
                      <a:pt x="71" y="34"/>
                    </a:lnTo>
                    <a:lnTo>
                      <a:pt x="68" y="33"/>
                    </a:lnTo>
                    <a:lnTo>
                      <a:pt x="68" y="33"/>
                    </a:lnTo>
                    <a:lnTo>
                      <a:pt x="63" y="31"/>
                    </a:lnTo>
                    <a:lnTo>
                      <a:pt x="56" y="30"/>
                    </a:lnTo>
                    <a:lnTo>
                      <a:pt x="49" y="30"/>
                    </a:lnTo>
                    <a:lnTo>
                      <a:pt x="46" y="28"/>
                    </a:lnTo>
                    <a:lnTo>
                      <a:pt x="46" y="28"/>
                    </a:lnTo>
                    <a:lnTo>
                      <a:pt x="37" y="27"/>
                    </a:lnTo>
                    <a:lnTo>
                      <a:pt x="26" y="27"/>
                    </a:lnTo>
                    <a:lnTo>
                      <a:pt x="26" y="27"/>
                    </a:lnTo>
                    <a:lnTo>
                      <a:pt x="21" y="27"/>
                    </a:lnTo>
                    <a:lnTo>
                      <a:pt x="19" y="25"/>
                    </a:lnTo>
                    <a:lnTo>
                      <a:pt x="16" y="25"/>
                    </a:lnTo>
                    <a:lnTo>
                      <a:pt x="14" y="25"/>
                    </a:lnTo>
                    <a:lnTo>
                      <a:pt x="14" y="25"/>
                    </a:lnTo>
                    <a:lnTo>
                      <a:pt x="10" y="27"/>
                    </a:lnTo>
                    <a:lnTo>
                      <a:pt x="7" y="31"/>
                    </a:lnTo>
                    <a:lnTo>
                      <a:pt x="7" y="31"/>
                    </a:lnTo>
                    <a:lnTo>
                      <a:pt x="7" y="33"/>
                    </a:lnTo>
                    <a:lnTo>
                      <a:pt x="7" y="35"/>
                    </a:lnTo>
                    <a:lnTo>
                      <a:pt x="7" y="40"/>
                    </a:lnTo>
                    <a:lnTo>
                      <a:pt x="7" y="40"/>
                    </a:lnTo>
                    <a:lnTo>
                      <a:pt x="0" y="44"/>
                    </a:lnTo>
                    <a:lnTo>
                      <a:pt x="0" y="44"/>
                    </a:lnTo>
                    <a:lnTo>
                      <a:pt x="2" y="50"/>
                    </a:lnTo>
                    <a:lnTo>
                      <a:pt x="2" y="54"/>
                    </a:lnTo>
                    <a:lnTo>
                      <a:pt x="2" y="54"/>
                    </a:lnTo>
                    <a:lnTo>
                      <a:pt x="0" y="58"/>
                    </a:lnTo>
                    <a:lnTo>
                      <a:pt x="2" y="65"/>
                    </a:lnTo>
                    <a:lnTo>
                      <a:pt x="3" y="72"/>
                    </a:lnTo>
                    <a:lnTo>
                      <a:pt x="6" y="80"/>
                    </a:lnTo>
                    <a:lnTo>
                      <a:pt x="6" y="80"/>
                    </a:lnTo>
                    <a:lnTo>
                      <a:pt x="9" y="85"/>
                    </a:lnTo>
                    <a:lnTo>
                      <a:pt x="10" y="92"/>
                    </a:lnTo>
                    <a:lnTo>
                      <a:pt x="10" y="99"/>
                    </a:lnTo>
                    <a:lnTo>
                      <a:pt x="12" y="102"/>
                    </a:lnTo>
                    <a:lnTo>
                      <a:pt x="12" y="102"/>
                    </a:lnTo>
                    <a:lnTo>
                      <a:pt x="16" y="104"/>
                    </a:lnTo>
                    <a:lnTo>
                      <a:pt x="24" y="104"/>
                    </a:lnTo>
                    <a:lnTo>
                      <a:pt x="33" y="102"/>
                    </a:lnTo>
                    <a:lnTo>
                      <a:pt x="41" y="99"/>
                    </a:lnTo>
                    <a:lnTo>
                      <a:pt x="41" y="99"/>
                    </a:lnTo>
                    <a:lnTo>
                      <a:pt x="47" y="97"/>
                    </a:lnTo>
                    <a:lnTo>
                      <a:pt x="51" y="94"/>
                    </a:lnTo>
                    <a:lnTo>
                      <a:pt x="61" y="92"/>
                    </a:lnTo>
                    <a:lnTo>
                      <a:pt x="61" y="92"/>
                    </a:lnTo>
                    <a:lnTo>
                      <a:pt x="67" y="92"/>
                    </a:lnTo>
                    <a:lnTo>
                      <a:pt x="71" y="89"/>
                    </a:lnTo>
                    <a:lnTo>
                      <a:pt x="78" y="84"/>
                    </a:lnTo>
                    <a:lnTo>
                      <a:pt x="78" y="84"/>
                    </a:lnTo>
                    <a:lnTo>
                      <a:pt x="81" y="82"/>
                    </a:lnTo>
                    <a:lnTo>
                      <a:pt x="86" y="82"/>
                    </a:lnTo>
                    <a:lnTo>
                      <a:pt x="95" y="82"/>
                    </a:lnTo>
                    <a:lnTo>
                      <a:pt x="95" y="82"/>
                    </a:lnTo>
                    <a:lnTo>
                      <a:pt x="98" y="81"/>
                    </a:lnTo>
                    <a:lnTo>
                      <a:pt x="101" y="80"/>
                    </a:lnTo>
                    <a:lnTo>
                      <a:pt x="107" y="74"/>
                    </a:lnTo>
                    <a:lnTo>
                      <a:pt x="107" y="74"/>
                    </a:lnTo>
                    <a:lnTo>
                      <a:pt x="113" y="70"/>
                    </a:lnTo>
                    <a:lnTo>
                      <a:pt x="120" y="68"/>
                    </a:lnTo>
                    <a:lnTo>
                      <a:pt x="141" y="62"/>
                    </a:lnTo>
                    <a:lnTo>
                      <a:pt x="141" y="62"/>
                    </a:lnTo>
                    <a:lnTo>
                      <a:pt x="150" y="58"/>
                    </a:lnTo>
                    <a:lnTo>
                      <a:pt x="154" y="54"/>
                    </a:lnTo>
                    <a:lnTo>
                      <a:pt x="155" y="50"/>
                    </a:lnTo>
                    <a:lnTo>
                      <a:pt x="157" y="45"/>
                    </a:lnTo>
                    <a:lnTo>
                      <a:pt x="157" y="45"/>
                    </a:lnTo>
                    <a:lnTo>
                      <a:pt x="159" y="44"/>
                    </a:lnTo>
                    <a:lnTo>
                      <a:pt x="162" y="43"/>
                    </a:lnTo>
                    <a:lnTo>
                      <a:pt x="171" y="41"/>
                    </a:lnTo>
                    <a:lnTo>
                      <a:pt x="171" y="41"/>
                    </a:lnTo>
                    <a:lnTo>
                      <a:pt x="151" y="0"/>
                    </a:lnTo>
                    <a:lnTo>
                      <a:pt x="151" y="0"/>
                    </a:lnTo>
                    <a:lnTo>
                      <a:pt x="135" y="4"/>
                    </a:lnTo>
                    <a:lnTo>
                      <a:pt x="135" y="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2" name="Oman">
                <a:extLst>
                  <a:ext uri="{FF2B5EF4-FFF2-40B4-BE49-F238E27FC236}">
                    <a16:creationId xmlns:a16="http://schemas.microsoft.com/office/drawing/2014/main" id="{534BAFE2-1993-3B44-86CD-2CFBA2322B62}"/>
                  </a:ext>
                </a:extLst>
              </p:cNvPr>
              <p:cNvSpPr>
                <a:spLocks/>
              </p:cNvSpPr>
              <p:nvPr/>
            </p:nvSpPr>
            <p:spPr bwMode="auto">
              <a:xfrm>
                <a:off x="5545698" y="3698590"/>
                <a:ext cx="189412" cy="213089"/>
              </a:xfrm>
              <a:custGeom>
                <a:avLst/>
                <a:gdLst/>
                <a:ahLst/>
                <a:cxnLst>
                  <a:cxn ang="0">
                    <a:pos x="64" y="16"/>
                  </a:cxn>
                  <a:cxn ang="0">
                    <a:pos x="48" y="42"/>
                  </a:cxn>
                  <a:cxn ang="0">
                    <a:pos x="51" y="42"/>
                  </a:cxn>
                  <a:cxn ang="0">
                    <a:pos x="54" y="43"/>
                  </a:cxn>
                  <a:cxn ang="0">
                    <a:pos x="60" y="50"/>
                  </a:cxn>
                  <a:cxn ang="0">
                    <a:pos x="60" y="53"/>
                  </a:cxn>
                  <a:cxn ang="0">
                    <a:pos x="51" y="82"/>
                  </a:cxn>
                  <a:cxn ang="0">
                    <a:pos x="48" y="87"/>
                  </a:cxn>
                  <a:cxn ang="0">
                    <a:pos x="0" y="103"/>
                  </a:cxn>
                  <a:cxn ang="0">
                    <a:pos x="20" y="144"/>
                  </a:cxn>
                  <a:cxn ang="0">
                    <a:pos x="24" y="141"/>
                  </a:cxn>
                  <a:cxn ang="0">
                    <a:pos x="30" y="140"/>
                  </a:cxn>
                  <a:cxn ang="0">
                    <a:pos x="44" y="138"/>
                  </a:cxn>
                  <a:cxn ang="0">
                    <a:pos x="50" y="137"/>
                  </a:cxn>
                  <a:cxn ang="0">
                    <a:pos x="53" y="136"/>
                  </a:cxn>
                  <a:cxn ang="0">
                    <a:pos x="53" y="128"/>
                  </a:cxn>
                  <a:cxn ang="0">
                    <a:pos x="55" y="124"/>
                  </a:cxn>
                  <a:cxn ang="0">
                    <a:pos x="65" y="123"/>
                  </a:cxn>
                  <a:cxn ang="0">
                    <a:pos x="74" y="121"/>
                  </a:cxn>
                  <a:cxn ang="0">
                    <a:pos x="75" y="120"/>
                  </a:cxn>
                  <a:cxn ang="0">
                    <a:pos x="80" y="110"/>
                  </a:cxn>
                  <a:cxn ang="0">
                    <a:pos x="84" y="107"/>
                  </a:cxn>
                  <a:cxn ang="0">
                    <a:pos x="94" y="104"/>
                  </a:cxn>
                  <a:cxn ang="0">
                    <a:pos x="94" y="101"/>
                  </a:cxn>
                  <a:cxn ang="0">
                    <a:pos x="94" y="90"/>
                  </a:cxn>
                  <a:cxn ang="0">
                    <a:pos x="98" y="82"/>
                  </a:cxn>
                  <a:cxn ang="0">
                    <a:pos x="100" y="80"/>
                  </a:cxn>
                  <a:cxn ang="0">
                    <a:pos x="108" y="77"/>
                  </a:cxn>
                  <a:cxn ang="0">
                    <a:pos x="112" y="72"/>
                  </a:cxn>
                  <a:cxn ang="0">
                    <a:pos x="114" y="69"/>
                  </a:cxn>
                  <a:cxn ang="0">
                    <a:pos x="125" y="53"/>
                  </a:cxn>
                  <a:cxn ang="0">
                    <a:pos x="128" y="49"/>
                  </a:cxn>
                  <a:cxn ang="0">
                    <a:pos x="127" y="45"/>
                  </a:cxn>
                  <a:cxn ang="0">
                    <a:pos x="125" y="45"/>
                  </a:cxn>
                  <a:cxn ang="0">
                    <a:pos x="117" y="36"/>
                  </a:cxn>
                  <a:cxn ang="0">
                    <a:pos x="111" y="27"/>
                  </a:cxn>
                  <a:cxn ang="0">
                    <a:pos x="101" y="25"/>
                  </a:cxn>
                  <a:cxn ang="0">
                    <a:pos x="88" y="20"/>
                  </a:cxn>
                  <a:cxn ang="0">
                    <a:pos x="84" y="17"/>
                  </a:cxn>
                  <a:cxn ang="0">
                    <a:pos x="78" y="10"/>
                  </a:cxn>
                  <a:cxn ang="0">
                    <a:pos x="70" y="3"/>
                  </a:cxn>
                </a:cxnLst>
                <a:rect l="0" t="0" r="r" b="b"/>
                <a:pathLst>
                  <a:path w="128" h="144">
                    <a:moveTo>
                      <a:pt x="64" y="3"/>
                    </a:moveTo>
                    <a:lnTo>
                      <a:pt x="64" y="16"/>
                    </a:lnTo>
                    <a:lnTo>
                      <a:pt x="54" y="29"/>
                    </a:lnTo>
                    <a:lnTo>
                      <a:pt x="48" y="42"/>
                    </a:lnTo>
                    <a:lnTo>
                      <a:pt x="48" y="42"/>
                    </a:lnTo>
                    <a:lnTo>
                      <a:pt x="51" y="42"/>
                    </a:lnTo>
                    <a:lnTo>
                      <a:pt x="51" y="42"/>
                    </a:lnTo>
                    <a:lnTo>
                      <a:pt x="54" y="43"/>
                    </a:lnTo>
                    <a:lnTo>
                      <a:pt x="57" y="46"/>
                    </a:lnTo>
                    <a:lnTo>
                      <a:pt x="60" y="50"/>
                    </a:lnTo>
                    <a:lnTo>
                      <a:pt x="60" y="53"/>
                    </a:lnTo>
                    <a:lnTo>
                      <a:pt x="60" y="53"/>
                    </a:lnTo>
                    <a:lnTo>
                      <a:pt x="55" y="70"/>
                    </a:lnTo>
                    <a:lnTo>
                      <a:pt x="51" y="82"/>
                    </a:lnTo>
                    <a:lnTo>
                      <a:pt x="48" y="87"/>
                    </a:lnTo>
                    <a:lnTo>
                      <a:pt x="48" y="87"/>
                    </a:lnTo>
                    <a:lnTo>
                      <a:pt x="31" y="93"/>
                    </a:lnTo>
                    <a:lnTo>
                      <a:pt x="0" y="103"/>
                    </a:lnTo>
                    <a:lnTo>
                      <a:pt x="0" y="103"/>
                    </a:lnTo>
                    <a:lnTo>
                      <a:pt x="20" y="144"/>
                    </a:lnTo>
                    <a:lnTo>
                      <a:pt x="20" y="144"/>
                    </a:lnTo>
                    <a:lnTo>
                      <a:pt x="24" y="141"/>
                    </a:lnTo>
                    <a:lnTo>
                      <a:pt x="24" y="141"/>
                    </a:lnTo>
                    <a:lnTo>
                      <a:pt x="30" y="140"/>
                    </a:lnTo>
                    <a:lnTo>
                      <a:pt x="37" y="138"/>
                    </a:lnTo>
                    <a:lnTo>
                      <a:pt x="44" y="138"/>
                    </a:lnTo>
                    <a:lnTo>
                      <a:pt x="50" y="137"/>
                    </a:lnTo>
                    <a:lnTo>
                      <a:pt x="50" y="137"/>
                    </a:lnTo>
                    <a:lnTo>
                      <a:pt x="51" y="137"/>
                    </a:lnTo>
                    <a:lnTo>
                      <a:pt x="53" y="136"/>
                    </a:lnTo>
                    <a:lnTo>
                      <a:pt x="53" y="133"/>
                    </a:lnTo>
                    <a:lnTo>
                      <a:pt x="53" y="128"/>
                    </a:lnTo>
                    <a:lnTo>
                      <a:pt x="55" y="124"/>
                    </a:lnTo>
                    <a:lnTo>
                      <a:pt x="55" y="124"/>
                    </a:lnTo>
                    <a:lnTo>
                      <a:pt x="61" y="123"/>
                    </a:lnTo>
                    <a:lnTo>
                      <a:pt x="65" y="123"/>
                    </a:lnTo>
                    <a:lnTo>
                      <a:pt x="70" y="123"/>
                    </a:lnTo>
                    <a:lnTo>
                      <a:pt x="74" y="121"/>
                    </a:lnTo>
                    <a:lnTo>
                      <a:pt x="74" y="121"/>
                    </a:lnTo>
                    <a:lnTo>
                      <a:pt x="75" y="120"/>
                    </a:lnTo>
                    <a:lnTo>
                      <a:pt x="78" y="114"/>
                    </a:lnTo>
                    <a:lnTo>
                      <a:pt x="80" y="110"/>
                    </a:lnTo>
                    <a:lnTo>
                      <a:pt x="84" y="107"/>
                    </a:lnTo>
                    <a:lnTo>
                      <a:pt x="84" y="107"/>
                    </a:lnTo>
                    <a:lnTo>
                      <a:pt x="91" y="106"/>
                    </a:lnTo>
                    <a:lnTo>
                      <a:pt x="94" y="104"/>
                    </a:lnTo>
                    <a:lnTo>
                      <a:pt x="94" y="101"/>
                    </a:lnTo>
                    <a:lnTo>
                      <a:pt x="94" y="101"/>
                    </a:lnTo>
                    <a:lnTo>
                      <a:pt x="94" y="97"/>
                    </a:lnTo>
                    <a:lnTo>
                      <a:pt x="94" y="90"/>
                    </a:lnTo>
                    <a:lnTo>
                      <a:pt x="97" y="83"/>
                    </a:lnTo>
                    <a:lnTo>
                      <a:pt x="98" y="82"/>
                    </a:lnTo>
                    <a:lnTo>
                      <a:pt x="100" y="80"/>
                    </a:lnTo>
                    <a:lnTo>
                      <a:pt x="100" y="80"/>
                    </a:lnTo>
                    <a:lnTo>
                      <a:pt x="104" y="79"/>
                    </a:lnTo>
                    <a:lnTo>
                      <a:pt x="108" y="77"/>
                    </a:lnTo>
                    <a:lnTo>
                      <a:pt x="111" y="74"/>
                    </a:lnTo>
                    <a:lnTo>
                      <a:pt x="112" y="72"/>
                    </a:lnTo>
                    <a:lnTo>
                      <a:pt x="112" y="72"/>
                    </a:lnTo>
                    <a:lnTo>
                      <a:pt x="114" y="69"/>
                    </a:lnTo>
                    <a:lnTo>
                      <a:pt x="118" y="63"/>
                    </a:lnTo>
                    <a:lnTo>
                      <a:pt x="125" y="53"/>
                    </a:lnTo>
                    <a:lnTo>
                      <a:pt x="125" y="53"/>
                    </a:lnTo>
                    <a:lnTo>
                      <a:pt x="128" y="49"/>
                    </a:lnTo>
                    <a:lnTo>
                      <a:pt x="128" y="46"/>
                    </a:lnTo>
                    <a:lnTo>
                      <a:pt x="127" y="45"/>
                    </a:lnTo>
                    <a:lnTo>
                      <a:pt x="125" y="45"/>
                    </a:lnTo>
                    <a:lnTo>
                      <a:pt x="125" y="45"/>
                    </a:lnTo>
                    <a:lnTo>
                      <a:pt x="121" y="42"/>
                    </a:lnTo>
                    <a:lnTo>
                      <a:pt x="117" y="36"/>
                    </a:lnTo>
                    <a:lnTo>
                      <a:pt x="111" y="27"/>
                    </a:lnTo>
                    <a:lnTo>
                      <a:pt x="111" y="27"/>
                    </a:lnTo>
                    <a:lnTo>
                      <a:pt x="108" y="25"/>
                    </a:lnTo>
                    <a:lnTo>
                      <a:pt x="101" y="25"/>
                    </a:lnTo>
                    <a:lnTo>
                      <a:pt x="92" y="22"/>
                    </a:lnTo>
                    <a:lnTo>
                      <a:pt x="88" y="20"/>
                    </a:lnTo>
                    <a:lnTo>
                      <a:pt x="84" y="17"/>
                    </a:lnTo>
                    <a:lnTo>
                      <a:pt x="84" y="17"/>
                    </a:lnTo>
                    <a:lnTo>
                      <a:pt x="81" y="13"/>
                    </a:lnTo>
                    <a:lnTo>
                      <a:pt x="78" y="10"/>
                    </a:lnTo>
                    <a:lnTo>
                      <a:pt x="75" y="0"/>
                    </a:lnTo>
                    <a:lnTo>
                      <a:pt x="70" y="3"/>
                    </a:lnTo>
                    <a:lnTo>
                      <a:pt x="64" y="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3" name="Qatar">
                <a:extLst>
                  <a:ext uri="{FF2B5EF4-FFF2-40B4-BE49-F238E27FC236}">
                    <a16:creationId xmlns:a16="http://schemas.microsoft.com/office/drawing/2014/main" id="{0D1D6022-6AA4-DF48-AC70-7DE0FEFD0BCB}"/>
                  </a:ext>
                </a:extLst>
              </p:cNvPr>
              <p:cNvSpPr>
                <a:spLocks/>
              </p:cNvSpPr>
              <p:nvPr/>
            </p:nvSpPr>
            <p:spPr bwMode="auto">
              <a:xfrm>
                <a:off x="5514623" y="3676392"/>
                <a:ext cx="25157" cy="36995"/>
              </a:xfrm>
              <a:custGeom>
                <a:avLst/>
                <a:gdLst/>
                <a:ahLst/>
                <a:cxnLst>
                  <a:cxn ang="0">
                    <a:pos x="14" y="25"/>
                  </a:cxn>
                  <a:cxn ang="0">
                    <a:pos x="14" y="25"/>
                  </a:cxn>
                  <a:cxn ang="0">
                    <a:pos x="14" y="23"/>
                  </a:cxn>
                  <a:cxn ang="0">
                    <a:pos x="14" y="20"/>
                  </a:cxn>
                  <a:cxn ang="0">
                    <a:pos x="14" y="20"/>
                  </a:cxn>
                  <a:cxn ang="0">
                    <a:pos x="15" y="15"/>
                  </a:cxn>
                  <a:cxn ang="0">
                    <a:pos x="17" y="8"/>
                  </a:cxn>
                  <a:cxn ang="0">
                    <a:pos x="15" y="3"/>
                  </a:cxn>
                  <a:cxn ang="0">
                    <a:pos x="14" y="1"/>
                  </a:cxn>
                  <a:cxn ang="0">
                    <a:pos x="12" y="0"/>
                  </a:cxn>
                  <a:cxn ang="0">
                    <a:pos x="12" y="0"/>
                  </a:cxn>
                  <a:cxn ang="0">
                    <a:pos x="10" y="0"/>
                  </a:cxn>
                  <a:cxn ang="0">
                    <a:pos x="7" y="1"/>
                  </a:cxn>
                  <a:cxn ang="0">
                    <a:pos x="4" y="5"/>
                  </a:cxn>
                  <a:cxn ang="0">
                    <a:pos x="2" y="11"/>
                  </a:cxn>
                  <a:cxn ang="0">
                    <a:pos x="1" y="15"/>
                  </a:cxn>
                  <a:cxn ang="0">
                    <a:pos x="1" y="15"/>
                  </a:cxn>
                  <a:cxn ang="0">
                    <a:pos x="1" y="15"/>
                  </a:cxn>
                  <a:cxn ang="0">
                    <a:pos x="0" y="15"/>
                  </a:cxn>
                  <a:cxn ang="0">
                    <a:pos x="0" y="15"/>
                  </a:cxn>
                  <a:cxn ang="0">
                    <a:pos x="2" y="21"/>
                  </a:cxn>
                  <a:cxn ang="0">
                    <a:pos x="7" y="24"/>
                  </a:cxn>
                  <a:cxn ang="0">
                    <a:pos x="10" y="25"/>
                  </a:cxn>
                  <a:cxn ang="0">
                    <a:pos x="14" y="25"/>
                  </a:cxn>
                  <a:cxn ang="0">
                    <a:pos x="14" y="25"/>
                  </a:cxn>
                </a:cxnLst>
                <a:rect l="0" t="0" r="r" b="b"/>
                <a:pathLst>
                  <a:path w="17" h="25">
                    <a:moveTo>
                      <a:pt x="14" y="25"/>
                    </a:moveTo>
                    <a:lnTo>
                      <a:pt x="14" y="25"/>
                    </a:lnTo>
                    <a:lnTo>
                      <a:pt x="14" y="23"/>
                    </a:lnTo>
                    <a:lnTo>
                      <a:pt x="14" y="20"/>
                    </a:lnTo>
                    <a:lnTo>
                      <a:pt x="14" y="20"/>
                    </a:lnTo>
                    <a:lnTo>
                      <a:pt x="15" y="15"/>
                    </a:lnTo>
                    <a:lnTo>
                      <a:pt x="17" y="8"/>
                    </a:lnTo>
                    <a:lnTo>
                      <a:pt x="15" y="3"/>
                    </a:lnTo>
                    <a:lnTo>
                      <a:pt x="14" y="1"/>
                    </a:lnTo>
                    <a:lnTo>
                      <a:pt x="12" y="0"/>
                    </a:lnTo>
                    <a:lnTo>
                      <a:pt x="12" y="0"/>
                    </a:lnTo>
                    <a:lnTo>
                      <a:pt x="10" y="0"/>
                    </a:lnTo>
                    <a:lnTo>
                      <a:pt x="7" y="1"/>
                    </a:lnTo>
                    <a:lnTo>
                      <a:pt x="4" y="5"/>
                    </a:lnTo>
                    <a:lnTo>
                      <a:pt x="2" y="11"/>
                    </a:lnTo>
                    <a:lnTo>
                      <a:pt x="1" y="15"/>
                    </a:lnTo>
                    <a:lnTo>
                      <a:pt x="1" y="15"/>
                    </a:lnTo>
                    <a:lnTo>
                      <a:pt x="1" y="15"/>
                    </a:lnTo>
                    <a:lnTo>
                      <a:pt x="0" y="15"/>
                    </a:lnTo>
                    <a:lnTo>
                      <a:pt x="0" y="15"/>
                    </a:lnTo>
                    <a:lnTo>
                      <a:pt x="2" y="21"/>
                    </a:lnTo>
                    <a:lnTo>
                      <a:pt x="7" y="24"/>
                    </a:lnTo>
                    <a:lnTo>
                      <a:pt x="10" y="25"/>
                    </a:lnTo>
                    <a:lnTo>
                      <a:pt x="14" y="25"/>
                    </a:lnTo>
                    <a:lnTo>
                      <a:pt x="14" y="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4" name="UAE">
                <a:extLst>
                  <a:ext uri="{FF2B5EF4-FFF2-40B4-BE49-F238E27FC236}">
                    <a16:creationId xmlns:a16="http://schemas.microsoft.com/office/drawing/2014/main" id="{521FD381-6BDB-204A-9C69-6CE3E79244BB}"/>
                  </a:ext>
                </a:extLst>
              </p:cNvPr>
              <p:cNvSpPr>
                <a:spLocks/>
              </p:cNvSpPr>
              <p:nvPr/>
            </p:nvSpPr>
            <p:spPr bwMode="auto">
              <a:xfrm>
                <a:off x="5544219" y="3670473"/>
                <a:ext cx="112464" cy="90267"/>
              </a:xfrm>
              <a:custGeom>
                <a:avLst/>
                <a:gdLst/>
                <a:ahLst/>
                <a:cxnLst>
                  <a:cxn ang="0">
                    <a:pos x="12" y="56"/>
                  </a:cxn>
                  <a:cxn ang="0">
                    <a:pos x="12" y="56"/>
                  </a:cxn>
                  <a:cxn ang="0">
                    <a:pos x="28" y="59"/>
                  </a:cxn>
                  <a:cxn ang="0">
                    <a:pos x="49" y="61"/>
                  </a:cxn>
                  <a:cxn ang="0">
                    <a:pos x="55" y="48"/>
                  </a:cxn>
                  <a:cxn ang="0">
                    <a:pos x="65" y="35"/>
                  </a:cxn>
                  <a:cxn ang="0">
                    <a:pos x="65" y="22"/>
                  </a:cxn>
                  <a:cxn ang="0">
                    <a:pos x="71" y="22"/>
                  </a:cxn>
                  <a:cxn ang="0">
                    <a:pos x="76" y="19"/>
                  </a:cxn>
                  <a:cxn ang="0">
                    <a:pos x="76" y="19"/>
                  </a:cxn>
                  <a:cxn ang="0">
                    <a:pos x="73" y="5"/>
                  </a:cxn>
                  <a:cxn ang="0">
                    <a:pos x="73" y="1"/>
                  </a:cxn>
                  <a:cxn ang="0">
                    <a:pos x="72" y="0"/>
                  </a:cxn>
                  <a:cxn ang="0">
                    <a:pos x="72" y="0"/>
                  </a:cxn>
                  <a:cxn ang="0">
                    <a:pos x="69" y="1"/>
                  </a:cxn>
                  <a:cxn ang="0">
                    <a:pos x="64" y="7"/>
                  </a:cxn>
                  <a:cxn ang="0">
                    <a:pos x="58" y="14"/>
                  </a:cxn>
                  <a:cxn ang="0">
                    <a:pos x="54" y="21"/>
                  </a:cxn>
                  <a:cxn ang="0">
                    <a:pos x="54" y="21"/>
                  </a:cxn>
                  <a:cxn ang="0">
                    <a:pos x="48" y="27"/>
                  </a:cxn>
                  <a:cxn ang="0">
                    <a:pos x="41" y="32"/>
                  </a:cxn>
                  <a:cxn ang="0">
                    <a:pos x="32" y="35"/>
                  </a:cxn>
                  <a:cxn ang="0">
                    <a:pos x="22" y="35"/>
                  </a:cxn>
                  <a:cxn ang="0">
                    <a:pos x="22" y="35"/>
                  </a:cxn>
                  <a:cxn ang="0">
                    <a:pos x="15" y="35"/>
                  </a:cxn>
                  <a:cxn ang="0">
                    <a:pos x="9" y="36"/>
                  </a:cxn>
                  <a:cxn ang="0">
                    <a:pos x="4" y="39"/>
                  </a:cxn>
                  <a:cxn ang="0">
                    <a:pos x="4" y="39"/>
                  </a:cxn>
                  <a:cxn ang="0">
                    <a:pos x="2" y="41"/>
                  </a:cxn>
                  <a:cxn ang="0">
                    <a:pos x="0" y="39"/>
                  </a:cxn>
                  <a:cxn ang="0">
                    <a:pos x="0" y="39"/>
                  </a:cxn>
                  <a:cxn ang="0">
                    <a:pos x="2" y="45"/>
                  </a:cxn>
                  <a:cxn ang="0">
                    <a:pos x="7" y="51"/>
                  </a:cxn>
                  <a:cxn ang="0">
                    <a:pos x="12" y="56"/>
                  </a:cxn>
                  <a:cxn ang="0">
                    <a:pos x="12" y="56"/>
                  </a:cxn>
                </a:cxnLst>
                <a:rect l="0" t="0" r="r" b="b"/>
                <a:pathLst>
                  <a:path w="76" h="61">
                    <a:moveTo>
                      <a:pt x="12" y="56"/>
                    </a:moveTo>
                    <a:lnTo>
                      <a:pt x="12" y="56"/>
                    </a:lnTo>
                    <a:lnTo>
                      <a:pt x="28" y="59"/>
                    </a:lnTo>
                    <a:lnTo>
                      <a:pt x="49" y="61"/>
                    </a:lnTo>
                    <a:lnTo>
                      <a:pt x="55" y="48"/>
                    </a:lnTo>
                    <a:lnTo>
                      <a:pt x="65" y="35"/>
                    </a:lnTo>
                    <a:lnTo>
                      <a:pt x="65" y="22"/>
                    </a:lnTo>
                    <a:lnTo>
                      <a:pt x="71" y="22"/>
                    </a:lnTo>
                    <a:lnTo>
                      <a:pt x="76" y="19"/>
                    </a:lnTo>
                    <a:lnTo>
                      <a:pt x="76" y="19"/>
                    </a:lnTo>
                    <a:lnTo>
                      <a:pt x="73" y="5"/>
                    </a:lnTo>
                    <a:lnTo>
                      <a:pt x="73" y="1"/>
                    </a:lnTo>
                    <a:lnTo>
                      <a:pt x="72" y="0"/>
                    </a:lnTo>
                    <a:lnTo>
                      <a:pt x="72" y="0"/>
                    </a:lnTo>
                    <a:lnTo>
                      <a:pt x="69" y="1"/>
                    </a:lnTo>
                    <a:lnTo>
                      <a:pt x="64" y="7"/>
                    </a:lnTo>
                    <a:lnTo>
                      <a:pt x="58" y="14"/>
                    </a:lnTo>
                    <a:lnTo>
                      <a:pt x="54" y="21"/>
                    </a:lnTo>
                    <a:lnTo>
                      <a:pt x="54" y="21"/>
                    </a:lnTo>
                    <a:lnTo>
                      <a:pt x="48" y="27"/>
                    </a:lnTo>
                    <a:lnTo>
                      <a:pt x="41" y="32"/>
                    </a:lnTo>
                    <a:lnTo>
                      <a:pt x="32" y="35"/>
                    </a:lnTo>
                    <a:lnTo>
                      <a:pt x="22" y="35"/>
                    </a:lnTo>
                    <a:lnTo>
                      <a:pt x="22" y="35"/>
                    </a:lnTo>
                    <a:lnTo>
                      <a:pt x="15" y="35"/>
                    </a:lnTo>
                    <a:lnTo>
                      <a:pt x="9" y="36"/>
                    </a:lnTo>
                    <a:lnTo>
                      <a:pt x="4" y="39"/>
                    </a:lnTo>
                    <a:lnTo>
                      <a:pt x="4" y="39"/>
                    </a:lnTo>
                    <a:lnTo>
                      <a:pt x="2" y="41"/>
                    </a:lnTo>
                    <a:lnTo>
                      <a:pt x="0" y="39"/>
                    </a:lnTo>
                    <a:lnTo>
                      <a:pt x="0" y="39"/>
                    </a:lnTo>
                    <a:lnTo>
                      <a:pt x="2" y="45"/>
                    </a:lnTo>
                    <a:lnTo>
                      <a:pt x="7" y="51"/>
                    </a:lnTo>
                    <a:lnTo>
                      <a:pt x="12" y="56"/>
                    </a:lnTo>
                    <a:lnTo>
                      <a:pt x="12" y="5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85" name="West Bank">
                <a:extLst>
                  <a:ext uri="{FF2B5EF4-FFF2-40B4-BE49-F238E27FC236}">
                    <a16:creationId xmlns:a16="http://schemas.microsoft.com/office/drawing/2014/main" id="{EAF2F655-C5C1-7940-B152-DA2A9767AD5C}"/>
                  </a:ext>
                </a:extLst>
              </p:cNvPr>
              <p:cNvSpPr>
                <a:spLocks/>
              </p:cNvSpPr>
              <p:nvPr/>
            </p:nvSpPr>
            <p:spPr bwMode="auto">
              <a:xfrm>
                <a:off x="5141718" y="3503258"/>
                <a:ext cx="11838" cy="31076"/>
              </a:xfrm>
              <a:custGeom>
                <a:avLst/>
                <a:gdLst/>
                <a:ahLst/>
                <a:cxnLst>
                  <a:cxn ang="0">
                    <a:pos x="4" y="0"/>
                  </a:cxn>
                  <a:cxn ang="0">
                    <a:pos x="4" y="0"/>
                  </a:cxn>
                  <a:cxn ang="0">
                    <a:pos x="3" y="2"/>
                  </a:cxn>
                  <a:cxn ang="0">
                    <a:pos x="1" y="6"/>
                  </a:cxn>
                  <a:cxn ang="0">
                    <a:pos x="0" y="12"/>
                  </a:cxn>
                  <a:cxn ang="0">
                    <a:pos x="0" y="12"/>
                  </a:cxn>
                  <a:cxn ang="0">
                    <a:pos x="1" y="16"/>
                  </a:cxn>
                  <a:cxn ang="0">
                    <a:pos x="7" y="21"/>
                  </a:cxn>
                  <a:cxn ang="0">
                    <a:pos x="7" y="21"/>
                  </a:cxn>
                  <a:cxn ang="0">
                    <a:pos x="8" y="3"/>
                  </a:cxn>
                  <a:cxn ang="0">
                    <a:pos x="8" y="3"/>
                  </a:cxn>
                  <a:cxn ang="0">
                    <a:pos x="8" y="0"/>
                  </a:cxn>
                  <a:cxn ang="0">
                    <a:pos x="8" y="0"/>
                  </a:cxn>
                  <a:cxn ang="0">
                    <a:pos x="4" y="0"/>
                  </a:cxn>
                  <a:cxn ang="0">
                    <a:pos x="4" y="0"/>
                  </a:cxn>
                </a:cxnLst>
                <a:rect l="0" t="0" r="r" b="b"/>
                <a:pathLst>
                  <a:path w="8" h="21">
                    <a:moveTo>
                      <a:pt x="4" y="0"/>
                    </a:moveTo>
                    <a:lnTo>
                      <a:pt x="4" y="0"/>
                    </a:lnTo>
                    <a:lnTo>
                      <a:pt x="3" y="2"/>
                    </a:lnTo>
                    <a:lnTo>
                      <a:pt x="1" y="6"/>
                    </a:lnTo>
                    <a:lnTo>
                      <a:pt x="0" y="12"/>
                    </a:lnTo>
                    <a:lnTo>
                      <a:pt x="0" y="12"/>
                    </a:lnTo>
                    <a:lnTo>
                      <a:pt x="1" y="16"/>
                    </a:lnTo>
                    <a:lnTo>
                      <a:pt x="7" y="21"/>
                    </a:lnTo>
                    <a:lnTo>
                      <a:pt x="7" y="21"/>
                    </a:lnTo>
                    <a:lnTo>
                      <a:pt x="8" y="3"/>
                    </a:lnTo>
                    <a:lnTo>
                      <a:pt x="8" y="3"/>
                    </a:lnTo>
                    <a:lnTo>
                      <a:pt x="8" y="0"/>
                    </a:lnTo>
                    <a:lnTo>
                      <a:pt x="8" y="0"/>
                    </a:lnTo>
                    <a:lnTo>
                      <a:pt x="4" y="0"/>
                    </a:lnTo>
                    <a:lnTo>
                      <a:pt x="4"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6" name="Israel">
                <a:extLst>
                  <a:ext uri="{FF2B5EF4-FFF2-40B4-BE49-F238E27FC236}">
                    <a16:creationId xmlns:a16="http://schemas.microsoft.com/office/drawing/2014/main" id="{577F79CE-C918-3C48-8CA1-7254CA42A7FA}"/>
                  </a:ext>
                </a:extLst>
              </p:cNvPr>
              <p:cNvSpPr>
                <a:spLocks/>
              </p:cNvSpPr>
              <p:nvPr/>
            </p:nvSpPr>
            <p:spPr bwMode="auto">
              <a:xfrm>
                <a:off x="5122480" y="3482541"/>
                <a:ext cx="34036" cy="99146"/>
              </a:xfrm>
              <a:custGeom>
                <a:avLst/>
                <a:gdLst/>
                <a:ahLst/>
                <a:cxnLst>
                  <a:cxn ang="0">
                    <a:pos x="10" y="65"/>
                  </a:cxn>
                  <a:cxn ang="0">
                    <a:pos x="10" y="65"/>
                  </a:cxn>
                  <a:cxn ang="0">
                    <a:pos x="13" y="67"/>
                  </a:cxn>
                  <a:cxn ang="0">
                    <a:pos x="13" y="67"/>
                  </a:cxn>
                  <a:cxn ang="0">
                    <a:pos x="14" y="53"/>
                  </a:cxn>
                  <a:cxn ang="0">
                    <a:pos x="17" y="44"/>
                  </a:cxn>
                  <a:cxn ang="0">
                    <a:pos x="17" y="44"/>
                  </a:cxn>
                  <a:cxn ang="0">
                    <a:pos x="18" y="40"/>
                  </a:cxn>
                  <a:cxn ang="0">
                    <a:pos x="20" y="35"/>
                  </a:cxn>
                  <a:cxn ang="0">
                    <a:pos x="20" y="35"/>
                  </a:cxn>
                  <a:cxn ang="0">
                    <a:pos x="14" y="30"/>
                  </a:cxn>
                  <a:cxn ang="0">
                    <a:pos x="13" y="26"/>
                  </a:cxn>
                  <a:cxn ang="0">
                    <a:pos x="13" y="26"/>
                  </a:cxn>
                  <a:cxn ang="0">
                    <a:pos x="14" y="20"/>
                  </a:cxn>
                  <a:cxn ang="0">
                    <a:pos x="16" y="16"/>
                  </a:cxn>
                  <a:cxn ang="0">
                    <a:pos x="17" y="14"/>
                  </a:cxn>
                  <a:cxn ang="0">
                    <a:pos x="17" y="14"/>
                  </a:cxn>
                  <a:cxn ang="0">
                    <a:pos x="21" y="14"/>
                  </a:cxn>
                  <a:cxn ang="0">
                    <a:pos x="21" y="14"/>
                  </a:cxn>
                  <a:cxn ang="0">
                    <a:pos x="23" y="3"/>
                  </a:cxn>
                  <a:cxn ang="0">
                    <a:pos x="14" y="0"/>
                  </a:cxn>
                  <a:cxn ang="0">
                    <a:pos x="14" y="0"/>
                  </a:cxn>
                  <a:cxn ang="0">
                    <a:pos x="13" y="7"/>
                  </a:cxn>
                  <a:cxn ang="0">
                    <a:pos x="13" y="7"/>
                  </a:cxn>
                  <a:cxn ang="0">
                    <a:pos x="10" y="14"/>
                  </a:cxn>
                  <a:cxn ang="0">
                    <a:pos x="7" y="23"/>
                  </a:cxn>
                  <a:cxn ang="0">
                    <a:pos x="0" y="35"/>
                  </a:cxn>
                  <a:cxn ang="0">
                    <a:pos x="11" y="64"/>
                  </a:cxn>
                  <a:cxn ang="0">
                    <a:pos x="10" y="65"/>
                  </a:cxn>
                </a:cxnLst>
                <a:rect l="0" t="0" r="r" b="b"/>
                <a:pathLst>
                  <a:path w="23" h="67">
                    <a:moveTo>
                      <a:pt x="10" y="65"/>
                    </a:moveTo>
                    <a:lnTo>
                      <a:pt x="10" y="65"/>
                    </a:lnTo>
                    <a:lnTo>
                      <a:pt x="13" y="67"/>
                    </a:lnTo>
                    <a:lnTo>
                      <a:pt x="13" y="67"/>
                    </a:lnTo>
                    <a:lnTo>
                      <a:pt x="14" y="53"/>
                    </a:lnTo>
                    <a:lnTo>
                      <a:pt x="17" y="44"/>
                    </a:lnTo>
                    <a:lnTo>
                      <a:pt x="17" y="44"/>
                    </a:lnTo>
                    <a:lnTo>
                      <a:pt x="18" y="40"/>
                    </a:lnTo>
                    <a:lnTo>
                      <a:pt x="20" y="35"/>
                    </a:lnTo>
                    <a:lnTo>
                      <a:pt x="20" y="35"/>
                    </a:lnTo>
                    <a:lnTo>
                      <a:pt x="14" y="30"/>
                    </a:lnTo>
                    <a:lnTo>
                      <a:pt x="13" y="26"/>
                    </a:lnTo>
                    <a:lnTo>
                      <a:pt x="13" y="26"/>
                    </a:lnTo>
                    <a:lnTo>
                      <a:pt x="14" y="20"/>
                    </a:lnTo>
                    <a:lnTo>
                      <a:pt x="16" y="16"/>
                    </a:lnTo>
                    <a:lnTo>
                      <a:pt x="17" y="14"/>
                    </a:lnTo>
                    <a:lnTo>
                      <a:pt x="17" y="14"/>
                    </a:lnTo>
                    <a:lnTo>
                      <a:pt x="21" y="14"/>
                    </a:lnTo>
                    <a:lnTo>
                      <a:pt x="21" y="14"/>
                    </a:lnTo>
                    <a:lnTo>
                      <a:pt x="23" y="3"/>
                    </a:lnTo>
                    <a:lnTo>
                      <a:pt x="14" y="0"/>
                    </a:lnTo>
                    <a:lnTo>
                      <a:pt x="14" y="0"/>
                    </a:lnTo>
                    <a:lnTo>
                      <a:pt x="13" y="7"/>
                    </a:lnTo>
                    <a:lnTo>
                      <a:pt x="13" y="7"/>
                    </a:lnTo>
                    <a:lnTo>
                      <a:pt x="10" y="14"/>
                    </a:lnTo>
                    <a:lnTo>
                      <a:pt x="7" y="23"/>
                    </a:lnTo>
                    <a:lnTo>
                      <a:pt x="0" y="35"/>
                    </a:lnTo>
                    <a:lnTo>
                      <a:pt x="11" y="64"/>
                    </a:lnTo>
                    <a:lnTo>
                      <a:pt x="10" y="6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87" name="Jordan">
                <a:extLst>
                  <a:ext uri="{FF2B5EF4-FFF2-40B4-BE49-F238E27FC236}">
                    <a16:creationId xmlns:a16="http://schemas.microsoft.com/office/drawing/2014/main" id="{3F726D53-9DD7-B043-B144-A1F4DEDB1ABD}"/>
                  </a:ext>
                </a:extLst>
              </p:cNvPr>
              <p:cNvSpPr>
                <a:spLocks/>
              </p:cNvSpPr>
              <p:nvPr/>
            </p:nvSpPr>
            <p:spPr bwMode="auto">
              <a:xfrm>
                <a:off x="5141718" y="3479582"/>
                <a:ext cx="99146" cy="109504"/>
              </a:xfrm>
              <a:custGeom>
                <a:avLst/>
                <a:gdLst/>
                <a:ahLst/>
                <a:cxnLst>
                  <a:cxn ang="0">
                    <a:pos x="62" y="0"/>
                  </a:cxn>
                  <a:cxn ang="0">
                    <a:pos x="62" y="0"/>
                  </a:cxn>
                  <a:cxn ang="0">
                    <a:pos x="41" y="10"/>
                  </a:cxn>
                  <a:cxn ang="0">
                    <a:pos x="41" y="10"/>
                  </a:cxn>
                  <a:cxn ang="0">
                    <a:pos x="37" y="12"/>
                  </a:cxn>
                  <a:cxn ang="0">
                    <a:pos x="33" y="15"/>
                  </a:cxn>
                  <a:cxn ang="0">
                    <a:pos x="27" y="19"/>
                  </a:cxn>
                  <a:cxn ang="0">
                    <a:pos x="11" y="10"/>
                  </a:cxn>
                  <a:cxn ang="0">
                    <a:pos x="10" y="5"/>
                  </a:cxn>
                  <a:cxn ang="0">
                    <a:pos x="10" y="5"/>
                  </a:cxn>
                  <a:cxn ang="0">
                    <a:pos x="10" y="5"/>
                  </a:cxn>
                  <a:cxn ang="0">
                    <a:pos x="8" y="19"/>
                  </a:cxn>
                  <a:cxn ang="0">
                    <a:pos x="8" y="19"/>
                  </a:cxn>
                  <a:cxn ang="0">
                    <a:pos x="7" y="32"/>
                  </a:cxn>
                  <a:cxn ang="0">
                    <a:pos x="5" y="40"/>
                  </a:cxn>
                  <a:cxn ang="0">
                    <a:pos x="4" y="46"/>
                  </a:cxn>
                  <a:cxn ang="0">
                    <a:pos x="4" y="46"/>
                  </a:cxn>
                  <a:cxn ang="0">
                    <a:pos x="1" y="55"/>
                  </a:cxn>
                  <a:cxn ang="0">
                    <a:pos x="0" y="69"/>
                  </a:cxn>
                  <a:cxn ang="0">
                    <a:pos x="0" y="69"/>
                  </a:cxn>
                  <a:cxn ang="0">
                    <a:pos x="7" y="73"/>
                  </a:cxn>
                  <a:cxn ang="0">
                    <a:pos x="14" y="74"/>
                  </a:cxn>
                  <a:cxn ang="0">
                    <a:pos x="14" y="74"/>
                  </a:cxn>
                  <a:cxn ang="0">
                    <a:pos x="18" y="74"/>
                  </a:cxn>
                  <a:cxn ang="0">
                    <a:pos x="23" y="72"/>
                  </a:cxn>
                  <a:cxn ang="0">
                    <a:pos x="25" y="69"/>
                  </a:cxn>
                  <a:cxn ang="0">
                    <a:pos x="27" y="66"/>
                  </a:cxn>
                  <a:cxn ang="0">
                    <a:pos x="27" y="66"/>
                  </a:cxn>
                  <a:cxn ang="0">
                    <a:pos x="27" y="63"/>
                  </a:cxn>
                  <a:cxn ang="0">
                    <a:pos x="30" y="62"/>
                  </a:cxn>
                  <a:cxn ang="0">
                    <a:pos x="37" y="60"/>
                  </a:cxn>
                  <a:cxn ang="0">
                    <a:pos x="37" y="60"/>
                  </a:cxn>
                  <a:cxn ang="0">
                    <a:pos x="40" y="60"/>
                  </a:cxn>
                  <a:cxn ang="0">
                    <a:pos x="41" y="57"/>
                  </a:cxn>
                  <a:cxn ang="0">
                    <a:pos x="44" y="56"/>
                  </a:cxn>
                  <a:cxn ang="0">
                    <a:pos x="45" y="53"/>
                  </a:cxn>
                  <a:cxn ang="0">
                    <a:pos x="45" y="53"/>
                  </a:cxn>
                  <a:cxn ang="0">
                    <a:pos x="47" y="52"/>
                  </a:cxn>
                  <a:cxn ang="0">
                    <a:pos x="45" y="50"/>
                  </a:cxn>
                  <a:cxn ang="0">
                    <a:pos x="42" y="46"/>
                  </a:cxn>
                  <a:cxn ang="0">
                    <a:pos x="38" y="42"/>
                  </a:cxn>
                  <a:cxn ang="0">
                    <a:pos x="34" y="39"/>
                  </a:cxn>
                  <a:cxn ang="0">
                    <a:pos x="34" y="39"/>
                  </a:cxn>
                  <a:cxn ang="0">
                    <a:pos x="33" y="39"/>
                  </a:cxn>
                  <a:cxn ang="0">
                    <a:pos x="33" y="37"/>
                  </a:cxn>
                  <a:cxn ang="0">
                    <a:pos x="35" y="35"/>
                  </a:cxn>
                  <a:cxn ang="0">
                    <a:pos x="41" y="30"/>
                  </a:cxn>
                  <a:cxn ang="0">
                    <a:pos x="50" y="29"/>
                  </a:cxn>
                  <a:cxn ang="0">
                    <a:pos x="50" y="29"/>
                  </a:cxn>
                  <a:cxn ang="0">
                    <a:pos x="57" y="28"/>
                  </a:cxn>
                  <a:cxn ang="0">
                    <a:pos x="60" y="26"/>
                  </a:cxn>
                  <a:cxn ang="0">
                    <a:pos x="62" y="25"/>
                  </a:cxn>
                  <a:cxn ang="0">
                    <a:pos x="67" y="25"/>
                  </a:cxn>
                  <a:cxn ang="0">
                    <a:pos x="67" y="25"/>
                  </a:cxn>
                  <a:cxn ang="0">
                    <a:pos x="67" y="25"/>
                  </a:cxn>
                  <a:cxn ang="0">
                    <a:pos x="67" y="25"/>
                  </a:cxn>
                  <a:cxn ang="0">
                    <a:pos x="64" y="9"/>
                  </a:cxn>
                  <a:cxn ang="0">
                    <a:pos x="64" y="9"/>
                  </a:cxn>
                  <a:cxn ang="0">
                    <a:pos x="62" y="0"/>
                  </a:cxn>
                  <a:cxn ang="0">
                    <a:pos x="62" y="0"/>
                  </a:cxn>
                </a:cxnLst>
                <a:rect l="0" t="0" r="r" b="b"/>
                <a:pathLst>
                  <a:path w="67" h="74">
                    <a:moveTo>
                      <a:pt x="62" y="0"/>
                    </a:moveTo>
                    <a:lnTo>
                      <a:pt x="62" y="0"/>
                    </a:lnTo>
                    <a:lnTo>
                      <a:pt x="41" y="10"/>
                    </a:lnTo>
                    <a:lnTo>
                      <a:pt x="41" y="10"/>
                    </a:lnTo>
                    <a:lnTo>
                      <a:pt x="37" y="12"/>
                    </a:lnTo>
                    <a:lnTo>
                      <a:pt x="33" y="15"/>
                    </a:lnTo>
                    <a:lnTo>
                      <a:pt x="27" y="19"/>
                    </a:lnTo>
                    <a:lnTo>
                      <a:pt x="11" y="10"/>
                    </a:lnTo>
                    <a:lnTo>
                      <a:pt x="10" y="5"/>
                    </a:lnTo>
                    <a:lnTo>
                      <a:pt x="10" y="5"/>
                    </a:lnTo>
                    <a:lnTo>
                      <a:pt x="10" y="5"/>
                    </a:lnTo>
                    <a:lnTo>
                      <a:pt x="8" y="19"/>
                    </a:lnTo>
                    <a:lnTo>
                      <a:pt x="8" y="19"/>
                    </a:lnTo>
                    <a:lnTo>
                      <a:pt x="7" y="32"/>
                    </a:lnTo>
                    <a:lnTo>
                      <a:pt x="5" y="40"/>
                    </a:lnTo>
                    <a:lnTo>
                      <a:pt x="4" y="46"/>
                    </a:lnTo>
                    <a:lnTo>
                      <a:pt x="4" y="46"/>
                    </a:lnTo>
                    <a:lnTo>
                      <a:pt x="1" y="55"/>
                    </a:lnTo>
                    <a:lnTo>
                      <a:pt x="0" y="69"/>
                    </a:lnTo>
                    <a:lnTo>
                      <a:pt x="0" y="69"/>
                    </a:lnTo>
                    <a:lnTo>
                      <a:pt x="7" y="73"/>
                    </a:lnTo>
                    <a:lnTo>
                      <a:pt x="14" y="74"/>
                    </a:lnTo>
                    <a:lnTo>
                      <a:pt x="14" y="74"/>
                    </a:lnTo>
                    <a:lnTo>
                      <a:pt x="18" y="74"/>
                    </a:lnTo>
                    <a:lnTo>
                      <a:pt x="23" y="72"/>
                    </a:lnTo>
                    <a:lnTo>
                      <a:pt x="25" y="69"/>
                    </a:lnTo>
                    <a:lnTo>
                      <a:pt x="27" y="66"/>
                    </a:lnTo>
                    <a:lnTo>
                      <a:pt x="27" y="66"/>
                    </a:lnTo>
                    <a:lnTo>
                      <a:pt x="27" y="63"/>
                    </a:lnTo>
                    <a:lnTo>
                      <a:pt x="30" y="62"/>
                    </a:lnTo>
                    <a:lnTo>
                      <a:pt x="37" y="60"/>
                    </a:lnTo>
                    <a:lnTo>
                      <a:pt x="37" y="60"/>
                    </a:lnTo>
                    <a:lnTo>
                      <a:pt x="40" y="60"/>
                    </a:lnTo>
                    <a:lnTo>
                      <a:pt x="41" y="57"/>
                    </a:lnTo>
                    <a:lnTo>
                      <a:pt x="44" y="56"/>
                    </a:lnTo>
                    <a:lnTo>
                      <a:pt x="45" y="53"/>
                    </a:lnTo>
                    <a:lnTo>
                      <a:pt x="45" y="53"/>
                    </a:lnTo>
                    <a:lnTo>
                      <a:pt x="47" y="52"/>
                    </a:lnTo>
                    <a:lnTo>
                      <a:pt x="45" y="50"/>
                    </a:lnTo>
                    <a:lnTo>
                      <a:pt x="42" y="46"/>
                    </a:lnTo>
                    <a:lnTo>
                      <a:pt x="38" y="42"/>
                    </a:lnTo>
                    <a:lnTo>
                      <a:pt x="34" y="39"/>
                    </a:lnTo>
                    <a:lnTo>
                      <a:pt x="34" y="39"/>
                    </a:lnTo>
                    <a:lnTo>
                      <a:pt x="33" y="39"/>
                    </a:lnTo>
                    <a:lnTo>
                      <a:pt x="33" y="37"/>
                    </a:lnTo>
                    <a:lnTo>
                      <a:pt x="35" y="35"/>
                    </a:lnTo>
                    <a:lnTo>
                      <a:pt x="41" y="30"/>
                    </a:lnTo>
                    <a:lnTo>
                      <a:pt x="50" y="29"/>
                    </a:lnTo>
                    <a:lnTo>
                      <a:pt x="50" y="29"/>
                    </a:lnTo>
                    <a:lnTo>
                      <a:pt x="57" y="28"/>
                    </a:lnTo>
                    <a:lnTo>
                      <a:pt x="60" y="26"/>
                    </a:lnTo>
                    <a:lnTo>
                      <a:pt x="62" y="25"/>
                    </a:lnTo>
                    <a:lnTo>
                      <a:pt x="67" y="25"/>
                    </a:lnTo>
                    <a:lnTo>
                      <a:pt x="67" y="25"/>
                    </a:lnTo>
                    <a:lnTo>
                      <a:pt x="67" y="25"/>
                    </a:lnTo>
                    <a:lnTo>
                      <a:pt x="67" y="25"/>
                    </a:lnTo>
                    <a:lnTo>
                      <a:pt x="64" y="9"/>
                    </a:lnTo>
                    <a:lnTo>
                      <a:pt x="64" y="9"/>
                    </a:lnTo>
                    <a:lnTo>
                      <a:pt x="62" y="0"/>
                    </a:lnTo>
                    <a:lnTo>
                      <a:pt x="62"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8" name="Lebanon">
                <a:extLst>
                  <a:ext uri="{FF2B5EF4-FFF2-40B4-BE49-F238E27FC236}">
                    <a16:creationId xmlns:a16="http://schemas.microsoft.com/office/drawing/2014/main" id="{7753A3FB-57C6-3C40-B4C8-0AD2B541D722}"/>
                  </a:ext>
                </a:extLst>
              </p:cNvPr>
              <p:cNvSpPr>
                <a:spLocks/>
              </p:cNvSpPr>
              <p:nvPr/>
            </p:nvSpPr>
            <p:spPr bwMode="auto">
              <a:xfrm>
                <a:off x="5143197" y="3442586"/>
                <a:ext cx="34036" cy="44394"/>
              </a:xfrm>
              <a:custGeom>
                <a:avLst/>
                <a:gdLst/>
                <a:ahLst/>
                <a:cxnLst>
                  <a:cxn ang="0">
                    <a:pos x="20" y="13"/>
                  </a:cxn>
                  <a:cxn ang="0">
                    <a:pos x="20" y="13"/>
                  </a:cxn>
                  <a:cxn ang="0">
                    <a:pos x="23" y="10"/>
                  </a:cxn>
                  <a:cxn ang="0">
                    <a:pos x="23" y="6"/>
                  </a:cxn>
                  <a:cxn ang="0">
                    <a:pos x="22" y="4"/>
                  </a:cxn>
                  <a:cxn ang="0">
                    <a:pos x="20" y="1"/>
                  </a:cxn>
                  <a:cxn ang="0">
                    <a:pos x="17" y="1"/>
                  </a:cxn>
                  <a:cxn ang="0">
                    <a:pos x="13" y="0"/>
                  </a:cxn>
                  <a:cxn ang="0">
                    <a:pos x="13" y="0"/>
                  </a:cxn>
                  <a:cxn ang="0">
                    <a:pos x="13" y="3"/>
                  </a:cxn>
                  <a:cxn ang="0">
                    <a:pos x="13" y="3"/>
                  </a:cxn>
                  <a:cxn ang="0">
                    <a:pos x="12" y="7"/>
                  </a:cxn>
                  <a:cxn ang="0">
                    <a:pos x="9" y="13"/>
                  </a:cxn>
                  <a:cxn ang="0">
                    <a:pos x="0" y="27"/>
                  </a:cxn>
                  <a:cxn ang="0">
                    <a:pos x="9" y="30"/>
                  </a:cxn>
                  <a:cxn ang="0">
                    <a:pos x="9" y="30"/>
                  </a:cxn>
                  <a:cxn ang="0">
                    <a:pos x="16" y="20"/>
                  </a:cxn>
                  <a:cxn ang="0">
                    <a:pos x="20" y="13"/>
                  </a:cxn>
                  <a:cxn ang="0">
                    <a:pos x="20" y="13"/>
                  </a:cxn>
                </a:cxnLst>
                <a:rect l="0" t="0" r="r" b="b"/>
                <a:pathLst>
                  <a:path w="23" h="30">
                    <a:moveTo>
                      <a:pt x="20" y="13"/>
                    </a:moveTo>
                    <a:lnTo>
                      <a:pt x="20" y="13"/>
                    </a:lnTo>
                    <a:lnTo>
                      <a:pt x="23" y="10"/>
                    </a:lnTo>
                    <a:lnTo>
                      <a:pt x="23" y="6"/>
                    </a:lnTo>
                    <a:lnTo>
                      <a:pt x="22" y="4"/>
                    </a:lnTo>
                    <a:lnTo>
                      <a:pt x="20" y="1"/>
                    </a:lnTo>
                    <a:lnTo>
                      <a:pt x="17" y="1"/>
                    </a:lnTo>
                    <a:lnTo>
                      <a:pt x="13" y="0"/>
                    </a:lnTo>
                    <a:lnTo>
                      <a:pt x="13" y="0"/>
                    </a:lnTo>
                    <a:lnTo>
                      <a:pt x="13" y="3"/>
                    </a:lnTo>
                    <a:lnTo>
                      <a:pt x="13" y="3"/>
                    </a:lnTo>
                    <a:lnTo>
                      <a:pt x="12" y="7"/>
                    </a:lnTo>
                    <a:lnTo>
                      <a:pt x="9" y="13"/>
                    </a:lnTo>
                    <a:lnTo>
                      <a:pt x="0" y="27"/>
                    </a:lnTo>
                    <a:lnTo>
                      <a:pt x="9" y="30"/>
                    </a:lnTo>
                    <a:lnTo>
                      <a:pt x="9" y="30"/>
                    </a:lnTo>
                    <a:lnTo>
                      <a:pt x="16" y="20"/>
                    </a:lnTo>
                    <a:lnTo>
                      <a:pt x="20" y="13"/>
                    </a:lnTo>
                    <a:lnTo>
                      <a:pt x="20" y="1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9" name="Syria">
                <a:extLst>
                  <a:ext uri="{FF2B5EF4-FFF2-40B4-BE49-F238E27FC236}">
                    <a16:creationId xmlns:a16="http://schemas.microsoft.com/office/drawing/2014/main" id="{79E8DBED-53FD-A14B-B421-8C54E8FCDBF7}"/>
                  </a:ext>
                </a:extLst>
              </p:cNvPr>
              <p:cNvSpPr>
                <a:spLocks/>
              </p:cNvSpPr>
              <p:nvPr/>
            </p:nvSpPr>
            <p:spPr bwMode="auto">
              <a:xfrm>
                <a:off x="5156515" y="3377476"/>
                <a:ext cx="161297" cy="130221"/>
              </a:xfrm>
              <a:custGeom>
                <a:avLst/>
                <a:gdLst/>
                <a:ahLst/>
                <a:cxnLst>
                  <a:cxn ang="0">
                    <a:pos x="11" y="57"/>
                  </a:cxn>
                  <a:cxn ang="0">
                    <a:pos x="0" y="74"/>
                  </a:cxn>
                  <a:cxn ang="0">
                    <a:pos x="1" y="79"/>
                  </a:cxn>
                  <a:cxn ang="0">
                    <a:pos x="17" y="88"/>
                  </a:cxn>
                  <a:cxn ang="0">
                    <a:pos x="27" y="81"/>
                  </a:cxn>
                  <a:cxn ang="0">
                    <a:pos x="31" y="79"/>
                  </a:cxn>
                  <a:cxn ang="0">
                    <a:pos x="61" y="65"/>
                  </a:cxn>
                  <a:cxn ang="0">
                    <a:pos x="87" y="51"/>
                  </a:cxn>
                  <a:cxn ang="0">
                    <a:pos x="89" y="44"/>
                  </a:cxn>
                  <a:cxn ang="0">
                    <a:pos x="91" y="42"/>
                  </a:cxn>
                  <a:cxn ang="0">
                    <a:pos x="91" y="32"/>
                  </a:cxn>
                  <a:cxn ang="0">
                    <a:pos x="91" y="30"/>
                  </a:cxn>
                  <a:cxn ang="0">
                    <a:pos x="91" y="24"/>
                  </a:cxn>
                  <a:cxn ang="0">
                    <a:pos x="91" y="15"/>
                  </a:cxn>
                  <a:cxn ang="0">
                    <a:pos x="92" y="13"/>
                  </a:cxn>
                  <a:cxn ang="0">
                    <a:pos x="101" y="8"/>
                  </a:cxn>
                  <a:cxn ang="0">
                    <a:pos x="104" y="0"/>
                  </a:cxn>
                  <a:cxn ang="0">
                    <a:pos x="98" y="1"/>
                  </a:cxn>
                  <a:cxn ang="0">
                    <a:pos x="85" y="3"/>
                  </a:cxn>
                  <a:cxn ang="0">
                    <a:pos x="79" y="3"/>
                  </a:cxn>
                  <a:cxn ang="0">
                    <a:pos x="71" y="7"/>
                  </a:cxn>
                  <a:cxn ang="0">
                    <a:pos x="64" y="8"/>
                  </a:cxn>
                  <a:cxn ang="0">
                    <a:pos x="48" y="10"/>
                  </a:cxn>
                  <a:cxn ang="0">
                    <a:pos x="45" y="8"/>
                  </a:cxn>
                  <a:cxn ang="0">
                    <a:pos x="42" y="7"/>
                  </a:cxn>
                  <a:cxn ang="0">
                    <a:pos x="35" y="10"/>
                  </a:cxn>
                  <a:cxn ang="0">
                    <a:pos x="27" y="11"/>
                  </a:cxn>
                  <a:cxn ang="0">
                    <a:pos x="21" y="10"/>
                  </a:cxn>
                  <a:cxn ang="0">
                    <a:pos x="18" y="8"/>
                  </a:cxn>
                  <a:cxn ang="0">
                    <a:pos x="15" y="14"/>
                  </a:cxn>
                  <a:cxn ang="0">
                    <a:pos x="14" y="17"/>
                  </a:cxn>
                  <a:cxn ang="0">
                    <a:pos x="11" y="23"/>
                  </a:cxn>
                  <a:cxn ang="0">
                    <a:pos x="5" y="24"/>
                  </a:cxn>
                  <a:cxn ang="0">
                    <a:pos x="4" y="31"/>
                  </a:cxn>
                  <a:cxn ang="0">
                    <a:pos x="5" y="32"/>
                  </a:cxn>
                  <a:cxn ang="0">
                    <a:pos x="5" y="38"/>
                  </a:cxn>
                  <a:cxn ang="0">
                    <a:pos x="4" y="44"/>
                  </a:cxn>
                  <a:cxn ang="0">
                    <a:pos x="11" y="45"/>
                  </a:cxn>
                  <a:cxn ang="0">
                    <a:pos x="14" y="50"/>
                  </a:cxn>
                  <a:cxn ang="0">
                    <a:pos x="11" y="57"/>
                  </a:cxn>
                </a:cxnLst>
                <a:rect l="0" t="0" r="r" b="b"/>
                <a:pathLst>
                  <a:path w="109" h="88">
                    <a:moveTo>
                      <a:pt x="11" y="57"/>
                    </a:moveTo>
                    <a:lnTo>
                      <a:pt x="11" y="57"/>
                    </a:lnTo>
                    <a:lnTo>
                      <a:pt x="7" y="64"/>
                    </a:lnTo>
                    <a:lnTo>
                      <a:pt x="0" y="74"/>
                    </a:lnTo>
                    <a:lnTo>
                      <a:pt x="0" y="74"/>
                    </a:lnTo>
                    <a:lnTo>
                      <a:pt x="1" y="79"/>
                    </a:lnTo>
                    <a:lnTo>
                      <a:pt x="17" y="88"/>
                    </a:lnTo>
                    <a:lnTo>
                      <a:pt x="17" y="88"/>
                    </a:lnTo>
                    <a:lnTo>
                      <a:pt x="23" y="84"/>
                    </a:lnTo>
                    <a:lnTo>
                      <a:pt x="27" y="81"/>
                    </a:lnTo>
                    <a:lnTo>
                      <a:pt x="31" y="79"/>
                    </a:lnTo>
                    <a:lnTo>
                      <a:pt x="31" y="79"/>
                    </a:lnTo>
                    <a:lnTo>
                      <a:pt x="42" y="75"/>
                    </a:lnTo>
                    <a:lnTo>
                      <a:pt x="61" y="65"/>
                    </a:lnTo>
                    <a:lnTo>
                      <a:pt x="87" y="51"/>
                    </a:lnTo>
                    <a:lnTo>
                      <a:pt x="87" y="51"/>
                    </a:lnTo>
                    <a:lnTo>
                      <a:pt x="88" y="48"/>
                    </a:lnTo>
                    <a:lnTo>
                      <a:pt x="89" y="44"/>
                    </a:lnTo>
                    <a:lnTo>
                      <a:pt x="91" y="42"/>
                    </a:lnTo>
                    <a:lnTo>
                      <a:pt x="91" y="42"/>
                    </a:lnTo>
                    <a:lnTo>
                      <a:pt x="89" y="35"/>
                    </a:lnTo>
                    <a:lnTo>
                      <a:pt x="91" y="32"/>
                    </a:lnTo>
                    <a:lnTo>
                      <a:pt x="91" y="30"/>
                    </a:lnTo>
                    <a:lnTo>
                      <a:pt x="91" y="30"/>
                    </a:lnTo>
                    <a:lnTo>
                      <a:pt x="92" y="27"/>
                    </a:lnTo>
                    <a:lnTo>
                      <a:pt x="91" y="24"/>
                    </a:lnTo>
                    <a:lnTo>
                      <a:pt x="89" y="20"/>
                    </a:lnTo>
                    <a:lnTo>
                      <a:pt x="91" y="15"/>
                    </a:lnTo>
                    <a:lnTo>
                      <a:pt x="91" y="15"/>
                    </a:lnTo>
                    <a:lnTo>
                      <a:pt x="92" y="13"/>
                    </a:lnTo>
                    <a:lnTo>
                      <a:pt x="96" y="10"/>
                    </a:lnTo>
                    <a:lnTo>
                      <a:pt x="101" y="8"/>
                    </a:lnTo>
                    <a:lnTo>
                      <a:pt x="109" y="1"/>
                    </a:lnTo>
                    <a:lnTo>
                      <a:pt x="104" y="0"/>
                    </a:lnTo>
                    <a:lnTo>
                      <a:pt x="104" y="0"/>
                    </a:lnTo>
                    <a:lnTo>
                      <a:pt x="98" y="1"/>
                    </a:lnTo>
                    <a:lnTo>
                      <a:pt x="92" y="1"/>
                    </a:lnTo>
                    <a:lnTo>
                      <a:pt x="85" y="3"/>
                    </a:lnTo>
                    <a:lnTo>
                      <a:pt x="85" y="3"/>
                    </a:lnTo>
                    <a:lnTo>
                      <a:pt x="79" y="3"/>
                    </a:lnTo>
                    <a:lnTo>
                      <a:pt x="75" y="5"/>
                    </a:lnTo>
                    <a:lnTo>
                      <a:pt x="71" y="7"/>
                    </a:lnTo>
                    <a:lnTo>
                      <a:pt x="64" y="8"/>
                    </a:lnTo>
                    <a:lnTo>
                      <a:pt x="64" y="8"/>
                    </a:lnTo>
                    <a:lnTo>
                      <a:pt x="52" y="10"/>
                    </a:lnTo>
                    <a:lnTo>
                      <a:pt x="48" y="10"/>
                    </a:lnTo>
                    <a:lnTo>
                      <a:pt x="45" y="8"/>
                    </a:lnTo>
                    <a:lnTo>
                      <a:pt x="45" y="8"/>
                    </a:lnTo>
                    <a:lnTo>
                      <a:pt x="44" y="7"/>
                    </a:lnTo>
                    <a:lnTo>
                      <a:pt x="42" y="7"/>
                    </a:lnTo>
                    <a:lnTo>
                      <a:pt x="35" y="10"/>
                    </a:lnTo>
                    <a:lnTo>
                      <a:pt x="35" y="10"/>
                    </a:lnTo>
                    <a:lnTo>
                      <a:pt x="31" y="11"/>
                    </a:lnTo>
                    <a:lnTo>
                      <a:pt x="27" y="11"/>
                    </a:lnTo>
                    <a:lnTo>
                      <a:pt x="24" y="11"/>
                    </a:lnTo>
                    <a:lnTo>
                      <a:pt x="21" y="10"/>
                    </a:lnTo>
                    <a:lnTo>
                      <a:pt x="21" y="10"/>
                    </a:lnTo>
                    <a:lnTo>
                      <a:pt x="18" y="8"/>
                    </a:lnTo>
                    <a:lnTo>
                      <a:pt x="17" y="10"/>
                    </a:lnTo>
                    <a:lnTo>
                      <a:pt x="15" y="14"/>
                    </a:lnTo>
                    <a:lnTo>
                      <a:pt x="15" y="14"/>
                    </a:lnTo>
                    <a:lnTo>
                      <a:pt x="14" y="17"/>
                    </a:lnTo>
                    <a:lnTo>
                      <a:pt x="14" y="20"/>
                    </a:lnTo>
                    <a:lnTo>
                      <a:pt x="11" y="23"/>
                    </a:lnTo>
                    <a:lnTo>
                      <a:pt x="5" y="24"/>
                    </a:lnTo>
                    <a:lnTo>
                      <a:pt x="5" y="24"/>
                    </a:lnTo>
                    <a:lnTo>
                      <a:pt x="4" y="28"/>
                    </a:lnTo>
                    <a:lnTo>
                      <a:pt x="4" y="31"/>
                    </a:lnTo>
                    <a:lnTo>
                      <a:pt x="5" y="32"/>
                    </a:lnTo>
                    <a:lnTo>
                      <a:pt x="5" y="32"/>
                    </a:lnTo>
                    <a:lnTo>
                      <a:pt x="7" y="35"/>
                    </a:lnTo>
                    <a:lnTo>
                      <a:pt x="5" y="38"/>
                    </a:lnTo>
                    <a:lnTo>
                      <a:pt x="4" y="44"/>
                    </a:lnTo>
                    <a:lnTo>
                      <a:pt x="4" y="44"/>
                    </a:lnTo>
                    <a:lnTo>
                      <a:pt x="8" y="45"/>
                    </a:lnTo>
                    <a:lnTo>
                      <a:pt x="11" y="45"/>
                    </a:lnTo>
                    <a:lnTo>
                      <a:pt x="13" y="48"/>
                    </a:lnTo>
                    <a:lnTo>
                      <a:pt x="14" y="50"/>
                    </a:lnTo>
                    <a:lnTo>
                      <a:pt x="14" y="54"/>
                    </a:lnTo>
                    <a:lnTo>
                      <a:pt x="11" y="57"/>
                    </a:lnTo>
                    <a:lnTo>
                      <a:pt x="11" y="5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88" name="Carribean">
              <a:extLst>
                <a:ext uri="{FF2B5EF4-FFF2-40B4-BE49-F238E27FC236}">
                  <a16:creationId xmlns:a16="http://schemas.microsoft.com/office/drawing/2014/main" id="{D572D9C5-33DE-8042-9499-3A024630755E}"/>
                </a:ext>
              </a:extLst>
            </p:cNvPr>
            <p:cNvGrpSpPr/>
            <p:nvPr/>
          </p:nvGrpSpPr>
          <p:grpSpPr>
            <a:xfrm>
              <a:off x="6325723" y="2973456"/>
              <a:ext cx="360058" cy="147297"/>
              <a:chOff x="2299052" y="3695629"/>
              <a:chExt cx="455774" cy="186453"/>
            </a:xfrm>
            <a:grpFill/>
          </p:grpSpPr>
          <p:sp>
            <p:nvSpPr>
              <p:cNvPr id="1769" name="Bahamas">
                <a:extLst>
                  <a:ext uri="{FF2B5EF4-FFF2-40B4-BE49-F238E27FC236}">
                    <a16:creationId xmlns:a16="http://schemas.microsoft.com/office/drawing/2014/main" id="{CE1EE2C1-DD81-274A-9789-9AD8B24E6162}"/>
                  </a:ext>
                </a:extLst>
              </p:cNvPr>
              <p:cNvSpPr>
                <a:spLocks/>
              </p:cNvSpPr>
              <p:nvPr/>
            </p:nvSpPr>
            <p:spPr bwMode="auto">
              <a:xfrm>
                <a:off x="2448511" y="3695629"/>
                <a:ext cx="17758" cy="36995"/>
              </a:xfrm>
              <a:custGeom>
                <a:avLst/>
                <a:gdLst/>
                <a:ahLst/>
                <a:cxnLst>
                  <a:cxn ang="0">
                    <a:pos x="12" y="25"/>
                  </a:cxn>
                  <a:cxn ang="0">
                    <a:pos x="12" y="25"/>
                  </a:cxn>
                  <a:cxn ang="0">
                    <a:pos x="10" y="25"/>
                  </a:cxn>
                  <a:cxn ang="0">
                    <a:pos x="7" y="24"/>
                  </a:cxn>
                  <a:cxn ang="0">
                    <a:pos x="6" y="21"/>
                  </a:cxn>
                  <a:cxn ang="0">
                    <a:pos x="5" y="18"/>
                  </a:cxn>
                  <a:cxn ang="0">
                    <a:pos x="5" y="18"/>
                  </a:cxn>
                  <a:cxn ang="0">
                    <a:pos x="5" y="15"/>
                  </a:cxn>
                  <a:cxn ang="0">
                    <a:pos x="2" y="14"/>
                  </a:cxn>
                  <a:cxn ang="0">
                    <a:pos x="0" y="11"/>
                  </a:cxn>
                  <a:cxn ang="0">
                    <a:pos x="0" y="7"/>
                  </a:cxn>
                  <a:cxn ang="0">
                    <a:pos x="0" y="7"/>
                  </a:cxn>
                  <a:cxn ang="0">
                    <a:pos x="0" y="2"/>
                  </a:cxn>
                  <a:cxn ang="0">
                    <a:pos x="2" y="1"/>
                  </a:cxn>
                  <a:cxn ang="0">
                    <a:pos x="3" y="0"/>
                  </a:cxn>
                  <a:cxn ang="0">
                    <a:pos x="6" y="2"/>
                  </a:cxn>
                  <a:cxn ang="0">
                    <a:pos x="6" y="2"/>
                  </a:cxn>
                  <a:cxn ang="0">
                    <a:pos x="7" y="7"/>
                  </a:cxn>
                  <a:cxn ang="0">
                    <a:pos x="7" y="10"/>
                  </a:cxn>
                  <a:cxn ang="0">
                    <a:pos x="7" y="15"/>
                  </a:cxn>
                  <a:cxn ang="0">
                    <a:pos x="7" y="15"/>
                  </a:cxn>
                  <a:cxn ang="0">
                    <a:pos x="10" y="19"/>
                  </a:cxn>
                  <a:cxn ang="0">
                    <a:pos x="12" y="22"/>
                  </a:cxn>
                  <a:cxn ang="0">
                    <a:pos x="12" y="25"/>
                  </a:cxn>
                  <a:cxn ang="0">
                    <a:pos x="12" y="25"/>
                  </a:cxn>
                </a:cxnLst>
                <a:rect l="0" t="0" r="r" b="b"/>
                <a:pathLst>
                  <a:path w="12" h="25">
                    <a:moveTo>
                      <a:pt x="12" y="25"/>
                    </a:moveTo>
                    <a:lnTo>
                      <a:pt x="12" y="25"/>
                    </a:lnTo>
                    <a:lnTo>
                      <a:pt x="10" y="25"/>
                    </a:lnTo>
                    <a:lnTo>
                      <a:pt x="7" y="24"/>
                    </a:lnTo>
                    <a:lnTo>
                      <a:pt x="6" y="21"/>
                    </a:lnTo>
                    <a:lnTo>
                      <a:pt x="5" y="18"/>
                    </a:lnTo>
                    <a:lnTo>
                      <a:pt x="5" y="18"/>
                    </a:lnTo>
                    <a:lnTo>
                      <a:pt x="5" y="15"/>
                    </a:lnTo>
                    <a:lnTo>
                      <a:pt x="2" y="14"/>
                    </a:lnTo>
                    <a:lnTo>
                      <a:pt x="0" y="11"/>
                    </a:lnTo>
                    <a:lnTo>
                      <a:pt x="0" y="7"/>
                    </a:lnTo>
                    <a:lnTo>
                      <a:pt x="0" y="7"/>
                    </a:lnTo>
                    <a:lnTo>
                      <a:pt x="0" y="2"/>
                    </a:lnTo>
                    <a:lnTo>
                      <a:pt x="2" y="1"/>
                    </a:lnTo>
                    <a:lnTo>
                      <a:pt x="3" y="0"/>
                    </a:lnTo>
                    <a:lnTo>
                      <a:pt x="6" y="2"/>
                    </a:lnTo>
                    <a:lnTo>
                      <a:pt x="6" y="2"/>
                    </a:lnTo>
                    <a:lnTo>
                      <a:pt x="7" y="7"/>
                    </a:lnTo>
                    <a:lnTo>
                      <a:pt x="7" y="10"/>
                    </a:lnTo>
                    <a:lnTo>
                      <a:pt x="7" y="15"/>
                    </a:lnTo>
                    <a:lnTo>
                      <a:pt x="7" y="15"/>
                    </a:lnTo>
                    <a:lnTo>
                      <a:pt x="10" y="19"/>
                    </a:lnTo>
                    <a:lnTo>
                      <a:pt x="12" y="22"/>
                    </a:lnTo>
                    <a:lnTo>
                      <a:pt x="12" y="25"/>
                    </a:lnTo>
                    <a:lnTo>
                      <a:pt x="12" y="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70" name="Puerto Rico">
                <a:extLst>
                  <a:ext uri="{FF2B5EF4-FFF2-40B4-BE49-F238E27FC236}">
                    <a16:creationId xmlns:a16="http://schemas.microsoft.com/office/drawing/2014/main" id="{6730E875-8BDA-F342-9751-8FFD3724AB93}"/>
                  </a:ext>
                </a:extLst>
              </p:cNvPr>
              <p:cNvSpPr>
                <a:spLocks/>
              </p:cNvSpPr>
              <p:nvPr/>
            </p:nvSpPr>
            <p:spPr bwMode="auto">
              <a:xfrm>
                <a:off x="2714872" y="3861366"/>
                <a:ext cx="39954" cy="19238"/>
              </a:xfrm>
              <a:custGeom>
                <a:avLst/>
                <a:gdLst/>
                <a:ahLst/>
                <a:cxnLst>
                  <a:cxn ang="0">
                    <a:pos x="1" y="7"/>
                  </a:cxn>
                  <a:cxn ang="0">
                    <a:pos x="1" y="7"/>
                  </a:cxn>
                  <a:cxn ang="0">
                    <a:pos x="4" y="10"/>
                  </a:cxn>
                  <a:cxn ang="0">
                    <a:pos x="7" y="11"/>
                  </a:cxn>
                  <a:cxn ang="0">
                    <a:pos x="11" y="13"/>
                  </a:cxn>
                  <a:cxn ang="0">
                    <a:pos x="15" y="13"/>
                  </a:cxn>
                  <a:cxn ang="0">
                    <a:pos x="24" y="10"/>
                  </a:cxn>
                  <a:cxn ang="0">
                    <a:pos x="27" y="7"/>
                  </a:cxn>
                  <a:cxn ang="0">
                    <a:pos x="27" y="7"/>
                  </a:cxn>
                  <a:cxn ang="0">
                    <a:pos x="27" y="4"/>
                  </a:cxn>
                  <a:cxn ang="0">
                    <a:pos x="24" y="3"/>
                  </a:cxn>
                  <a:cxn ang="0">
                    <a:pos x="18" y="1"/>
                  </a:cxn>
                  <a:cxn ang="0">
                    <a:pos x="12" y="0"/>
                  </a:cxn>
                  <a:cxn ang="0">
                    <a:pos x="7" y="1"/>
                  </a:cxn>
                  <a:cxn ang="0">
                    <a:pos x="2" y="1"/>
                  </a:cxn>
                  <a:cxn ang="0">
                    <a:pos x="0" y="4"/>
                  </a:cxn>
                  <a:cxn ang="0">
                    <a:pos x="1" y="7"/>
                  </a:cxn>
                  <a:cxn ang="0">
                    <a:pos x="1" y="7"/>
                  </a:cxn>
                </a:cxnLst>
                <a:rect l="0" t="0" r="r" b="b"/>
                <a:pathLst>
                  <a:path w="27" h="13">
                    <a:moveTo>
                      <a:pt x="1" y="7"/>
                    </a:moveTo>
                    <a:lnTo>
                      <a:pt x="1" y="7"/>
                    </a:lnTo>
                    <a:lnTo>
                      <a:pt x="4" y="10"/>
                    </a:lnTo>
                    <a:lnTo>
                      <a:pt x="7" y="11"/>
                    </a:lnTo>
                    <a:lnTo>
                      <a:pt x="11" y="13"/>
                    </a:lnTo>
                    <a:lnTo>
                      <a:pt x="15" y="13"/>
                    </a:lnTo>
                    <a:lnTo>
                      <a:pt x="24" y="10"/>
                    </a:lnTo>
                    <a:lnTo>
                      <a:pt x="27" y="7"/>
                    </a:lnTo>
                    <a:lnTo>
                      <a:pt x="27" y="7"/>
                    </a:lnTo>
                    <a:lnTo>
                      <a:pt x="27" y="4"/>
                    </a:lnTo>
                    <a:lnTo>
                      <a:pt x="24" y="3"/>
                    </a:lnTo>
                    <a:lnTo>
                      <a:pt x="18" y="1"/>
                    </a:lnTo>
                    <a:lnTo>
                      <a:pt x="12" y="0"/>
                    </a:lnTo>
                    <a:lnTo>
                      <a:pt x="7" y="1"/>
                    </a:lnTo>
                    <a:lnTo>
                      <a:pt x="2" y="1"/>
                    </a:lnTo>
                    <a:lnTo>
                      <a:pt x="0" y="4"/>
                    </a:lnTo>
                    <a:lnTo>
                      <a:pt x="1" y="7"/>
                    </a:lnTo>
                    <a:lnTo>
                      <a:pt x="1" y="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1" name="Dominican Republic">
                <a:extLst>
                  <a:ext uri="{FF2B5EF4-FFF2-40B4-BE49-F238E27FC236}">
                    <a16:creationId xmlns:a16="http://schemas.microsoft.com/office/drawing/2014/main" id="{602D5577-E3E4-B14F-9D3B-525534F007B9}"/>
                  </a:ext>
                </a:extLst>
              </p:cNvPr>
              <p:cNvSpPr>
                <a:spLocks/>
              </p:cNvSpPr>
              <p:nvPr/>
            </p:nvSpPr>
            <p:spPr bwMode="auto">
              <a:xfrm>
                <a:off x="2602409" y="3833249"/>
                <a:ext cx="79908" cy="47353"/>
              </a:xfrm>
              <a:custGeom>
                <a:avLst/>
                <a:gdLst/>
                <a:ahLst/>
                <a:cxnLst>
                  <a:cxn ang="0">
                    <a:pos x="22" y="25"/>
                  </a:cxn>
                  <a:cxn ang="0">
                    <a:pos x="22" y="25"/>
                  </a:cxn>
                  <a:cxn ang="0">
                    <a:pos x="26" y="23"/>
                  </a:cxn>
                  <a:cxn ang="0">
                    <a:pos x="31" y="23"/>
                  </a:cxn>
                  <a:cxn ang="0">
                    <a:pos x="43" y="23"/>
                  </a:cxn>
                  <a:cxn ang="0">
                    <a:pos x="51" y="23"/>
                  </a:cxn>
                  <a:cxn ang="0">
                    <a:pos x="54" y="22"/>
                  </a:cxn>
                  <a:cxn ang="0">
                    <a:pos x="54" y="18"/>
                  </a:cxn>
                  <a:cxn ang="0">
                    <a:pos x="54" y="18"/>
                  </a:cxn>
                  <a:cxn ang="0">
                    <a:pos x="53" y="15"/>
                  </a:cxn>
                  <a:cxn ang="0">
                    <a:pos x="50" y="10"/>
                  </a:cxn>
                  <a:cxn ang="0">
                    <a:pos x="43" y="8"/>
                  </a:cxn>
                  <a:cxn ang="0">
                    <a:pos x="37" y="5"/>
                  </a:cxn>
                  <a:cxn ang="0">
                    <a:pos x="23" y="0"/>
                  </a:cxn>
                  <a:cxn ang="0">
                    <a:pos x="16" y="0"/>
                  </a:cxn>
                  <a:cxn ang="0">
                    <a:pos x="12" y="0"/>
                  </a:cxn>
                  <a:cxn ang="0">
                    <a:pos x="12" y="0"/>
                  </a:cxn>
                  <a:cxn ang="0">
                    <a:pos x="9" y="0"/>
                  </a:cxn>
                  <a:cxn ang="0">
                    <a:pos x="3" y="0"/>
                  </a:cxn>
                  <a:cxn ang="0">
                    <a:pos x="3" y="0"/>
                  </a:cxn>
                  <a:cxn ang="0">
                    <a:pos x="0" y="30"/>
                  </a:cxn>
                  <a:cxn ang="0">
                    <a:pos x="0" y="30"/>
                  </a:cxn>
                  <a:cxn ang="0">
                    <a:pos x="2" y="32"/>
                  </a:cxn>
                  <a:cxn ang="0">
                    <a:pos x="2" y="32"/>
                  </a:cxn>
                  <a:cxn ang="0">
                    <a:pos x="4" y="32"/>
                  </a:cxn>
                  <a:cxn ang="0">
                    <a:pos x="9" y="30"/>
                  </a:cxn>
                  <a:cxn ang="0">
                    <a:pos x="13" y="27"/>
                  </a:cxn>
                  <a:cxn ang="0">
                    <a:pos x="22" y="25"/>
                  </a:cxn>
                  <a:cxn ang="0">
                    <a:pos x="22" y="25"/>
                  </a:cxn>
                </a:cxnLst>
                <a:rect l="0" t="0" r="r" b="b"/>
                <a:pathLst>
                  <a:path w="54" h="32">
                    <a:moveTo>
                      <a:pt x="22" y="25"/>
                    </a:moveTo>
                    <a:lnTo>
                      <a:pt x="22" y="25"/>
                    </a:lnTo>
                    <a:lnTo>
                      <a:pt x="26" y="23"/>
                    </a:lnTo>
                    <a:lnTo>
                      <a:pt x="31" y="23"/>
                    </a:lnTo>
                    <a:lnTo>
                      <a:pt x="43" y="23"/>
                    </a:lnTo>
                    <a:lnTo>
                      <a:pt x="51" y="23"/>
                    </a:lnTo>
                    <a:lnTo>
                      <a:pt x="54" y="22"/>
                    </a:lnTo>
                    <a:lnTo>
                      <a:pt x="54" y="18"/>
                    </a:lnTo>
                    <a:lnTo>
                      <a:pt x="54" y="18"/>
                    </a:lnTo>
                    <a:lnTo>
                      <a:pt x="53" y="15"/>
                    </a:lnTo>
                    <a:lnTo>
                      <a:pt x="50" y="10"/>
                    </a:lnTo>
                    <a:lnTo>
                      <a:pt x="43" y="8"/>
                    </a:lnTo>
                    <a:lnTo>
                      <a:pt x="37" y="5"/>
                    </a:lnTo>
                    <a:lnTo>
                      <a:pt x="23" y="0"/>
                    </a:lnTo>
                    <a:lnTo>
                      <a:pt x="16" y="0"/>
                    </a:lnTo>
                    <a:lnTo>
                      <a:pt x="12" y="0"/>
                    </a:lnTo>
                    <a:lnTo>
                      <a:pt x="12" y="0"/>
                    </a:lnTo>
                    <a:lnTo>
                      <a:pt x="9" y="0"/>
                    </a:lnTo>
                    <a:lnTo>
                      <a:pt x="3" y="0"/>
                    </a:lnTo>
                    <a:lnTo>
                      <a:pt x="3" y="0"/>
                    </a:lnTo>
                    <a:lnTo>
                      <a:pt x="0" y="30"/>
                    </a:lnTo>
                    <a:lnTo>
                      <a:pt x="0" y="30"/>
                    </a:lnTo>
                    <a:lnTo>
                      <a:pt x="2" y="32"/>
                    </a:lnTo>
                    <a:lnTo>
                      <a:pt x="2" y="32"/>
                    </a:lnTo>
                    <a:lnTo>
                      <a:pt x="4" y="32"/>
                    </a:lnTo>
                    <a:lnTo>
                      <a:pt x="9" y="30"/>
                    </a:lnTo>
                    <a:lnTo>
                      <a:pt x="13" y="27"/>
                    </a:lnTo>
                    <a:lnTo>
                      <a:pt x="22" y="25"/>
                    </a:lnTo>
                    <a:lnTo>
                      <a:pt x="22" y="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2" name="Haiti">
                <a:extLst>
                  <a:ext uri="{FF2B5EF4-FFF2-40B4-BE49-F238E27FC236}">
                    <a16:creationId xmlns:a16="http://schemas.microsoft.com/office/drawing/2014/main" id="{34206862-2499-4B42-992D-9EE0B79E96BF}"/>
                  </a:ext>
                </a:extLst>
              </p:cNvPr>
              <p:cNvSpPr>
                <a:spLocks/>
              </p:cNvSpPr>
              <p:nvPr/>
            </p:nvSpPr>
            <p:spPr bwMode="auto">
              <a:xfrm>
                <a:off x="2540257" y="3825851"/>
                <a:ext cx="66591" cy="51792"/>
              </a:xfrm>
              <a:custGeom>
                <a:avLst/>
                <a:gdLst/>
                <a:ahLst/>
                <a:cxnLst>
                  <a:cxn ang="0">
                    <a:pos x="19" y="0"/>
                  </a:cxn>
                  <a:cxn ang="0">
                    <a:pos x="19" y="0"/>
                  </a:cxn>
                  <a:cxn ang="0">
                    <a:pos x="18" y="3"/>
                  </a:cxn>
                  <a:cxn ang="0">
                    <a:pos x="18" y="5"/>
                  </a:cxn>
                  <a:cxn ang="0">
                    <a:pos x="22" y="11"/>
                  </a:cxn>
                  <a:cxn ang="0">
                    <a:pos x="28" y="17"/>
                  </a:cxn>
                  <a:cxn ang="0">
                    <a:pos x="29" y="20"/>
                  </a:cxn>
                  <a:cxn ang="0">
                    <a:pos x="31" y="23"/>
                  </a:cxn>
                  <a:cxn ang="0">
                    <a:pos x="31" y="23"/>
                  </a:cxn>
                  <a:cxn ang="0">
                    <a:pos x="29" y="24"/>
                  </a:cxn>
                  <a:cxn ang="0">
                    <a:pos x="27" y="25"/>
                  </a:cxn>
                  <a:cxn ang="0">
                    <a:pos x="17" y="25"/>
                  </a:cxn>
                  <a:cxn ang="0">
                    <a:pos x="5" y="25"/>
                  </a:cxn>
                  <a:cxn ang="0">
                    <a:pos x="1" y="27"/>
                  </a:cxn>
                  <a:cxn ang="0">
                    <a:pos x="0" y="28"/>
                  </a:cxn>
                  <a:cxn ang="0">
                    <a:pos x="0" y="28"/>
                  </a:cxn>
                  <a:cxn ang="0">
                    <a:pos x="0" y="30"/>
                  </a:cxn>
                  <a:cxn ang="0">
                    <a:pos x="1" y="31"/>
                  </a:cxn>
                  <a:cxn ang="0">
                    <a:pos x="5" y="34"/>
                  </a:cxn>
                  <a:cxn ang="0">
                    <a:pos x="12" y="34"/>
                  </a:cxn>
                  <a:cxn ang="0">
                    <a:pos x="19" y="32"/>
                  </a:cxn>
                  <a:cxn ang="0">
                    <a:pos x="19" y="32"/>
                  </a:cxn>
                  <a:cxn ang="0">
                    <a:pos x="27" y="31"/>
                  </a:cxn>
                  <a:cxn ang="0">
                    <a:pos x="32" y="32"/>
                  </a:cxn>
                  <a:cxn ang="0">
                    <a:pos x="38" y="34"/>
                  </a:cxn>
                  <a:cxn ang="0">
                    <a:pos x="42" y="35"/>
                  </a:cxn>
                  <a:cxn ang="0">
                    <a:pos x="42" y="35"/>
                  </a:cxn>
                  <a:cxn ang="0">
                    <a:pos x="45" y="5"/>
                  </a:cxn>
                  <a:cxn ang="0">
                    <a:pos x="45" y="5"/>
                  </a:cxn>
                  <a:cxn ang="0">
                    <a:pos x="31" y="0"/>
                  </a:cxn>
                  <a:cxn ang="0">
                    <a:pos x="25" y="0"/>
                  </a:cxn>
                  <a:cxn ang="0">
                    <a:pos x="22" y="0"/>
                  </a:cxn>
                  <a:cxn ang="0">
                    <a:pos x="19" y="0"/>
                  </a:cxn>
                  <a:cxn ang="0">
                    <a:pos x="19" y="0"/>
                  </a:cxn>
                </a:cxnLst>
                <a:rect l="0" t="0" r="r" b="b"/>
                <a:pathLst>
                  <a:path w="45" h="35">
                    <a:moveTo>
                      <a:pt x="19" y="0"/>
                    </a:moveTo>
                    <a:lnTo>
                      <a:pt x="19" y="0"/>
                    </a:lnTo>
                    <a:lnTo>
                      <a:pt x="18" y="3"/>
                    </a:lnTo>
                    <a:lnTo>
                      <a:pt x="18" y="5"/>
                    </a:lnTo>
                    <a:lnTo>
                      <a:pt x="22" y="11"/>
                    </a:lnTo>
                    <a:lnTo>
                      <a:pt x="28" y="17"/>
                    </a:lnTo>
                    <a:lnTo>
                      <a:pt x="29" y="20"/>
                    </a:lnTo>
                    <a:lnTo>
                      <a:pt x="31" y="23"/>
                    </a:lnTo>
                    <a:lnTo>
                      <a:pt x="31" y="23"/>
                    </a:lnTo>
                    <a:lnTo>
                      <a:pt x="29" y="24"/>
                    </a:lnTo>
                    <a:lnTo>
                      <a:pt x="27" y="25"/>
                    </a:lnTo>
                    <a:lnTo>
                      <a:pt x="17" y="25"/>
                    </a:lnTo>
                    <a:lnTo>
                      <a:pt x="5" y="25"/>
                    </a:lnTo>
                    <a:lnTo>
                      <a:pt x="1" y="27"/>
                    </a:lnTo>
                    <a:lnTo>
                      <a:pt x="0" y="28"/>
                    </a:lnTo>
                    <a:lnTo>
                      <a:pt x="0" y="28"/>
                    </a:lnTo>
                    <a:lnTo>
                      <a:pt x="0" y="30"/>
                    </a:lnTo>
                    <a:lnTo>
                      <a:pt x="1" y="31"/>
                    </a:lnTo>
                    <a:lnTo>
                      <a:pt x="5" y="34"/>
                    </a:lnTo>
                    <a:lnTo>
                      <a:pt x="12" y="34"/>
                    </a:lnTo>
                    <a:lnTo>
                      <a:pt x="19" y="32"/>
                    </a:lnTo>
                    <a:lnTo>
                      <a:pt x="19" y="32"/>
                    </a:lnTo>
                    <a:lnTo>
                      <a:pt x="27" y="31"/>
                    </a:lnTo>
                    <a:lnTo>
                      <a:pt x="32" y="32"/>
                    </a:lnTo>
                    <a:lnTo>
                      <a:pt x="38" y="34"/>
                    </a:lnTo>
                    <a:lnTo>
                      <a:pt x="42" y="35"/>
                    </a:lnTo>
                    <a:lnTo>
                      <a:pt x="42" y="35"/>
                    </a:lnTo>
                    <a:lnTo>
                      <a:pt x="45" y="5"/>
                    </a:lnTo>
                    <a:lnTo>
                      <a:pt x="45" y="5"/>
                    </a:lnTo>
                    <a:lnTo>
                      <a:pt x="31" y="0"/>
                    </a:lnTo>
                    <a:lnTo>
                      <a:pt x="25" y="0"/>
                    </a:lnTo>
                    <a:lnTo>
                      <a:pt x="22" y="0"/>
                    </a:lnTo>
                    <a:lnTo>
                      <a:pt x="19" y="0"/>
                    </a:lnTo>
                    <a:lnTo>
                      <a:pt x="19"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3" name="Jamaica">
                <a:extLst>
                  <a:ext uri="{FF2B5EF4-FFF2-40B4-BE49-F238E27FC236}">
                    <a16:creationId xmlns:a16="http://schemas.microsoft.com/office/drawing/2014/main" id="{21B3B0C9-39E5-E845-B814-14AE1EE10A44}"/>
                  </a:ext>
                </a:extLst>
              </p:cNvPr>
              <p:cNvSpPr>
                <a:spLocks/>
              </p:cNvSpPr>
              <p:nvPr/>
            </p:nvSpPr>
            <p:spPr bwMode="auto">
              <a:xfrm>
                <a:off x="2444071" y="3865804"/>
                <a:ext cx="48833" cy="16278"/>
              </a:xfrm>
              <a:custGeom>
                <a:avLst/>
                <a:gdLst/>
                <a:ahLst/>
                <a:cxnLst>
                  <a:cxn ang="0">
                    <a:pos x="0" y="3"/>
                  </a:cxn>
                  <a:cxn ang="0">
                    <a:pos x="0" y="3"/>
                  </a:cxn>
                  <a:cxn ang="0">
                    <a:pos x="3" y="4"/>
                  </a:cxn>
                  <a:cxn ang="0">
                    <a:pos x="8" y="7"/>
                  </a:cxn>
                  <a:cxn ang="0">
                    <a:pos x="18" y="10"/>
                  </a:cxn>
                  <a:cxn ang="0">
                    <a:pos x="28" y="11"/>
                  </a:cxn>
                  <a:cxn ang="0">
                    <a:pos x="32" y="10"/>
                  </a:cxn>
                  <a:cxn ang="0">
                    <a:pos x="33" y="8"/>
                  </a:cxn>
                  <a:cxn ang="0">
                    <a:pos x="33" y="8"/>
                  </a:cxn>
                  <a:cxn ang="0">
                    <a:pos x="33" y="7"/>
                  </a:cxn>
                  <a:cxn ang="0">
                    <a:pos x="33" y="5"/>
                  </a:cxn>
                  <a:cxn ang="0">
                    <a:pos x="29" y="4"/>
                  </a:cxn>
                  <a:cxn ang="0">
                    <a:pos x="18" y="1"/>
                  </a:cxn>
                  <a:cxn ang="0">
                    <a:pos x="5" y="0"/>
                  </a:cxn>
                  <a:cxn ang="0">
                    <a:pos x="2" y="1"/>
                  </a:cxn>
                  <a:cxn ang="0">
                    <a:pos x="0" y="1"/>
                  </a:cxn>
                  <a:cxn ang="0">
                    <a:pos x="0" y="3"/>
                  </a:cxn>
                  <a:cxn ang="0">
                    <a:pos x="0" y="3"/>
                  </a:cxn>
                </a:cxnLst>
                <a:rect l="0" t="0" r="r" b="b"/>
                <a:pathLst>
                  <a:path w="33" h="11">
                    <a:moveTo>
                      <a:pt x="0" y="3"/>
                    </a:moveTo>
                    <a:lnTo>
                      <a:pt x="0" y="3"/>
                    </a:lnTo>
                    <a:lnTo>
                      <a:pt x="3" y="4"/>
                    </a:lnTo>
                    <a:lnTo>
                      <a:pt x="8" y="7"/>
                    </a:lnTo>
                    <a:lnTo>
                      <a:pt x="18" y="10"/>
                    </a:lnTo>
                    <a:lnTo>
                      <a:pt x="28" y="11"/>
                    </a:lnTo>
                    <a:lnTo>
                      <a:pt x="32" y="10"/>
                    </a:lnTo>
                    <a:lnTo>
                      <a:pt x="33" y="8"/>
                    </a:lnTo>
                    <a:lnTo>
                      <a:pt x="33" y="8"/>
                    </a:lnTo>
                    <a:lnTo>
                      <a:pt x="33" y="7"/>
                    </a:lnTo>
                    <a:lnTo>
                      <a:pt x="33" y="5"/>
                    </a:lnTo>
                    <a:lnTo>
                      <a:pt x="29" y="4"/>
                    </a:lnTo>
                    <a:lnTo>
                      <a:pt x="18" y="1"/>
                    </a:lnTo>
                    <a:lnTo>
                      <a:pt x="5" y="0"/>
                    </a:lnTo>
                    <a:lnTo>
                      <a:pt x="2" y="1"/>
                    </a:lnTo>
                    <a:lnTo>
                      <a:pt x="0" y="1"/>
                    </a:lnTo>
                    <a:lnTo>
                      <a:pt x="0" y="3"/>
                    </a:lnTo>
                    <a:lnTo>
                      <a:pt x="0" y="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4" name="Cuba">
                <a:extLst>
                  <a:ext uri="{FF2B5EF4-FFF2-40B4-BE49-F238E27FC236}">
                    <a16:creationId xmlns:a16="http://schemas.microsoft.com/office/drawing/2014/main" id="{51748BFA-2306-0046-9DD8-7C00A640FE7E}"/>
                  </a:ext>
                </a:extLst>
              </p:cNvPr>
              <p:cNvSpPr>
                <a:spLocks/>
              </p:cNvSpPr>
              <p:nvPr/>
            </p:nvSpPr>
            <p:spPr bwMode="auto">
              <a:xfrm>
                <a:off x="2299052" y="3747422"/>
                <a:ext cx="244165" cy="79908"/>
              </a:xfrm>
              <a:custGeom>
                <a:avLst/>
                <a:gdLst/>
                <a:ahLst/>
                <a:cxnLst>
                  <a:cxn ang="0">
                    <a:pos x="135" y="33"/>
                  </a:cxn>
                  <a:cxn ang="0">
                    <a:pos x="135" y="33"/>
                  </a:cxn>
                  <a:cxn ang="0">
                    <a:pos x="130" y="33"/>
                  </a:cxn>
                  <a:cxn ang="0">
                    <a:pos x="123" y="30"/>
                  </a:cxn>
                  <a:cxn ang="0">
                    <a:pos x="104" y="20"/>
                  </a:cxn>
                  <a:cxn ang="0">
                    <a:pos x="81" y="10"/>
                  </a:cxn>
                  <a:cxn ang="0">
                    <a:pos x="70" y="6"/>
                  </a:cxn>
                  <a:cxn ang="0">
                    <a:pos x="57" y="2"/>
                  </a:cxn>
                  <a:cxn ang="0">
                    <a:pos x="57" y="2"/>
                  </a:cxn>
                  <a:cxn ang="0">
                    <a:pos x="46" y="0"/>
                  </a:cxn>
                  <a:cxn ang="0">
                    <a:pos x="34" y="2"/>
                  </a:cxn>
                  <a:cxn ang="0">
                    <a:pos x="25" y="4"/>
                  </a:cxn>
                  <a:cxn ang="0">
                    <a:pos x="16" y="7"/>
                  </a:cxn>
                  <a:cxn ang="0">
                    <a:pos x="9" y="12"/>
                  </a:cxn>
                  <a:cxn ang="0">
                    <a:pos x="5" y="16"/>
                  </a:cxn>
                  <a:cxn ang="0">
                    <a:pos x="2" y="20"/>
                  </a:cxn>
                  <a:cxn ang="0">
                    <a:pos x="0" y="21"/>
                  </a:cxn>
                  <a:cxn ang="0">
                    <a:pos x="0" y="21"/>
                  </a:cxn>
                  <a:cxn ang="0">
                    <a:pos x="3" y="23"/>
                  </a:cxn>
                  <a:cxn ang="0">
                    <a:pos x="6" y="23"/>
                  </a:cxn>
                  <a:cxn ang="0">
                    <a:pos x="13" y="20"/>
                  </a:cxn>
                  <a:cxn ang="0">
                    <a:pos x="29" y="9"/>
                  </a:cxn>
                  <a:cxn ang="0">
                    <a:pos x="29" y="9"/>
                  </a:cxn>
                  <a:cxn ang="0">
                    <a:pos x="32" y="7"/>
                  </a:cxn>
                  <a:cxn ang="0">
                    <a:pos x="34" y="7"/>
                  </a:cxn>
                  <a:cxn ang="0">
                    <a:pos x="39" y="9"/>
                  </a:cxn>
                  <a:cxn ang="0">
                    <a:pos x="43" y="13"/>
                  </a:cxn>
                  <a:cxn ang="0">
                    <a:pos x="44" y="16"/>
                  </a:cxn>
                  <a:cxn ang="0">
                    <a:pos x="44" y="16"/>
                  </a:cxn>
                  <a:cxn ang="0">
                    <a:pos x="46" y="19"/>
                  </a:cxn>
                  <a:cxn ang="0">
                    <a:pos x="52" y="20"/>
                  </a:cxn>
                  <a:cxn ang="0">
                    <a:pos x="71" y="21"/>
                  </a:cxn>
                  <a:cxn ang="0">
                    <a:pos x="71" y="21"/>
                  </a:cxn>
                  <a:cxn ang="0">
                    <a:pos x="77" y="23"/>
                  </a:cxn>
                  <a:cxn ang="0">
                    <a:pos x="81" y="24"/>
                  </a:cxn>
                  <a:cxn ang="0">
                    <a:pos x="89" y="30"/>
                  </a:cxn>
                  <a:cxn ang="0">
                    <a:pos x="96" y="36"/>
                  </a:cxn>
                  <a:cxn ang="0">
                    <a:pos x="100" y="39"/>
                  </a:cxn>
                  <a:cxn ang="0">
                    <a:pos x="106" y="40"/>
                  </a:cxn>
                  <a:cxn ang="0">
                    <a:pos x="106" y="40"/>
                  </a:cxn>
                  <a:cxn ang="0">
                    <a:pos x="110" y="41"/>
                  </a:cxn>
                  <a:cxn ang="0">
                    <a:pos x="113" y="43"/>
                  </a:cxn>
                  <a:cxn ang="0">
                    <a:pos x="113" y="44"/>
                  </a:cxn>
                  <a:cxn ang="0">
                    <a:pos x="113" y="47"/>
                  </a:cxn>
                  <a:cxn ang="0">
                    <a:pos x="111" y="50"/>
                  </a:cxn>
                  <a:cxn ang="0">
                    <a:pos x="111" y="51"/>
                  </a:cxn>
                  <a:cxn ang="0">
                    <a:pos x="113" y="53"/>
                  </a:cxn>
                  <a:cxn ang="0">
                    <a:pos x="113" y="53"/>
                  </a:cxn>
                  <a:cxn ang="0">
                    <a:pos x="124" y="54"/>
                  </a:cxn>
                  <a:cxn ang="0">
                    <a:pos x="141" y="54"/>
                  </a:cxn>
                  <a:cxn ang="0">
                    <a:pos x="157" y="53"/>
                  </a:cxn>
                  <a:cxn ang="0">
                    <a:pos x="163" y="53"/>
                  </a:cxn>
                  <a:cxn ang="0">
                    <a:pos x="165" y="51"/>
                  </a:cxn>
                  <a:cxn ang="0">
                    <a:pos x="165" y="51"/>
                  </a:cxn>
                  <a:cxn ang="0">
                    <a:pos x="165" y="50"/>
                  </a:cxn>
                  <a:cxn ang="0">
                    <a:pos x="163" y="47"/>
                  </a:cxn>
                  <a:cxn ang="0">
                    <a:pos x="155" y="41"/>
                  </a:cxn>
                  <a:cxn ang="0">
                    <a:pos x="145" y="36"/>
                  </a:cxn>
                  <a:cxn ang="0">
                    <a:pos x="140" y="34"/>
                  </a:cxn>
                  <a:cxn ang="0">
                    <a:pos x="135" y="33"/>
                  </a:cxn>
                  <a:cxn ang="0">
                    <a:pos x="135" y="33"/>
                  </a:cxn>
                </a:cxnLst>
                <a:rect l="0" t="0" r="r" b="b"/>
                <a:pathLst>
                  <a:path w="165" h="54">
                    <a:moveTo>
                      <a:pt x="135" y="33"/>
                    </a:moveTo>
                    <a:lnTo>
                      <a:pt x="135" y="33"/>
                    </a:lnTo>
                    <a:lnTo>
                      <a:pt x="130" y="33"/>
                    </a:lnTo>
                    <a:lnTo>
                      <a:pt x="123" y="30"/>
                    </a:lnTo>
                    <a:lnTo>
                      <a:pt x="104" y="20"/>
                    </a:lnTo>
                    <a:lnTo>
                      <a:pt x="81" y="10"/>
                    </a:lnTo>
                    <a:lnTo>
                      <a:pt x="70" y="6"/>
                    </a:lnTo>
                    <a:lnTo>
                      <a:pt x="57" y="2"/>
                    </a:lnTo>
                    <a:lnTo>
                      <a:pt x="57" y="2"/>
                    </a:lnTo>
                    <a:lnTo>
                      <a:pt x="46" y="0"/>
                    </a:lnTo>
                    <a:lnTo>
                      <a:pt x="34" y="2"/>
                    </a:lnTo>
                    <a:lnTo>
                      <a:pt x="25" y="4"/>
                    </a:lnTo>
                    <a:lnTo>
                      <a:pt x="16" y="7"/>
                    </a:lnTo>
                    <a:lnTo>
                      <a:pt x="9" y="12"/>
                    </a:lnTo>
                    <a:lnTo>
                      <a:pt x="5" y="16"/>
                    </a:lnTo>
                    <a:lnTo>
                      <a:pt x="2" y="20"/>
                    </a:lnTo>
                    <a:lnTo>
                      <a:pt x="0" y="21"/>
                    </a:lnTo>
                    <a:lnTo>
                      <a:pt x="0" y="21"/>
                    </a:lnTo>
                    <a:lnTo>
                      <a:pt x="3" y="23"/>
                    </a:lnTo>
                    <a:lnTo>
                      <a:pt x="6" y="23"/>
                    </a:lnTo>
                    <a:lnTo>
                      <a:pt x="13" y="20"/>
                    </a:lnTo>
                    <a:lnTo>
                      <a:pt x="29" y="9"/>
                    </a:lnTo>
                    <a:lnTo>
                      <a:pt x="29" y="9"/>
                    </a:lnTo>
                    <a:lnTo>
                      <a:pt x="32" y="7"/>
                    </a:lnTo>
                    <a:lnTo>
                      <a:pt x="34" y="7"/>
                    </a:lnTo>
                    <a:lnTo>
                      <a:pt x="39" y="9"/>
                    </a:lnTo>
                    <a:lnTo>
                      <a:pt x="43" y="13"/>
                    </a:lnTo>
                    <a:lnTo>
                      <a:pt x="44" y="16"/>
                    </a:lnTo>
                    <a:lnTo>
                      <a:pt x="44" y="16"/>
                    </a:lnTo>
                    <a:lnTo>
                      <a:pt x="46" y="19"/>
                    </a:lnTo>
                    <a:lnTo>
                      <a:pt x="52" y="20"/>
                    </a:lnTo>
                    <a:lnTo>
                      <a:pt x="71" y="21"/>
                    </a:lnTo>
                    <a:lnTo>
                      <a:pt x="71" y="21"/>
                    </a:lnTo>
                    <a:lnTo>
                      <a:pt x="77" y="23"/>
                    </a:lnTo>
                    <a:lnTo>
                      <a:pt x="81" y="24"/>
                    </a:lnTo>
                    <a:lnTo>
                      <a:pt x="89" y="30"/>
                    </a:lnTo>
                    <a:lnTo>
                      <a:pt x="96" y="36"/>
                    </a:lnTo>
                    <a:lnTo>
                      <a:pt x="100" y="39"/>
                    </a:lnTo>
                    <a:lnTo>
                      <a:pt x="106" y="40"/>
                    </a:lnTo>
                    <a:lnTo>
                      <a:pt x="106" y="40"/>
                    </a:lnTo>
                    <a:lnTo>
                      <a:pt x="110" y="41"/>
                    </a:lnTo>
                    <a:lnTo>
                      <a:pt x="113" y="43"/>
                    </a:lnTo>
                    <a:lnTo>
                      <a:pt x="113" y="44"/>
                    </a:lnTo>
                    <a:lnTo>
                      <a:pt x="113" y="47"/>
                    </a:lnTo>
                    <a:lnTo>
                      <a:pt x="111" y="50"/>
                    </a:lnTo>
                    <a:lnTo>
                      <a:pt x="111" y="51"/>
                    </a:lnTo>
                    <a:lnTo>
                      <a:pt x="113" y="53"/>
                    </a:lnTo>
                    <a:lnTo>
                      <a:pt x="113" y="53"/>
                    </a:lnTo>
                    <a:lnTo>
                      <a:pt x="124" y="54"/>
                    </a:lnTo>
                    <a:lnTo>
                      <a:pt x="141" y="54"/>
                    </a:lnTo>
                    <a:lnTo>
                      <a:pt x="157" y="53"/>
                    </a:lnTo>
                    <a:lnTo>
                      <a:pt x="163" y="53"/>
                    </a:lnTo>
                    <a:lnTo>
                      <a:pt x="165" y="51"/>
                    </a:lnTo>
                    <a:lnTo>
                      <a:pt x="165" y="51"/>
                    </a:lnTo>
                    <a:lnTo>
                      <a:pt x="165" y="50"/>
                    </a:lnTo>
                    <a:lnTo>
                      <a:pt x="163" y="47"/>
                    </a:lnTo>
                    <a:lnTo>
                      <a:pt x="155" y="41"/>
                    </a:lnTo>
                    <a:lnTo>
                      <a:pt x="145" y="36"/>
                    </a:lnTo>
                    <a:lnTo>
                      <a:pt x="140" y="34"/>
                    </a:lnTo>
                    <a:lnTo>
                      <a:pt x="135" y="33"/>
                    </a:lnTo>
                    <a:lnTo>
                      <a:pt x="135" y="3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89" name="Central America">
              <a:extLst>
                <a:ext uri="{FF2B5EF4-FFF2-40B4-BE49-F238E27FC236}">
                  <a16:creationId xmlns:a16="http://schemas.microsoft.com/office/drawing/2014/main" id="{BCE28E4E-D009-8E42-9FC5-BD5E4C19D058}"/>
                </a:ext>
              </a:extLst>
            </p:cNvPr>
            <p:cNvGrpSpPr/>
            <p:nvPr/>
          </p:nvGrpSpPr>
          <p:grpSpPr>
            <a:xfrm>
              <a:off x="6174921" y="3107893"/>
              <a:ext cx="291086" cy="216269"/>
              <a:chOff x="2108160" y="3865804"/>
              <a:chExt cx="368467" cy="273761"/>
            </a:xfrm>
            <a:grpFill/>
          </p:grpSpPr>
          <p:sp>
            <p:nvSpPr>
              <p:cNvPr id="1762" name="Belize">
                <a:extLst>
                  <a:ext uri="{FF2B5EF4-FFF2-40B4-BE49-F238E27FC236}">
                    <a16:creationId xmlns:a16="http://schemas.microsoft.com/office/drawing/2014/main" id="{FEF151AC-2B99-6947-B2A3-04C33BD8BA92}"/>
                  </a:ext>
                </a:extLst>
              </p:cNvPr>
              <p:cNvSpPr>
                <a:spLocks/>
              </p:cNvSpPr>
              <p:nvPr/>
            </p:nvSpPr>
            <p:spPr bwMode="auto">
              <a:xfrm>
                <a:off x="2188069" y="3865804"/>
                <a:ext cx="31076" cy="62150"/>
              </a:xfrm>
              <a:custGeom>
                <a:avLst/>
                <a:gdLst/>
                <a:ahLst/>
                <a:cxnLst>
                  <a:cxn ang="0">
                    <a:pos x="3" y="10"/>
                  </a:cxn>
                  <a:cxn ang="0">
                    <a:pos x="3" y="10"/>
                  </a:cxn>
                  <a:cxn ang="0">
                    <a:pos x="1" y="11"/>
                  </a:cxn>
                  <a:cxn ang="0">
                    <a:pos x="0" y="42"/>
                  </a:cxn>
                  <a:cxn ang="0">
                    <a:pos x="8" y="42"/>
                  </a:cxn>
                  <a:cxn ang="0">
                    <a:pos x="8" y="42"/>
                  </a:cxn>
                  <a:cxn ang="0">
                    <a:pos x="10" y="38"/>
                  </a:cxn>
                  <a:cxn ang="0">
                    <a:pos x="13" y="34"/>
                  </a:cxn>
                  <a:cxn ang="0">
                    <a:pos x="13" y="34"/>
                  </a:cxn>
                  <a:cxn ang="0">
                    <a:pos x="16" y="31"/>
                  </a:cxn>
                  <a:cxn ang="0">
                    <a:pos x="16" y="28"/>
                  </a:cxn>
                  <a:cxn ang="0">
                    <a:pos x="16" y="20"/>
                  </a:cxn>
                  <a:cxn ang="0">
                    <a:pos x="14" y="11"/>
                  </a:cxn>
                  <a:cxn ang="0">
                    <a:pos x="16" y="8"/>
                  </a:cxn>
                  <a:cxn ang="0">
                    <a:pos x="17" y="7"/>
                  </a:cxn>
                  <a:cxn ang="0">
                    <a:pos x="17" y="7"/>
                  </a:cxn>
                  <a:cxn ang="0">
                    <a:pos x="21" y="5"/>
                  </a:cxn>
                  <a:cxn ang="0">
                    <a:pos x="21" y="5"/>
                  </a:cxn>
                  <a:cxn ang="0">
                    <a:pos x="17" y="1"/>
                  </a:cxn>
                  <a:cxn ang="0">
                    <a:pos x="14" y="0"/>
                  </a:cxn>
                  <a:cxn ang="0">
                    <a:pos x="14" y="0"/>
                  </a:cxn>
                  <a:cxn ang="0">
                    <a:pos x="10" y="3"/>
                  </a:cxn>
                  <a:cxn ang="0">
                    <a:pos x="7" y="5"/>
                  </a:cxn>
                  <a:cxn ang="0">
                    <a:pos x="3" y="10"/>
                  </a:cxn>
                  <a:cxn ang="0">
                    <a:pos x="3" y="10"/>
                  </a:cxn>
                </a:cxnLst>
                <a:rect l="0" t="0" r="r" b="b"/>
                <a:pathLst>
                  <a:path w="21" h="42">
                    <a:moveTo>
                      <a:pt x="3" y="10"/>
                    </a:moveTo>
                    <a:lnTo>
                      <a:pt x="3" y="10"/>
                    </a:lnTo>
                    <a:lnTo>
                      <a:pt x="1" y="11"/>
                    </a:lnTo>
                    <a:lnTo>
                      <a:pt x="0" y="42"/>
                    </a:lnTo>
                    <a:lnTo>
                      <a:pt x="8" y="42"/>
                    </a:lnTo>
                    <a:lnTo>
                      <a:pt x="8" y="42"/>
                    </a:lnTo>
                    <a:lnTo>
                      <a:pt x="10" y="38"/>
                    </a:lnTo>
                    <a:lnTo>
                      <a:pt x="13" y="34"/>
                    </a:lnTo>
                    <a:lnTo>
                      <a:pt x="13" y="34"/>
                    </a:lnTo>
                    <a:lnTo>
                      <a:pt x="16" y="31"/>
                    </a:lnTo>
                    <a:lnTo>
                      <a:pt x="16" y="28"/>
                    </a:lnTo>
                    <a:lnTo>
                      <a:pt x="16" y="20"/>
                    </a:lnTo>
                    <a:lnTo>
                      <a:pt x="14" y="11"/>
                    </a:lnTo>
                    <a:lnTo>
                      <a:pt x="16" y="8"/>
                    </a:lnTo>
                    <a:lnTo>
                      <a:pt x="17" y="7"/>
                    </a:lnTo>
                    <a:lnTo>
                      <a:pt x="17" y="7"/>
                    </a:lnTo>
                    <a:lnTo>
                      <a:pt x="21" y="5"/>
                    </a:lnTo>
                    <a:lnTo>
                      <a:pt x="21" y="5"/>
                    </a:lnTo>
                    <a:lnTo>
                      <a:pt x="17" y="1"/>
                    </a:lnTo>
                    <a:lnTo>
                      <a:pt x="14" y="0"/>
                    </a:lnTo>
                    <a:lnTo>
                      <a:pt x="14" y="0"/>
                    </a:lnTo>
                    <a:lnTo>
                      <a:pt x="10" y="3"/>
                    </a:lnTo>
                    <a:lnTo>
                      <a:pt x="7" y="5"/>
                    </a:lnTo>
                    <a:lnTo>
                      <a:pt x="3" y="10"/>
                    </a:lnTo>
                    <a:lnTo>
                      <a:pt x="3" y="1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3" name="El Salvador">
                <a:extLst>
                  <a:ext uri="{FF2B5EF4-FFF2-40B4-BE49-F238E27FC236}">
                    <a16:creationId xmlns:a16="http://schemas.microsoft.com/office/drawing/2014/main" id="{6E8E3378-4E45-DD4E-BA12-6D3526C2CA46}"/>
                  </a:ext>
                </a:extLst>
              </p:cNvPr>
              <p:cNvSpPr>
                <a:spLocks/>
              </p:cNvSpPr>
              <p:nvPr/>
            </p:nvSpPr>
            <p:spPr bwMode="auto">
              <a:xfrm>
                <a:off x="2168832" y="3964951"/>
                <a:ext cx="54753" cy="31076"/>
              </a:xfrm>
              <a:custGeom>
                <a:avLst/>
                <a:gdLst/>
                <a:ahLst/>
                <a:cxnLst>
                  <a:cxn ang="0">
                    <a:pos x="36" y="8"/>
                  </a:cxn>
                  <a:cxn ang="0">
                    <a:pos x="36" y="8"/>
                  </a:cxn>
                  <a:cxn ang="0">
                    <a:pos x="33" y="7"/>
                  </a:cxn>
                  <a:cxn ang="0">
                    <a:pos x="29" y="7"/>
                  </a:cxn>
                  <a:cxn ang="0">
                    <a:pos x="24" y="5"/>
                  </a:cxn>
                  <a:cxn ang="0">
                    <a:pos x="19" y="4"/>
                  </a:cxn>
                  <a:cxn ang="0">
                    <a:pos x="19" y="4"/>
                  </a:cxn>
                  <a:cxn ang="0">
                    <a:pos x="12" y="0"/>
                  </a:cxn>
                  <a:cxn ang="0">
                    <a:pos x="12" y="0"/>
                  </a:cxn>
                  <a:cxn ang="0">
                    <a:pos x="12" y="1"/>
                  </a:cxn>
                  <a:cxn ang="0">
                    <a:pos x="12" y="1"/>
                  </a:cxn>
                  <a:cxn ang="0">
                    <a:pos x="7" y="4"/>
                  </a:cxn>
                  <a:cxn ang="0">
                    <a:pos x="0" y="10"/>
                  </a:cxn>
                  <a:cxn ang="0">
                    <a:pos x="0" y="10"/>
                  </a:cxn>
                  <a:cxn ang="0">
                    <a:pos x="6" y="14"/>
                  </a:cxn>
                  <a:cxn ang="0">
                    <a:pos x="16" y="17"/>
                  </a:cxn>
                  <a:cxn ang="0">
                    <a:pos x="24" y="20"/>
                  </a:cxn>
                  <a:cxn ang="0">
                    <a:pos x="31" y="21"/>
                  </a:cxn>
                  <a:cxn ang="0">
                    <a:pos x="31" y="21"/>
                  </a:cxn>
                  <a:cxn ang="0">
                    <a:pos x="34" y="20"/>
                  </a:cxn>
                  <a:cxn ang="0">
                    <a:pos x="36" y="18"/>
                  </a:cxn>
                  <a:cxn ang="0">
                    <a:pos x="36" y="18"/>
                  </a:cxn>
                  <a:cxn ang="0">
                    <a:pos x="37" y="12"/>
                  </a:cxn>
                  <a:cxn ang="0">
                    <a:pos x="36" y="8"/>
                  </a:cxn>
                  <a:cxn ang="0">
                    <a:pos x="36" y="8"/>
                  </a:cxn>
                </a:cxnLst>
                <a:rect l="0" t="0" r="r" b="b"/>
                <a:pathLst>
                  <a:path w="37" h="21">
                    <a:moveTo>
                      <a:pt x="36" y="8"/>
                    </a:moveTo>
                    <a:lnTo>
                      <a:pt x="36" y="8"/>
                    </a:lnTo>
                    <a:lnTo>
                      <a:pt x="33" y="7"/>
                    </a:lnTo>
                    <a:lnTo>
                      <a:pt x="29" y="7"/>
                    </a:lnTo>
                    <a:lnTo>
                      <a:pt x="24" y="5"/>
                    </a:lnTo>
                    <a:lnTo>
                      <a:pt x="19" y="4"/>
                    </a:lnTo>
                    <a:lnTo>
                      <a:pt x="19" y="4"/>
                    </a:lnTo>
                    <a:lnTo>
                      <a:pt x="12" y="0"/>
                    </a:lnTo>
                    <a:lnTo>
                      <a:pt x="12" y="0"/>
                    </a:lnTo>
                    <a:lnTo>
                      <a:pt x="12" y="1"/>
                    </a:lnTo>
                    <a:lnTo>
                      <a:pt x="12" y="1"/>
                    </a:lnTo>
                    <a:lnTo>
                      <a:pt x="7" y="4"/>
                    </a:lnTo>
                    <a:lnTo>
                      <a:pt x="0" y="10"/>
                    </a:lnTo>
                    <a:lnTo>
                      <a:pt x="0" y="10"/>
                    </a:lnTo>
                    <a:lnTo>
                      <a:pt x="6" y="14"/>
                    </a:lnTo>
                    <a:lnTo>
                      <a:pt x="16" y="17"/>
                    </a:lnTo>
                    <a:lnTo>
                      <a:pt x="24" y="20"/>
                    </a:lnTo>
                    <a:lnTo>
                      <a:pt x="31" y="21"/>
                    </a:lnTo>
                    <a:lnTo>
                      <a:pt x="31" y="21"/>
                    </a:lnTo>
                    <a:lnTo>
                      <a:pt x="34" y="20"/>
                    </a:lnTo>
                    <a:lnTo>
                      <a:pt x="36" y="18"/>
                    </a:lnTo>
                    <a:lnTo>
                      <a:pt x="36" y="18"/>
                    </a:lnTo>
                    <a:lnTo>
                      <a:pt x="37" y="12"/>
                    </a:lnTo>
                    <a:lnTo>
                      <a:pt x="36" y="8"/>
                    </a:lnTo>
                    <a:lnTo>
                      <a:pt x="36" y="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4" name="Guatemala">
                <a:extLst>
                  <a:ext uri="{FF2B5EF4-FFF2-40B4-BE49-F238E27FC236}">
                    <a16:creationId xmlns:a16="http://schemas.microsoft.com/office/drawing/2014/main" id="{2AC0F07F-1180-CC40-B3AB-5436A360EFA3}"/>
                  </a:ext>
                </a:extLst>
              </p:cNvPr>
              <p:cNvSpPr>
                <a:spLocks/>
              </p:cNvSpPr>
              <p:nvPr/>
            </p:nvSpPr>
            <p:spPr bwMode="auto">
              <a:xfrm>
                <a:off x="2108160" y="3880603"/>
                <a:ext cx="100626" cy="99146"/>
              </a:xfrm>
              <a:custGeom>
                <a:avLst/>
                <a:gdLst/>
                <a:ahLst/>
                <a:cxnLst>
                  <a:cxn ang="0">
                    <a:pos x="60" y="45"/>
                  </a:cxn>
                  <a:cxn ang="0">
                    <a:pos x="60" y="45"/>
                  </a:cxn>
                  <a:cxn ang="0">
                    <a:pos x="68" y="35"/>
                  </a:cxn>
                  <a:cxn ang="0">
                    <a:pos x="68" y="35"/>
                  </a:cxn>
                  <a:cxn ang="0">
                    <a:pos x="65" y="37"/>
                  </a:cxn>
                  <a:cxn ang="0">
                    <a:pos x="62" y="37"/>
                  </a:cxn>
                  <a:cxn ang="0">
                    <a:pos x="62" y="35"/>
                  </a:cxn>
                  <a:cxn ang="0">
                    <a:pos x="62" y="32"/>
                  </a:cxn>
                  <a:cxn ang="0">
                    <a:pos x="54" y="32"/>
                  </a:cxn>
                  <a:cxn ang="0">
                    <a:pos x="55" y="1"/>
                  </a:cxn>
                  <a:cxn ang="0">
                    <a:pos x="55" y="1"/>
                  </a:cxn>
                  <a:cxn ang="0">
                    <a:pos x="28" y="0"/>
                  </a:cxn>
                  <a:cxn ang="0">
                    <a:pos x="28" y="0"/>
                  </a:cxn>
                  <a:cxn ang="0">
                    <a:pos x="27" y="3"/>
                  </a:cxn>
                  <a:cxn ang="0">
                    <a:pos x="25" y="5"/>
                  </a:cxn>
                  <a:cxn ang="0">
                    <a:pos x="24" y="10"/>
                  </a:cxn>
                  <a:cxn ang="0">
                    <a:pos x="23" y="13"/>
                  </a:cxn>
                  <a:cxn ang="0">
                    <a:pos x="23" y="13"/>
                  </a:cxn>
                  <a:cxn ang="0">
                    <a:pos x="24" y="14"/>
                  </a:cxn>
                  <a:cxn ang="0">
                    <a:pos x="28" y="18"/>
                  </a:cxn>
                  <a:cxn ang="0">
                    <a:pos x="33" y="24"/>
                  </a:cxn>
                  <a:cxn ang="0">
                    <a:pos x="34" y="25"/>
                  </a:cxn>
                  <a:cxn ang="0">
                    <a:pos x="34" y="28"/>
                  </a:cxn>
                  <a:cxn ang="0">
                    <a:pos x="34" y="28"/>
                  </a:cxn>
                  <a:cxn ang="0">
                    <a:pos x="33" y="30"/>
                  </a:cxn>
                  <a:cxn ang="0">
                    <a:pos x="31" y="30"/>
                  </a:cxn>
                  <a:cxn ang="0">
                    <a:pos x="24" y="31"/>
                  </a:cxn>
                  <a:cxn ang="0">
                    <a:pos x="13" y="30"/>
                  </a:cxn>
                  <a:cxn ang="0">
                    <a:pos x="13" y="30"/>
                  </a:cxn>
                  <a:cxn ang="0">
                    <a:pos x="0" y="48"/>
                  </a:cxn>
                  <a:cxn ang="0">
                    <a:pos x="0" y="48"/>
                  </a:cxn>
                  <a:cxn ang="0">
                    <a:pos x="10" y="57"/>
                  </a:cxn>
                  <a:cxn ang="0">
                    <a:pos x="18" y="62"/>
                  </a:cxn>
                  <a:cxn ang="0">
                    <a:pos x="18" y="62"/>
                  </a:cxn>
                  <a:cxn ang="0">
                    <a:pos x="24" y="64"/>
                  </a:cxn>
                  <a:cxn ang="0">
                    <a:pos x="30" y="65"/>
                  </a:cxn>
                  <a:cxn ang="0">
                    <a:pos x="35" y="65"/>
                  </a:cxn>
                  <a:cxn ang="0">
                    <a:pos x="40" y="67"/>
                  </a:cxn>
                  <a:cxn ang="0">
                    <a:pos x="40" y="67"/>
                  </a:cxn>
                  <a:cxn ang="0">
                    <a:pos x="41" y="67"/>
                  </a:cxn>
                  <a:cxn ang="0">
                    <a:pos x="41" y="67"/>
                  </a:cxn>
                  <a:cxn ang="0">
                    <a:pos x="48" y="61"/>
                  </a:cxn>
                  <a:cxn ang="0">
                    <a:pos x="53" y="58"/>
                  </a:cxn>
                  <a:cxn ang="0">
                    <a:pos x="53" y="58"/>
                  </a:cxn>
                  <a:cxn ang="0">
                    <a:pos x="54" y="55"/>
                  </a:cxn>
                  <a:cxn ang="0">
                    <a:pos x="55" y="52"/>
                  </a:cxn>
                  <a:cxn ang="0">
                    <a:pos x="57" y="50"/>
                  </a:cxn>
                  <a:cxn ang="0">
                    <a:pos x="60" y="45"/>
                  </a:cxn>
                  <a:cxn ang="0">
                    <a:pos x="60" y="45"/>
                  </a:cxn>
                </a:cxnLst>
                <a:rect l="0" t="0" r="r" b="b"/>
                <a:pathLst>
                  <a:path w="68" h="67">
                    <a:moveTo>
                      <a:pt x="60" y="45"/>
                    </a:moveTo>
                    <a:lnTo>
                      <a:pt x="60" y="45"/>
                    </a:lnTo>
                    <a:lnTo>
                      <a:pt x="68" y="35"/>
                    </a:lnTo>
                    <a:lnTo>
                      <a:pt x="68" y="35"/>
                    </a:lnTo>
                    <a:lnTo>
                      <a:pt x="65" y="37"/>
                    </a:lnTo>
                    <a:lnTo>
                      <a:pt x="62" y="37"/>
                    </a:lnTo>
                    <a:lnTo>
                      <a:pt x="62" y="35"/>
                    </a:lnTo>
                    <a:lnTo>
                      <a:pt x="62" y="32"/>
                    </a:lnTo>
                    <a:lnTo>
                      <a:pt x="54" y="32"/>
                    </a:lnTo>
                    <a:lnTo>
                      <a:pt x="55" y="1"/>
                    </a:lnTo>
                    <a:lnTo>
                      <a:pt x="55" y="1"/>
                    </a:lnTo>
                    <a:lnTo>
                      <a:pt x="28" y="0"/>
                    </a:lnTo>
                    <a:lnTo>
                      <a:pt x="28" y="0"/>
                    </a:lnTo>
                    <a:lnTo>
                      <a:pt x="27" y="3"/>
                    </a:lnTo>
                    <a:lnTo>
                      <a:pt x="25" y="5"/>
                    </a:lnTo>
                    <a:lnTo>
                      <a:pt x="24" y="10"/>
                    </a:lnTo>
                    <a:lnTo>
                      <a:pt x="23" y="13"/>
                    </a:lnTo>
                    <a:lnTo>
                      <a:pt x="23" y="13"/>
                    </a:lnTo>
                    <a:lnTo>
                      <a:pt x="24" y="14"/>
                    </a:lnTo>
                    <a:lnTo>
                      <a:pt x="28" y="18"/>
                    </a:lnTo>
                    <a:lnTo>
                      <a:pt x="33" y="24"/>
                    </a:lnTo>
                    <a:lnTo>
                      <a:pt x="34" y="25"/>
                    </a:lnTo>
                    <a:lnTo>
                      <a:pt x="34" y="28"/>
                    </a:lnTo>
                    <a:lnTo>
                      <a:pt x="34" y="28"/>
                    </a:lnTo>
                    <a:lnTo>
                      <a:pt x="33" y="30"/>
                    </a:lnTo>
                    <a:lnTo>
                      <a:pt x="31" y="30"/>
                    </a:lnTo>
                    <a:lnTo>
                      <a:pt x="24" y="31"/>
                    </a:lnTo>
                    <a:lnTo>
                      <a:pt x="13" y="30"/>
                    </a:lnTo>
                    <a:lnTo>
                      <a:pt x="13" y="30"/>
                    </a:lnTo>
                    <a:lnTo>
                      <a:pt x="0" y="48"/>
                    </a:lnTo>
                    <a:lnTo>
                      <a:pt x="0" y="48"/>
                    </a:lnTo>
                    <a:lnTo>
                      <a:pt x="10" y="57"/>
                    </a:lnTo>
                    <a:lnTo>
                      <a:pt x="18" y="62"/>
                    </a:lnTo>
                    <a:lnTo>
                      <a:pt x="18" y="62"/>
                    </a:lnTo>
                    <a:lnTo>
                      <a:pt x="24" y="64"/>
                    </a:lnTo>
                    <a:lnTo>
                      <a:pt x="30" y="65"/>
                    </a:lnTo>
                    <a:lnTo>
                      <a:pt x="35" y="65"/>
                    </a:lnTo>
                    <a:lnTo>
                      <a:pt x="40" y="67"/>
                    </a:lnTo>
                    <a:lnTo>
                      <a:pt x="40" y="67"/>
                    </a:lnTo>
                    <a:lnTo>
                      <a:pt x="41" y="67"/>
                    </a:lnTo>
                    <a:lnTo>
                      <a:pt x="41" y="67"/>
                    </a:lnTo>
                    <a:lnTo>
                      <a:pt x="48" y="61"/>
                    </a:lnTo>
                    <a:lnTo>
                      <a:pt x="53" y="58"/>
                    </a:lnTo>
                    <a:lnTo>
                      <a:pt x="53" y="58"/>
                    </a:lnTo>
                    <a:lnTo>
                      <a:pt x="54" y="55"/>
                    </a:lnTo>
                    <a:lnTo>
                      <a:pt x="55" y="52"/>
                    </a:lnTo>
                    <a:lnTo>
                      <a:pt x="57" y="50"/>
                    </a:lnTo>
                    <a:lnTo>
                      <a:pt x="60" y="45"/>
                    </a:lnTo>
                    <a:lnTo>
                      <a:pt x="60" y="4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5" name="Honduras">
                <a:extLst>
                  <a:ext uri="{FF2B5EF4-FFF2-40B4-BE49-F238E27FC236}">
                    <a16:creationId xmlns:a16="http://schemas.microsoft.com/office/drawing/2014/main" id="{0DEB5905-D358-404E-8731-018E910B5B24}"/>
                  </a:ext>
                </a:extLst>
              </p:cNvPr>
              <p:cNvSpPr>
                <a:spLocks/>
              </p:cNvSpPr>
              <p:nvPr/>
            </p:nvSpPr>
            <p:spPr bwMode="auto">
              <a:xfrm>
                <a:off x="2186588" y="3924995"/>
                <a:ext cx="145019" cy="75470"/>
              </a:xfrm>
              <a:custGeom>
                <a:avLst/>
                <a:gdLst/>
                <a:ahLst/>
                <a:cxnLst>
                  <a:cxn ang="0">
                    <a:pos x="41" y="45"/>
                  </a:cxn>
                  <a:cxn ang="0">
                    <a:pos x="42" y="37"/>
                  </a:cxn>
                  <a:cxn ang="0">
                    <a:pos x="46" y="35"/>
                  </a:cxn>
                  <a:cxn ang="0">
                    <a:pos x="52" y="35"/>
                  </a:cxn>
                  <a:cxn ang="0">
                    <a:pos x="62" y="31"/>
                  </a:cxn>
                  <a:cxn ang="0">
                    <a:pos x="64" y="28"/>
                  </a:cxn>
                  <a:cxn ang="0">
                    <a:pos x="66" y="25"/>
                  </a:cxn>
                  <a:cxn ang="0">
                    <a:pos x="79" y="25"/>
                  </a:cxn>
                  <a:cxn ang="0">
                    <a:pos x="86" y="21"/>
                  </a:cxn>
                  <a:cxn ang="0">
                    <a:pos x="98" y="17"/>
                  </a:cxn>
                  <a:cxn ang="0">
                    <a:pos x="98" y="15"/>
                  </a:cxn>
                  <a:cxn ang="0">
                    <a:pos x="92" y="11"/>
                  </a:cxn>
                  <a:cxn ang="0">
                    <a:pos x="81" y="4"/>
                  </a:cxn>
                  <a:cxn ang="0">
                    <a:pos x="76" y="2"/>
                  </a:cxn>
                  <a:cxn ang="0">
                    <a:pos x="64" y="0"/>
                  </a:cxn>
                  <a:cxn ang="0">
                    <a:pos x="46" y="4"/>
                  </a:cxn>
                  <a:cxn ang="0">
                    <a:pos x="39" y="5"/>
                  </a:cxn>
                  <a:cxn ang="0">
                    <a:pos x="24" y="4"/>
                  </a:cxn>
                  <a:cxn ang="0">
                    <a:pos x="17" y="5"/>
                  </a:cxn>
                  <a:cxn ang="0">
                    <a:pos x="15" y="5"/>
                  </a:cxn>
                  <a:cxn ang="0">
                    <a:pos x="7" y="15"/>
                  </a:cxn>
                  <a:cxn ang="0">
                    <a:pos x="4" y="18"/>
                  </a:cxn>
                  <a:cxn ang="0">
                    <a:pos x="1" y="25"/>
                  </a:cxn>
                  <a:cxn ang="0">
                    <a:pos x="0" y="27"/>
                  </a:cxn>
                  <a:cxn ang="0">
                    <a:pos x="7" y="31"/>
                  </a:cxn>
                  <a:cxn ang="0">
                    <a:pos x="17" y="34"/>
                  </a:cxn>
                  <a:cxn ang="0">
                    <a:pos x="24" y="35"/>
                  </a:cxn>
                  <a:cxn ang="0">
                    <a:pos x="25" y="39"/>
                  </a:cxn>
                  <a:cxn ang="0">
                    <a:pos x="24" y="45"/>
                  </a:cxn>
                  <a:cxn ang="0">
                    <a:pos x="29" y="45"/>
                  </a:cxn>
                  <a:cxn ang="0">
                    <a:pos x="31" y="48"/>
                  </a:cxn>
                  <a:cxn ang="0">
                    <a:pos x="36" y="49"/>
                  </a:cxn>
                  <a:cxn ang="0">
                    <a:pos x="41" y="45"/>
                  </a:cxn>
                </a:cxnLst>
                <a:rect l="0" t="0" r="r" b="b"/>
                <a:pathLst>
                  <a:path w="98" h="51">
                    <a:moveTo>
                      <a:pt x="41" y="45"/>
                    </a:moveTo>
                    <a:lnTo>
                      <a:pt x="41" y="45"/>
                    </a:lnTo>
                    <a:lnTo>
                      <a:pt x="41" y="41"/>
                    </a:lnTo>
                    <a:lnTo>
                      <a:pt x="42" y="37"/>
                    </a:lnTo>
                    <a:lnTo>
                      <a:pt x="44" y="37"/>
                    </a:lnTo>
                    <a:lnTo>
                      <a:pt x="46" y="35"/>
                    </a:lnTo>
                    <a:lnTo>
                      <a:pt x="46" y="35"/>
                    </a:lnTo>
                    <a:lnTo>
                      <a:pt x="52" y="35"/>
                    </a:lnTo>
                    <a:lnTo>
                      <a:pt x="58" y="34"/>
                    </a:lnTo>
                    <a:lnTo>
                      <a:pt x="62" y="31"/>
                    </a:lnTo>
                    <a:lnTo>
                      <a:pt x="64" y="28"/>
                    </a:lnTo>
                    <a:lnTo>
                      <a:pt x="64" y="28"/>
                    </a:lnTo>
                    <a:lnTo>
                      <a:pt x="65" y="27"/>
                    </a:lnTo>
                    <a:lnTo>
                      <a:pt x="66" y="25"/>
                    </a:lnTo>
                    <a:lnTo>
                      <a:pt x="71" y="24"/>
                    </a:lnTo>
                    <a:lnTo>
                      <a:pt x="79" y="25"/>
                    </a:lnTo>
                    <a:lnTo>
                      <a:pt x="79" y="25"/>
                    </a:lnTo>
                    <a:lnTo>
                      <a:pt x="86" y="21"/>
                    </a:lnTo>
                    <a:lnTo>
                      <a:pt x="92" y="18"/>
                    </a:lnTo>
                    <a:lnTo>
                      <a:pt x="98" y="17"/>
                    </a:lnTo>
                    <a:lnTo>
                      <a:pt x="98" y="17"/>
                    </a:lnTo>
                    <a:lnTo>
                      <a:pt x="98" y="15"/>
                    </a:lnTo>
                    <a:lnTo>
                      <a:pt x="96" y="12"/>
                    </a:lnTo>
                    <a:lnTo>
                      <a:pt x="92" y="11"/>
                    </a:lnTo>
                    <a:lnTo>
                      <a:pt x="86" y="8"/>
                    </a:lnTo>
                    <a:lnTo>
                      <a:pt x="81" y="4"/>
                    </a:lnTo>
                    <a:lnTo>
                      <a:pt x="81" y="4"/>
                    </a:lnTo>
                    <a:lnTo>
                      <a:pt x="76" y="2"/>
                    </a:lnTo>
                    <a:lnTo>
                      <a:pt x="72" y="1"/>
                    </a:lnTo>
                    <a:lnTo>
                      <a:pt x="64" y="0"/>
                    </a:lnTo>
                    <a:lnTo>
                      <a:pt x="54" y="1"/>
                    </a:lnTo>
                    <a:lnTo>
                      <a:pt x="46" y="4"/>
                    </a:lnTo>
                    <a:lnTo>
                      <a:pt x="46" y="4"/>
                    </a:lnTo>
                    <a:lnTo>
                      <a:pt x="39" y="5"/>
                    </a:lnTo>
                    <a:lnTo>
                      <a:pt x="31" y="4"/>
                    </a:lnTo>
                    <a:lnTo>
                      <a:pt x="24" y="4"/>
                    </a:lnTo>
                    <a:lnTo>
                      <a:pt x="19" y="4"/>
                    </a:lnTo>
                    <a:lnTo>
                      <a:pt x="17" y="5"/>
                    </a:lnTo>
                    <a:lnTo>
                      <a:pt x="17" y="5"/>
                    </a:lnTo>
                    <a:lnTo>
                      <a:pt x="15" y="5"/>
                    </a:lnTo>
                    <a:lnTo>
                      <a:pt x="15" y="5"/>
                    </a:lnTo>
                    <a:lnTo>
                      <a:pt x="7" y="15"/>
                    </a:lnTo>
                    <a:lnTo>
                      <a:pt x="7" y="15"/>
                    </a:lnTo>
                    <a:lnTo>
                      <a:pt x="4" y="18"/>
                    </a:lnTo>
                    <a:lnTo>
                      <a:pt x="2" y="22"/>
                    </a:lnTo>
                    <a:lnTo>
                      <a:pt x="1" y="25"/>
                    </a:lnTo>
                    <a:lnTo>
                      <a:pt x="0" y="27"/>
                    </a:lnTo>
                    <a:lnTo>
                      <a:pt x="0" y="27"/>
                    </a:lnTo>
                    <a:lnTo>
                      <a:pt x="7" y="31"/>
                    </a:lnTo>
                    <a:lnTo>
                      <a:pt x="7" y="31"/>
                    </a:lnTo>
                    <a:lnTo>
                      <a:pt x="12" y="32"/>
                    </a:lnTo>
                    <a:lnTo>
                      <a:pt x="17" y="34"/>
                    </a:lnTo>
                    <a:lnTo>
                      <a:pt x="21" y="34"/>
                    </a:lnTo>
                    <a:lnTo>
                      <a:pt x="24" y="35"/>
                    </a:lnTo>
                    <a:lnTo>
                      <a:pt x="24" y="35"/>
                    </a:lnTo>
                    <a:lnTo>
                      <a:pt x="25" y="39"/>
                    </a:lnTo>
                    <a:lnTo>
                      <a:pt x="24" y="45"/>
                    </a:lnTo>
                    <a:lnTo>
                      <a:pt x="24" y="45"/>
                    </a:lnTo>
                    <a:lnTo>
                      <a:pt x="27" y="44"/>
                    </a:lnTo>
                    <a:lnTo>
                      <a:pt x="29" y="45"/>
                    </a:lnTo>
                    <a:lnTo>
                      <a:pt x="29" y="45"/>
                    </a:lnTo>
                    <a:lnTo>
                      <a:pt x="31" y="48"/>
                    </a:lnTo>
                    <a:lnTo>
                      <a:pt x="31" y="51"/>
                    </a:lnTo>
                    <a:lnTo>
                      <a:pt x="36" y="49"/>
                    </a:lnTo>
                    <a:lnTo>
                      <a:pt x="36" y="49"/>
                    </a:lnTo>
                    <a:lnTo>
                      <a:pt x="41" y="45"/>
                    </a:lnTo>
                    <a:lnTo>
                      <a:pt x="41" y="4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6" name="Nicaragua">
                <a:extLst>
                  <a:ext uri="{FF2B5EF4-FFF2-40B4-BE49-F238E27FC236}">
                    <a16:creationId xmlns:a16="http://schemas.microsoft.com/office/drawing/2014/main" id="{12294AEF-84A3-A24C-A1F4-7B7B77FBA742}"/>
                  </a:ext>
                </a:extLst>
              </p:cNvPr>
              <p:cNvSpPr>
                <a:spLocks/>
              </p:cNvSpPr>
              <p:nvPr/>
            </p:nvSpPr>
            <p:spPr bwMode="auto">
              <a:xfrm>
                <a:off x="2232462" y="3950153"/>
                <a:ext cx="99146" cy="102106"/>
              </a:xfrm>
              <a:custGeom>
                <a:avLst/>
                <a:gdLst/>
                <a:ahLst/>
                <a:cxnLst>
                  <a:cxn ang="0">
                    <a:pos x="35" y="67"/>
                  </a:cxn>
                  <a:cxn ang="0">
                    <a:pos x="44" y="68"/>
                  </a:cxn>
                  <a:cxn ang="0">
                    <a:pos x="51" y="69"/>
                  </a:cxn>
                  <a:cxn ang="0">
                    <a:pos x="55" y="69"/>
                  </a:cxn>
                  <a:cxn ang="0">
                    <a:pos x="60" y="69"/>
                  </a:cxn>
                  <a:cxn ang="0">
                    <a:pos x="57" y="67"/>
                  </a:cxn>
                  <a:cxn ang="0">
                    <a:pos x="58" y="57"/>
                  </a:cxn>
                  <a:cxn ang="0">
                    <a:pos x="61" y="45"/>
                  </a:cxn>
                  <a:cxn ang="0">
                    <a:pos x="61" y="31"/>
                  </a:cxn>
                  <a:cxn ang="0">
                    <a:pos x="62" y="21"/>
                  </a:cxn>
                  <a:cxn ang="0">
                    <a:pos x="64" y="18"/>
                  </a:cxn>
                  <a:cxn ang="0">
                    <a:pos x="65" y="13"/>
                  </a:cxn>
                  <a:cxn ang="0">
                    <a:pos x="67" y="1"/>
                  </a:cxn>
                  <a:cxn ang="0">
                    <a:pos x="67" y="0"/>
                  </a:cxn>
                  <a:cxn ang="0">
                    <a:pos x="55" y="4"/>
                  </a:cxn>
                  <a:cxn ang="0">
                    <a:pos x="48" y="8"/>
                  </a:cxn>
                  <a:cxn ang="0">
                    <a:pos x="35" y="8"/>
                  </a:cxn>
                  <a:cxn ang="0">
                    <a:pos x="33" y="11"/>
                  </a:cxn>
                  <a:cxn ang="0">
                    <a:pos x="31" y="14"/>
                  </a:cxn>
                  <a:cxn ang="0">
                    <a:pos x="21" y="18"/>
                  </a:cxn>
                  <a:cxn ang="0">
                    <a:pos x="15" y="18"/>
                  </a:cxn>
                  <a:cxn ang="0">
                    <a:pos x="11" y="20"/>
                  </a:cxn>
                  <a:cxn ang="0">
                    <a:pos x="10" y="28"/>
                  </a:cxn>
                  <a:cxn ang="0">
                    <a:pos x="5" y="32"/>
                  </a:cxn>
                  <a:cxn ang="0">
                    <a:pos x="0" y="34"/>
                  </a:cxn>
                  <a:cxn ang="0">
                    <a:pos x="1" y="41"/>
                  </a:cxn>
                  <a:cxn ang="0">
                    <a:pos x="7" y="44"/>
                  </a:cxn>
                  <a:cxn ang="0">
                    <a:pos x="17" y="55"/>
                  </a:cxn>
                  <a:cxn ang="0">
                    <a:pos x="21" y="59"/>
                  </a:cxn>
                  <a:cxn ang="0">
                    <a:pos x="27" y="65"/>
                  </a:cxn>
                  <a:cxn ang="0">
                    <a:pos x="31" y="65"/>
                  </a:cxn>
                  <a:cxn ang="0">
                    <a:pos x="35" y="67"/>
                  </a:cxn>
                </a:cxnLst>
                <a:rect l="0" t="0" r="r" b="b"/>
                <a:pathLst>
                  <a:path w="67" h="69">
                    <a:moveTo>
                      <a:pt x="35" y="67"/>
                    </a:moveTo>
                    <a:lnTo>
                      <a:pt x="35" y="67"/>
                    </a:lnTo>
                    <a:lnTo>
                      <a:pt x="40" y="67"/>
                    </a:lnTo>
                    <a:lnTo>
                      <a:pt x="44" y="68"/>
                    </a:lnTo>
                    <a:lnTo>
                      <a:pt x="48" y="68"/>
                    </a:lnTo>
                    <a:lnTo>
                      <a:pt x="51" y="69"/>
                    </a:lnTo>
                    <a:lnTo>
                      <a:pt x="51" y="69"/>
                    </a:lnTo>
                    <a:lnTo>
                      <a:pt x="55" y="69"/>
                    </a:lnTo>
                    <a:lnTo>
                      <a:pt x="60" y="69"/>
                    </a:lnTo>
                    <a:lnTo>
                      <a:pt x="60" y="69"/>
                    </a:lnTo>
                    <a:lnTo>
                      <a:pt x="57" y="67"/>
                    </a:lnTo>
                    <a:lnTo>
                      <a:pt x="57" y="67"/>
                    </a:lnTo>
                    <a:lnTo>
                      <a:pt x="57" y="62"/>
                    </a:lnTo>
                    <a:lnTo>
                      <a:pt x="58" y="57"/>
                    </a:lnTo>
                    <a:lnTo>
                      <a:pt x="61" y="45"/>
                    </a:lnTo>
                    <a:lnTo>
                      <a:pt x="61" y="45"/>
                    </a:lnTo>
                    <a:lnTo>
                      <a:pt x="62" y="40"/>
                    </a:lnTo>
                    <a:lnTo>
                      <a:pt x="61" y="31"/>
                    </a:lnTo>
                    <a:lnTo>
                      <a:pt x="61" y="24"/>
                    </a:lnTo>
                    <a:lnTo>
                      <a:pt x="62" y="21"/>
                    </a:lnTo>
                    <a:lnTo>
                      <a:pt x="64" y="18"/>
                    </a:lnTo>
                    <a:lnTo>
                      <a:pt x="64" y="18"/>
                    </a:lnTo>
                    <a:lnTo>
                      <a:pt x="65" y="15"/>
                    </a:lnTo>
                    <a:lnTo>
                      <a:pt x="65" y="13"/>
                    </a:lnTo>
                    <a:lnTo>
                      <a:pt x="67" y="1"/>
                    </a:lnTo>
                    <a:lnTo>
                      <a:pt x="67" y="1"/>
                    </a:lnTo>
                    <a:lnTo>
                      <a:pt x="67" y="0"/>
                    </a:lnTo>
                    <a:lnTo>
                      <a:pt x="67" y="0"/>
                    </a:lnTo>
                    <a:lnTo>
                      <a:pt x="61" y="1"/>
                    </a:lnTo>
                    <a:lnTo>
                      <a:pt x="55" y="4"/>
                    </a:lnTo>
                    <a:lnTo>
                      <a:pt x="48" y="8"/>
                    </a:lnTo>
                    <a:lnTo>
                      <a:pt x="48" y="8"/>
                    </a:lnTo>
                    <a:lnTo>
                      <a:pt x="40" y="7"/>
                    </a:lnTo>
                    <a:lnTo>
                      <a:pt x="35" y="8"/>
                    </a:lnTo>
                    <a:lnTo>
                      <a:pt x="34" y="10"/>
                    </a:lnTo>
                    <a:lnTo>
                      <a:pt x="33" y="11"/>
                    </a:lnTo>
                    <a:lnTo>
                      <a:pt x="33" y="11"/>
                    </a:lnTo>
                    <a:lnTo>
                      <a:pt x="31" y="14"/>
                    </a:lnTo>
                    <a:lnTo>
                      <a:pt x="27" y="17"/>
                    </a:lnTo>
                    <a:lnTo>
                      <a:pt x="21" y="18"/>
                    </a:lnTo>
                    <a:lnTo>
                      <a:pt x="15" y="18"/>
                    </a:lnTo>
                    <a:lnTo>
                      <a:pt x="15" y="18"/>
                    </a:lnTo>
                    <a:lnTo>
                      <a:pt x="13" y="20"/>
                    </a:lnTo>
                    <a:lnTo>
                      <a:pt x="11" y="20"/>
                    </a:lnTo>
                    <a:lnTo>
                      <a:pt x="10" y="24"/>
                    </a:lnTo>
                    <a:lnTo>
                      <a:pt x="10" y="28"/>
                    </a:lnTo>
                    <a:lnTo>
                      <a:pt x="10" y="28"/>
                    </a:lnTo>
                    <a:lnTo>
                      <a:pt x="5" y="32"/>
                    </a:lnTo>
                    <a:lnTo>
                      <a:pt x="0" y="34"/>
                    </a:lnTo>
                    <a:lnTo>
                      <a:pt x="0" y="34"/>
                    </a:lnTo>
                    <a:lnTo>
                      <a:pt x="0" y="38"/>
                    </a:lnTo>
                    <a:lnTo>
                      <a:pt x="1" y="41"/>
                    </a:lnTo>
                    <a:lnTo>
                      <a:pt x="1" y="41"/>
                    </a:lnTo>
                    <a:lnTo>
                      <a:pt x="7" y="44"/>
                    </a:lnTo>
                    <a:lnTo>
                      <a:pt x="11" y="49"/>
                    </a:lnTo>
                    <a:lnTo>
                      <a:pt x="17" y="55"/>
                    </a:lnTo>
                    <a:lnTo>
                      <a:pt x="21" y="59"/>
                    </a:lnTo>
                    <a:lnTo>
                      <a:pt x="21" y="59"/>
                    </a:lnTo>
                    <a:lnTo>
                      <a:pt x="25" y="62"/>
                    </a:lnTo>
                    <a:lnTo>
                      <a:pt x="27" y="65"/>
                    </a:lnTo>
                    <a:lnTo>
                      <a:pt x="27" y="65"/>
                    </a:lnTo>
                    <a:lnTo>
                      <a:pt x="31" y="65"/>
                    </a:lnTo>
                    <a:lnTo>
                      <a:pt x="35" y="67"/>
                    </a:lnTo>
                    <a:lnTo>
                      <a:pt x="35" y="6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7" name="Costa Rica">
                <a:extLst>
                  <a:ext uri="{FF2B5EF4-FFF2-40B4-BE49-F238E27FC236}">
                    <a16:creationId xmlns:a16="http://schemas.microsoft.com/office/drawing/2014/main" id="{A7A38BC2-EC69-2B4E-8D06-25EA0DC7D5A3}"/>
                  </a:ext>
                </a:extLst>
              </p:cNvPr>
              <p:cNvSpPr>
                <a:spLocks/>
              </p:cNvSpPr>
              <p:nvPr/>
            </p:nvSpPr>
            <p:spPr bwMode="auto">
              <a:xfrm>
                <a:off x="2267977" y="4046338"/>
                <a:ext cx="75470" cy="65111"/>
              </a:xfrm>
              <a:custGeom>
                <a:avLst/>
                <a:gdLst/>
                <a:ahLst/>
                <a:cxnLst>
                  <a:cxn ang="0">
                    <a:pos x="48" y="34"/>
                  </a:cxn>
                  <a:cxn ang="0">
                    <a:pos x="48" y="34"/>
                  </a:cxn>
                  <a:cxn ang="0">
                    <a:pos x="48" y="30"/>
                  </a:cxn>
                  <a:cxn ang="0">
                    <a:pos x="51" y="24"/>
                  </a:cxn>
                  <a:cxn ang="0">
                    <a:pos x="51" y="24"/>
                  </a:cxn>
                  <a:cxn ang="0">
                    <a:pos x="43" y="14"/>
                  </a:cxn>
                  <a:cxn ang="0">
                    <a:pos x="36" y="4"/>
                  </a:cxn>
                  <a:cxn ang="0">
                    <a:pos x="36" y="4"/>
                  </a:cxn>
                  <a:cxn ang="0">
                    <a:pos x="31" y="4"/>
                  </a:cxn>
                  <a:cxn ang="0">
                    <a:pos x="27" y="4"/>
                  </a:cxn>
                  <a:cxn ang="0">
                    <a:pos x="27" y="4"/>
                  </a:cxn>
                  <a:cxn ang="0">
                    <a:pos x="24" y="3"/>
                  </a:cxn>
                  <a:cxn ang="0">
                    <a:pos x="20" y="3"/>
                  </a:cxn>
                  <a:cxn ang="0">
                    <a:pos x="16" y="2"/>
                  </a:cxn>
                  <a:cxn ang="0">
                    <a:pos x="11" y="2"/>
                  </a:cxn>
                  <a:cxn ang="0">
                    <a:pos x="11" y="2"/>
                  </a:cxn>
                  <a:cxn ang="0">
                    <a:pos x="7" y="0"/>
                  </a:cxn>
                  <a:cxn ang="0">
                    <a:pos x="3" y="0"/>
                  </a:cxn>
                  <a:cxn ang="0">
                    <a:pos x="3" y="0"/>
                  </a:cxn>
                  <a:cxn ang="0">
                    <a:pos x="3" y="4"/>
                  </a:cxn>
                  <a:cxn ang="0">
                    <a:pos x="1" y="7"/>
                  </a:cxn>
                  <a:cxn ang="0">
                    <a:pos x="1" y="7"/>
                  </a:cxn>
                  <a:cxn ang="0">
                    <a:pos x="0" y="10"/>
                  </a:cxn>
                  <a:cxn ang="0">
                    <a:pos x="0" y="14"/>
                  </a:cxn>
                  <a:cxn ang="0">
                    <a:pos x="1" y="17"/>
                  </a:cxn>
                  <a:cxn ang="0">
                    <a:pos x="6" y="21"/>
                  </a:cxn>
                  <a:cxn ang="0">
                    <a:pos x="6" y="21"/>
                  </a:cxn>
                  <a:cxn ang="0">
                    <a:pos x="10" y="21"/>
                  </a:cxn>
                  <a:cxn ang="0">
                    <a:pos x="11" y="21"/>
                  </a:cxn>
                  <a:cxn ang="0">
                    <a:pos x="13" y="20"/>
                  </a:cxn>
                  <a:cxn ang="0">
                    <a:pos x="16" y="19"/>
                  </a:cxn>
                  <a:cxn ang="0">
                    <a:pos x="16" y="19"/>
                  </a:cxn>
                  <a:cxn ang="0">
                    <a:pos x="17" y="20"/>
                  </a:cxn>
                  <a:cxn ang="0">
                    <a:pos x="18" y="23"/>
                  </a:cxn>
                  <a:cxn ang="0">
                    <a:pos x="20" y="24"/>
                  </a:cxn>
                  <a:cxn ang="0">
                    <a:pos x="23" y="26"/>
                  </a:cxn>
                  <a:cxn ang="0">
                    <a:pos x="23" y="26"/>
                  </a:cxn>
                  <a:cxn ang="0">
                    <a:pos x="26" y="26"/>
                  </a:cxn>
                  <a:cxn ang="0">
                    <a:pos x="30" y="29"/>
                  </a:cxn>
                  <a:cxn ang="0">
                    <a:pos x="33" y="31"/>
                  </a:cxn>
                  <a:cxn ang="0">
                    <a:pos x="34" y="36"/>
                  </a:cxn>
                  <a:cxn ang="0">
                    <a:pos x="34" y="36"/>
                  </a:cxn>
                  <a:cxn ang="0">
                    <a:pos x="34" y="39"/>
                  </a:cxn>
                  <a:cxn ang="0">
                    <a:pos x="36" y="41"/>
                  </a:cxn>
                  <a:cxn ang="0">
                    <a:pos x="38" y="43"/>
                  </a:cxn>
                  <a:cxn ang="0">
                    <a:pos x="43" y="43"/>
                  </a:cxn>
                  <a:cxn ang="0">
                    <a:pos x="43" y="43"/>
                  </a:cxn>
                  <a:cxn ang="0">
                    <a:pos x="47" y="44"/>
                  </a:cxn>
                  <a:cxn ang="0">
                    <a:pos x="47" y="44"/>
                  </a:cxn>
                  <a:cxn ang="0">
                    <a:pos x="48" y="39"/>
                  </a:cxn>
                  <a:cxn ang="0">
                    <a:pos x="48" y="34"/>
                  </a:cxn>
                  <a:cxn ang="0">
                    <a:pos x="48" y="34"/>
                  </a:cxn>
                </a:cxnLst>
                <a:rect l="0" t="0" r="r" b="b"/>
                <a:pathLst>
                  <a:path w="51" h="44">
                    <a:moveTo>
                      <a:pt x="48" y="34"/>
                    </a:moveTo>
                    <a:lnTo>
                      <a:pt x="48" y="34"/>
                    </a:lnTo>
                    <a:lnTo>
                      <a:pt x="48" y="30"/>
                    </a:lnTo>
                    <a:lnTo>
                      <a:pt x="51" y="24"/>
                    </a:lnTo>
                    <a:lnTo>
                      <a:pt x="51" y="24"/>
                    </a:lnTo>
                    <a:lnTo>
                      <a:pt x="43" y="14"/>
                    </a:lnTo>
                    <a:lnTo>
                      <a:pt x="36" y="4"/>
                    </a:lnTo>
                    <a:lnTo>
                      <a:pt x="36" y="4"/>
                    </a:lnTo>
                    <a:lnTo>
                      <a:pt x="31" y="4"/>
                    </a:lnTo>
                    <a:lnTo>
                      <a:pt x="27" y="4"/>
                    </a:lnTo>
                    <a:lnTo>
                      <a:pt x="27" y="4"/>
                    </a:lnTo>
                    <a:lnTo>
                      <a:pt x="24" y="3"/>
                    </a:lnTo>
                    <a:lnTo>
                      <a:pt x="20" y="3"/>
                    </a:lnTo>
                    <a:lnTo>
                      <a:pt x="16" y="2"/>
                    </a:lnTo>
                    <a:lnTo>
                      <a:pt x="11" y="2"/>
                    </a:lnTo>
                    <a:lnTo>
                      <a:pt x="11" y="2"/>
                    </a:lnTo>
                    <a:lnTo>
                      <a:pt x="7" y="0"/>
                    </a:lnTo>
                    <a:lnTo>
                      <a:pt x="3" y="0"/>
                    </a:lnTo>
                    <a:lnTo>
                      <a:pt x="3" y="0"/>
                    </a:lnTo>
                    <a:lnTo>
                      <a:pt x="3" y="4"/>
                    </a:lnTo>
                    <a:lnTo>
                      <a:pt x="1" y="7"/>
                    </a:lnTo>
                    <a:lnTo>
                      <a:pt x="1" y="7"/>
                    </a:lnTo>
                    <a:lnTo>
                      <a:pt x="0" y="10"/>
                    </a:lnTo>
                    <a:lnTo>
                      <a:pt x="0" y="14"/>
                    </a:lnTo>
                    <a:lnTo>
                      <a:pt x="1" y="17"/>
                    </a:lnTo>
                    <a:lnTo>
                      <a:pt x="6" y="21"/>
                    </a:lnTo>
                    <a:lnTo>
                      <a:pt x="6" y="21"/>
                    </a:lnTo>
                    <a:lnTo>
                      <a:pt x="10" y="21"/>
                    </a:lnTo>
                    <a:lnTo>
                      <a:pt x="11" y="21"/>
                    </a:lnTo>
                    <a:lnTo>
                      <a:pt x="13" y="20"/>
                    </a:lnTo>
                    <a:lnTo>
                      <a:pt x="16" y="19"/>
                    </a:lnTo>
                    <a:lnTo>
                      <a:pt x="16" y="19"/>
                    </a:lnTo>
                    <a:lnTo>
                      <a:pt x="17" y="20"/>
                    </a:lnTo>
                    <a:lnTo>
                      <a:pt x="18" y="23"/>
                    </a:lnTo>
                    <a:lnTo>
                      <a:pt x="20" y="24"/>
                    </a:lnTo>
                    <a:lnTo>
                      <a:pt x="23" y="26"/>
                    </a:lnTo>
                    <a:lnTo>
                      <a:pt x="23" y="26"/>
                    </a:lnTo>
                    <a:lnTo>
                      <a:pt x="26" y="26"/>
                    </a:lnTo>
                    <a:lnTo>
                      <a:pt x="30" y="29"/>
                    </a:lnTo>
                    <a:lnTo>
                      <a:pt x="33" y="31"/>
                    </a:lnTo>
                    <a:lnTo>
                      <a:pt x="34" y="36"/>
                    </a:lnTo>
                    <a:lnTo>
                      <a:pt x="34" y="36"/>
                    </a:lnTo>
                    <a:lnTo>
                      <a:pt x="34" y="39"/>
                    </a:lnTo>
                    <a:lnTo>
                      <a:pt x="36" y="41"/>
                    </a:lnTo>
                    <a:lnTo>
                      <a:pt x="38" y="43"/>
                    </a:lnTo>
                    <a:lnTo>
                      <a:pt x="43" y="43"/>
                    </a:lnTo>
                    <a:lnTo>
                      <a:pt x="43" y="43"/>
                    </a:lnTo>
                    <a:lnTo>
                      <a:pt x="47" y="44"/>
                    </a:lnTo>
                    <a:lnTo>
                      <a:pt x="47" y="44"/>
                    </a:lnTo>
                    <a:lnTo>
                      <a:pt x="48" y="39"/>
                    </a:lnTo>
                    <a:lnTo>
                      <a:pt x="48" y="34"/>
                    </a:lnTo>
                    <a:lnTo>
                      <a:pt x="48" y="3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8" name="Panama">
                <a:extLst>
                  <a:ext uri="{FF2B5EF4-FFF2-40B4-BE49-F238E27FC236}">
                    <a16:creationId xmlns:a16="http://schemas.microsoft.com/office/drawing/2014/main" id="{2AA91A10-2FA7-D04D-971B-C494B6F6CE3F}"/>
                  </a:ext>
                </a:extLst>
              </p:cNvPr>
              <p:cNvSpPr>
                <a:spLocks/>
              </p:cNvSpPr>
              <p:nvPr/>
            </p:nvSpPr>
            <p:spPr bwMode="auto">
              <a:xfrm>
                <a:off x="2337527" y="4080374"/>
                <a:ext cx="139100" cy="59191"/>
              </a:xfrm>
              <a:custGeom>
                <a:avLst/>
                <a:gdLst/>
                <a:ahLst/>
                <a:cxnLst>
                  <a:cxn ang="0">
                    <a:pos x="84" y="11"/>
                  </a:cxn>
                  <a:cxn ang="0">
                    <a:pos x="72" y="4"/>
                  </a:cxn>
                  <a:cxn ang="0">
                    <a:pos x="61" y="1"/>
                  </a:cxn>
                  <a:cxn ang="0">
                    <a:pos x="50" y="1"/>
                  </a:cxn>
                  <a:cxn ang="0">
                    <a:pos x="38" y="10"/>
                  </a:cxn>
                  <a:cxn ang="0">
                    <a:pos x="36" y="13"/>
                  </a:cxn>
                  <a:cxn ang="0">
                    <a:pos x="26" y="14"/>
                  </a:cxn>
                  <a:cxn ang="0">
                    <a:pos x="13" y="8"/>
                  </a:cxn>
                  <a:cxn ang="0">
                    <a:pos x="4" y="1"/>
                  </a:cxn>
                  <a:cxn ang="0">
                    <a:pos x="1" y="7"/>
                  </a:cxn>
                  <a:cxn ang="0">
                    <a:pos x="1" y="11"/>
                  </a:cxn>
                  <a:cxn ang="0">
                    <a:pos x="0" y="21"/>
                  </a:cxn>
                  <a:cxn ang="0">
                    <a:pos x="11" y="24"/>
                  </a:cxn>
                  <a:cxn ang="0">
                    <a:pos x="20" y="30"/>
                  </a:cxn>
                  <a:cxn ang="0">
                    <a:pos x="24" y="33"/>
                  </a:cxn>
                  <a:cxn ang="0">
                    <a:pos x="30" y="35"/>
                  </a:cxn>
                  <a:cxn ang="0">
                    <a:pos x="33" y="38"/>
                  </a:cxn>
                  <a:cxn ang="0">
                    <a:pos x="36" y="40"/>
                  </a:cxn>
                  <a:cxn ang="0">
                    <a:pos x="43" y="37"/>
                  </a:cxn>
                  <a:cxn ang="0">
                    <a:pos x="44" y="34"/>
                  </a:cxn>
                  <a:cxn ang="0">
                    <a:pos x="43" y="30"/>
                  </a:cxn>
                  <a:cxn ang="0">
                    <a:pos x="40" y="26"/>
                  </a:cxn>
                  <a:cxn ang="0">
                    <a:pos x="41" y="24"/>
                  </a:cxn>
                  <a:cxn ang="0">
                    <a:pos x="47" y="21"/>
                  </a:cxn>
                  <a:cxn ang="0">
                    <a:pos x="48" y="18"/>
                  </a:cxn>
                  <a:cxn ang="0">
                    <a:pos x="55" y="13"/>
                  </a:cxn>
                  <a:cxn ang="0">
                    <a:pos x="67" y="13"/>
                  </a:cxn>
                  <a:cxn ang="0">
                    <a:pos x="70" y="14"/>
                  </a:cxn>
                  <a:cxn ang="0">
                    <a:pos x="72" y="20"/>
                  </a:cxn>
                  <a:cxn ang="0">
                    <a:pos x="71" y="23"/>
                  </a:cxn>
                  <a:cxn ang="0">
                    <a:pos x="70" y="27"/>
                  </a:cxn>
                  <a:cxn ang="0">
                    <a:pos x="80" y="40"/>
                  </a:cxn>
                  <a:cxn ang="0">
                    <a:pos x="91" y="30"/>
                  </a:cxn>
                  <a:cxn ang="0">
                    <a:pos x="92" y="27"/>
                  </a:cxn>
                  <a:cxn ang="0">
                    <a:pos x="94" y="24"/>
                  </a:cxn>
                  <a:cxn ang="0">
                    <a:pos x="84" y="11"/>
                  </a:cxn>
                </a:cxnLst>
                <a:rect l="0" t="0" r="r" b="b"/>
                <a:pathLst>
                  <a:path w="94" h="40">
                    <a:moveTo>
                      <a:pt x="84" y="11"/>
                    </a:moveTo>
                    <a:lnTo>
                      <a:pt x="84" y="11"/>
                    </a:lnTo>
                    <a:lnTo>
                      <a:pt x="78" y="7"/>
                    </a:lnTo>
                    <a:lnTo>
                      <a:pt x="72" y="4"/>
                    </a:lnTo>
                    <a:lnTo>
                      <a:pt x="61" y="1"/>
                    </a:lnTo>
                    <a:lnTo>
                      <a:pt x="61" y="1"/>
                    </a:lnTo>
                    <a:lnTo>
                      <a:pt x="55" y="0"/>
                    </a:lnTo>
                    <a:lnTo>
                      <a:pt x="50" y="1"/>
                    </a:lnTo>
                    <a:lnTo>
                      <a:pt x="44" y="4"/>
                    </a:lnTo>
                    <a:lnTo>
                      <a:pt x="38" y="10"/>
                    </a:lnTo>
                    <a:lnTo>
                      <a:pt x="38" y="10"/>
                    </a:lnTo>
                    <a:lnTo>
                      <a:pt x="36" y="13"/>
                    </a:lnTo>
                    <a:lnTo>
                      <a:pt x="31" y="13"/>
                    </a:lnTo>
                    <a:lnTo>
                      <a:pt x="26" y="14"/>
                    </a:lnTo>
                    <a:lnTo>
                      <a:pt x="18" y="11"/>
                    </a:lnTo>
                    <a:lnTo>
                      <a:pt x="13" y="8"/>
                    </a:lnTo>
                    <a:lnTo>
                      <a:pt x="13" y="8"/>
                    </a:lnTo>
                    <a:lnTo>
                      <a:pt x="4" y="1"/>
                    </a:lnTo>
                    <a:lnTo>
                      <a:pt x="4" y="1"/>
                    </a:lnTo>
                    <a:lnTo>
                      <a:pt x="1" y="7"/>
                    </a:lnTo>
                    <a:lnTo>
                      <a:pt x="1" y="11"/>
                    </a:lnTo>
                    <a:lnTo>
                      <a:pt x="1" y="11"/>
                    </a:lnTo>
                    <a:lnTo>
                      <a:pt x="1" y="16"/>
                    </a:lnTo>
                    <a:lnTo>
                      <a:pt x="0" y="21"/>
                    </a:lnTo>
                    <a:lnTo>
                      <a:pt x="0" y="21"/>
                    </a:lnTo>
                    <a:lnTo>
                      <a:pt x="11" y="24"/>
                    </a:lnTo>
                    <a:lnTo>
                      <a:pt x="16" y="27"/>
                    </a:lnTo>
                    <a:lnTo>
                      <a:pt x="20" y="30"/>
                    </a:lnTo>
                    <a:lnTo>
                      <a:pt x="20" y="30"/>
                    </a:lnTo>
                    <a:lnTo>
                      <a:pt x="24" y="33"/>
                    </a:lnTo>
                    <a:lnTo>
                      <a:pt x="27" y="34"/>
                    </a:lnTo>
                    <a:lnTo>
                      <a:pt x="30" y="35"/>
                    </a:lnTo>
                    <a:lnTo>
                      <a:pt x="33" y="38"/>
                    </a:lnTo>
                    <a:lnTo>
                      <a:pt x="33" y="38"/>
                    </a:lnTo>
                    <a:lnTo>
                      <a:pt x="34" y="40"/>
                    </a:lnTo>
                    <a:lnTo>
                      <a:pt x="36" y="40"/>
                    </a:lnTo>
                    <a:lnTo>
                      <a:pt x="38" y="40"/>
                    </a:lnTo>
                    <a:lnTo>
                      <a:pt x="43" y="37"/>
                    </a:lnTo>
                    <a:lnTo>
                      <a:pt x="44" y="34"/>
                    </a:lnTo>
                    <a:lnTo>
                      <a:pt x="44" y="34"/>
                    </a:lnTo>
                    <a:lnTo>
                      <a:pt x="44" y="33"/>
                    </a:lnTo>
                    <a:lnTo>
                      <a:pt x="43" y="30"/>
                    </a:lnTo>
                    <a:lnTo>
                      <a:pt x="41" y="28"/>
                    </a:lnTo>
                    <a:lnTo>
                      <a:pt x="40" y="26"/>
                    </a:lnTo>
                    <a:lnTo>
                      <a:pt x="40" y="26"/>
                    </a:lnTo>
                    <a:lnTo>
                      <a:pt x="41" y="24"/>
                    </a:lnTo>
                    <a:lnTo>
                      <a:pt x="44" y="23"/>
                    </a:lnTo>
                    <a:lnTo>
                      <a:pt x="47" y="21"/>
                    </a:lnTo>
                    <a:lnTo>
                      <a:pt x="48" y="18"/>
                    </a:lnTo>
                    <a:lnTo>
                      <a:pt x="48" y="18"/>
                    </a:lnTo>
                    <a:lnTo>
                      <a:pt x="51" y="14"/>
                    </a:lnTo>
                    <a:lnTo>
                      <a:pt x="55" y="13"/>
                    </a:lnTo>
                    <a:lnTo>
                      <a:pt x="61" y="11"/>
                    </a:lnTo>
                    <a:lnTo>
                      <a:pt x="67" y="13"/>
                    </a:lnTo>
                    <a:lnTo>
                      <a:pt x="67" y="13"/>
                    </a:lnTo>
                    <a:lnTo>
                      <a:pt x="70" y="14"/>
                    </a:lnTo>
                    <a:lnTo>
                      <a:pt x="72" y="17"/>
                    </a:lnTo>
                    <a:lnTo>
                      <a:pt x="72" y="20"/>
                    </a:lnTo>
                    <a:lnTo>
                      <a:pt x="71" y="23"/>
                    </a:lnTo>
                    <a:lnTo>
                      <a:pt x="71" y="23"/>
                    </a:lnTo>
                    <a:lnTo>
                      <a:pt x="70" y="26"/>
                    </a:lnTo>
                    <a:lnTo>
                      <a:pt x="70" y="27"/>
                    </a:lnTo>
                    <a:lnTo>
                      <a:pt x="72" y="31"/>
                    </a:lnTo>
                    <a:lnTo>
                      <a:pt x="80" y="40"/>
                    </a:lnTo>
                    <a:lnTo>
                      <a:pt x="80" y="40"/>
                    </a:lnTo>
                    <a:lnTo>
                      <a:pt x="91" y="30"/>
                    </a:lnTo>
                    <a:lnTo>
                      <a:pt x="91" y="30"/>
                    </a:lnTo>
                    <a:lnTo>
                      <a:pt x="92" y="27"/>
                    </a:lnTo>
                    <a:lnTo>
                      <a:pt x="94" y="24"/>
                    </a:lnTo>
                    <a:lnTo>
                      <a:pt x="94" y="24"/>
                    </a:lnTo>
                    <a:lnTo>
                      <a:pt x="88" y="20"/>
                    </a:lnTo>
                    <a:lnTo>
                      <a:pt x="84" y="11"/>
                    </a:lnTo>
                    <a:lnTo>
                      <a:pt x="84" y="1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90" name="South America">
              <a:extLst>
                <a:ext uri="{FF2B5EF4-FFF2-40B4-BE49-F238E27FC236}">
                  <a16:creationId xmlns:a16="http://schemas.microsoft.com/office/drawing/2014/main" id="{B39222A5-EC9F-8C41-8438-858E6BCB0FD7}"/>
                </a:ext>
              </a:extLst>
            </p:cNvPr>
            <p:cNvGrpSpPr/>
            <p:nvPr/>
          </p:nvGrpSpPr>
          <p:grpSpPr>
            <a:xfrm>
              <a:off x="6386513" y="3223626"/>
              <a:ext cx="881440" cy="1415683"/>
              <a:chOff x="2376001" y="4012303"/>
              <a:chExt cx="1115757" cy="1792019"/>
            </a:xfrm>
            <a:grpFill/>
          </p:grpSpPr>
          <p:sp>
            <p:nvSpPr>
              <p:cNvPr id="1748" name="Trinidad and Tobago">
                <a:extLst>
                  <a:ext uri="{FF2B5EF4-FFF2-40B4-BE49-F238E27FC236}">
                    <a16:creationId xmlns:a16="http://schemas.microsoft.com/office/drawing/2014/main" id="{993ADFEA-3920-B34A-8EE3-6D2620846B87}"/>
                  </a:ext>
                </a:extLst>
              </p:cNvPr>
              <p:cNvSpPr>
                <a:spLocks/>
              </p:cNvSpPr>
              <p:nvPr/>
            </p:nvSpPr>
            <p:spPr bwMode="auto">
              <a:xfrm>
                <a:off x="2842133" y="4055217"/>
                <a:ext cx="23676" cy="16278"/>
              </a:xfrm>
              <a:custGeom>
                <a:avLst/>
                <a:gdLst/>
                <a:ahLst/>
                <a:cxnLst>
                  <a:cxn ang="0">
                    <a:pos x="2" y="11"/>
                  </a:cxn>
                  <a:cxn ang="0">
                    <a:pos x="2" y="11"/>
                  </a:cxn>
                  <a:cxn ang="0">
                    <a:pos x="2" y="10"/>
                  </a:cxn>
                  <a:cxn ang="0">
                    <a:pos x="2" y="7"/>
                  </a:cxn>
                  <a:cxn ang="0">
                    <a:pos x="3" y="6"/>
                  </a:cxn>
                  <a:cxn ang="0">
                    <a:pos x="2" y="4"/>
                  </a:cxn>
                  <a:cxn ang="0">
                    <a:pos x="2" y="4"/>
                  </a:cxn>
                  <a:cxn ang="0">
                    <a:pos x="0" y="3"/>
                  </a:cxn>
                  <a:cxn ang="0">
                    <a:pos x="2" y="1"/>
                  </a:cxn>
                  <a:cxn ang="0">
                    <a:pos x="5" y="0"/>
                  </a:cxn>
                  <a:cxn ang="0">
                    <a:pos x="9" y="0"/>
                  </a:cxn>
                  <a:cxn ang="0">
                    <a:pos x="13" y="0"/>
                  </a:cxn>
                  <a:cxn ang="0">
                    <a:pos x="13" y="0"/>
                  </a:cxn>
                  <a:cxn ang="0">
                    <a:pos x="16" y="3"/>
                  </a:cxn>
                  <a:cxn ang="0">
                    <a:pos x="16" y="6"/>
                  </a:cxn>
                  <a:cxn ang="0">
                    <a:pos x="16" y="8"/>
                  </a:cxn>
                  <a:cxn ang="0">
                    <a:pos x="15" y="10"/>
                  </a:cxn>
                  <a:cxn ang="0">
                    <a:pos x="15" y="10"/>
                  </a:cxn>
                  <a:cxn ang="0">
                    <a:pos x="7" y="11"/>
                  </a:cxn>
                  <a:cxn ang="0">
                    <a:pos x="5" y="11"/>
                  </a:cxn>
                  <a:cxn ang="0">
                    <a:pos x="2" y="11"/>
                  </a:cxn>
                  <a:cxn ang="0">
                    <a:pos x="2" y="11"/>
                  </a:cxn>
                </a:cxnLst>
                <a:rect l="0" t="0" r="r" b="b"/>
                <a:pathLst>
                  <a:path w="16" h="11">
                    <a:moveTo>
                      <a:pt x="2" y="11"/>
                    </a:moveTo>
                    <a:lnTo>
                      <a:pt x="2" y="11"/>
                    </a:lnTo>
                    <a:lnTo>
                      <a:pt x="2" y="10"/>
                    </a:lnTo>
                    <a:lnTo>
                      <a:pt x="2" y="7"/>
                    </a:lnTo>
                    <a:lnTo>
                      <a:pt x="3" y="6"/>
                    </a:lnTo>
                    <a:lnTo>
                      <a:pt x="2" y="4"/>
                    </a:lnTo>
                    <a:lnTo>
                      <a:pt x="2" y="4"/>
                    </a:lnTo>
                    <a:lnTo>
                      <a:pt x="0" y="3"/>
                    </a:lnTo>
                    <a:lnTo>
                      <a:pt x="2" y="1"/>
                    </a:lnTo>
                    <a:lnTo>
                      <a:pt x="5" y="0"/>
                    </a:lnTo>
                    <a:lnTo>
                      <a:pt x="9" y="0"/>
                    </a:lnTo>
                    <a:lnTo>
                      <a:pt x="13" y="0"/>
                    </a:lnTo>
                    <a:lnTo>
                      <a:pt x="13" y="0"/>
                    </a:lnTo>
                    <a:lnTo>
                      <a:pt x="16" y="3"/>
                    </a:lnTo>
                    <a:lnTo>
                      <a:pt x="16" y="6"/>
                    </a:lnTo>
                    <a:lnTo>
                      <a:pt x="16" y="8"/>
                    </a:lnTo>
                    <a:lnTo>
                      <a:pt x="15" y="10"/>
                    </a:lnTo>
                    <a:lnTo>
                      <a:pt x="15" y="10"/>
                    </a:lnTo>
                    <a:lnTo>
                      <a:pt x="7" y="11"/>
                    </a:lnTo>
                    <a:lnTo>
                      <a:pt x="5" y="11"/>
                    </a:lnTo>
                    <a:lnTo>
                      <a:pt x="2" y="11"/>
                    </a:lnTo>
                    <a:lnTo>
                      <a:pt x="2" y="1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9" name="Suriname">
                <a:extLst>
                  <a:ext uri="{FF2B5EF4-FFF2-40B4-BE49-F238E27FC236}">
                    <a16:creationId xmlns:a16="http://schemas.microsoft.com/office/drawing/2014/main" id="{7FF1D7A9-1D7C-0F4E-A6C2-9E9C4BB9EA03}"/>
                  </a:ext>
                </a:extLst>
              </p:cNvPr>
              <p:cNvSpPr>
                <a:spLocks/>
              </p:cNvSpPr>
              <p:nvPr/>
            </p:nvSpPr>
            <p:spPr bwMode="auto">
              <a:xfrm>
                <a:off x="2935360" y="4164720"/>
                <a:ext cx="99146" cy="105065"/>
              </a:xfrm>
              <a:custGeom>
                <a:avLst/>
                <a:gdLst/>
                <a:ahLst/>
                <a:cxnLst>
                  <a:cxn ang="0">
                    <a:pos x="14" y="14"/>
                  </a:cxn>
                  <a:cxn ang="0">
                    <a:pos x="13" y="18"/>
                  </a:cxn>
                  <a:cxn ang="0">
                    <a:pos x="7" y="21"/>
                  </a:cxn>
                  <a:cxn ang="0">
                    <a:pos x="6" y="21"/>
                  </a:cxn>
                  <a:cxn ang="0">
                    <a:pos x="3" y="27"/>
                  </a:cxn>
                  <a:cxn ang="0">
                    <a:pos x="0" y="35"/>
                  </a:cxn>
                  <a:cxn ang="0">
                    <a:pos x="0" y="37"/>
                  </a:cxn>
                  <a:cxn ang="0">
                    <a:pos x="6" y="42"/>
                  </a:cxn>
                  <a:cxn ang="0">
                    <a:pos x="14" y="51"/>
                  </a:cxn>
                  <a:cxn ang="0">
                    <a:pos x="23" y="70"/>
                  </a:cxn>
                  <a:cxn ang="0">
                    <a:pos x="27" y="71"/>
                  </a:cxn>
                  <a:cxn ang="0">
                    <a:pos x="31" y="70"/>
                  </a:cxn>
                  <a:cxn ang="0">
                    <a:pos x="34" y="64"/>
                  </a:cxn>
                  <a:cxn ang="0">
                    <a:pos x="36" y="60"/>
                  </a:cxn>
                  <a:cxn ang="0">
                    <a:pos x="38" y="60"/>
                  </a:cxn>
                  <a:cxn ang="0">
                    <a:pos x="53" y="60"/>
                  </a:cxn>
                  <a:cxn ang="0">
                    <a:pos x="55" y="61"/>
                  </a:cxn>
                  <a:cxn ang="0">
                    <a:pos x="57" y="62"/>
                  </a:cxn>
                  <a:cxn ang="0">
                    <a:pos x="63" y="55"/>
                  </a:cxn>
                  <a:cxn ang="0">
                    <a:pos x="63" y="40"/>
                  </a:cxn>
                  <a:cxn ang="0">
                    <a:pos x="60" y="34"/>
                  </a:cxn>
                  <a:cxn ang="0">
                    <a:pos x="60" y="23"/>
                  </a:cxn>
                  <a:cxn ang="0">
                    <a:pos x="63" y="15"/>
                  </a:cxn>
                  <a:cxn ang="0">
                    <a:pos x="67" y="7"/>
                  </a:cxn>
                  <a:cxn ang="0">
                    <a:pos x="58" y="4"/>
                  </a:cxn>
                  <a:cxn ang="0">
                    <a:pos x="50" y="3"/>
                  </a:cxn>
                  <a:cxn ang="0">
                    <a:pos x="33" y="6"/>
                  </a:cxn>
                  <a:cxn ang="0">
                    <a:pos x="30" y="3"/>
                  </a:cxn>
                  <a:cxn ang="0">
                    <a:pos x="27" y="1"/>
                  </a:cxn>
                  <a:cxn ang="0">
                    <a:pos x="21" y="1"/>
                  </a:cxn>
                  <a:cxn ang="0">
                    <a:pos x="17" y="3"/>
                  </a:cxn>
                  <a:cxn ang="0">
                    <a:pos x="16" y="3"/>
                  </a:cxn>
                  <a:cxn ang="0">
                    <a:pos x="14" y="14"/>
                  </a:cxn>
                </a:cxnLst>
                <a:rect l="0" t="0" r="r" b="b"/>
                <a:pathLst>
                  <a:path w="67" h="71">
                    <a:moveTo>
                      <a:pt x="14" y="14"/>
                    </a:moveTo>
                    <a:lnTo>
                      <a:pt x="14" y="14"/>
                    </a:lnTo>
                    <a:lnTo>
                      <a:pt x="14" y="17"/>
                    </a:lnTo>
                    <a:lnTo>
                      <a:pt x="13" y="18"/>
                    </a:lnTo>
                    <a:lnTo>
                      <a:pt x="10" y="20"/>
                    </a:lnTo>
                    <a:lnTo>
                      <a:pt x="7" y="21"/>
                    </a:lnTo>
                    <a:lnTo>
                      <a:pt x="7" y="21"/>
                    </a:lnTo>
                    <a:lnTo>
                      <a:pt x="6" y="21"/>
                    </a:lnTo>
                    <a:lnTo>
                      <a:pt x="4" y="23"/>
                    </a:lnTo>
                    <a:lnTo>
                      <a:pt x="3" y="27"/>
                    </a:lnTo>
                    <a:lnTo>
                      <a:pt x="1" y="31"/>
                    </a:lnTo>
                    <a:lnTo>
                      <a:pt x="0" y="35"/>
                    </a:lnTo>
                    <a:lnTo>
                      <a:pt x="0" y="35"/>
                    </a:lnTo>
                    <a:lnTo>
                      <a:pt x="0" y="37"/>
                    </a:lnTo>
                    <a:lnTo>
                      <a:pt x="1" y="38"/>
                    </a:lnTo>
                    <a:lnTo>
                      <a:pt x="6" y="42"/>
                    </a:lnTo>
                    <a:lnTo>
                      <a:pt x="10" y="47"/>
                    </a:lnTo>
                    <a:lnTo>
                      <a:pt x="14" y="51"/>
                    </a:lnTo>
                    <a:lnTo>
                      <a:pt x="14" y="51"/>
                    </a:lnTo>
                    <a:lnTo>
                      <a:pt x="23" y="70"/>
                    </a:lnTo>
                    <a:lnTo>
                      <a:pt x="23" y="70"/>
                    </a:lnTo>
                    <a:lnTo>
                      <a:pt x="27" y="71"/>
                    </a:lnTo>
                    <a:lnTo>
                      <a:pt x="31" y="70"/>
                    </a:lnTo>
                    <a:lnTo>
                      <a:pt x="31" y="70"/>
                    </a:lnTo>
                    <a:lnTo>
                      <a:pt x="33" y="68"/>
                    </a:lnTo>
                    <a:lnTo>
                      <a:pt x="34" y="64"/>
                    </a:lnTo>
                    <a:lnTo>
                      <a:pt x="34" y="61"/>
                    </a:lnTo>
                    <a:lnTo>
                      <a:pt x="36" y="60"/>
                    </a:lnTo>
                    <a:lnTo>
                      <a:pt x="38" y="60"/>
                    </a:lnTo>
                    <a:lnTo>
                      <a:pt x="38" y="60"/>
                    </a:lnTo>
                    <a:lnTo>
                      <a:pt x="48" y="60"/>
                    </a:lnTo>
                    <a:lnTo>
                      <a:pt x="53" y="60"/>
                    </a:lnTo>
                    <a:lnTo>
                      <a:pt x="55" y="61"/>
                    </a:lnTo>
                    <a:lnTo>
                      <a:pt x="55" y="61"/>
                    </a:lnTo>
                    <a:lnTo>
                      <a:pt x="57" y="62"/>
                    </a:lnTo>
                    <a:lnTo>
                      <a:pt x="57" y="62"/>
                    </a:lnTo>
                    <a:lnTo>
                      <a:pt x="63" y="55"/>
                    </a:lnTo>
                    <a:lnTo>
                      <a:pt x="63" y="55"/>
                    </a:lnTo>
                    <a:lnTo>
                      <a:pt x="63" y="47"/>
                    </a:lnTo>
                    <a:lnTo>
                      <a:pt x="63" y="40"/>
                    </a:lnTo>
                    <a:lnTo>
                      <a:pt x="60" y="34"/>
                    </a:lnTo>
                    <a:lnTo>
                      <a:pt x="60" y="34"/>
                    </a:lnTo>
                    <a:lnTo>
                      <a:pt x="60" y="28"/>
                    </a:lnTo>
                    <a:lnTo>
                      <a:pt x="60" y="23"/>
                    </a:lnTo>
                    <a:lnTo>
                      <a:pt x="61" y="18"/>
                    </a:lnTo>
                    <a:lnTo>
                      <a:pt x="63" y="15"/>
                    </a:lnTo>
                    <a:lnTo>
                      <a:pt x="63" y="15"/>
                    </a:lnTo>
                    <a:lnTo>
                      <a:pt x="67" y="7"/>
                    </a:lnTo>
                    <a:lnTo>
                      <a:pt x="67" y="7"/>
                    </a:lnTo>
                    <a:lnTo>
                      <a:pt x="58" y="4"/>
                    </a:lnTo>
                    <a:lnTo>
                      <a:pt x="50" y="3"/>
                    </a:lnTo>
                    <a:lnTo>
                      <a:pt x="50" y="3"/>
                    </a:lnTo>
                    <a:lnTo>
                      <a:pt x="38" y="6"/>
                    </a:lnTo>
                    <a:lnTo>
                      <a:pt x="33" y="6"/>
                    </a:lnTo>
                    <a:lnTo>
                      <a:pt x="31" y="4"/>
                    </a:lnTo>
                    <a:lnTo>
                      <a:pt x="30" y="3"/>
                    </a:lnTo>
                    <a:lnTo>
                      <a:pt x="30" y="3"/>
                    </a:lnTo>
                    <a:lnTo>
                      <a:pt x="27" y="1"/>
                    </a:lnTo>
                    <a:lnTo>
                      <a:pt x="24" y="0"/>
                    </a:lnTo>
                    <a:lnTo>
                      <a:pt x="21" y="1"/>
                    </a:lnTo>
                    <a:lnTo>
                      <a:pt x="17" y="3"/>
                    </a:lnTo>
                    <a:lnTo>
                      <a:pt x="17" y="3"/>
                    </a:lnTo>
                    <a:lnTo>
                      <a:pt x="16" y="3"/>
                    </a:lnTo>
                    <a:lnTo>
                      <a:pt x="16" y="3"/>
                    </a:lnTo>
                    <a:lnTo>
                      <a:pt x="14" y="10"/>
                    </a:lnTo>
                    <a:lnTo>
                      <a:pt x="14" y="14"/>
                    </a:lnTo>
                    <a:lnTo>
                      <a:pt x="14" y="1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0" name="French Guiana">
                <a:extLst>
                  <a:ext uri="{FF2B5EF4-FFF2-40B4-BE49-F238E27FC236}">
                    <a16:creationId xmlns:a16="http://schemas.microsoft.com/office/drawing/2014/main" id="{CD4186B7-0BD8-2441-9593-128502FE470B}"/>
                  </a:ext>
                </a:extLst>
              </p:cNvPr>
              <p:cNvSpPr>
                <a:spLocks/>
              </p:cNvSpPr>
              <p:nvPr/>
            </p:nvSpPr>
            <p:spPr bwMode="auto">
              <a:xfrm>
                <a:off x="3019708" y="4175080"/>
                <a:ext cx="75470" cy="88787"/>
              </a:xfrm>
              <a:custGeom>
                <a:avLst/>
                <a:gdLst/>
                <a:ahLst/>
                <a:cxnLst>
                  <a:cxn ang="0">
                    <a:pos x="3" y="27"/>
                  </a:cxn>
                  <a:cxn ang="0">
                    <a:pos x="3" y="27"/>
                  </a:cxn>
                  <a:cxn ang="0">
                    <a:pos x="6" y="33"/>
                  </a:cxn>
                  <a:cxn ang="0">
                    <a:pos x="6" y="40"/>
                  </a:cxn>
                  <a:cxn ang="0">
                    <a:pos x="6" y="48"/>
                  </a:cxn>
                  <a:cxn ang="0">
                    <a:pos x="6" y="48"/>
                  </a:cxn>
                  <a:cxn ang="0">
                    <a:pos x="0" y="55"/>
                  </a:cxn>
                  <a:cxn ang="0">
                    <a:pos x="0" y="55"/>
                  </a:cxn>
                  <a:cxn ang="0">
                    <a:pos x="3" y="58"/>
                  </a:cxn>
                  <a:cxn ang="0">
                    <a:pos x="6" y="60"/>
                  </a:cxn>
                  <a:cxn ang="0">
                    <a:pos x="10" y="60"/>
                  </a:cxn>
                  <a:cxn ang="0">
                    <a:pos x="14" y="58"/>
                  </a:cxn>
                  <a:cxn ang="0">
                    <a:pos x="14" y="58"/>
                  </a:cxn>
                  <a:cxn ang="0">
                    <a:pos x="21" y="57"/>
                  </a:cxn>
                  <a:cxn ang="0">
                    <a:pos x="25" y="57"/>
                  </a:cxn>
                  <a:cxn ang="0">
                    <a:pos x="28" y="55"/>
                  </a:cxn>
                  <a:cxn ang="0">
                    <a:pos x="31" y="51"/>
                  </a:cxn>
                  <a:cxn ang="0">
                    <a:pos x="31" y="51"/>
                  </a:cxn>
                  <a:cxn ang="0">
                    <a:pos x="34" y="45"/>
                  </a:cxn>
                  <a:cxn ang="0">
                    <a:pos x="40" y="38"/>
                  </a:cxn>
                  <a:cxn ang="0">
                    <a:pos x="51" y="26"/>
                  </a:cxn>
                  <a:cxn ang="0">
                    <a:pos x="51" y="26"/>
                  </a:cxn>
                  <a:cxn ang="0">
                    <a:pos x="50" y="26"/>
                  </a:cxn>
                  <a:cxn ang="0">
                    <a:pos x="50" y="26"/>
                  </a:cxn>
                  <a:cxn ang="0">
                    <a:pos x="44" y="21"/>
                  </a:cxn>
                  <a:cxn ang="0">
                    <a:pos x="38" y="14"/>
                  </a:cxn>
                  <a:cxn ang="0">
                    <a:pos x="30" y="8"/>
                  </a:cxn>
                  <a:cxn ang="0">
                    <a:pos x="27" y="6"/>
                  </a:cxn>
                  <a:cxn ang="0">
                    <a:pos x="23" y="4"/>
                  </a:cxn>
                  <a:cxn ang="0">
                    <a:pos x="23" y="4"/>
                  </a:cxn>
                  <a:cxn ang="0">
                    <a:pos x="10" y="0"/>
                  </a:cxn>
                  <a:cxn ang="0">
                    <a:pos x="10" y="0"/>
                  </a:cxn>
                  <a:cxn ang="0">
                    <a:pos x="6" y="8"/>
                  </a:cxn>
                  <a:cxn ang="0">
                    <a:pos x="6" y="8"/>
                  </a:cxn>
                  <a:cxn ang="0">
                    <a:pos x="4" y="11"/>
                  </a:cxn>
                  <a:cxn ang="0">
                    <a:pos x="3" y="16"/>
                  </a:cxn>
                  <a:cxn ang="0">
                    <a:pos x="3" y="21"/>
                  </a:cxn>
                  <a:cxn ang="0">
                    <a:pos x="3" y="27"/>
                  </a:cxn>
                  <a:cxn ang="0">
                    <a:pos x="3" y="27"/>
                  </a:cxn>
                </a:cxnLst>
                <a:rect l="0" t="0" r="r" b="b"/>
                <a:pathLst>
                  <a:path w="51" h="60">
                    <a:moveTo>
                      <a:pt x="3" y="27"/>
                    </a:moveTo>
                    <a:lnTo>
                      <a:pt x="3" y="27"/>
                    </a:lnTo>
                    <a:lnTo>
                      <a:pt x="6" y="33"/>
                    </a:lnTo>
                    <a:lnTo>
                      <a:pt x="6" y="40"/>
                    </a:lnTo>
                    <a:lnTo>
                      <a:pt x="6" y="48"/>
                    </a:lnTo>
                    <a:lnTo>
                      <a:pt x="6" y="48"/>
                    </a:lnTo>
                    <a:lnTo>
                      <a:pt x="0" y="55"/>
                    </a:lnTo>
                    <a:lnTo>
                      <a:pt x="0" y="55"/>
                    </a:lnTo>
                    <a:lnTo>
                      <a:pt x="3" y="58"/>
                    </a:lnTo>
                    <a:lnTo>
                      <a:pt x="6" y="60"/>
                    </a:lnTo>
                    <a:lnTo>
                      <a:pt x="10" y="60"/>
                    </a:lnTo>
                    <a:lnTo>
                      <a:pt x="14" y="58"/>
                    </a:lnTo>
                    <a:lnTo>
                      <a:pt x="14" y="58"/>
                    </a:lnTo>
                    <a:lnTo>
                      <a:pt x="21" y="57"/>
                    </a:lnTo>
                    <a:lnTo>
                      <a:pt x="25" y="57"/>
                    </a:lnTo>
                    <a:lnTo>
                      <a:pt x="28" y="55"/>
                    </a:lnTo>
                    <a:lnTo>
                      <a:pt x="31" y="51"/>
                    </a:lnTo>
                    <a:lnTo>
                      <a:pt x="31" y="51"/>
                    </a:lnTo>
                    <a:lnTo>
                      <a:pt x="34" y="45"/>
                    </a:lnTo>
                    <a:lnTo>
                      <a:pt x="40" y="38"/>
                    </a:lnTo>
                    <a:lnTo>
                      <a:pt x="51" y="26"/>
                    </a:lnTo>
                    <a:lnTo>
                      <a:pt x="51" y="26"/>
                    </a:lnTo>
                    <a:lnTo>
                      <a:pt x="50" y="26"/>
                    </a:lnTo>
                    <a:lnTo>
                      <a:pt x="50" y="26"/>
                    </a:lnTo>
                    <a:lnTo>
                      <a:pt x="44" y="21"/>
                    </a:lnTo>
                    <a:lnTo>
                      <a:pt x="38" y="14"/>
                    </a:lnTo>
                    <a:lnTo>
                      <a:pt x="30" y="8"/>
                    </a:lnTo>
                    <a:lnTo>
                      <a:pt x="27" y="6"/>
                    </a:lnTo>
                    <a:lnTo>
                      <a:pt x="23" y="4"/>
                    </a:lnTo>
                    <a:lnTo>
                      <a:pt x="23" y="4"/>
                    </a:lnTo>
                    <a:lnTo>
                      <a:pt x="10" y="0"/>
                    </a:lnTo>
                    <a:lnTo>
                      <a:pt x="10" y="0"/>
                    </a:lnTo>
                    <a:lnTo>
                      <a:pt x="6" y="8"/>
                    </a:lnTo>
                    <a:lnTo>
                      <a:pt x="6" y="8"/>
                    </a:lnTo>
                    <a:lnTo>
                      <a:pt x="4" y="11"/>
                    </a:lnTo>
                    <a:lnTo>
                      <a:pt x="3" y="16"/>
                    </a:lnTo>
                    <a:lnTo>
                      <a:pt x="3" y="21"/>
                    </a:lnTo>
                    <a:lnTo>
                      <a:pt x="3" y="27"/>
                    </a:lnTo>
                    <a:lnTo>
                      <a:pt x="3" y="2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1" name="Guyana">
                <a:extLst>
                  <a:ext uri="{FF2B5EF4-FFF2-40B4-BE49-F238E27FC236}">
                    <a16:creationId xmlns:a16="http://schemas.microsoft.com/office/drawing/2014/main" id="{26A417DB-9552-B643-B482-C882546946DA}"/>
                  </a:ext>
                </a:extLst>
              </p:cNvPr>
              <p:cNvSpPr>
                <a:spLocks/>
              </p:cNvSpPr>
              <p:nvPr/>
            </p:nvSpPr>
            <p:spPr bwMode="auto">
              <a:xfrm>
                <a:off x="2856932" y="4109969"/>
                <a:ext cx="112464" cy="171655"/>
              </a:xfrm>
              <a:custGeom>
                <a:avLst/>
                <a:gdLst/>
                <a:ahLst/>
                <a:cxnLst>
                  <a:cxn ang="0">
                    <a:pos x="19" y="8"/>
                  </a:cxn>
                  <a:cxn ang="0">
                    <a:pos x="12" y="14"/>
                  </a:cxn>
                  <a:cxn ang="0">
                    <a:pos x="12" y="18"/>
                  </a:cxn>
                  <a:cxn ang="0">
                    <a:pos x="13" y="18"/>
                  </a:cxn>
                  <a:cxn ang="0">
                    <a:pos x="16" y="24"/>
                  </a:cxn>
                  <a:cxn ang="0">
                    <a:pos x="10" y="28"/>
                  </a:cxn>
                  <a:cxn ang="0">
                    <a:pos x="6" y="28"/>
                  </a:cxn>
                  <a:cxn ang="0">
                    <a:pos x="3" y="33"/>
                  </a:cxn>
                  <a:cxn ang="0">
                    <a:pos x="3" y="35"/>
                  </a:cxn>
                  <a:cxn ang="0">
                    <a:pos x="0" y="40"/>
                  </a:cxn>
                  <a:cxn ang="0">
                    <a:pos x="0" y="44"/>
                  </a:cxn>
                  <a:cxn ang="0">
                    <a:pos x="6" y="50"/>
                  </a:cxn>
                  <a:cxn ang="0">
                    <a:pos x="12" y="57"/>
                  </a:cxn>
                  <a:cxn ang="0">
                    <a:pos x="17" y="54"/>
                  </a:cxn>
                  <a:cxn ang="0">
                    <a:pos x="19" y="54"/>
                  </a:cxn>
                  <a:cxn ang="0">
                    <a:pos x="22" y="60"/>
                  </a:cxn>
                  <a:cxn ang="0">
                    <a:pos x="23" y="65"/>
                  </a:cxn>
                  <a:cxn ang="0">
                    <a:pos x="24" y="67"/>
                  </a:cxn>
                  <a:cxn ang="0">
                    <a:pos x="29" y="74"/>
                  </a:cxn>
                  <a:cxn ang="0">
                    <a:pos x="26" y="79"/>
                  </a:cxn>
                  <a:cxn ang="0">
                    <a:pos x="23" y="85"/>
                  </a:cxn>
                  <a:cxn ang="0">
                    <a:pos x="24" y="101"/>
                  </a:cxn>
                  <a:cxn ang="0">
                    <a:pos x="29" y="108"/>
                  </a:cxn>
                  <a:cxn ang="0">
                    <a:pos x="34" y="114"/>
                  </a:cxn>
                  <a:cxn ang="0">
                    <a:pos x="44" y="116"/>
                  </a:cxn>
                  <a:cxn ang="0">
                    <a:pos x="46" y="115"/>
                  </a:cxn>
                  <a:cxn ang="0">
                    <a:pos x="52" y="114"/>
                  </a:cxn>
                  <a:cxn ang="0">
                    <a:pos x="57" y="111"/>
                  </a:cxn>
                  <a:cxn ang="0">
                    <a:pos x="59" y="109"/>
                  </a:cxn>
                  <a:cxn ang="0">
                    <a:pos x="63" y="108"/>
                  </a:cxn>
                  <a:cxn ang="0">
                    <a:pos x="64" y="107"/>
                  </a:cxn>
                  <a:cxn ang="0">
                    <a:pos x="70" y="105"/>
                  </a:cxn>
                  <a:cxn ang="0">
                    <a:pos x="76" y="107"/>
                  </a:cxn>
                  <a:cxn ang="0">
                    <a:pos x="67" y="88"/>
                  </a:cxn>
                  <a:cxn ang="0">
                    <a:pos x="59" y="79"/>
                  </a:cxn>
                  <a:cxn ang="0">
                    <a:pos x="53" y="74"/>
                  </a:cxn>
                  <a:cxn ang="0">
                    <a:pos x="53" y="72"/>
                  </a:cxn>
                  <a:cxn ang="0">
                    <a:pos x="56" y="64"/>
                  </a:cxn>
                  <a:cxn ang="0">
                    <a:pos x="59" y="58"/>
                  </a:cxn>
                  <a:cxn ang="0">
                    <a:pos x="60" y="58"/>
                  </a:cxn>
                  <a:cxn ang="0">
                    <a:pos x="66" y="55"/>
                  </a:cxn>
                  <a:cxn ang="0">
                    <a:pos x="67" y="51"/>
                  </a:cxn>
                  <a:cxn ang="0">
                    <a:pos x="67" y="47"/>
                  </a:cxn>
                  <a:cxn ang="0">
                    <a:pos x="69" y="40"/>
                  </a:cxn>
                  <a:cxn ang="0">
                    <a:pos x="61" y="34"/>
                  </a:cxn>
                  <a:cxn ang="0">
                    <a:pos x="54" y="27"/>
                  </a:cxn>
                  <a:cxn ang="0">
                    <a:pos x="52" y="27"/>
                  </a:cxn>
                  <a:cxn ang="0">
                    <a:pos x="46" y="21"/>
                  </a:cxn>
                  <a:cxn ang="0">
                    <a:pos x="46" y="17"/>
                  </a:cxn>
                  <a:cxn ang="0">
                    <a:pos x="44" y="14"/>
                  </a:cxn>
                  <a:cxn ang="0">
                    <a:pos x="36" y="8"/>
                  </a:cxn>
                  <a:cxn ang="0">
                    <a:pos x="30" y="4"/>
                  </a:cxn>
                  <a:cxn ang="0">
                    <a:pos x="24" y="0"/>
                  </a:cxn>
                  <a:cxn ang="0">
                    <a:pos x="22" y="6"/>
                  </a:cxn>
                  <a:cxn ang="0">
                    <a:pos x="19" y="8"/>
                  </a:cxn>
                </a:cxnLst>
                <a:rect l="0" t="0" r="r" b="b"/>
                <a:pathLst>
                  <a:path w="76" h="116">
                    <a:moveTo>
                      <a:pt x="19" y="8"/>
                    </a:moveTo>
                    <a:lnTo>
                      <a:pt x="19" y="8"/>
                    </a:lnTo>
                    <a:lnTo>
                      <a:pt x="15" y="10"/>
                    </a:lnTo>
                    <a:lnTo>
                      <a:pt x="12" y="14"/>
                    </a:lnTo>
                    <a:lnTo>
                      <a:pt x="12" y="17"/>
                    </a:lnTo>
                    <a:lnTo>
                      <a:pt x="12" y="18"/>
                    </a:lnTo>
                    <a:lnTo>
                      <a:pt x="13" y="18"/>
                    </a:lnTo>
                    <a:lnTo>
                      <a:pt x="13" y="18"/>
                    </a:lnTo>
                    <a:lnTo>
                      <a:pt x="15" y="21"/>
                    </a:lnTo>
                    <a:lnTo>
                      <a:pt x="16" y="24"/>
                    </a:lnTo>
                    <a:lnTo>
                      <a:pt x="15" y="27"/>
                    </a:lnTo>
                    <a:lnTo>
                      <a:pt x="10" y="28"/>
                    </a:lnTo>
                    <a:lnTo>
                      <a:pt x="10" y="28"/>
                    </a:lnTo>
                    <a:lnTo>
                      <a:pt x="6" y="28"/>
                    </a:lnTo>
                    <a:lnTo>
                      <a:pt x="3" y="30"/>
                    </a:lnTo>
                    <a:lnTo>
                      <a:pt x="3" y="33"/>
                    </a:lnTo>
                    <a:lnTo>
                      <a:pt x="3" y="35"/>
                    </a:lnTo>
                    <a:lnTo>
                      <a:pt x="3" y="35"/>
                    </a:lnTo>
                    <a:lnTo>
                      <a:pt x="2" y="38"/>
                    </a:lnTo>
                    <a:lnTo>
                      <a:pt x="0" y="40"/>
                    </a:lnTo>
                    <a:lnTo>
                      <a:pt x="0" y="41"/>
                    </a:lnTo>
                    <a:lnTo>
                      <a:pt x="0" y="44"/>
                    </a:lnTo>
                    <a:lnTo>
                      <a:pt x="0" y="44"/>
                    </a:lnTo>
                    <a:lnTo>
                      <a:pt x="6" y="50"/>
                    </a:lnTo>
                    <a:lnTo>
                      <a:pt x="12" y="57"/>
                    </a:lnTo>
                    <a:lnTo>
                      <a:pt x="12" y="57"/>
                    </a:lnTo>
                    <a:lnTo>
                      <a:pt x="13" y="54"/>
                    </a:lnTo>
                    <a:lnTo>
                      <a:pt x="17" y="54"/>
                    </a:lnTo>
                    <a:lnTo>
                      <a:pt x="17" y="54"/>
                    </a:lnTo>
                    <a:lnTo>
                      <a:pt x="19" y="54"/>
                    </a:lnTo>
                    <a:lnTo>
                      <a:pt x="20" y="55"/>
                    </a:lnTo>
                    <a:lnTo>
                      <a:pt x="22" y="60"/>
                    </a:lnTo>
                    <a:lnTo>
                      <a:pt x="22" y="64"/>
                    </a:lnTo>
                    <a:lnTo>
                      <a:pt x="23" y="65"/>
                    </a:lnTo>
                    <a:lnTo>
                      <a:pt x="24" y="67"/>
                    </a:lnTo>
                    <a:lnTo>
                      <a:pt x="24" y="67"/>
                    </a:lnTo>
                    <a:lnTo>
                      <a:pt x="27" y="70"/>
                    </a:lnTo>
                    <a:lnTo>
                      <a:pt x="29" y="74"/>
                    </a:lnTo>
                    <a:lnTo>
                      <a:pt x="27" y="77"/>
                    </a:lnTo>
                    <a:lnTo>
                      <a:pt x="26" y="79"/>
                    </a:lnTo>
                    <a:lnTo>
                      <a:pt x="26" y="79"/>
                    </a:lnTo>
                    <a:lnTo>
                      <a:pt x="23" y="85"/>
                    </a:lnTo>
                    <a:lnTo>
                      <a:pt x="23" y="92"/>
                    </a:lnTo>
                    <a:lnTo>
                      <a:pt x="24" y="101"/>
                    </a:lnTo>
                    <a:lnTo>
                      <a:pt x="26" y="105"/>
                    </a:lnTo>
                    <a:lnTo>
                      <a:pt x="29" y="108"/>
                    </a:lnTo>
                    <a:lnTo>
                      <a:pt x="29" y="108"/>
                    </a:lnTo>
                    <a:lnTo>
                      <a:pt x="34" y="114"/>
                    </a:lnTo>
                    <a:lnTo>
                      <a:pt x="40" y="116"/>
                    </a:lnTo>
                    <a:lnTo>
                      <a:pt x="44" y="116"/>
                    </a:lnTo>
                    <a:lnTo>
                      <a:pt x="46" y="115"/>
                    </a:lnTo>
                    <a:lnTo>
                      <a:pt x="46" y="115"/>
                    </a:lnTo>
                    <a:lnTo>
                      <a:pt x="49" y="114"/>
                    </a:lnTo>
                    <a:lnTo>
                      <a:pt x="52" y="114"/>
                    </a:lnTo>
                    <a:lnTo>
                      <a:pt x="54" y="112"/>
                    </a:lnTo>
                    <a:lnTo>
                      <a:pt x="57" y="111"/>
                    </a:lnTo>
                    <a:lnTo>
                      <a:pt x="57" y="111"/>
                    </a:lnTo>
                    <a:lnTo>
                      <a:pt x="59" y="109"/>
                    </a:lnTo>
                    <a:lnTo>
                      <a:pt x="60" y="109"/>
                    </a:lnTo>
                    <a:lnTo>
                      <a:pt x="63" y="108"/>
                    </a:lnTo>
                    <a:lnTo>
                      <a:pt x="64" y="107"/>
                    </a:lnTo>
                    <a:lnTo>
                      <a:pt x="64" y="107"/>
                    </a:lnTo>
                    <a:lnTo>
                      <a:pt x="67" y="105"/>
                    </a:lnTo>
                    <a:lnTo>
                      <a:pt x="70" y="105"/>
                    </a:lnTo>
                    <a:lnTo>
                      <a:pt x="76" y="107"/>
                    </a:lnTo>
                    <a:lnTo>
                      <a:pt x="76" y="107"/>
                    </a:lnTo>
                    <a:lnTo>
                      <a:pt x="67" y="88"/>
                    </a:lnTo>
                    <a:lnTo>
                      <a:pt x="67" y="88"/>
                    </a:lnTo>
                    <a:lnTo>
                      <a:pt x="63" y="84"/>
                    </a:lnTo>
                    <a:lnTo>
                      <a:pt x="59" y="79"/>
                    </a:lnTo>
                    <a:lnTo>
                      <a:pt x="54" y="75"/>
                    </a:lnTo>
                    <a:lnTo>
                      <a:pt x="53" y="74"/>
                    </a:lnTo>
                    <a:lnTo>
                      <a:pt x="53" y="72"/>
                    </a:lnTo>
                    <a:lnTo>
                      <a:pt x="53" y="72"/>
                    </a:lnTo>
                    <a:lnTo>
                      <a:pt x="54" y="68"/>
                    </a:lnTo>
                    <a:lnTo>
                      <a:pt x="56" y="64"/>
                    </a:lnTo>
                    <a:lnTo>
                      <a:pt x="57" y="60"/>
                    </a:lnTo>
                    <a:lnTo>
                      <a:pt x="59" y="58"/>
                    </a:lnTo>
                    <a:lnTo>
                      <a:pt x="60" y="58"/>
                    </a:lnTo>
                    <a:lnTo>
                      <a:pt x="60" y="58"/>
                    </a:lnTo>
                    <a:lnTo>
                      <a:pt x="63" y="57"/>
                    </a:lnTo>
                    <a:lnTo>
                      <a:pt x="66" y="55"/>
                    </a:lnTo>
                    <a:lnTo>
                      <a:pt x="67" y="54"/>
                    </a:lnTo>
                    <a:lnTo>
                      <a:pt x="67" y="51"/>
                    </a:lnTo>
                    <a:lnTo>
                      <a:pt x="67" y="51"/>
                    </a:lnTo>
                    <a:lnTo>
                      <a:pt x="67" y="47"/>
                    </a:lnTo>
                    <a:lnTo>
                      <a:pt x="69" y="40"/>
                    </a:lnTo>
                    <a:lnTo>
                      <a:pt x="69" y="40"/>
                    </a:lnTo>
                    <a:lnTo>
                      <a:pt x="66" y="38"/>
                    </a:lnTo>
                    <a:lnTo>
                      <a:pt x="61" y="34"/>
                    </a:lnTo>
                    <a:lnTo>
                      <a:pt x="57" y="30"/>
                    </a:lnTo>
                    <a:lnTo>
                      <a:pt x="54" y="27"/>
                    </a:lnTo>
                    <a:lnTo>
                      <a:pt x="54" y="27"/>
                    </a:lnTo>
                    <a:lnTo>
                      <a:pt x="52" y="27"/>
                    </a:lnTo>
                    <a:lnTo>
                      <a:pt x="49" y="24"/>
                    </a:lnTo>
                    <a:lnTo>
                      <a:pt x="46" y="21"/>
                    </a:lnTo>
                    <a:lnTo>
                      <a:pt x="46" y="17"/>
                    </a:lnTo>
                    <a:lnTo>
                      <a:pt x="46" y="17"/>
                    </a:lnTo>
                    <a:lnTo>
                      <a:pt x="46" y="15"/>
                    </a:lnTo>
                    <a:lnTo>
                      <a:pt x="44" y="14"/>
                    </a:lnTo>
                    <a:lnTo>
                      <a:pt x="40" y="11"/>
                    </a:lnTo>
                    <a:lnTo>
                      <a:pt x="36" y="8"/>
                    </a:lnTo>
                    <a:lnTo>
                      <a:pt x="30" y="4"/>
                    </a:lnTo>
                    <a:lnTo>
                      <a:pt x="30" y="4"/>
                    </a:lnTo>
                    <a:lnTo>
                      <a:pt x="27" y="1"/>
                    </a:lnTo>
                    <a:lnTo>
                      <a:pt x="24" y="0"/>
                    </a:lnTo>
                    <a:lnTo>
                      <a:pt x="24" y="0"/>
                    </a:lnTo>
                    <a:lnTo>
                      <a:pt x="22" y="6"/>
                    </a:lnTo>
                    <a:lnTo>
                      <a:pt x="19" y="8"/>
                    </a:lnTo>
                    <a:lnTo>
                      <a:pt x="19" y="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2" name="Uruguay">
                <a:extLst>
                  <a:ext uri="{FF2B5EF4-FFF2-40B4-BE49-F238E27FC236}">
                    <a16:creationId xmlns:a16="http://schemas.microsoft.com/office/drawing/2014/main" id="{AF4FCA52-3D30-5344-8DFB-EE6FFBD52911}"/>
                  </a:ext>
                </a:extLst>
              </p:cNvPr>
              <p:cNvSpPr>
                <a:spLocks/>
              </p:cNvSpPr>
              <p:nvPr/>
            </p:nvSpPr>
            <p:spPr bwMode="auto">
              <a:xfrm>
                <a:off x="2922041" y="5057031"/>
                <a:ext cx="121343" cy="125782"/>
              </a:xfrm>
              <a:custGeom>
                <a:avLst/>
                <a:gdLst/>
                <a:ahLst/>
                <a:cxnLst>
                  <a:cxn ang="0">
                    <a:pos x="79" y="41"/>
                  </a:cxn>
                  <a:cxn ang="0">
                    <a:pos x="74" y="33"/>
                  </a:cxn>
                  <a:cxn ang="0">
                    <a:pos x="69" y="28"/>
                  </a:cxn>
                  <a:cxn ang="0">
                    <a:pos x="54" y="20"/>
                  </a:cxn>
                  <a:cxn ang="0">
                    <a:pos x="50" y="16"/>
                  </a:cxn>
                  <a:cxn ang="0">
                    <a:pos x="45" y="14"/>
                  </a:cxn>
                  <a:cxn ang="0">
                    <a:pos x="42" y="17"/>
                  </a:cxn>
                  <a:cxn ang="0">
                    <a:pos x="40" y="17"/>
                  </a:cxn>
                  <a:cxn ang="0">
                    <a:pos x="37" y="11"/>
                  </a:cxn>
                  <a:cxn ang="0">
                    <a:pos x="35" y="6"/>
                  </a:cxn>
                  <a:cxn ang="0">
                    <a:pos x="26" y="1"/>
                  </a:cxn>
                  <a:cxn ang="0">
                    <a:pos x="20" y="1"/>
                  </a:cxn>
                  <a:cxn ang="0">
                    <a:pos x="16" y="1"/>
                  </a:cxn>
                  <a:cxn ang="0">
                    <a:pos x="12" y="6"/>
                  </a:cxn>
                  <a:cxn ang="0">
                    <a:pos x="10" y="10"/>
                  </a:cxn>
                  <a:cxn ang="0">
                    <a:pos x="8" y="23"/>
                  </a:cxn>
                  <a:cxn ang="0">
                    <a:pos x="5" y="38"/>
                  </a:cxn>
                  <a:cxn ang="0">
                    <a:pos x="5" y="46"/>
                  </a:cxn>
                  <a:cxn ang="0">
                    <a:pos x="2" y="53"/>
                  </a:cxn>
                  <a:cxn ang="0">
                    <a:pos x="0" y="58"/>
                  </a:cxn>
                  <a:cxn ang="0">
                    <a:pos x="3" y="67"/>
                  </a:cxn>
                  <a:cxn ang="0">
                    <a:pos x="6" y="68"/>
                  </a:cxn>
                  <a:cxn ang="0">
                    <a:pos x="5" y="75"/>
                  </a:cxn>
                  <a:cxn ang="0">
                    <a:pos x="8" y="78"/>
                  </a:cxn>
                  <a:cxn ang="0">
                    <a:pos x="10" y="78"/>
                  </a:cxn>
                  <a:cxn ang="0">
                    <a:pos x="20" y="80"/>
                  </a:cxn>
                  <a:cxn ang="0">
                    <a:pos x="32" y="84"/>
                  </a:cxn>
                  <a:cxn ang="0">
                    <a:pos x="37" y="85"/>
                  </a:cxn>
                  <a:cxn ang="0">
                    <a:pos x="45" y="84"/>
                  </a:cxn>
                  <a:cxn ang="0">
                    <a:pos x="56" y="84"/>
                  </a:cxn>
                  <a:cxn ang="0">
                    <a:pos x="69" y="81"/>
                  </a:cxn>
                  <a:cxn ang="0">
                    <a:pos x="72" y="78"/>
                  </a:cxn>
                  <a:cxn ang="0">
                    <a:pos x="82" y="65"/>
                  </a:cxn>
                  <a:cxn ang="0">
                    <a:pos x="79" y="58"/>
                  </a:cxn>
                  <a:cxn ang="0">
                    <a:pos x="79" y="41"/>
                  </a:cxn>
                </a:cxnLst>
                <a:rect l="0" t="0" r="r" b="b"/>
                <a:pathLst>
                  <a:path w="82" h="85">
                    <a:moveTo>
                      <a:pt x="79" y="41"/>
                    </a:moveTo>
                    <a:lnTo>
                      <a:pt x="79" y="41"/>
                    </a:lnTo>
                    <a:lnTo>
                      <a:pt x="77" y="37"/>
                    </a:lnTo>
                    <a:lnTo>
                      <a:pt x="74" y="33"/>
                    </a:lnTo>
                    <a:lnTo>
                      <a:pt x="69" y="28"/>
                    </a:lnTo>
                    <a:lnTo>
                      <a:pt x="69" y="28"/>
                    </a:lnTo>
                    <a:lnTo>
                      <a:pt x="60" y="23"/>
                    </a:lnTo>
                    <a:lnTo>
                      <a:pt x="54" y="20"/>
                    </a:lnTo>
                    <a:lnTo>
                      <a:pt x="50" y="16"/>
                    </a:lnTo>
                    <a:lnTo>
                      <a:pt x="50" y="16"/>
                    </a:lnTo>
                    <a:lnTo>
                      <a:pt x="47" y="13"/>
                    </a:lnTo>
                    <a:lnTo>
                      <a:pt x="45" y="14"/>
                    </a:lnTo>
                    <a:lnTo>
                      <a:pt x="43" y="16"/>
                    </a:lnTo>
                    <a:lnTo>
                      <a:pt x="42" y="17"/>
                    </a:lnTo>
                    <a:lnTo>
                      <a:pt x="42" y="17"/>
                    </a:lnTo>
                    <a:lnTo>
                      <a:pt x="40" y="17"/>
                    </a:lnTo>
                    <a:lnTo>
                      <a:pt x="39" y="14"/>
                    </a:lnTo>
                    <a:lnTo>
                      <a:pt x="37" y="11"/>
                    </a:lnTo>
                    <a:lnTo>
                      <a:pt x="35" y="6"/>
                    </a:lnTo>
                    <a:lnTo>
                      <a:pt x="35" y="6"/>
                    </a:lnTo>
                    <a:lnTo>
                      <a:pt x="30" y="3"/>
                    </a:lnTo>
                    <a:lnTo>
                      <a:pt x="26" y="1"/>
                    </a:lnTo>
                    <a:lnTo>
                      <a:pt x="23" y="0"/>
                    </a:lnTo>
                    <a:lnTo>
                      <a:pt x="20" y="1"/>
                    </a:lnTo>
                    <a:lnTo>
                      <a:pt x="20" y="1"/>
                    </a:lnTo>
                    <a:lnTo>
                      <a:pt x="16" y="1"/>
                    </a:lnTo>
                    <a:lnTo>
                      <a:pt x="16" y="1"/>
                    </a:lnTo>
                    <a:lnTo>
                      <a:pt x="12" y="6"/>
                    </a:lnTo>
                    <a:lnTo>
                      <a:pt x="10" y="10"/>
                    </a:lnTo>
                    <a:lnTo>
                      <a:pt x="10" y="10"/>
                    </a:lnTo>
                    <a:lnTo>
                      <a:pt x="10" y="16"/>
                    </a:lnTo>
                    <a:lnTo>
                      <a:pt x="8" y="23"/>
                    </a:lnTo>
                    <a:lnTo>
                      <a:pt x="6" y="30"/>
                    </a:lnTo>
                    <a:lnTo>
                      <a:pt x="5" y="38"/>
                    </a:lnTo>
                    <a:lnTo>
                      <a:pt x="5" y="38"/>
                    </a:lnTo>
                    <a:lnTo>
                      <a:pt x="5" y="46"/>
                    </a:lnTo>
                    <a:lnTo>
                      <a:pt x="3" y="50"/>
                    </a:lnTo>
                    <a:lnTo>
                      <a:pt x="2" y="53"/>
                    </a:lnTo>
                    <a:lnTo>
                      <a:pt x="0" y="58"/>
                    </a:lnTo>
                    <a:lnTo>
                      <a:pt x="0" y="58"/>
                    </a:lnTo>
                    <a:lnTo>
                      <a:pt x="2" y="64"/>
                    </a:lnTo>
                    <a:lnTo>
                      <a:pt x="3" y="67"/>
                    </a:lnTo>
                    <a:lnTo>
                      <a:pt x="6" y="68"/>
                    </a:lnTo>
                    <a:lnTo>
                      <a:pt x="6" y="68"/>
                    </a:lnTo>
                    <a:lnTo>
                      <a:pt x="6" y="71"/>
                    </a:lnTo>
                    <a:lnTo>
                      <a:pt x="5" y="75"/>
                    </a:lnTo>
                    <a:lnTo>
                      <a:pt x="5" y="75"/>
                    </a:lnTo>
                    <a:lnTo>
                      <a:pt x="8" y="78"/>
                    </a:lnTo>
                    <a:lnTo>
                      <a:pt x="10" y="78"/>
                    </a:lnTo>
                    <a:lnTo>
                      <a:pt x="10" y="78"/>
                    </a:lnTo>
                    <a:lnTo>
                      <a:pt x="16" y="78"/>
                    </a:lnTo>
                    <a:lnTo>
                      <a:pt x="20" y="80"/>
                    </a:lnTo>
                    <a:lnTo>
                      <a:pt x="32" y="84"/>
                    </a:lnTo>
                    <a:lnTo>
                      <a:pt x="32" y="84"/>
                    </a:lnTo>
                    <a:lnTo>
                      <a:pt x="36" y="85"/>
                    </a:lnTo>
                    <a:lnTo>
                      <a:pt x="37" y="85"/>
                    </a:lnTo>
                    <a:lnTo>
                      <a:pt x="40" y="84"/>
                    </a:lnTo>
                    <a:lnTo>
                      <a:pt x="45" y="84"/>
                    </a:lnTo>
                    <a:lnTo>
                      <a:pt x="45" y="84"/>
                    </a:lnTo>
                    <a:lnTo>
                      <a:pt x="56" y="84"/>
                    </a:lnTo>
                    <a:lnTo>
                      <a:pt x="62" y="84"/>
                    </a:lnTo>
                    <a:lnTo>
                      <a:pt x="69" y="81"/>
                    </a:lnTo>
                    <a:lnTo>
                      <a:pt x="69" y="81"/>
                    </a:lnTo>
                    <a:lnTo>
                      <a:pt x="72" y="78"/>
                    </a:lnTo>
                    <a:lnTo>
                      <a:pt x="74" y="74"/>
                    </a:lnTo>
                    <a:lnTo>
                      <a:pt x="82" y="65"/>
                    </a:lnTo>
                    <a:lnTo>
                      <a:pt x="82" y="65"/>
                    </a:lnTo>
                    <a:lnTo>
                      <a:pt x="79" y="58"/>
                    </a:lnTo>
                    <a:lnTo>
                      <a:pt x="79" y="53"/>
                    </a:lnTo>
                    <a:lnTo>
                      <a:pt x="79" y="41"/>
                    </a:lnTo>
                    <a:lnTo>
                      <a:pt x="79" y="4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3" name="Paraguay">
                <a:extLst>
                  <a:ext uri="{FF2B5EF4-FFF2-40B4-BE49-F238E27FC236}">
                    <a16:creationId xmlns:a16="http://schemas.microsoft.com/office/drawing/2014/main" id="{E596405C-9430-CD4A-8474-CD949E7A9CDB}"/>
                  </a:ext>
                </a:extLst>
              </p:cNvPr>
              <p:cNvSpPr>
                <a:spLocks/>
              </p:cNvSpPr>
              <p:nvPr/>
            </p:nvSpPr>
            <p:spPr bwMode="auto">
              <a:xfrm>
                <a:off x="2816976" y="4781791"/>
                <a:ext cx="204210" cy="207170"/>
              </a:xfrm>
              <a:custGeom>
                <a:avLst/>
                <a:gdLst/>
                <a:ahLst/>
                <a:cxnLst>
                  <a:cxn ang="0">
                    <a:pos x="137" y="76"/>
                  </a:cxn>
                  <a:cxn ang="0">
                    <a:pos x="128" y="78"/>
                  </a:cxn>
                  <a:cxn ang="0">
                    <a:pos x="123" y="79"/>
                  </a:cxn>
                  <a:cxn ang="0">
                    <a:pos x="118" y="72"/>
                  </a:cxn>
                  <a:cxn ang="0">
                    <a:pos x="116" y="62"/>
                  </a:cxn>
                  <a:cxn ang="0">
                    <a:pos x="110" y="52"/>
                  </a:cxn>
                  <a:cxn ang="0">
                    <a:pos x="106" y="48"/>
                  </a:cxn>
                  <a:cxn ang="0">
                    <a:pos x="104" y="48"/>
                  </a:cxn>
                  <a:cxn ang="0">
                    <a:pos x="100" y="49"/>
                  </a:cxn>
                  <a:cxn ang="0">
                    <a:pos x="90" y="47"/>
                  </a:cxn>
                  <a:cxn ang="0">
                    <a:pos x="84" y="47"/>
                  </a:cxn>
                  <a:cxn ang="0">
                    <a:pos x="80" y="41"/>
                  </a:cxn>
                  <a:cxn ang="0">
                    <a:pos x="81" y="34"/>
                  </a:cxn>
                  <a:cxn ang="0">
                    <a:pos x="81" y="27"/>
                  </a:cxn>
                  <a:cxn ang="0">
                    <a:pos x="79" y="17"/>
                  </a:cxn>
                  <a:cxn ang="0">
                    <a:pos x="79" y="14"/>
                  </a:cxn>
                  <a:cxn ang="0">
                    <a:pos x="80" y="12"/>
                  </a:cxn>
                  <a:cxn ang="0">
                    <a:pos x="79" y="5"/>
                  </a:cxn>
                  <a:cxn ang="0">
                    <a:pos x="76" y="7"/>
                  </a:cxn>
                  <a:cxn ang="0">
                    <a:pos x="73" y="5"/>
                  </a:cxn>
                  <a:cxn ang="0">
                    <a:pos x="64" y="1"/>
                  </a:cxn>
                  <a:cxn ang="0">
                    <a:pos x="60" y="0"/>
                  </a:cxn>
                  <a:cxn ang="0">
                    <a:pos x="46" y="1"/>
                  </a:cxn>
                  <a:cxn ang="0">
                    <a:pos x="42" y="2"/>
                  </a:cxn>
                  <a:cxn ang="0">
                    <a:pos x="33" y="2"/>
                  </a:cxn>
                  <a:cxn ang="0">
                    <a:pos x="23" y="5"/>
                  </a:cxn>
                  <a:cxn ang="0">
                    <a:pos x="15" y="12"/>
                  </a:cxn>
                  <a:cxn ang="0">
                    <a:pos x="10" y="21"/>
                  </a:cxn>
                  <a:cxn ang="0">
                    <a:pos x="9" y="34"/>
                  </a:cxn>
                  <a:cxn ang="0">
                    <a:pos x="6" y="45"/>
                  </a:cxn>
                  <a:cxn ang="0">
                    <a:pos x="0" y="45"/>
                  </a:cxn>
                  <a:cxn ang="0">
                    <a:pos x="5" y="51"/>
                  </a:cxn>
                  <a:cxn ang="0">
                    <a:pos x="16" y="64"/>
                  </a:cxn>
                  <a:cxn ang="0">
                    <a:pos x="22" y="68"/>
                  </a:cxn>
                  <a:cxn ang="0">
                    <a:pos x="30" y="75"/>
                  </a:cxn>
                  <a:cxn ang="0">
                    <a:pos x="40" y="79"/>
                  </a:cxn>
                  <a:cxn ang="0">
                    <a:pos x="46" y="79"/>
                  </a:cxn>
                  <a:cxn ang="0">
                    <a:pos x="54" y="85"/>
                  </a:cxn>
                  <a:cxn ang="0">
                    <a:pos x="57" y="88"/>
                  </a:cxn>
                  <a:cxn ang="0">
                    <a:pos x="73" y="96"/>
                  </a:cxn>
                  <a:cxn ang="0">
                    <a:pos x="87" y="103"/>
                  </a:cxn>
                  <a:cxn ang="0">
                    <a:pos x="87" y="105"/>
                  </a:cxn>
                  <a:cxn ang="0">
                    <a:pos x="81" y="112"/>
                  </a:cxn>
                  <a:cxn ang="0">
                    <a:pos x="76" y="121"/>
                  </a:cxn>
                  <a:cxn ang="0">
                    <a:pos x="76" y="125"/>
                  </a:cxn>
                  <a:cxn ang="0">
                    <a:pos x="73" y="132"/>
                  </a:cxn>
                  <a:cxn ang="0">
                    <a:pos x="70" y="135"/>
                  </a:cxn>
                  <a:cxn ang="0">
                    <a:pos x="71" y="136"/>
                  </a:cxn>
                  <a:cxn ang="0">
                    <a:pos x="81" y="138"/>
                  </a:cxn>
                  <a:cxn ang="0">
                    <a:pos x="84" y="139"/>
                  </a:cxn>
                  <a:cxn ang="0">
                    <a:pos x="91" y="139"/>
                  </a:cxn>
                  <a:cxn ang="0">
                    <a:pos x="100" y="140"/>
                  </a:cxn>
                  <a:cxn ang="0">
                    <a:pos x="104" y="140"/>
                  </a:cxn>
                  <a:cxn ang="0">
                    <a:pos x="111" y="138"/>
                  </a:cxn>
                  <a:cxn ang="0">
                    <a:pos x="114" y="138"/>
                  </a:cxn>
                  <a:cxn ang="0">
                    <a:pos x="120" y="133"/>
                  </a:cxn>
                  <a:cxn ang="0">
                    <a:pos x="127" y="131"/>
                  </a:cxn>
                  <a:cxn ang="0">
                    <a:pos x="128" y="131"/>
                  </a:cxn>
                  <a:cxn ang="0">
                    <a:pos x="133" y="122"/>
                  </a:cxn>
                  <a:cxn ang="0">
                    <a:pos x="134" y="108"/>
                  </a:cxn>
                  <a:cxn ang="0">
                    <a:pos x="135" y="101"/>
                  </a:cxn>
                  <a:cxn ang="0">
                    <a:pos x="138" y="82"/>
                  </a:cxn>
                  <a:cxn ang="0">
                    <a:pos x="137" y="76"/>
                  </a:cxn>
                </a:cxnLst>
                <a:rect l="0" t="0" r="r" b="b"/>
                <a:pathLst>
                  <a:path w="138" h="140">
                    <a:moveTo>
                      <a:pt x="137" y="76"/>
                    </a:moveTo>
                    <a:lnTo>
                      <a:pt x="137" y="76"/>
                    </a:lnTo>
                    <a:lnTo>
                      <a:pt x="133" y="76"/>
                    </a:lnTo>
                    <a:lnTo>
                      <a:pt x="128" y="78"/>
                    </a:lnTo>
                    <a:lnTo>
                      <a:pt x="123" y="79"/>
                    </a:lnTo>
                    <a:lnTo>
                      <a:pt x="123" y="79"/>
                    </a:lnTo>
                    <a:lnTo>
                      <a:pt x="121" y="78"/>
                    </a:lnTo>
                    <a:lnTo>
                      <a:pt x="118" y="72"/>
                    </a:lnTo>
                    <a:lnTo>
                      <a:pt x="116" y="62"/>
                    </a:lnTo>
                    <a:lnTo>
                      <a:pt x="116" y="62"/>
                    </a:lnTo>
                    <a:lnTo>
                      <a:pt x="113" y="57"/>
                    </a:lnTo>
                    <a:lnTo>
                      <a:pt x="110" y="52"/>
                    </a:lnTo>
                    <a:lnTo>
                      <a:pt x="107" y="49"/>
                    </a:lnTo>
                    <a:lnTo>
                      <a:pt x="106" y="48"/>
                    </a:lnTo>
                    <a:lnTo>
                      <a:pt x="104" y="48"/>
                    </a:lnTo>
                    <a:lnTo>
                      <a:pt x="104" y="48"/>
                    </a:lnTo>
                    <a:lnTo>
                      <a:pt x="101" y="49"/>
                    </a:lnTo>
                    <a:lnTo>
                      <a:pt x="100" y="49"/>
                    </a:lnTo>
                    <a:lnTo>
                      <a:pt x="96" y="48"/>
                    </a:lnTo>
                    <a:lnTo>
                      <a:pt x="90" y="47"/>
                    </a:lnTo>
                    <a:lnTo>
                      <a:pt x="90" y="47"/>
                    </a:lnTo>
                    <a:lnTo>
                      <a:pt x="84" y="47"/>
                    </a:lnTo>
                    <a:lnTo>
                      <a:pt x="81" y="44"/>
                    </a:lnTo>
                    <a:lnTo>
                      <a:pt x="80" y="41"/>
                    </a:lnTo>
                    <a:lnTo>
                      <a:pt x="81" y="34"/>
                    </a:lnTo>
                    <a:lnTo>
                      <a:pt x="81" y="34"/>
                    </a:lnTo>
                    <a:lnTo>
                      <a:pt x="83" y="30"/>
                    </a:lnTo>
                    <a:lnTo>
                      <a:pt x="81" y="27"/>
                    </a:lnTo>
                    <a:lnTo>
                      <a:pt x="80" y="21"/>
                    </a:lnTo>
                    <a:lnTo>
                      <a:pt x="79" y="17"/>
                    </a:lnTo>
                    <a:lnTo>
                      <a:pt x="79" y="15"/>
                    </a:lnTo>
                    <a:lnTo>
                      <a:pt x="79" y="14"/>
                    </a:lnTo>
                    <a:lnTo>
                      <a:pt x="79" y="14"/>
                    </a:lnTo>
                    <a:lnTo>
                      <a:pt x="80" y="12"/>
                    </a:lnTo>
                    <a:lnTo>
                      <a:pt x="81" y="11"/>
                    </a:lnTo>
                    <a:lnTo>
                      <a:pt x="79" y="5"/>
                    </a:lnTo>
                    <a:lnTo>
                      <a:pt x="79" y="5"/>
                    </a:lnTo>
                    <a:lnTo>
                      <a:pt x="76" y="7"/>
                    </a:lnTo>
                    <a:lnTo>
                      <a:pt x="76" y="7"/>
                    </a:lnTo>
                    <a:lnTo>
                      <a:pt x="73" y="5"/>
                    </a:lnTo>
                    <a:lnTo>
                      <a:pt x="69" y="4"/>
                    </a:lnTo>
                    <a:lnTo>
                      <a:pt x="64" y="1"/>
                    </a:lnTo>
                    <a:lnTo>
                      <a:pt x="60" y="0"/>
                    </a:lnTo>
                    <a:lnTo>
                      <a:pt x="60" y="0"/>
                    </a:lnTo>
                    <a:lnTo>
                      <a:pt x="50" y="0"/>
                    </a:lnTo>
                    <a:lnTo>
                      <a:pt x="46" y="1"/>
                    </a:lnTo>
                    <a:lnTo>
                      <a:pt x="42" y="2"/>
                    </a:lnTo>
                    <a:lnTo>
                      <a:pt x="42" y="2"/>
                    </a:lnTo>
                    <a:lnTo>
                      <a:pt x="37" y="2"/>
                    </a:lnTo>
                    <a:lnTo>
                      <a:pt x="33" y="2"/>
                    </a:lnTo>
                    <a:lnTo>
                      <a:pt x="27" y="4"/>
                    </a:lnTo>
                    <a:lnTo>
                      <a:pt x="23" y="5"/>
                    </a:lnTo>
                    <a:lnTo>
                      <a:pt x="23" y="5"/>
                    </a:lnTo>
                    <a:lnTo>
                      <a:pt x="15" y="12"/>
                    </a:lnTo>
                    <a:lnTo>
                      <a:pt x="10" y="17"/>
                    </a:lnTo>
                    <a:lnTo>
                      <a:pt x="10" y="21"/>
                    </a:lnTo>
                    <a:lnTo>
                      <a:pt x="10" y="21"/>
                    </a:lnTo>
                    <a:lnTo>
                      <a:pt x="9" y="34"/>
                    </a:lnTo>
                    <a:lnTo>
                      <a:pt x="7" y="41"/>
                    </a:lnTo>
                    <a:lnTo>
                      <a:pt x="6" y="45"/>
                    </a:lnTo>
                    <a:lnTo>
                      <a:pt x="6" y="45"/>
                    </a:lnTo>
                    <a:lnTo>
                      <a:pt x="0" y="45"/>
                    </a:lnTo>
                    <a:lnTo>
                      <a:pt x="0" y="45"/>
                    </a:lnTo>
                    <a:lnTo>
                      <a:pt x="5" y="51"/>
                    </a:lnTo>
                    <a:lnTo>
                      <a:pt x="10" y="57"/>
                    </a:lnTo>
                    <a:lnTo>
                      <a:pt x="16" y="64"/>
                    </a:lnTo>
                    <a:lnTo>
                      <a:pt x="22" y="68"/>
                    </a:lnTo>
                    <a:lnTo>
                      <a:pt x="22" y="68"/>
                    </a:lnTo>
                    <a:lnTo>
                      <a:pt x="27" y="72"/>
                    </a:lnTo>
                    <a:lnTo>
                      <a:pt x="30" y="75"/>
                    </a:lnTo>
                    <a:lnTo>
                      <a:pt x="34" y="78"/>
                    </a:lnTo>
                    <a:lnTo>
                      <a:pt x="40" y="79"/>
                    </a:lnTo>
                    <a:lnTo>
                      <a:pt x="40" y="79"/>
                    </a:lnTo>
                    <a:lnTo>
                      <a:pt x="46" y="79"/>
                    </a:lnTo>
                    <a:lnTo>
                      <a:pt x="51" y="82"/>
                    </a:lnTo>
                    <a:lnTo>
                      <a:pt x="54" y="85"/>
                    </a:lnTo>
                    <a:lnTo>
                      <a:pt x="57" y="88"/>
                    </a:lnTo>
                    <a:lnTo>
                      <a:pt x="57" y="88"/>
                    </a:lnTo>
                    <a:lnTo>
                      <a:pt x="63" y="92"/>
                    </a:lnTo>
                    <a:lnTo>
                      <a:pt x="73" y="96"/>
                    </a:lnTo>
                    <a:lnTo>
                      <a:pt x="83" y="99"/>
                    </a:lnTo>
                    <a:lnTo>
                      <a:pt x="87" y="103"/>
                    </a:lnTo>
                    <a:lnTo>
                      <a:pt x="87" y="103"/>
                    </a:lnTo>
                    <a:lnTo>
                      <a:pt x="87" y="105"/>
                    </a:lnTo>
                    <a:lnTo>
                      <a:pt x="87" y="106"/>
                    </a:lnTo>
                    <a:lnTo>
                      <a:pt x="81" y="112"/>
                    </a:lnTo>
                    <a:lnTo>
                      <a:pt x="77" y="118"/>
                    </a:lnTo>
                    <a:lnTo>
                      <a:pt x="76" y="121"/>
                    </a:lnTo>
                    <a:lnTo>
                      <a:pt x="76" y="125"/>
                    </a:lnTo>
                    <a:lnTo>
                      <a:pt x="76" y="125"/>
                    </a:lnTo>
                    <a:lnTo>
                      <a:pt x="74" y="129"/>
                    </a:lnTo>
                    <a:lnTo>
                      <a:pt x="73" y="132"/>
                    </a:lnTo>
                    <a:lnTo>
                      <a:pt x="70" y="133"/>
                    </a:lnTo>
                    <a:lnTo>
                      <a:pt x="70" y="135"/>
                    </a:lnTo>
                    <a:lnTo>
                      <a:pt x="70" y="135"/>
                    </a:lnTo>
                    <a:lnTo>
                      <a:pt x="71" y="136"/>
                    </a:lnTo>
                    <a:lnTo>
                      <a:pt x="76" y="138"/>
                    </a:lnTo>
                    <a:lnTo>
                      <a:pt x="81" y="138"/>
                    </a:lnTo>
                    <a:lnTo>
                      <a:pt x="84" y="139"/>
                    </a:lnTo>
                    <a:lnTo>
                      <a:pt x="84" y="139"/>
                    </a:lnTo>
                    <a:lnTo>
                      <a:pt x="88" y="139"/>
                    </a:lnTo>
                    <a:lnTo>
                      <a:pt x="91" y="139"/>
                    </a:lnTo>
                    <a:lnTo>
                      <a:pt x="96" y="139"/>
                    </a:lnTo>
                    <a:lnTo>
                      <a:pt x="100" y="140"/>
                    </a:lnTo>
                    <a:lnTo>
                      <a:pt x="100" y="140"/>
                    </a:lnTo>
                    <a:lnTo>
                      <a:pt x="104" y="140"/>
                    </a:lnTo>
                    <a:lnTo>
                      <a:pt x="107" y="139"/>
                    </a:lnTo>
                    <a:lnTo>
                      <a:pt x="111" y="138"/>
                    </a:lnTo>
                    <a:lnTo>
                      <a:pt x="114" y="138"/>
                    </a:lnTo>
                    <a:lnTo>
                      <a:pt x="114" y="138"/>
                    </a:lnTo>
                    <a:lnTo>
                      <a:pt x="117" y="136"/>
                    </a:lnTo>
                    <a:lnTo>
                      <a:pt x="120" y="133"/>
                    </a:lnTo>
                    <a:lnTo>
                      <a:pt x="123" y="132"/>
                    </a:lnTo>
                    <a:lnTo>
                      <a:pt x="127" y="131"/>
                    </a:lnTo>
                    <a:lnTo>
                      <a:pt x="127" y="131"/>
                    </a:lnTo>
                    <a:lnTo>
                      <a:pt x="128" y="131"/>
                    </a:lnTo>
                    <a:lnTo>
                      <a:pt x="130" y="128"/>
                    </a:lnTo>
                    <a:lnTo>
                      <a:pt x="133" y="122"/>
                    </a:lnTo>
                    <a:lnTo>
                      <a:pt x="134" y="113"/>
                    </a:lnTo>
                    <a:lnTo>
                      <a:pt x="134" y="108"/>
                    </a:lnTo>
                    <a:lnTo>
                      <a:pt x="134" y="108"/>
                    </a:lnTo>
                    <a:lnTo>
                      <a:pt x="135" y="101"/>
                    </a:lnTo>
                    <a:lnTo>
                      <a:pt x="137" y="91"/>
                    </a:lnTo>
                    <a:lnTo>
                      <a:pt x="138" y="82"/>
                    </a:lnTo>
                    <a:lnTo>
                      <a:pt x="138" y="79"/>
                    </a:lnTo>
                    <a:lnTo>
                      <a:pt x="137" y="76"/>
                    </a:lnTo>
                    <a:lnTo>
                      <a:pt x="137" y="7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4" name="Ecuador">
                <a:extLst>
                  <a:ext uri="{FF2B5EF4-FFF2-40B4-BE49-F238E27FC236}">
                    <a16:creationId xmlns:a16="http://schemas.microsoft.com/office/drawing/2014/main" id="{B55CE0C5-4D1D-184D-9D23-A872DFDA913C}"/>
                  </a:ext>
                </a:extLst>
              </p:cNvPr>
              <p:cNvSpPr>
                <a:spLocks/>
              </p:cNvSpPr>
              <p:nvPr/>
            </p:nvSpPr>
            <p:spPr bwMode="auto">
              <a:xfrm>
                <a:off x="2383400" y="4275705"/>
                <a:ext cx="137620" cy="155377"/>
              </a:xfrm>
              <a:custGeom>
                <a:avLst/>
                <a:gdLst/>
                <a:ahLst/>
                <a:cxnLst>
                  <a:cxn ang="0">
                    <a:pos x="86" y="29"/>
                  </a:cxn>
                  <a:cxn ang="0">
                    <a:pos x="76" y="19"/>
                  </a:cxn>
                  <a:cxn ang="0">
                    <a:pos x="74" y="19"/>
                  </a:cxn>
                  <a:cxn ang="0">
                    <a:pos x="70" y="22"/>
                  </a:cxn>
                  <a:cxn ang="0">
                    <a:pos x="63" y="19"/>
                  </a:cxn>
                  <a:cxn ang="0">
                    <a:pos x="57" y="14"/>
                  </a:cxn>
                  <a:cxn ang="0">
                    <a:pos x="53" y="12"/>
                  </a:cxn>
                  <a:cxn ang="0">
                    <a:pos x="49" y="10"/>
                  </a:cxn>
                  <a:cxn ang="0">
                    <a:pos x="33" y="0"/>
                  </a:cxn>
                  <a:cxn ang="0">
                    <a:pos x="33" y="3"/>
                  </a:cxn>
                  <a:cxn ang="0">
                    <a:pos x="32" y="4"/>
                  </a:cxn>
                  <a:cxn ang="0">
                    <a:pos x="22" y="9"/>
                  </a:cxn>
                  <a:cxn ang="0">
                    <a:pos x="17" y="10"/>
                  </a:cxn>
                  <a:cxn ang="0">
                    <a:pos x="16" y="20"/>
                  </a:cxn>
                  <a:cxn ang="0">
                    <a:pos x="16" y="23"/>
                  </a:cxn>
                  <a:cxn ang="0">
                    <a:pos x="12" y="27"/>
                  </a:cxn>
                  <a:cxn ang="0">
                    <a:pos x="9" y="30"/>
                  </a:cxn>
                  <a:cxn ang="0">
                    <a:pos x="7" y="37"/>
                  </a:cxn>
                  <a:cxn ang="0">
                    <a:pos x="5" y="39"/>
                  </a:cxn>
                  <a:cxn ang="0">
                    <a:pos x="0" y="43"/>
                  </a:cxn>
                  <a:cxn ang="0">
                    <a:pos x="2" y="50"/>
                  </a:cxn>
                  <a:cxn ang="0">
                    <a:pos x="2" y="53"/>
                  </a:cxn>
                  <a:cxn ang="0">
                    <a:pos x="0" y="60"/>
                  </a:cxn>
                  <a:cxn ang="0">
                    <a:pos x="0" y="61"/>
                  </a:cxn>
                  <a:cxn ang="0">
                    <a:pos x="9" y="68"/>
                  </a:cxn>
                  <a:cxn ang="0">
                    <a:pos x="12" y="70"/>
                  </a:cxn>
                  <a:cxn ang="0">
                    <a:pos x="16" y="68"/>
                  </a:cxn>
                  <a:cxn ang="0">
                    <a:pos x="17" y="70"/>
                  </a:cxn>
                  <a:cxn ang="0">
                    <a:pos x="16" y="77"/>
                  </a:cxn>
                  <a:cxn ang="0">
                    <a:pos x="10" y="80"/>
                  </a:cxn>
                  <a:cxn ang="0">
                    <a:pos x="9" y="80"/>
                  </a:cxn>
                  <a:cxn ang="0">
                    <a:pos x="12" y="86"/>
                  </a:cxn>
                  <a:cxn ang="0">
                    <a:pos x="12" y="88"/>
                  </a:cxn>
                  <a:cxn ang="0">
                    <a:pos x="9" y="93"/>
                  </a:cxn>
                  <a:cxn ang="0">
                    <a:pos x="12" y="97"/>
                  </a:cxn>
                  <a:cxn ang="0">
                    <a:pos x="14" y="98"/>
                  </a:cxn>
                  <a:cxn ang="0">
                    <a:pos x="22" y="98"/>
                  </a:cxn>
                  <a:cxn ang="0">
                    <a:pos x="24" y="100"/>
                  </a:cxn>
                  <a:cxn ang="0">
                    <a:pos x="30" y="105"/>
                  </a:cxn>
                  <a:cxn ang="0">
                    <a:pos x="36" y="100"/>
                  </a:cxn>
                  <a:cxn ang="0">
                    <a:pos x="41" y="84"/>
                  </a:cxn>
                  <a:cxn ang="0">
                    <a:pos x="47" y="76"/>
                  </a:cxn>
                  <a:cxn ang="0">
                    <a:pos x="50" y="74"/>
                  </a:cxn>
                  <a:cxn ang="0">
                    <a:pos x="66" y="68"/>
                  </a:cxn>
                  <a:cxn ang="0">
                    <a:pos x="78" y="61"/>
                  </a:cxn>
                  <a:cxn ang="0">
                    <a:pos x="81" y="57"/>
                  </a:cxn>
                  <a:cxn ang="0">
                    <a:pos x="87" y="46"/>
                  </a:cxn>
                  <a:cxn ang="0">
                    <a:pos x="90" y="40"/>
                  </a:cxn>
                  <a:cxn ang="0">
                    <a:pos x="93" y="39"/>
                  </a:cxn>
                  <a:cxn ang="0">
                    <a:pos x="86" y="29"/>
                  </a:cxn>
                </a:cxnLst>
                <a:rect l="0" t="0" r="r" b="b"/>
                <a:pathLst>
                  <a:path w="93" h="105">
                    <a:moveTo>
                      <a:pt x="86" y="29"/>
                    </a:moveTo>
                    <a:lnTo>
                      <a:pt x="86" y="29"/>
                    </a:lnTo>
                    <a:lnTo>
                      <a:pt x="78" y="20"/>
                    </a:lnTo>
                    <a:lnTo>
                      <a:pt x="76" y="19"/>
                    </a:lnTo>
                    <a:lnTo>
                      <a:pt x="74" y="19"/>
                    </a:lnTo>
                    <a:lnTo>
                      <a:pt x="74" y="19"/>
                    </a:lnTo>
                    <a:lnTo>
                      <a:pt x="73" y="20"/>
                    </a:lnTo>
                    <a:lnTo>
                      <a:pt x="70" y="22"/>
                    </a:lnTo>
                    <a:lnTo>
                      <a:pt x="66" y="20"/>
                    </a:lnTo>
                    <a:lnTo>
                      <a:pt x="63" y="19"/>
                    </a:lnTo>
                    <a:lnTo>
                      <a:pt x="63" y="19"/>
                    </a:lnTo>
                    <a:lnTo>
                      <a:pt x="57" y="14"/>
                    </a:lnTo>
                    <a:lnTo>
                      <a:pt x="54" y="13"/>
                    </a:lnTo>
                    <a:lnTo>
                      <a:pt x="53" y="12"/>
                    </a:lnTo>
                    <a:lnTo>
                      <a:pt x="53" y="12"/>
                    </a:lnTo>
                    <a:lnTo>
                      <a:pt x="49" y="10"/>
                    </a:lnTo>
                    <a:lnTo>
                      <a:pt x="43" y="9"/>
                    </a:lnTo>
                    <a:lnTo>
                      <a:pt x="33" y="0"/>
                    </a:lnTo>
                    <a:lnTo>
                      <a:pt x="33" y="0"/>
                    </a:lnTo>
                    <a:lnTo>
                      <a:pt x="33" y="3"/>
                    </a:lnTo>
                    <a:lnTo>
                      <a:pt x="33" y="3"/>
                    </a:lnTo>
                    <a:lnTo>
                      <a:pt x="32" y="4"/>
                    </a:lnTo>
                    <a:lnTo>
                      <a:pt x="29" y="7"/>
                    </a:lnTo>
                    <a:lnTo>
                      <a:pt x="22" y="9"/>
                    </a:lnTo>
                    <a:lnTo>
                      <a:pt x="22" y="9"/>
                    </a:lnTo>
                    <a:lnTo>
                      <a:pt x="17" y="10"/>
                    </a:lnTo>
                    <a:lnTo>
                      <a:pt x="16" y="13"/>
                    </a:lnTo>
                    <a:lnTo>
                      <a:pt x="16" y="20"/>
                    </a:lnTo>
                    <a:lnTo>
                      <a:pt x="16" y="20"/>
                    </a:lnTo>
                    <a:lnTo>
                      <a:pt x="16" y="23"/>
                    </a:lnTo>
                    <a:lnTo>
                      <a:pt x="13" y="24"/>
                    </a:lnTo>
                    <a:lnTo>
                      <a:pt x="12" y="27"/>
                    </a:lnTo>
                    <a:lnTo>
                      <a:pt x="9" y="30"/>
                    </a:lnTo>
                    <a:lnTo>
                      <a:pt x="9" y="30"/>
                    </a:lnTo>
                    <a:lnTo>
                      <a:pt x="7" y="36"/>
                    </a:lnTo>
                    <a:lnTo>
                      <a:pt x="7" y="37"/>
                    </a:lnTo>
                    <a:lnTo>
                      <a:pt x="5" y="39"/>
                    </a:lnTo>
                    <a:lnTo>
                      <a:pt x="5" y="39"/>
                    </a:lnTo>
                    <a:lnTo>
                      <a:pt x="2" y="40"/>
                    </a:lnTo>
                    <a:lnTo>
                      <a:pt x="0" y="43"/>
                    </a:lnTo>
                    <a:lnTo>
                      <a:pt x="0" y="46"/>
                    </a:lnTo>
                    <a:lnTo>
                      <a:pt x="2" y="50"/>
                    </a:lnTo>
                    <a:lnTo>
                      <a:pt x="2" y="50"/>
                    </a:lnTo>
                    <a:lnTo>
                      <a:pt x="2" y="53"/>
                    </a:lnTo>
                    <a:lnTo>
                      <a:pt x="2" y="56"/>
                    </a:lnTo>
                    <a:lnTo>
                      <a:pt x="0" y="60"/>
                    </a:lnTo>
                    <a:lnTo>
                      <a:pt x="0" y="60"/>
                    </a:lnTo>
                    <a:lnTo>
                      <a:pt x="0" y="61"/>
                    </a:lnTo>
                    <a:lnTo>
                      <a:pt x="3" y="63"/>
                    </a:lnTo>
                    <a:lnTo>
                      <a:pt x="9" y="68"/>
                    </a:lnTo>
                    <a:lnTo>
                      <a:pt x="9" y="68"/>
                    </a:lnTo>
                    <a:lnTo>
                      <a:pt x="12" y="70"/>
                    </a:lnTo>
                    <a:lnTo>
                      <a:pt x="14" y="70"/>
                    </a:lnTo>
                    <a:lnTo>
                      <a:pt x="16" y="68"/>
                    </a:lnTo>
                    <a:lnTo>
                      <a:pt x="17" y="70"/>
                    </a:lnTo>
                    <a:lnTo>
                      <a:pt x="17" y="70"/>
                    </a:lnTo>
                    <a:lnTo>
                      <a:pt x="17" y="73"/>
                    </a:lnTo>
                    <a:lnTo>
                      <a:pt x="16" y="77"/>
                    </a:lnTo>
                    <a:lnTo>
                      <a:pt x="14" y="78"/>
                    </a:lnTo>
                    <a:lnTo>
                      <a:pt x="10" y="80"/>
                    </a:lnTo>
                    <a:lnTo>
                      <a:pt x="10" y="80"/>
                    </a:lnTo>
                    <a:lnTo>
                      <a:pt x="9" y="80"/>
                    </a:lnTo>
                    <a:lnTo>
                      <a:pt x="9" y="80"/>
                    </a:lnTo>
                    <a:lnTo>
                      <a:pt x="12" y="86"/>
                    </a:lnTo>
                    <a:lnTo>
                      <a:pt x="12" y="87"/>
                    </a:lnTo>
                    <a:lnTo>
                      <a:pt x="12" y="88"/>
                    </a:lnTo>
                    <a:lnTo>
                      <a:pt x="12" y="88"/>
                    </a:lnTo>
                    <a:lnTo>
                      <a:pt x="9" y="93"/>
                    </a:lnTo>
                    <a:lnTo>
                      <a:pt x="9" y="94"/>
                    </a:lnTo>
                    <a:lnTo>
                      <a:pt x="12" y="97"/>
                    </a:lnTo>
                    <a:lnTo>
                      <a:pt x="12" y="97"/>
                    </a:lnTo>
                    <a:lnTo>
                      <a:pt x="14" y="98"/>
                    </a:lnTo>
                    <a:lnTo>
                      <a:pt x="19" y="98"/>
                    </a:lnTo>
                    <a:lnTo>
                      <a:pt x="22" y="98"/>
                    </a:lnTo>
                    <a:lnTo>
                      <a:pt x="24" y="100"/>
                    </a:lnTo>
                    <a:lnTo>
                      <a:pt x="24" y="100"/>
                    </a:lnTo>
                    <a:lnTo>
                      <a:pt x="27" y="104"/>
                    </a:lnTo>
                    <a:lnTo>
                      <a:pt x="30" y="105"/>
                    </a:lnTo>
                    <a:lnTo>
                      <a:pt x="33" y="104"/>
                    </a:lnTo>
                    <a:lnTo>
                      <a:pt x="36" y="100"/>
                    </a:lnTo>
                    <a:lnTo>
                      <a:pt x="36" y="100"/>
                    </a:lnTo>
                    <a:lnTo>
                      <a:pt x="41" y="84"/>
                    </a:lnTo>
                    <a:lnTo>
                      <a:pt x="46" y="77"/>
                    </a:lnTo>
                    <a:lnTo>
                      <a:pt x="47" y="76"/>
                    </a:lnTo>
                    <a:lnTo>
                      <a:pt x="50" y="74"/>
                    </a:lnTo>
                    <a:lnTo>
                      <a:pt x="50" y="74"/>
                    </a:lnTo>
                    <a:lnTo>
                      <a:pt x="57" y="71"/>
                    </a:lnTo>
                    <a:lnTo>
                      <a:pt x="66" y="68"/>
                    </a:lnTo>
                    <a:lnTo>
                      <a:pt x="74" y="64"/>
                    </a:lnTo>
                    <a:lnTo>
                      <a:pt x="78" y="61"/>
                    </a:lnTo>
                    <a:lnTo>
                      <a:pt x="81" y="57"/>
                    </a:lnTo>
                    <a:lnTo>
                      <a:pt x="81" y="57"/>
                    </a:lnTo>
                    <a:lnTo>
                      <a:pt x="86" y="50"/>
                    </a:lnTo>
                    <a:lnTo>
                      <a:pt x="87" y="46"/>
                    </a:lnTo>
                    <a:lnTo>
                      <a:pt x="88" y="43"/>
                    </a:lnTo>
                    <a:lnTo>
                      <a:pt x="90" y="40"/>
                    </a:lnTo>
                    <a:lnTo>
                      <a:pt x="90" y="40"/>
                    </a:lnTo>
                    <a:lnTo>
                      <a:pt x="93" y="39"/>
                    </a:lnTo>
                    <a:lnTo>
                      <a:pt x="91" y="36"/>
                    </a:lnTo>
                    <a:lnTo>
                      <a:pt x="86" y="29"/>
                    </a:lnTo>
                    <a:lnTo>
                      <a:pt x="86" y="2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5" name="Bolivia">
                <a:extLst>
                  <a:ext uri="{FF2B5EF4-FFF2-40B4-BE49-F238E27FC236}">
                    <a16:creationId xmlns:a16="http://schemas.microsoft.com/office/drawing/2014/main" id="{192CD1EB-E06C-5A43-8270-31B0B72E9F2C}"/>
                  </a:ext>
                </a:extLst>
              </p:cNvPr>
              <p:cNvSpPr>
                <a:spLocks/>
              </p:cNvSpPr>
              <p:nvPr/>
            </p:nvSpPr>
            <p:spPr bwMode="auto">
              <a:xfrm>
                <a:off x="2655680" y="4549465"/>
                <a:ext cx="288558" cy="322593"/>
              </a:xfrm>
              <a:custGeom>
                <a:avLst/>
                <a:gdLst/>
                <a:ahLst/>
                <a:cxnLst>
                  <a:cxn ang="0">
                    <a:pos x="189" y="124"/>
                  </a:cxn>
                  <a:cxn ang="0">
                    <a:pos x="183" y="111"/>
                  </a:cxn>
                  <a:cxn ang="0">
                    <a:pos x="172" y="107"/>
                  </a:cxn>
                  <a:cxn ang="0">
                    <a:pos x="153" y="100"/>
                  </a:cxn>
                  <a:cxn ang="0">
                    <a:pos x="151" y="88"/>
                  </a:cxn>
                  <a:cxn ang="0">
                    <a:pos x="153" y="84"/>
                  </a:cxn>
                  <a:cxn ang="0">
                    <a:pos x="149" y="74"/>
                  </a:cxn>
                  <a:cxn ang="0">
                    <a:pos x="143" y="63"/>
                  </a:cxn>
                  <a:cxn ang="0">
                    <a:pos x="126" y="60"/>
                  </a:cxn>
                  <a:cxn ang="0">
                    <a:pos x="121" y="54"/>
                  </a:cxn>
                  <a:cxn ang="0">
                    <a:pos x="109" y="50"/>
                  </a:cxn>
                  <a:cxn ang="0">
                    <a:pos x="102" y="47"/>
                  </a:cxn>
                  <a:cxn ang="0">
                    <a:pos x="95" y="44"/>
                  </a:cxn>
                  <a:cxn ang="0">
                    <a:pos x="75" y="33"/>
                  </a:cxn>
                  <a:cxn ang="0">
                    <a:pos x="69" y="16"/>
                  </a:cxn>
                  <a:cxn ang="0">
                    <a:pos x="71" y="0"/>
                  </a:cxn>
                  <a:cxn ang="0">
                    <a:pos x="55" y="2"/>
                  </a:cxn>
                  <a:cxn ang="0">
                    <a:pos x="37" y="10"/>
                  </a:cxn>
                  <a:cxn ang="0">
                    <a:pos x="23" y="17"/>
                  </a:cxn>
                  <a:cxn ang="0">
                    <a:pos x="8" y="20"/>
                  </a:cxn>
                  <a:cxn ang="0">
                    <a:pos x="14" y="41"/>
                  </a:cxn>
                  <a:cxn ang="0">
                    <a:pos x="10" y="50"/>
                  </a:cxn>
                  <a:cxn ang="0">
                    <a:pos x="11" y="73"/>
                  </a:cxn>
                  <a:cxn ang="0">
                    <a:pos x="7" y="83"/>
                  </a:cxn>
                  <a:cxn ang="0">
                    <a:pos x="8" y="88"/>
                  </a:cxn>
                  <a:cxn ang="0">
                    <a:pos x="4" y="100"/>
                  </a:cxn>
                  <a:cxn ang="0">
                    <a:pos x="10" y="107"/>
                  </a:cxn>
                  <a:cxn ang="0">
                    <a:pos x="1" y="120"/>
                  </a:cxn>
                  <a:cxn ang="0">
                    <a:pos x="0" y="127"/>
                  </a:cxn>
                  <a:cxn ang="0">
                    <a:pos x="7" y="134"/>
                  </a:cxn>
                  <a:cxn ang="0">
                    <a:pos x="8" y="147"/>
                  </a:cxn>
                  <a:cxn ang="0">
                    <a:pos x="14" y="155"/>
                  </a:cxn>
                  <a:cxn ang="0">
                    <a:pos x="17" y="161"/>
                  </a:cxn>
                  <a:cxn ang="0">
                    <a:pos x="14" y="172"/>
                  </a:cxn>
                  <a:cxn ang="0">
                    <a:pos x="14" y="179"/>
                  </a:cxn>
                  <a:cxn ang="0">
                    <a:pos x="21" y="188"/>
                  </a:cxn>
                  <a:cxn ang="0">
                    <a:pos x="25" y="199"/>
                  </a:cxn>
                  <a:cxn ang="0">
                    <a:pos x="30" y="218"/>
                  </a:cxn>
                  <a:cxn ang="0">
                    <a:pos x="44" y="211"/>
                  </a:cxn>
                  <a:cxn ang="0">
                    <a:pos x="58" y="201"/>
                  </a:cxn>
                  <a:cxn ang="0">
                    <a:pos x="75" y="205"/>
                  </a:cxn>
                  <a:cxn ang="0">
                    <a:pos x="85" y="214"/>
                  </a:cxn>
                  <a:cxn ang="0">
                    <a:pos x="94" y="202"/>
                  </a:cxn>
                  <a:cxn ang="0">
                    <a:pos x="115" y="202"/>
                  </a:cxn>
                  <a:cxn ang="0">
                    <a:pos x="119" y="178"/>
                  </a:cxn>
                  <a:cxn ang="0">
                    <a:pos x="132" y="162"/>
                  </a:cxn>
                  <a:cxn ang="0">
                    <a:pos x="151" y="159"/>
                  </a:cxn>
                  <a:cxn ang="0">
                    <a:pos x="169" y="157"/>
                  </a:cxn>
                  <a:cxn ang="0">
                    <a:pos x="182" y="162"/>
                  </a:cxn>
                  <a:cxn ang="0">
                    <a:pos x="190" y="159"/>
                  </a:cxn>
                  <a:cxn ang="0">
                    <a:pos x="192" y="147"/>
                  </a:cxn>
                  <a:cxn ang="0">
                    <a:pos x="195" y="131"/>
                  </a:cxn>
                </a:cxnLst>
                <a:rect l="0" t="0" r="r" b="b"/>
                <a:pathLst>
                  <a:path w="195" h="218">
                    <a:moveTo>
                      <a:pt x="195" y="131"/>
                    </a:moveTo>
                    <a:lnTo>
                      <a:pt x="195" y="131"/>
                    </a:lnTo>
                    <a:lnTo>
                      <a:pt x="192" y="127"/>
                    </a:lnTo>
                    <a:lnTo>
                      <a:pt x="189" y="124"/>
                    </a:lnTo>
                    <a:lnTo>
                      <a:pt x="186" y="120"/>
                    </a:lnTo>
                    <a:lnTo>
                      <a:pt x="185" y="115"/>
                    </a:lnTo>
                    <a:lnTo>
                      <a:pt x="185" y="115"/>
                    </a:lnTo>
                    <a:lnTo>
                      <a:pt x="183" y="111"/>
                    </a:lnTo>
                    <a:lnTo>
                      <a:pt x="182" y="108"/>
                    </a:lnTo>
                    <a:lnTo>
                      <a:pt x="178" y="107"/>
                    </a:lnTo>
                    <a:lnTo>
                      <a:pt x="172" y="107"/>
                    </a:lnTo>
                    <a:lnTo>
                      <a:pt x="172" y="107"/>
                    </a:lnTo>
                    <a:lnTo>
                      <a:pt x="165" y="107"/>
                    </a:lnTo>
                    <a:lnTo>
                      <a:pt x="159" y="105"/>
                    </a:lnTo>
                    <a:lnTo>
                      <a:pt x="155" y="103"/>
                    </a:lnTo>
                    <a:lnTo>
                      <a:pt x="153" y="100"/>
                    </a:lnTo>
                    <a:lnTo>
                      <a:pt x="153" y="100"/>
                    </a:lnTo>
                    <a:lnTo>
                      <a:pt x="152" y="95"/>
                    </a:lnTo>
                    <a:lnTo>
                      <a:pt x="151" y="91"/>
                    </a:lnTo>
                    <a:lnTo>
                      <a:pt x="151" y="88"/>
                    </a:lnTo>
                    <a:lnTo>
                      <a:pt x="152" y="85"/>
                    </a:lnTo>
                    <a:lnTo>
                      <a:pt x="152" y="85"/>
                    </a:lnTo>
                    <a:lnTo>
                      <a:pt x="153" y="85"/>
                    </a:lnTo>
                    <a:lnTo>
                      <a:pt x="153" y="84"/>
                    </a:lnTo>
                    <a:lnTo>
                      <a:pt x="152" y="81"/>
                    </a:lnTo>
                    <a:lnTo>
                      <a:pt x="151" y="77"/>
                    </a:lnTo>
                    <a:lnTo>
                      <a:pt x="149" y="74"/>
                    </a:lnTo>
                    <a:lnTo>
                      <a:pt x="149" y="74"/>
                    </a:lnTo>
                    <a:lnTo>
                      <a:pt x="149" y="70"/>
                    </a:lnTo>
                    <a:lnTo>
                      <a:pt x="148" y="67"/>
                    </a:lnTo>
                    <a:lnTo>
                      <a:pt x="143" y="63"/>
                    </a:lnTo>
                    <a:lnTo>
                      <a:pt x="143" y="63"/>
                    </a:lnTo>
                    <a:lnTo>
                      <a:pt x="139" y="61"/>
                    </a:lnTo>
                    <a:lnTo>
                      <a:pt x="133" y="61"/>
                    </a:lnTo>
                    <a:lnTo>
                      <a:pt x="128" y="61"/>
                    </a:lnTo>
                    <a:lnTo>
                      <a:pt x="126" y="60"/>
                    </a:lnTo>
                    <a:lnTo>
                      <a:pt x="126" y="58"/>
                    </a:lnTo>
                    <a:lnTo>
                      <a:pt x="126" y="58"/>
                    </a:lnTo>
                    <a:lnTo>
                      <a:pt x="125" y="56"/>
                    </a:lnTo>
                    <a:lnTo>
                      <a:pt x="121" y="54"/>
                    </a:lnTo>
                    <a:lnTo>
                      <a:pt x="112" y="53"/>
                    </a:lnTo>
                    <a:lnTo>
                      <a:pt x="112" y="53"/>
                    </a:lnTo>
                    <a:lnTo>
                      <a:pt x="111" y="51"/>
                    </a:lnTo>
                    <a:lnTo>
                      <a:pt x="109" y="50"/>
                    </a:lnTo>
                    <a:lnTo>
                      <a:pt x="108" y="47"/>
                    </a:lnTo>
                    <a:lnTo>
                      <a:pt x="106" y="47"/>
                    </a:lnTo>
                    <a:lnTo>
                      <a:pt x="106" y="47"/>
                    </a:lnTo>
                    <a:lnTo>
                      <a:pt x="102" y="47"/>
                    </a:lnTo>
                    <a:lnTo>
                      <a:pt x="101" y="46"/>
                    </a:lnTo>
                    <a:lnTo>
                      <a:pt x="98" y="44"/>
                    </a:lnTo>
                    <a:lnTo>
                      <a:pt x="95" y="44"/>
                    </a:lnTo>
                    <a:lnTo>
                      <a:pt x="95" y="44"/>
                    </a:lnTo>
                    <a:lnTo>
                      <a:pt x="89" y="44"/>
                    </a:lnTo>
                    <a:lnTo>
                      <a:pt x="85" y="43"/>
                    </a:lnTo>
                    <a:lnTo>
                      <a:pt x="81" y="39"/>
                    </a:lnTo>
                    <a:lnTo>
                      <a:pt x="75" y="33"/>
                    </a:lnTo>
                    <a:lnTo>
                      <a:pt x="75" y="33"/>
                    </a:lnTo>
                    <a:lnTo>
                      <a:pt x="72" y="30"/>
                    </a:lnTo>
                    <a:lnTo>
                      <a:pt x="71" y="26"/>
                    </a:lnTo>
                    <a:lnTo>
                      <a:pt x="69" y="16"/>
                    </a:lnTo>
                    <a:lnTo>
                      <a:pt x="69" y="7"/>
                    </a:lnTo>
                    <a:lnTo>
                      <a:pt x="71" y="2"/>
                    </a:lnTo>
                    <a:lnTo>
                      <a:pt x="71" y="2"/>
                    </a:lnTo>
                    <a:lnTo>
                      <a:pt x="71" y="0"/>
                    </a:lnTo>
                    <a:lnTo>
                      <a:pt x="69" y="0"/>
                    </a:lnTo>
                    <a:lnTo>
                      <a:pt x="65" y="0"/>
                    </a:lnTo>
                    <a:lnTo>
                      <a:pt x="55" y="2"/>
                    </a:lnTo>
                    <a:lnTo>
                      <a:pt x="55" y="2"/>
                    </a:lnTo>
                    <a:lnTo>
                      <a:pt x="51" y="2"/>
                    </a:lnTo>
                    <a:lnTo>
                      <a:pt x="45" y="4"/>
                    </a:lnTo>
                    <a:lnTo>
                      <a:pt x="37" y="10"/>
                    </a:lnTo>
                    <a:lnTo>
                      <a:pt x="37" y="10"/>
                    </a:lnTo>
                    <a:lnTo>
                      <a:pt x="28" y="13"/>
                    </a:lnTo>
                    <a:lnTo>
                      <a:pt x="25" y="14"/>
                    </a:lnTo>
                    <a:lnTo>
                      <a:pt x="23" y="17"/>
                    </a:lnTo>
                    <a:lnTo>
                      <a:pt x="23" y="17"/>
                    </a:lnTo>
                    <a:lnTo>
                      <a:pt x="20" y="19"/>
                    </a:lnTo>
                    <a:lnTo>
                      <a:pt x="17" y="20"/>
                    </a:lnTo>
                    <a:lnTo>
                      <a:pt x="13" y="20"/>
                    </a:lnTo>
                    <a:lnTo>
                      <a:pt x="8" y="20"/>
                    </a:lnTo>
                    <a:lnTo>
                      <a:pt x="8" y="20"/>
                    </a:lnTo>
                    <a:lnTo>
                      <a:pt x="3" y="19"/>
                    </a:lnTo>
                    <a:lnTo>
                      <a:pt x="3" y="19"/>
                    </a:lnTo>
                    <a:lnTo>
                      <a:pt x="14" y="41"/>
                    </a:lnTo>
                    <a:lnTo>
                      <a:pt x="14" y="41"/>
                    </a:lnTo>
                    <a:lnTo>
                      <a:pt x="14" y="44"/>
                    </a:lnTo>
                    <a:lnTo>
                      <a:pt x="14" y="47"/>
                    </a:lnTo>
                    <a:lnTo>
                      <a:pt x="10" y="50"/>
                    </a:lnTo>
                    <a:lnTo>
                      <a:pt x="10" y="50"/>
                    </a:lnTo>
                    <a:lnTo>
                      <a:pt x="10" y="54"/>
                    </a:lnTo>
                    <a:lnTo>
                      <a:pt x="10" y="60"/>
                    </a:lnTo>
                    <a:lnTo>
                      <a:pt x="11" y="73"/>
                    </a:lnTo>
                    <a:lnTo>
                      <a:pt x="11" y="73"/>
                    </a:lnTo>
                    <a:lnTo>
                      <a:pt x="11" y="76"/>
                    </a:lnTo>
                    <a:lnTo>
                      <a:pt x="8" y="80"/>
                    </a:lnTo>
                    <a:lnTo>
                      <a:pt x="7" y="83"/>
                    </a:lnTo>
                    <a:lnTo>
                      <a:pt x="7" y="84"/>
                    </a:lnTo>
                    <a:lnTo>
                      <a:pt x="8" y="85"/>
                    </a:lnTo>
                    <a:lnTo>
                      <a:pt x="8" y="85"/>
                    </a:lnTo>
                    <a:lnTo>
                      <a:pt x="8" y="88"/>
                    </a:lnTo>
                    <a:lnTo>
                      <a:pt x="7" y="93"/>
                    </a:lnTo>
                    <a:lnTo>
                      <a:pt x="5" y="95"/>
                    </a:lnTo>
                    <a:lnTo>
                      <a:pt x="4" y="100"/>
                    </a:lnTo>
                    <a:lnTo>
                      <a:pt x="4" y="100"/>
                    </a:lnTo>
                    <a:lnTo>
                      <a:pt x="5" y="103"/>
                    </a:lnTo>
                    <a:lnTo>
                      <a:pt x="7" y="104"/>
                    </a:lnTo>
                    <a:lnTo>
                      <a:pt x="10" y="105"/>
                    </a:lnTo>
                    <a:lnTo>
                      <a:pt x="10" y="107"/>
                    </a:lnTo>
                    <a:lnTo>
                      <a:pt x="10" y="107"/>
                    </a:lnTo>
                    <a:lnTo>
                      <a:pt x="10" y="110"/>
                    </a:lnTo>
                    <a:lnTo>
                      <a:pt x="7" y="114"/>
                    </a:lnTo>
                    <a:lnTo>
                      <a:pt x="1" y="120"/>
                    </a:lnTo>
                    <a:lnTo>
                      <a:pt x="1" y="120"/>
                    </a:lnTo>
                    <a:lnTo>
                      <a:pt x="0" y="122"/>
                    </a:lnTo>
                    <a:lnTo>
                      <a:pt x="0" y="127"/>
                    </a:lnTo>
                    <a:lnTo>
                      <a:pt x="0" y="127"/>
                    </a:lnTo>
                    <a:lnTo>
                      <a:pt x="3" y="130"/>
                    </a:lnTo>
                    <a:lnTo>
                      <a:pt x="4" y="131"/>
                    </a:lnTo>
                    <a:lnTo>
                      <a:pt x="7" y="134"/>
                    </a:lnTo>
                    <a:lnTo>
                      <a:pt x="7" y="134"/>
                    </a:lnTo>
                    <a:lnTo>
                      <a:pt x="8" y="135"/>
                    </a:lnTo>
                    <a:lnTo>
                      <a:pt x="8" y="138"/>
                    </a:lnTo>
                    <a:lnTo>
                      <a:pt x="8" y="142"/>
                    </a:lnTo>
                    <a:lnTo>
                      <a:pt x="8" y="147"/>
                    </a:lnTo>
                    <a:lnTo>
                      <a:pt x="10" y="150"/>
                    </a:lnTo>
                    <a:lnTo>
                      <a:pt x="11" y="151"/>
                    </a:lnTo>
                    <a:lnTo>
                      <a:pt x="11" y="151"/>
                    </a:lnTo>
                    <a:lnTo>
                      <a:pt x="14" y="155"/>
                    </a:lnTo>
                    <a:lnTo>
                      <a:pt x="17" y="157"/>
                    </a:lnTo>
                    <a:lnTo>
                      <a:pt x="18" y="158"/>
                    </a:lnTo>
                    <a:lnTo>
                      <a:pt x="17" y="161"/>
                    </a:lnTo>
                    <a:lnTo>
                      <a:pt x="17" y="161"/>
                    </a:lnTo>
                    <a:lnTo>
                      <a:pt x="15" y="162"/>
                    </a:lnTo>
                    <a:lnTo>
                      <a:pt x="15" y="167"/>
                    </a:lnTo>
                    <a:lnTo>
                      <a:pt x="15" y="169"/>
                    </a:lnTo>
                    <a:lnTo>
                      <a:pt x="14" y="172"/>
                    </a:lnTo>
                    <a:lnTo>
                      <a:pt x="14" y="172"/>
                    </a:lnTo>
                    <a:lnTo>
                      <a:pt x="13" y="174"/>
                    </a:lnTo>
                    <a:lnTo>
                      <a:pt x="13" y="175"/>
                    </a:lnTo>
                    <a:lnTo>
                      <a:pt x="14" y="179"/>
                    </a:lnTo>
                    <a:lnTo>
                      <a:pt x="17" y="182"/>
                    </a:lnTo>
                    <a:lnTo>
                      <a:pt x="20" y="185"/>
                    </a:lnTo>
                    <a:lnTo>
                      <a:pt x="20" y="185"/>
                    </a:lnTo>
                    <a:lnTo>
                      <a:pt x="21" y="188"/>
                    </a:lnTo>
                    <a:lnTo>
                      <a:pt x="23" y="191"/>
                    </a:lnTo>
                    <a:lnTo>
                      <a:pt x="23" y="196"/>
                    </a:lnTo>
                    <a:lnTo>
                      <a:pt x="25" y="199"/>
                    </a:lnTo>
                    <a:lnTo>
                      <a:pt x="25" y="199"/>
                    </a:lnTo>
                    <a:lnTo>
                      <a:pt x="27" y="204"/>
                    </a:lnTo>
                    <a:lnTo>
                      <a:pt x="28" y="209"/>
                    </a:lnTo>
                    <a:lnTo>
                      <a:pt x="30" y="218"/>
                    </a:lnTo>
                    <a:lnTo>
                      <a:pt x="30" y="218"/>
                    </a:lnTo>
                    <a:lnTo>
                      <a:pt x="30" y="218"/>
                    </a:lnTo>
                    <a:lnTo>
                      <a:pt x="32" y="218"/>
                    </a:lnTo>
                    <a:lnTo>
                      <a:pt x="38" y="215"/>
                    </a:lnTo>
                    <a:lnTo>
                      <a:pt x="44" y="211"/>
                    </a:lnTo>
                    <a:lnTo>
                      <a:pt x="51" y="205"/>
                    </a:lnTo>
                    <a:lnTo>
                      <a:pt x="51" y="205"/>
                    </a:lnTo>
                    <a:lnTo>
                      <a:pt x="55" y="201"/>
                    </a:lnTo>
                    <a:lnTo>
                      <a:pt x="58" y="201"/>
                    </a:lnTo>
                    <a:lnTo>
                      <a:pt x="61" y="202"/>
                    </a:lnTo>
                    <a:lnTo>
                      <a:pt x="65" y="204"/>
                    </a:lnTo>
                    <a:lnTo>
                      <a:pt x="65" y="204"/>
                    </a:lnTo>
                    <a:lnTo>
                      <a:pt x="75" y="205"/>
                    </a:lnTo>
                    <a:lnTo>
                      <a:pt x="81" y="208"/>
                    </a:lnTo>
                    <a:lnTo>
                      <a:pt x="84" y="212"/>
                    </a:lnTo>
                    <a:lnTo>
                      <a:pt x="84" y="212"/>
                    </a:lnTo>
                    <a:lnTo>
                      <a:pt x="85" y="214"/>
                    </a:lnTo>
                    <a:lnTo>
                      <a:pt x="87" y="214"/>
                    </a:lnTo>
                    <a:lnTo>
                      <a:pt x="88" y="211"/>
                    </a:lnTo>
                    <a:lnTo>
                      <a:pt x="94" y="202"/>
                    </a:lnTo>
                    <a:lnTo>
                      <a:pt x="94" y="202"/>
                    </a:lnTo>
                    <a:lnTo>
                      <a:pt x="96" y="201"/>
                    </a:lnTo>
                    <a:lnTo>
                      <a:pt x="104" y="201"/>
                    </a:lnTo>
                    <a:lnTo>
                      <a:pt x="115" y="202"/>
                    </a:lnTo>
                    <a:lnTo>
                      <a:pt x="115" y="202"/>
                    </a:lnTo>
                    <a:lnTo>
                      <a:pt x="116" y="198"/>
                    </a:lnTo>
                    <a:lnTo>
                      <a:pt x="118" y="191"/>
                    </a:lnTo>
                    <a:lnTo>
                      <a:pt x="119" y="178"/>
                    </a:lnTo>
                    <a:lnTo>
                      <a:pt x="119" y="178"/>
                    </a:lnTo>
                    <a:lnTo>
                      <a:pt x="119" y="174"/>
                    </a:lnTo>
                    <a:lnTo>
                      <a:pt x="124" y="169"/>
                    </a:lnTo>
                    <a:lnTo>
                      <a:pt x="132" y="162"/>
                    </a:lnTo>
                    <a:lnTo>
                      <a:pt x="132" y="162"/>
                    </a:lnTo>
                    <a:lnTo>
                      <a:pt x="136" y="161"/>
                    </a:lnTo>
                    <a:lnTo>
                      <a:pt x="142" y="159"/>
                    </a:lnTo>
                    <a:lnTo>
                      <a:pt x="146" y="159"/>
                    </a:lnTo>
                    <a:lnTo>
                      <a:pt x="151" y="159"/>
                    </a:lnTo>
                    <a:lnTo>
                      <a:pt x="151" y="159"/>
                    </a:lnTo>
                    <a:lnTo>
                      <a:pt x="155" y="158"/>
                    </a:lnTo>
                    <a:lnTo>
                      <a:pt x="159" y="157"/>
                    </a:lnTo>
                    <a:lnTo>
                      <a:pt x="169" y="157"/>
                    </a:lnTo>
                    <a:lnTo>
                      <a:pt x="169" y="157"/>
                    </a:lnTo>
                    <a:lnTo>
                      <a:pt x="173" y="158"/>
                    </a:lnTo>
                    <a:lnTo>
                      <a:pt x="178" y="161"/>
                    </a:lnTo>
                    <a:lnTo>
                      <a:pt x="182" y="162"/>
                    </a:lnTo>
                    <a:lnTo>
                      <a:pt x="185" y="164"/>
                    </a:lnTo>
                    <a:lnTo>
                      <a:pt x="185" y="164"/>
                    </a:lnTo>
                    <a:lnTo>
                      <a:pt x="188" y="162"/>
                    </a:lnTo>
                    <a:lnTo>
                      <a:pt x="190" y="159"/>
                    </a:lnTo>
                    <a:lnTo>
                      <a:pt x="192" y="157"/>
                    </a:lnTo>
                    <a:lnTo>
                      <a:pt x="192" y="152"/>
                    </a:lnTo>
                    <a:lnTo>
                      <a:pt x="192" y="152"/>
                    </a:lnTo>
                    <a:lnTo>
                      <a:pt x="192" y="147"/>
                    </a:lnTo>
                    <a:lnTo>
                      <a:pt x="193" y="142"/>
                    </a:lnTo>
                    <a:lnTo>
                      <a:pt x="195" y="137"/>
                    </a:lnTo>
                    <a:lnTo>
                      <a:pt x="195" y="131"/>
                    </a:lnTo>
                    <a:lnTo>
                      <a:pt x="195" y="13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6" name="Peru">
                <a:extLst>
                  <a:ext uri="{FF2B5EF4-FFF2-40B4-BE49-F238E27FC236}">
                    <a16:creationId xmlns:a16="http://schemas.microsoft.com/office/drawing/2014/main" id="{66DFF972-B531-8241-B427-BE31AE282426}"/>
                  </a:ext>
                </a:extLst>
              </p:cNvPr>
              <p:cNvSpPr>
                <a:spLocks/>
              </p:cNvSpPr>
              <p:nvPr/>
            </p:nvSpPr>
            <p:spPr bwMode="auto">
              <a:xfrm>
                <a:off x="2376001" y="4315658"/>
                <a:ext cx="300396" cy="443935"/>
              </a:xfrm>
              <a:custGeom>
                <a:avLst/>
                <a:gdLst/>
                <a:ahLst/>
                <a:cxnLst>
                  <a:cxn ang="0">
                    <a:pos x="189" y="285"/>
                  </a:cxn>
                  <a:cxn ang="0">
                    <a:pos x="196" y="272"/>
                  </a:cxn>
                  <a:cxn ang="0">
                    <a:pos x="199" y="263"/>
                  </a:cxn>
                  <a:cxn ang="0">
                    <a:pos x="193" y="258"/>
                  </a:cxn>
                  <a:cxn ang="0">
                    <a:pos x="197" y="243"/>
                  </a:cxn>
                  <a:cxn ang="0">
                    <a:pos x="197" y="238"/>
                  </a:cxn>
                  <a:cxn ang="0">
                    <a:pos x="199" y="218"/>
                  </a:cxn>
                  <a:cxn ang="0">
                    <a:pos x="203" y="205"/>
                  </a:cxn>
                  <a:cxn ang="0">
                    <a:pos x="192" y="177"/>
                  </a:cxn>
                  <a:cxn ang="0">
                    <a:pos x="177" y="178"/>
                  </a:cxn>
                  <a:cxn ang="0">
                    <a:pos x="173" y="157"/>
                  </a:cxn>
                  <a:cxn ang="0">
                    <a:pos x="167" y="155"/>
                  </a:cxn>
                  <a:cxn ang="0">
                    <a:pos x="159" y="161"/>
                  </a:cxn>
                  <a:cxn ang="0">
                    <a:pos x="145" y="160"/>
                  </a:cxn>
                  <a:cxn ang="0">
                    <a:pos x="140" y="151"/>
                  </a:cxn>
                  <a:cxn ang="0">
                    <a:pos x="132" y="148"/>
                  </a:cxn>
                  <a:cxn ang="0">
                    <a:pos x="130" y="138"/>
                  </a:cxn>
                  <a:cxn ang="0">
                    <a:pos x="120" y="121"/>
                  </a:cxn>
                  <a:cxn ang="0">
                    <a:pos x="122" y="113"/>
                  </a:cxn>
                  <a:cxn ang="0">
                    <a:pos x="126" y="106"/>
                  </a:cxn>
                  <a:cxn ang="0">
                    <a:pos x="130" y="98"/>
                  </a:cxn>
                  <a:cxn ang="0">
                    <a:pos x="136" y="84"/>
                  </a:cxn>
                  <a:cxn ang="0">
                    <a:pos x="145" y="77"/>
                  </a:cxn>
                  <a:cxn ang="0">
                    <a:pos x="160" y="70"/>
                  </a:cxn>
                  <a:cxn ang="0">
                    <a:pos x="173" y="66"/>
                  </a:cxn>
                  <a:cxn ang="0">
                    <a:pos x="180" y="64"/>
                  </a:cxn>
                  <a:cxn ang="0">
                    <a:pos x="173" y="59"/>
                  </a:cxn>
                  <a:cxn ang="0">
                    <a:pos x="182" y="46"/>
                  </a:cxn>
                  <a:cxn ang="0">
                    <a:pos x="170" y="36"/>
                  </a:cxn>
                  <a:cxn ang="0">
                    <a:pos x="162" y="37"/>
                  </a:cxn>
                  <a:cxn ang="0">
                    <a:pos x="155" y="36"/>
                  </a:cxn>
                  <a:cxn ang="0">
                    <a:pos x="139" y="39"/>
                  </a:cxn>
                  <a:cxn ang="0">
                    <a:pos x="130" y="34"/>
                  </a:cxn>
                  <a:cxn ang="0">
                    <a:pos x="125" y="24"/>
                  </a:cxn>
                  <a:cxn ang="0">
                    <a:pos x="119" y="16"/>
                  </a:cxn>
                  <a:cxn ang="0">
                    <a:pos x="112" y="13"/>
                  </a:cxn>
                  <a:cxn ang="0">
                    <a:pos x="105" y="2"/>
                  </a:cxn>
                  <a:cxn ang="0">
                    <a:pos x="92" y="2"/>
                  </a:cxn>
                  <a:cxn ang="0">
                    <a:pos x="95" y="13"/>
                  </a:cxn>
                  <a:cxn ang="0">
                    <a:pos x="86" y="30"/>
                  </a:cxn>
                  <a:cxn ang="0">
                    <a:pos x="71" y="41"/>
                  </a:cxn>
                  <a:cxn ang="0">
                    <a:pos x="52" y="49"/>
                  </a:cxn>
                  <a:cxn ang="0">
                    <a:pos x="41" y="73"/>
                  </a:cxn>
                  <a:cxn ang="0">
                    <a:pos x="29" y="73"/>
                  </a:cxn>
                  <a:cxn ang="0">
                    <a:pos x="19" y="71"/>
                  </a:cxn>
                  <a:cxn ang="0">
                    <a:pos x="14" y="66"/>
                  </a:cxn>
                  <a:cxn ang="0">
                    <a:pos x="17" y="59"/>
                  </a:cxn>
                  <a:cxn ang="0">
                    <a:pos x="7" y="59"/>
                  </a:cxn>
                  <a:cxn ang="0">
                    <a:pos x="0" y="73"/>
                  </a:cxn>
                  <a:cxn ang="0">
                    <a:pos x="7" y="91"/>
                  </a:cxn>
                  <a:cxn ang="0">
                    <a:pos x="1" y="94"/>
                  </a:cxn>
                  <a:cxn ang="0">
                    <a:pos x="19" y="107"/>
                  </a:cxn>
                  <a:cxn ang="0">
                    <a:pos x="31" y="124"/>
                  </a:cxn>
                  <a:cxn ang="0">
                    <a:pos x="41" y="138"/>
                  </a:cxn>
                  <a:cxn ang="0">
                    <a:pos x="65" y="192"/>
                  </a:cxn>
                  <a:cxn ang="0">
                    <a:pos x="79" y="215"/>
                  </a:cxn>
                  <a:cxn ang="0">
                    <a:pos x="81" y="225"/>
                  </a:cxn>
                  <a:cxn ang="0">
                    <a:pos x="86" y="236"/>
                  </a:cxn>
                  <a:cxn ang="0">
                    <a:pos x="112" y="255"/>
                  </a:cxn>
                  <a:cxn ang="0">
                    <a:pos x="159" y="283"/>
                  </a:cxn>
                  <a:cxn ang="0">
                    <a:pos x="177" y="298"/>
                  </a:cxn>
                  <a:cxn ang="0">
                    <a:pos x="182" y="298"/>
                  </a:cxn>
                  <a:cxn ang="0">
                    <a:pos x="189" y="285"/>
                  </a:cxn>
                </a:cxnLst>
                <a:rect l="0" t="0" r="r" b="b"/>
                <a:pathLst>
                  <a:path w="203" h="300">
                    <a:moveTo>
                      <a:pt x="189" y="285"/>
                    </a:moveTo>
                    <a:lnTo>
                      <a:pt x="189" y="285"/>
                    </a:lnTo>
                    <a:lnTo>
                      <a:pt x="189" y="285"/>
                    </a:lnTo>
                    <a:lnTo>
                      <a:pt x="189" y="285"/>
                    </a:lnTo>
                    <a:lnTo>
                      <a:pt x="189" y="280"/>
                    </a:lnTo>
                    <a:lnTo>
                      <a:pt x="190" y="278"/>
                    </a:lnTo>
                    <a:lnTo>
                      <a:pt x="190" y="278"/>
                    </a:lnTo>
                    <a:lnTo>
                      <a:pt x="196" y="272"/>
                    </a:lnTo>
                    <a:lnTo>
                      <a:pt x="199" y="268"/>
                    </a:lnTo>
                    <a:lnTo>
                      <a:pt x="199" y="265"/>
                    </a:lnTo>
                    <a:lnTo>
                      <a:pt x="199" y="265"/>
                    </a:lnTo>
                    <a:lnTo>
                      <a:pt x="199" y="263"/>
                    </a:lnTo>
                    <a:lnTo>
                      <a:pt x="196" y="262"/>
                    </a:lnTo>
                    <a:lnTo>
                      <a:pt x="194" y="261"/>
                    </a:lnTo>
                    <a:lnTo>
                      <a:pt x="193" y="258"/>
                    </a:lnTo>
                    <a:lnTo>
                      <a:pt x="193" y="258"/>
                    </a:lnTo>
                    <a:lnTo>
                      <a:pt x="194" y="253"/>
                    </a:lnTo>
                    <a:lnTo>
                      <a:pt x="196" y="251"/>
                    </a:lnTo>
                    <a:lnTo>
                      <a:pt x="197" y="246"/>
                    </a:lnTo>
                    <a:lnTo>
                      <a:pt x="197" y="243"/>
                    </a:lnTo>
                    <a:lnTo>
                      <a:pt x="197" y="243"/>
                    </a:lnTo>
                    <a:lnTo>
                      <a:pt x="196" y="242"/>
                    </a:lnTo>
                    <a:lnTo>
                      <a:pt x="196" y="241"/>
                    </a:lnTo>
                    <a:lnTo>
                      <a:pt x="197" y="238"/>
                    </a:lnTo>
                    <a:lnTo>
                      <a:pt x="200" y="234"/>
                    </a:lnTo>
                    <a:lnTo>
                      <a:pt x="200" y="231"/>
                    </a:lnTo>
                    <a:lnTo>
                      <a:pt x="200" y="231"/>
                    </a:lnTo>
                    <a:lnTo>
                      <a:pt x="199" y="218"/>
                    </a:lnTo>
                    <a:lnTo>
                      <a:pt x="199" y="212"/>
                    </a:lnTo>
                    <a:lnTo>
                      <a:pt x="199" y="208"/>
                    </a:lnTo>
                    <a:lnTo>
                      <a:pt x="199" y="208"/>
                    </a:lnTo>
                    <a:lnTo>
                      <a:pt x="203" y="205"/>
                    </a:lnTo>
                    <a:lnTo>
                      <a:pt x="203" y="202"/>
                    </a:lnTo>
                    <a:lnTo>
                      <a:pt x="203" y="199"/>
                    </a:lnTo>
                    <a:lnTo>
                      <a:pt x="203" y="199"/>
                    </a:lnTo>
                    <a:lnTo>
                      <a:pt x="192" y="177"/>
                    </a:lnTo>
                    <a:lnTo>
                      <a:pt x="192" y="177"/>
                    </a:lnTo>
                    <a:lnTo>
                      <a:pt x="184" y="177"/>
                    </a:lnTo>
                    <a:lnTo>
                      <a:pt x="177" y="178"/>
                    </a:lnTo>
                    <a:lnTo>
                      <a:pt x="177" y="178"/>
                    </a:lnTo>
                    <a:lnTo>
                      <a:pt x="175" y="178"/>
                    </a:lnTo>
                    <a:lnTo>
                      <a:pt x="175" y="175"/>
                    </a:lnTo>
                    <a:lnTo>
                      <a:pt x="173" y="170"/>
                    </a:lnTo>
                    <a:lnTo>
                      <a:pt x="173" y="157"/>
                    </a:lnTo>
                    <a:lnTo>
                      <a:pt x="173" y="157"/>
                    </a:lnTo>
                    <a:lnTo>
                      <a:pt x="172" y="154"/>
                    </a:lnTo>
                    <a:lnTo>
                      <a:pt x="170" y="154"/>
                    </a:lnTo>
                    <a:lnTo>
                      <a:pt x="167" y="155"/>
                    </a:lnTo>
                    <a:lnTo>
                      <a:pt x="166" y="158"/>
                    </a:lnTo>
                    <a:lnTo>
                      <a:pt x="166" y="158"/>
                    </a:lnTo>
                    <a:lnTo>
                      <a:pt x="163" y="160"/>
                    </a:lnTo>
                    <a:lnTo>
                      <a:pt x="159" y="161"/>
                    </a:lnTo>
                    <a:lnTo>
                      <a:pt x="149" y="161"/>
                    </a:lnTo>
                    <a:lnTo>
                      <a:pt x="149" y="161"/>
                    </a:lnTo>
                    <a:lnTo>
                      <a:pt x="146" y="160"/>
                    </a:lnTo>
                    <a:lnTo>
                      <a:pt x="145" y="160"/>
                    </a:lnTo>
                    <a:lnTo>
                      <a:pt x="143" y="155"/>
                    </a:lnTo>
                    <a:lnTo>
                      <a:pt x="142" y="152"/>
                    </a:lnTo>
                    <a:lnTo>
                      <a:pt x="142" y="151"/>
                    </a:lnTo>
                    <a:lnTo>
                      <a:pt x="140" y="151"/>
                    </a:lnTo>
                    <a:lnTo>
                      <a:pt x="140" y="151"/>
                    </a:lnTo>
                    <a:lnTo>
                      <a:pt x="138" y="151"/>
                    </a:lnTo>
                    <a:lnTo>
                      <a:pt x="135" y="150"/>
                    </a:lnTo>
                    <a:lnTo>
                      <a:pt x="132" y="148"/>
                    </a:lnTo>
                    <a:lnTo>
                      <a:pt x="132" y="145"/>
                    </a:lnTo>
                    <a:lnTo>
                      <a:pt x="132" y="145"/>
                    </a:lnTo>
                    <a:lnTo>
                      <a:pt x="132" y="142"/>
                    </a:lnTo>
                    <a:lnTo>
                      <a:pt x="130" y="138"/>
                    </a:lnTo>
                    <a:lnTo>
                      <a:pt x="126" y="131"/>
                    </a:lnTo>
                    <a:lnTo>
                      <a:pt x="126" y="131"/>
                    </a:lnTo>
                    <a:lnTo>
                      <a:pt x="120" y="124"/>
                    </a:lnTo>
                    <a:lnTo>
                      <a:pt x="120" y="121"/>
                    </a:lnTo>
                    <a:lnTo>
                      <a:pt x="122" y="118"/>
                    </a:lnTo>
                    <a:lnTo>
                      <a:pt x="122" y="118"/>
                    </a:lnTo>
                    <a:lnTo>
                      <a:pt x="122" y="115"/>
                    </a:lnTo>
                    <a:lnTo>
                      <a:pt x="122" y="113"/>
                    </a:lnTo>
                    <a:lnTo>
                      <a:pt x="122" y="110"/>
                    </a:lnTo>
                    <a:lnTo>
                      <a:pt x="123" y="107"/>
                    </a:lnTo>
                    <a:lnTo>
                      <a:pt x="123" y="107"/>
                    </a:lnTo>
                    <a:lnTo>
                      <a:pt x="126" y="106"/>
                    </a:lnTo>
                    <a:lnTo>
                      <a:pt x="129" y="104"/>
                    </a:lnTo>
                    <a:lnTo>
                      <a:pt x="130" y="101"/>
                    </a:lnTo>
                    <a:lnTo>
                      <a:pt x="130" y="98"/>
                    </a:lnTo>
                    <a:lnTo>
                      <a:pt x="130" y="98"/>
                    </a:lnTo>
                    <a:lnTo>
                      <a:pt x="130" y="96"/>
                    </a:lnTo>
                    <a:lnTo>
                      <a:pt x="133" y="91"/>
                    </a:lnTo>
                    <a:lnTo>
                      <a:pt x="135" y="88"/>
                    </a:lnTo>
                    <a:lnTo>
                      <a:pt x="136" y="84"/>
                    </a:lnTo>
                    <a:lnTo>
                      <a:pt x="136" y="84"/>
                    </a:lnTo>
                    <a:lnTo>
                      <a:pt x="138" y="80"/>
                    </a:lnTo>
                    <a:lnTo>
                      <a:pt x="140" y="78"/>
                    </a:lnTo>
                    <a:lnTo>
                      <a:pt x="145" y="77"/>
                    </a:lnTo>
                    <a:lnTo>
                      <a:pt x="150" y="74"/>
                    </a:lnTo>
                    <a:lnTo>
                      <a:pt x="150" y="74"/>
                    </a:lnTo>
                    <a:lnTo>
                      <a:pt x="155" y="71"/>
                    </a:lnTo>
                    <a:lnTo>
                      <a:pt x="160" y="70"/>
                    </a:lnTo>
                    <a:lnTo>
                      <a:pt x="165" y="70"/>
                    </a:lnTo>
                    <a:lnTo>
                      <a:pt x="170" y="67"/>
                    </a:lnTo>
                    <a:lnTo>
                      <a:pt x="170" y="67"/>
                    </a:lnTo>
                    <a:lnTo>
                      <a:pt x="173" y="66"/>
                    </a:lnTo>
                    <a:lnTo>
                      <a:pt x="176" y="66"/>
                    </a:lnTo>
                    <a:lnTo>
                      <a:pt x="183" y="66"/>
                    </a:lnTo>
                    <a:lnTo>
                      <a:pt x="183" y="66"/>
                    </a:lnTo>
                    <a:lnTo>
                      <a:pt x="180" y="64"/>
                    </a:lnTo>
                    <a:lnTo>
                      <a:pt x="177" y="61"/>
                    </a:lnTo>
                    <a:lnTo>
                      <a:pt x="175" y="60"/>
                    </a:lnTo>
                    <a:lnTo>
                      <a:pt x="173" y="59"/>
                    </a:lnTo>
                    <a:lnTo>
                      <a:pt x="173" y="59"/>
                    </a:lnTo>
                    <a:lnTo>
                      <a:pt x="173" y="56"/>
                    </a:lnTo>
                    <a:lnTo>
                      <a:pt x="176" y="51"/>
                    </a:lnTo>
                    <a:lnTo>
                      <a:pt x="182" y="46"/>
                    </a:lnTo>
                    <a:lnTo>
                      <a:pt x="182" y="46"/>
                    </a:lnTo>
                    <a:lnTo>
                      <a:pt x="182" y="43"/>
                    </a:lnTo>
                    <a:lnTo>
                      <a:pt x="180" y="41"/>
                    </a:lnTo>
                    <a:lnTo>
                      <a:pt x="177" y="39"/>
                    </a:lnTo>
                    <a:lnTo>
                      <a:pt x="170" y="36"/>
                    </a:lnTo>
                    <a:lnTo>
                      <a:pt x="170" y="36"/>
                    </a:lnTo>
                    <a:lnTo>
                      <a:pt x="167" y="36"/>
                    </a:lnTo>
                    <a:lnTo>
                      <a:pt x="165" y="36"/>
                    </a:lnTo>
                    <a:lnTo>
                      <a:pt x="162" y="37"/>
                    </a:lnTo>
                    <a:lnTo>
                      <a:pt x="159" y="36"/>
                    </a:lnTo>
                    <a:lnTo>
                      <a:pt x="159" y="36"/>
                    </a:lnTo>
                    <a:lnTo>
                      <a:pt x="156" y="36"/>
                    </a:lnTo>
                    <a:lnTo>
                      <a:pt x="155" y="36"/>
                    </a:lnTo>
                    <a:lnTo>
                      <a:pt x="149" y="37"/>
                    </a:lnTo>
                    <a:lnTo>
                      <a:pt x="149" y="37"/>
                    </a:lnTo>
                    <a:lnTo>
                      <a:pt x="146" y="39"/>
                    </a:lnTo>
                    <a:lnTo>
                      <a:pt x="139" y="39"/>
                    </a:lnTo>
                    <a:lnTo>
                      <a:pt x="133" y="37"/>
                    </a:lnTo>
                    <a:lnTo>
                      <a:pt x="132" y="37"/>
                    </a:lnTo>
                    <a:lnTo>
                      <a:pt x="130" y="34"/>
                    </a:lnTo>
                    <a:lnTo>
                      <a:pt x="130" y="34"/>
                    </a:lnTo>
                    <a:lnTo>
                      <a:pt x="130" y="32"/>
                    </a:lnTo>
                    <a:lnTo>
                      <a:pt x="128" y="29"/>
                    </a:lnTo>
                    <a:lnTo>
                      <a:pt x="126" y="27"/>
                    </a:lnTo>
                    <a:lnTo>
                      <a:pt x="125" y="24"/>
                    </a:lnTo>
                    <a:lnTo>
                      <a:pt x="125" y="24"/>
                    </a:lnTo>
                    <a:lnTo>
                      <a:pt x="125" y="22"/>
                    </a:lnTo>
                    <a:lnTo>
                      <a:pt x="122" y="19"/>
                    </a:lnTo>
                    <a:lnTo>
                      <a:pt x="119" y="16"/>
                    </a:lnTo>
                    <a:lnTo>
                      <a:pt x="115" y="14"/>
                    </a:lnTo>
                    <a:lnTo>
                      <a:pt x="115" y="14"/>
                    </a:lnTo>
                    <a:lnTo>
                      <a:pt x="113" y="14"/>
                    </a:lnTo>
                    <a:lnTo>
                      <a:pt x="112" y="13"/>
                    </a:lnTo>
                    <a:lnTo>
                      <a:pt x="109" y="9"/>
                    </a:lnTo>
                    <a:lnTo>
                      <a:pt x="108" y="5"/>
                    </a:lnTo>
                    <a:lnTo>
                      <a:pt x="105" y="2"/>
                    </a:lnTo>
                    <a:lnTo>
                      <a:pt x="105" y="2"/>
                    </a:lnTo>
                    <a:lnTo>
                      <a:pt x="103" y="0"/>
                    </a:lnTo>
                    <a:lnTo>
                      <a:pt x="99" y="0"/>
                    </a:lnTo>
                    <a:lnTo>
                      <a:pt x="92" y="2"/>
                    </a:lnTo>
                    <a:lnTo>
                      <a:pt x="92" y="2"/>
                    </a:lnTo>
                    <a:lnTo>
                      <a:pt x="96" y="9"/>
                    </a:lnTo>
                    <a:lnTo>
                      <a:pt x="98" y="12"/>
                    </a:lnTo>
                    <a:lnTo>
                      <a:pt x="95" y="13"/>
                    </a:lnTo>
                    <a:lnTo>
                      <a:pt x="95" y="13"/>
                    </a:lnTo>
                    <a:lnTo>
                      <a:pt x="93" y="16"/>
                    </a:lnTo>
                    <a:lnTo>
                      <a:pt x="92" y="19"/>
                    </a:lnTo>
                    <a:lnTo>
                      <a:pt x="91" y="23"/>
                    </a:lnTo>
                    <a:lnTo>
                      <a:pt x="86" y="30"/>
                    </a:lnTo>
                    <a:lnTo>
                      <a:pt x="86" y="30"/>
                    </a:lnTo>
                    <a:lnTo>
                      <a:pt x="83" y="34"/>
                    </a:lnTo>
                    <a:lnTo>
                      <a:pt x="79" y="37"/>
                    </a:lnTo>
                    <a:lnTo>
                      <a:pt x="71" y="41"/>
                    </a:lnTo>
                    <a:lnTo>
                      <a:pt x="62" y="44"/>
                    </a:lnTo>
                    <a:lnTo>
                      <a:pt x="55" y="47"/>
                    </a:lnTo>
                    <a:lnTo>
                      <a:pt x="55" y="47"/>
                    </a:lnTo>
                    <a:lnTo>
                      <a:pt x="52" y="49"/>
                    </a:lnTo>
                    <a:lnTo>
                      <a:pt x="51" y="50"/>
                    </a:lnTo>
                    <a:lnTo>
                      <a:pt x="46" y="57"/>
                    </a:lnTo>
                    <a:lnTo>
                      <a:pt x="41" y="73"/>
                    </a:lnTo>
                    <a:lnTo>
                      <a:pt x="41" y="73"/>
                    </a:lnTo>
                    <a:lnTo>
                      <a:pt x="38" y="77"/>
                    </a:lnTo>
                    <a:lnTo>
                      <a:pt x="35" y="78"/>
                    </a:lnTo>
                    <a:lnTo>
                      <a:pt x="32" y="77"/>
                    </a:lnTo>
                    <a:lnTo>
                      <a:pt x="29" y="73"/>
                    </a:lnTo>
                    <a:lnTo>
                      <a:pt x="29" y="73"/>
                    </a:lnTo>
                    <a:lnTo>
                      <a:pt x="27" y="71"/>
                    </a:lnTo>
                    <a:lnTo>
                      <a:pt x="24" y="71"/>
                    </a:lnTo>
                    <a:lnTo>
                      <a:pt x="19" y="71"/>
                    </a:lnTo>
                    <a:lnTo>
                      <a:pt x="17" y="70"/>
                    </a:lnTo>
                    <a:lnTo>
                      <a:pt x="17" y="70"/>
                    </a:lnTo>
                    <a:lnTo>
                      <a:pt x="14" y="67"/>
                    </a:lnTo>
                    <a:lnTo>
                      <a:pt x="14" y="66"/>
                    </a:lnTo>
                    <a:lnTo>
                      <a:pt x="17" y="61"/>
                    </a:lnTo>
                    <a:lnTo>
                      <a:pt x="17" y="61"/>
                    </a:lnTo>
                    <a:lnTo>
                      <a:pt x="17" y="60"/>
                    </a:lnTo>
                    <a:lnTo>
                      <a:pt x="17" y="59"/>
                    </a:lnTo>
                    <a:lnTo>
                      <a:pt x="14" y="53"/>
                    </a:lnTo>
                    <a:lnTo>
                      <a:pt x="14" y="53"/>
                    </a:lnTo>
                    <a:lnTo>
                      <a:pt x="10" y="56"/>
                    </a:lnTo>
                    <a:lnTo>
                      <a:pt x="7" y="59"/>
                    </a:lnTo>
                    <a:lnTo>
                      <a:pt x="1" y="67"/>
                    </a:lnTo>
                    <a:lnTo>
                      <a:pt x="1" y="67"/>
                    </a:lnTo>
                    <a:lnTo>
                      <a:pt x="0" y="70"/>
                    </a:lnTo>
                    <a:lnTo>
                      <a:pt x="0" y="73"/>
                    </a:lnTo>
                    <a:lnTo>
                      <a:pt x="2" y="78"/>
                    </a:lnTo>
                    <a:lnTo>
                      <a:pt x="7" y="90"/>
                    </a:lnTo>
                    <a:lnTo>
                      <a:pt x="7" y="90"/>
                    </a:lnTo>
                    <a:lnTo>
                      <a:pt x="7" y="91"/>
                    </a:lnTo>
                    <a:lnTo>
                      <a:pt x="5" y="91"/>
                    </a:lnTo>
                    <a:lnTo>
                      <a:pt x="2" y="91"/>
                    </a:lnTo>
                    <a:lnTo>
                      <a:pt x="1" y="94"/>
                    </a:lnTo>
                    <a:lnTo>
                      <a:pt x="1" y="94"/>
                    </a:lnTo>
                    <a:lnTo>
                      <a:pt x="2" y="96"/>
                    </a:lnTo>
                    <a:lnTo>
                      <a:pt x="2" y="97"/>
                    </a:lnTo>
                    <a:lnTo>
                      <a:pt x="8" y="100"/>
                    </a:lnTo>
                    <a:lnTo>
                      <a:pt x="19" y="107"/>
                    </a:lnTo>
                    <a:lnTo>
                      <a:pt x="19" y="107"/>
                    </a:lnTo>
                    <a:lnTo>
                      <a:pt x="24" y="113"/>
                    </a:lnTo>
                    <a:lnTo>
                      <a:pt x="27" y="118"/>
                    </a:lnTo>
                    <a:lnTo>
                      <a:pt x="31" y="124"/>
                    </a:lnTo>
                    <a:lnTo>
                      <a:pt x="35" y="130"/>
                    </a:lnTo>
                    <a:lnTo>
                      <a:pt x="35" y="130"/>
                    </a:lnTo>
                    <a:lnTo>
                      <a:pt x="38" y="134"/>
                    </a:lnTo>
                    <a:lnTo>
                      <a:pt x="41" y="138"/>
                    </a:lnTo>
                    <a:lnTo>
                      <a:pt x="46" y="154"/>
                    </a:lnTo>
                    <a:lnTo>
                      <a:pt x="46" y="154"/>
                    </a:lnTo>
                    <a:lnTo>
                      <a:pt x="58" y="179"/>
                    </a:lnTo>
                    <a:lnTo>
                      <a:pt x="65" y="192"/>
                    </a:lnTo>
                    <a:lnTo>
                      <a:pt x="71" y="201"/>
                    </a:lnTo>
                    <a:lnTo>
                      <a:pt x="71" y="201"/>
                    </a:lnTo>
                    <a:lnTo>
                      <a:pt x="76" y="208"/>
                    </a:lnTo>
                    <a:lnTo>
                      <a:pt x="79" y="215"/>
                    </a:lnTo>
                    <a:lnTo>
                      <a:pt x="81" y="219"/>
                    </a:lnTo>
                    <a:lnTo>
                      <a:pt x="81" y="222"/>
                    </a:lnTo>
                    <a:lnTo>
                      <a:pt x="81" y="222"/>
                    </a:lnTo>
                    <a:lnTo>
                      <a:pt x="81" y="225"/>
                    </a:lnTo>
                    <a:lnTo>
                      <a:pt x="81" y="229"/>
                    </a:lnTo>
                    <a:lnTo>
                      <a:pt x="83" y="234"/>
                    </a:lnTo>
                    <a:lnTo>
                      <a:pt x="86" y="236"/>
                    </a:lnTo>
                    <a:lnTo>
                      <a:pt x="86" y="236"/>
                    </a:lnTo>
                    <a:lnTo>
                      <a:pt x="96" y="243"/>
                    </a:lnTo>
                    <a:lnTo>
                      <a:pt x="102" y="249"/>
                    </a:lnTo>
                    <a:lnTo>
                      <a:pt x="112" y="255"/>
                    </a:lnTo>
                    <a:lnTo>
                      <a:pt x="112" y="255"/>
                    </a:lnTo>
                    <a:lnTo>
                      <a:pt x="139" y="269"/>
                    </a:lnTo>
                    <a:lnTo>
                      <a:pt x="152" y="276"/>
                    </a:lnTo>
                    <a:lnTo>
                      <a:pt x="156" y="280"/>
                    </a:lnTo>
                    <a:lnTo>
                      <a:pt x="159" y="283"/>
                    </a:lnTo>
                    <a:lnTo>
                      <a:pt x="159" y="283"/>
                    </a:lnTo>
                    <a:lnTo>
                      <a:pt x="163" y="288"/>
                    </a:lnTo>
                    <a:lnTo>
                      <a:pt x="169" y="292"/>
                    </a:lnTo>
                    <a:lnTo>
                      <a:pt x="177" y="298"/>
                    </a:lnTo>
                    <a:lnTo>
                      <a:pt x="177" y="298"/>
                    </a:lnTo>
                    <a:lnTo>
                      <a:pt x="179" y="300"/>
                    </a:lnTo>
                    <a:lnTo>
                      <a:pt x="179" y="300"/>
                    </a:lnTo>
                    <a:lnTo>
                      <a:pt x="182" y="298"/>
                    </a:lnTo>
                    <a:lnTo>
                      <a:pt x="182" y="298"/>
                    </a:lnTo>
                    <a:lnTo>
                      <a:pt x="184" y="295"/>
                    </a:lnTo>
                    <a:lnTo>
                      <a:pt x="186" y="292"/>
                    </a:lnTo>
                    <a:lnTo>
                      <a:pt x="189" y="285"/>
                    </a:lnTo>
                    <a:lnTo>
                      <a:pt x="189" y="28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7" name="Colombia">
                <a:extLst>
                  <a:ext uri="{FF2B5EF4-FFF2-40B4-BE49-F238E27FC236}">
                    <a16:creationId xmlns:a16="http://schemas.microsoft.com/office/drawing/2014/main" id="{D78BF440-4D3D-3B4C-9330-DB1B098E2CED}"/>
                  </a:ext>
                </a:extLst>
              </p:cNvPr>
              <p:cNvSpPr>
                <a:spLocks/>
              </p:cNvSpPr>
              <p:nvPr/>
            </p:nvSpPr>
            <p:spPr bwMode="auto">
              <a:xfrm>
                <a:off x="2432233" y="4012303"/>
                <a:ext cx="282640" cy="401022"/>
              </a:xfrm>
              <a:custGeom>
                <a:avLst/>
                <a:gdLst/>
                <a:ahLst/>
                <a:cxnLst>
                  <a:cxn ang="0">
                    <a:pos x="40" y="198"/>
                  </a:cxn>
                  <a:cxn ang="0">
                    <a:pos x="53" y="207"/>
                  </a:cxn>
                  <a:cxn ang="0">
                    <a:pos x="65" y="205"/>
                  </a:cxn>
                  <a:cxn ang="0">
                    <a:pos x="74" y="218"/>
                  </a:cxn>
                  <a:cxn ang="0">
                    <a:pos x="84" y="224"/>
                  </a:cxn>
                  <a:cxn ang="0">
                    <a:pos x="90" y="234"/>
                  </a:cxn>
                  <a:cxn ang="0">
                    <a:pos x="95" y="242"/>
                  </a:cxn>
                  <a:cxn ang="0">
                    <a:pos x="117" y="241"/>
                  </a:cxn>
                  <a:cxn ang="0">
                    <a:pos x="127" y="241"/>
                  </a:cxn>
                  <a:cxn ang="0">
                    <a:pos x="142" y="246"/>
                  </a:cxn>
                  <a:cxn ang="0">
                    <a:pos x="135" y="261"/>
                  </a:cxn>
                  <a:cxn ang="0">
                    <a:pos x="142" y="269"/>
                  </a:cxn>
                  <a:cxn ang="0">
                    <a:pos x="146" y="271"/>
                  </a:cxn>
                  <a:cxn ang="0">
                    <a:pos x="152" y="238"/>
                  </a:cxn>
                  <a:cxn ang="0">
                    <a:pos x="151" y="215"/>
                  </a:cxn>
                  <a:cxn ang="0">
                    <a:pos x="145" y="197"/>
                  </a:cxn>
                  <a:cxn ang="0">
                    <a:pos x="158" y="190"/>
                  </a:cxn>
                  <a:cxn ang="0">
                    <a:pos x="149" y="182"/>
                  </a:cxn>
                  <a:cxn ang="0">
                    <a:pos x="151" y="175"/>
                  </a:cxn>
                  <a:cxn ang="0">
                    <a:pos x="183" y="173"/>
                  </a:cxn>
                  <a:cxn ang="0">
                    <a:pos x="188" y="161"/>
                  </a:cxn>
                  <a:cxn ang="0">
                    <a:pos x="188" y="150"/>
                  </a:cxn>
                  <a:cxn ang="0">
                    <a:pos x="182" y="137"/>
                  </a:cxn>
                  <a:cxn ang="0">
                    <a:pos x="185" y="107"/>
                  </a:cxn>
                  <a:cxn ang="0">
                    <a:pos x="182" y="101"/>
                  </a:cxn>
                  <a:cxn ang="0">
                    <a:pos x="155" y="101"/>
                  </a:cxn>
                  <a:cxn ang="0">
                    <a:pos x="139" y="90"/>
                  </a:cxn>
                  <a:cxn ang="0">
                    <a:pos x="109" y="89"/>
                  </a:cxn>
                  <a:cxn ang="0">
                    <a:pos x="107" y="69"/>
                  </a:cxn>
                  <a:cxn ang="0">
                    <a:pos x="100" y="59"/>
                  </a:cxn>
                  <a:cxn ang="0">
                    <a:pos x="91" y="54"/>
                  </a:cxn>
                  <a:cxn ang="0">
                    <a:pos x="97" y="36"/>
                  </a:cxn>
                  <a:cxn ang="0">
                    <a:pos x="111" y="17"/>
                  </a:cxn>
                  <a:cxn ang="0">
                    <a:pos x="119" y="12"/>
                  </a:cxn>
                  <a:cxn ang="0">
                    <a:pos x="124" y="2"/>
                  </a:cxn>
                  <a:cxn ang="0">
                    <a:pos x="111" y="7"/>
                  </a:cxn>
                  <a:cxn ang="0">
                    <a:pos x="91" y="19"/>
                  </a:cxn>
                  <a:cxn ang="0">
                    <a:pos x="77" y="22"/>
                  </a:cxn>
                  <a:cxn ang="0">
                    <a:pos x="70" y="22"/>
                  </a:cxn>
                  <a:cxn ang="0">
                    <a:pos x="54" y="36"/>
                  </a:cxn>
                  <a:cxn ang="0">
                    <a:pos x="48" y="52"/>
                  </a:cxn>
                  <a:cxn ang="0">
                    <a:pos x="31" y="70"/>
                  </a:cxn>
                  <a:cxn ang="0">
                    <a:pos x="27" y="76"/>
                  </a:cxn>
                  <a:cxn ang="0">
                    <a:pos x="24" y="94"/>
                  </a:cxn>
                  <a:cxn ang="0">
                    <a:pos x="26" y="109"/>
                  </a:cxn>
                  <a:cxn ang="0">
                    <a:pos x="24" y="124"/>
                  </a:cxn>
                  <a:cxn ang="0">
                    <a:pos x="28" y="143"/>
                  </a:cxn>
                  <a:cxn ang="0">
                    <a:pos x="16" y="161"/>
                  </a:cxn>
                  <a:cxn ang="0">
                    <a:pos x="6" y="167"/>
                  </a:cxn>
                  <a:cxn ang="0">
                    <a:pos x="0" y="174"/>
                  </a:cxn>
                  <a:cxn ang="0">
                    <a:pos x="20" y="190"/>
                  </a:cxn>
                  <a:cxn ang="0">
                    <a:pos x="30" y="197"/>
                  </a:cxn>
                </a:cxnLst>
                <a:rect l="0" t="0" r="r" b="b"/>
                <a:pathLst>
                  <a:path w="191" h="271">
                    <a:moveTo>
                      <a:pt x="30" y="197"/>
                    </a:moveTo>
                    <a:lnTo>
                      <a:pt x="30" y="197"/>
                    </a:lnTo>
                    <a:lnTo>
                      <a:pt x="33" y="198"/>
                    </a:lnTo>
                    <a:lnTo>
                      <a:pt x="37" y="200"/>
                    </a:lnTo>
                    <a:lnTo>
                      <a:pt x="40" y="198"/>
                    </a:lnTo>
                    <a:lnTo>
                      <a:pt x="41" y="197"/>
                    </a:lnTo>
                    <a:lnTo>
                      <a:pt x="41" y="197"/>
                    </a:lnTo>
                    <a:lnTo>
                      <a:pt x="43" y="197"/>
                    </a:lnTo>
                    <a:lnTo>
                      <a:pt x="45" y="198"/>
                    </a:lnTo>
                    <a:lnTo>
                      <a:pt x="53" y="207"/>
                    </a:lnTo>
                    <a:lnTo>
                      <a:pt x="53" y="207"/>
                    </a:lnTo>
                    <a:lnTo>
                      <a:pt x="54" y="207"/>
                    </a:lnTo>
                    <a:lnTo>
                      <a:pt x="54" y="207"/>
                    </a:lnTo>
                    <a:lnTo>
                      <a:pt x="61" y="205"/>
                    </a:lnTo>
                    <a:lnTo>
                      <a:pt x="65" y="205"/>
                    </a:lnTo>
                    <a:lnTo>
                      <a:pt x="67" y="207"/>
                    </a:lnTo>
                    <a:lnTo>
                      <a:pt x="67" y="207"/>
                    </a:lnTo>
                    <a:lnTo>
                      <a:pt x="70" y="210"/>
                    </a:lnTo>
                    <a:lnTo>
                      <a:pt x="71" y="214"/>
                    </a:lnTo>
                    <a:lnTo>
                      <a:pt x="74" y="218"/>
                    </a:lnTo>
                    <a:lnTo>
                      <a:pt x="75" y="219"/>
                    </a:lnTo>
                    <a:lnTo>
                      <a:pt x="77" y="219"/>
                    </a:lnTo>
                    <a:lnTo>
                      <a:pt x="77" y="219"/>
                    </a:lnTo>
                    <a:lnTo>
                      <a:pt x="81" y="221"/>
                    </a:lnTo>
                    <a:lnTo>
                      <a:pt x="84" y="224"/>
                    </a:lnTo>
                    <a:lnTo>
                      <a:pt x="87" y="227"/>
                    </a:lnTo>
                    <a:lnTo>
                      <a:pt x="87" y="229"/>
                    </a:lnTo>
                    <a:lnTo>
                      <a:pt x="87" y="229"/>
                    </a:lnTo>
                    <a:lnTo>
                      <a:pt x="88" y="232"/>
                    </a:lnTo>
                    <a:lnTo>
                      <a:pt x="90" y="234"/>
                    </a:lnTo>
                    <a:lnTo>
                      <a:pt x="92" y="237"/>
                    </a:lnTo>
                    <a:lnTo>
                      <a:pt x="92" y="239"/>
                    </a:lnTo>
                    <a:lnTo>
                      <a:pt x="92" y="239"/>
                    </a:lnTo>
                    <a:lnTo>
                      <a:pt x="94" y="242"/>
                    </a:lnTo>
                    <a:lnTo>
                      <a:pt x="95" y="242"/>
                    </a:lnTo>
                    <a:lnTo>
                      <a:pt x="101" y="244"/>
                    </a:lnTo>
                    <a:lnTo>
                      <a:pt x="108" y="244"/>
                    </a:lnTo>
                    <a:lnTo>
                      <a:pt x="111" y="242"/>
                    </a:lnTo>
                    <a:lnTo>
                      <a:pt x="111" y="242"/>
                    </a:lnTo>
                    <a:lnTo>
                      <a:pt x="117" y="241"/>
                    </a:lnTo>
                    <a:lnTo>
                      <a:pt x="118" y="241"/>
                    </a:lnTo>
                    <a:lnTo>
                      <a:pt x="121" y="241"/>
                    </a:lnTo>
                    <a:lnTo>
                      <a:pt x="121" y="241"/>
                    </a:lnTo>
                    <a:lnTo>
                      <a:pt x="124" y="242"/>
                    </a:lnTo>
                    <a:lnTo>
                      <a:pt x="127" y="241"/>
                    </a:lnTo>
                    <a:lnTo>
                      <a:pt x="129" y="241"/>
                    </a:lnTo>
                    <a:lnTo>
                      <a:pt x="132" y="241"/>
                    </a:lnTo>
                    <a:lnTo>
                      <a:pt x="132" y="241"/>
                    </a:lnTo>
                    <a:lnTo>
                      <a:pt x="139" y="244"/>
                    </a:lnTo>
                    <a:lnTo>
                      <a:pt x="142" y="246"/>
                    </a:lnTo>
                    <a:lnTo>
                      <a:pt x="144" y="248"/>
                    </a:lnTo>
                    <a:lnTo>
                      <a:pt x="144" y="251"/>
                    </a:lnTo>
                    <a:lnTo>
                      <a:pt x="144" y="251"/>
                    </a:lnTo>
                    <a:lnTo>
                      <a:pt x="138" y="256"/>
                    </a:lnTo>
                    <a:lnTo>
                      <a:pt x="135" y="261"/>
                    </a:lnTo>
                    <a:lnTo>
                      <a:pt x="135" y="264"/>
                    </a:lnTo>
                    <a:lnTo>
                      <a:pt x="135" y="264"/>
                    </a:lnTo>
                    <a:lnTo>
                      <a:pt x="137" y="265"/>
                    </a:lnTo>
                    <a:lnTo>
                      <a:pt x="139" y="266"/>
                    </a:lnTo>
                    <a:lnTo>
                      <a:pt x="142" y="269"/>
                    </a:lnTo>
                    <a:lnTo>
                      <a:pt x="145" y="271"/>
                    </a:lnTo>
                    <a:lnTo>
                      <a:pt x="145" y="271"/>
                    </a:lnTo>
                    <a:lnTo>
                      <a:pt x="145" y="271"/>
                    </a:lnTo>
                    <a:lnTo>
                      <a:pt x="145" y="271"/>
                    </a:lnTo>
                    <a:lnTo>
                      <a:pt x="146" y="271"/>
                    </a:lnTo>
                    <a:lnTo>
                      <a:pt x="148" y="268"/>
                    </a:lnTo>
                    <a:lnTo>
                      <a:pt x="149" y="262"/>
                    </a:lnTo>
                    <a:lnTo>
                      <a:pt x="152" y="249"/>
                    </a:lnTo>
                    <a:lnTo>
                      <a:pt x="152" y="249"/>
                    </a:lnTo>
                    <a:lnTo>
                      <a:pt x="152" y="238"/>
                    </a:lnTo>
                    <a:lnTo>
                      <a:pt x="155" y="228"/>
                    </a:lnTo>
                    <a:lnTo>
                      <a:pt x="155" y="228"/>
                    </a:lnTo>
                    <a:lnTo>
                      <a:pt x="155" y="224"/>
                    </a:lnTo>
                    <a:lnTo>
                      <a:pt x="154" y="221"/>
                    </a:lnTo>
                    <a:lnTo>
                      <a:pt x="151" y="215"/>
                    </a:lnTo>
                    <a:lnTo>
                      <a:pt x="146" y="208"/>
                    </a:lnTo>
                    <a:lnTo>
                      <a:pt x="145" y="205"/>
                    </a:lnTo>
                    <a:lnTo>
                      <a:pt x="145" y="201"/>
                    </a:lnTo>
                    <a:lnTo>
                      <a:pt x="145" y="201"/>
                    </a:lnTo>
                    <a:lnTo>
                      <a:pt x="145" y="197"/>
                    </a:lnTo>
                    <a:lnTo>
                      <a:pt x="148" y="195"/>
                    </a:lnTo>
                    <a:lnTo>
                      <a:pt x="151" y="194"/>
                    </a:lnTo>
                    <a:lnTo>
                      <a:pt x="155" y="192"/>
                    </a:lnTo>
                    <a:lnTo>
                      <a:pt x="155" y="192"/>
                    </a:lnTo>
                    <a:lnTo>
                      <a:pt x="158" y="190"/>
                    </a:lnTo>
                    <a:lnTo>
                      <a:pt x="156" y="188"/>
                    </a:lnTo>
                    <a:lnTo>
                      <a:pt x="152" y="187"/>
                    </a:lnTo>
                    <a:lnTo>
                      <a:pt x="152" y="187"/>
                    </a:lnTo>
                    <a:lnTo>
                      <a:pt x="151" y="185"/>
                    </a:lnTo>
                    <a:lnTo>
                      <a:pt x="149" y="182"/>
                    </a:lnTo>
                    <a:lnTo>
                      <a:pt x="148" y="180"/>
                    </a:lnTo>
                    <a:lnTo>
                      <a:pt x="148" y="177"/>
                    </a:lnTo>
                    <a:lnTo>
                      <a:pt x="148" y="177"/>
                    </a:lnTo>
                    <a:lnTo>
                      <a:pt x="149" y="177"/>
                    </a:lnTo>
                    <a:lnTo>
                      <a:pt x="151" y="175"/>
                    </a:lnTo>
                    <a:lnTo>
                      <a:pt x="158" y="175"/>
                    </a:lnTo>
                    <a:lnTo>
                      <a:pt x="172" y="175"/>
                    </a:lnTo>
                    <a:lnTo>
                      <a:pt x="172" y="175"/>
                    </a:lnTo>
                    <a:lnTo>
                      <a:pt x="178" y="175"/>
                    </a:lnTo>
                    <a:lnTo>
                      <a:pt x="183" y="173"/>
                    </a:lnTo>
                    <a:lnTo>
                      <a:pt x="191" y="170"/>
                    </a:lnTo>
                    <a:lnTo>
                      <a:pt x="191" y="170"/>
                    </a:lnTo>
                    <a:lnTo>
                      <a:pt x="191" y="167"/>
                    </a:lnTo>
                    <a:lnTo>
                      <a:pt x="189" y="164"/>
                    </a:lnTo>
                    <a:lnTo>
                      <a:pt x="188" y="161"/>
                    </a:lnTo>
                    <a:lnTo>
                      <a:pt x="188" y="161"/>
                    </a:lnTo>
                    <a:lnTo>
                      <a:pt x="185" y="158"/>
                    </a:lnTo>
                    <a:lnTo>
                      <a:pt x="185" y="155"/>
                    </a:lnTo>
                    <a:lnTo>
                      <a:pt x="186" y="153"/>
                    </a:lnTo>
                    <a:lnTo>
                      <a:pt x="188" y="150"/>
                    </a:lnTo>
                    <a:lnTo>
                      <a:pt x="188" y="150"/>
                    </a:lnTo>
                    <a:lnTo>
                      <a:pt x="189" y="147"/>
                    </a:lnTo>
                    <a:lnTo>
                      <a:pt x="188" y="144"/>
                    </a:lnTo>
                    <a:lnTo>
                      <a:pt x="182" y="137"/>
                    </a:lnTo>
                    <a:lnTo>
                      <a:pt x="182" y="137"/>
                    </a:lnTo>
                    <a:lnTo>
                      <a:pt x="181" y="134"/>
                    </a:lnTo>
                    <a:lnTo>
                      <a:pt x="179" y="131"/>
                    </a:lnTo>
                    <a:lnTo>
                      <a:pt x="181" y="124"/>
                    </a:lnTo>
                    <a:lnTo>
                      <a:pt x="182" y="116"/>
                    </a:lnTo>
                    <a:lnTo>
                      <a:pt x="185" y="107"/>
                    </a:lnTo>
                    <a:lnTo>
                      <a:pt x="185" y="107"/>
                    </a:lnTo>
                    <a:lnTo>
                      <a:pt x="186" y="106"/>
                    </a:lnTo>
                    <a:lnTo>
                      <a:pt x="186" y="103"/>
                    </a:lnTo>
                    <a:lnTo>
                      <a:pt x="183" y="103"/>
                    </a:lnTo>
                    <a:lnTo>
                      <a:pt x="182" y="101"/>
                    </a:lnTo>
                    <a:lnTo>
                      <a:pt x="174" y="101"/>
                    </a:lnTo>
                    <a:lnTo>
                      <a:pt x="166" y="103"/>
                    </a:lnTo>
                    <a:lnTo>
                      <a:pt x="166" y="103"/>
                    </a:lnTo>
                    <a:lnTo>
                      <a:pt x="161" y="103"/>
                    </a:lnTo>
                    <a:lnTo>
                      <a:pt x="155" y="101"/>
                    </a:lnTo>
                    <a:lnTo>
                      <a:pt x="149" y="97"/>
                    </a:lnTo>
                    <a:lnTo>
                      <a:pt x="144" y="93"/>
                    </a:lnTo>
                    <a:lnTo>
                      <a:pt x="144" y="93"/>
                    </a:lnTo>
                    <a:lnTo>
                      <a:pt x="142" y="90"/>
                    </a:lnTo>
                    <a:lnTo>
                      <a:pt x="139" y="90"/>
                    </a:lnTo>
                    <a:lnTo>
                      <a:pt x="134" y="89"/>
                    </a:lnTo>
                    <a:lnTo>
                      <a:pt x="117" y="90"/>
                    </a:lnTo>
                    <a:lnTo>
                      <a:pt x="117" y="90"/>
                    </a:lnTo>
                    <a:lnTo>
                      <a:pt x="112" y="90"/>
                    </a:lnTo>
                    <a:lnTo>
                      <a:pt x="109" y="89"/>
                    </a:lnTo>
                    <a:lnTo>
                      <a:pt x="108" y="86"/>
                    </a:lnTo>
                    <a:lnTo>
                      <a:pt x="107" y="83"/>
                    </a:lnTo>
                    <a:lnTo>
                      <a:pt x="105" y="76"/>
                    </a:lnTo>
                    <a:lnTo>
                      <a:pt x="107" y="69"/>
                    </a:lnTo>
                    <a:lnTo>
                      <a:pt x="107" y="69"/>
                    </a:lnTo>
                    <a:lnTo>
                      <a:pt x="105" y="66"/>
                    </a:lnTo>
                    <a:lnTo>
                      <a:pt x="104" y="63"/>
                    </a:lnTo>
                    <a:lnTo>
                      <a:pt x="101" y="62"/>
                    </a:lnTo>
                    <a:lnTo>
                      <a:pt x="100" y="59"/>
                    </a:lnTo>
                    <a:lnTo>
                      <a:pt x="100" y="59"/>
                    </a:lnTo>
                    <a:lnTo>
                      <a:pt x="98" y="56"/>
                    </a:lnTo>
                    <a:lnTo>
                      <a:pt x="97" y="56"/>
                    </a:lnTo>
                    <a:lnTo>
                      <a:pt x="92" y="56"/>
                    </a:lnTo>
                    <a:lnTo>
                      <a:pt x="92" y="56"/>
                    </a:lnTo>
                    <a:lnTo>
                      <a:pt x="91" y="54"/>
                    </a:lnTo>
                    <a:lnTo>
                      <a:pt x="91" y="53"/>
                    </a:lnTo>
                    <a:lnTo>
                      <a:pt x="94" y="47"/>
                    </a:lnTo>
                    <a:lnTo>
                      <a:pt x="94" y="47"/>
                    </a:lnTo>
                    <a:lnTo>
                      <a:pt x="97" y="43"/>
                    </a:lnTo>
                    <a:lnTo>
                      <a:pt x="97" y="36"/>
                    </a:lnTo>
                    <a:lnTo>
                      <a:pt x="97" y="36"/>
                    </a:lnTo>
                    <a:lnTo>
                      <a:pt x="98" y="32"/>
                    </a:lnTo>
                    <a:lnTo>
                      <a:pt x="102" y="27"/>
                    </a:lnTo>
                    <a:lnTo>
                      <a:pt x="111" y="17"/>
                    </a:lnTo>
                    <a:lnTo>
                      <a:pt x="111" y="17"/>
                    </a:lnTo>
                    <a:lnTo>
                      <a:pt x="112" y="16"/>
                    </a:lnTo>
                    <a:lnTo>
                      <a:pt x="115" y="15"/>
                    </a:lnTo>
                    <a:lnTo>
                      <a:pt x="115" y="15"/>
                    </a:lnTo>
                    <a:lnTo>
                      <a:pt x="117" y="13"/>
                    </a:lnTo>
                    <a:lnTo>
                      <a:pt x="119" y="12"/>
                    </a:lnTo>
                    <a:lnTo>
                      <a:pt x="119" y="12"/>
                    </a:lnTo>
                    <a:lnTo>
                      <a:pt x="124" y="10"/>
                    </a:lnTo>
                    <a:lnTo>
                      <a:pt x="127" y="7"/>
                    </a:lnTo>
                    <a:lnTo>
                      <a:pt x="127" y="5"/>
                    </a:lnTo>
                    <a:lnTo>
                      <a:pt x="124" y="2"/>
                    </a:lnTo>
                    <a:lnTo>
                      <a:pt x="124" y="2"/>
                    </a:lnTo>
                    <a:lnTo>
                      <a:pt x="121" y="0"/>
                    </a:lnTo>
                    <a:lnTo>
                      <a:pt x="119" y="2"/>
                    </a:lnTo>
                    <a:lnTo>
                      <a:pt x="115" y="5"/>
                    </a:lnTo>
                    <a:lnTo>
                      <a:pt x="111" y="7"/>
                    </a:lnTo>
                    <a:lnTo>
                      <a:pt x="105" y="10"/>
                    </a:lnTo>
                    <a:lnTo>
                      <a:pt x="105" y="10"/>
                    </a:lnTo>
                    <a:lnTo>
                      <a:pt x="101" y="12"/>
                    </a:lnTo>
                    <a:lnTo>
                      <a:pt x="98" y="13"/>
                    </a:lnTo>
                    <a:lnTo>
                      <a:pt x="91" y="19"/>
                    </a:lnTo>
                    <a:lnTo>
                      <a:pt x="91" y="19"/>
                    </a:lnTo>
                    <a:lnTo>
                      <a:pt x="87" y="19"/>
                    </a:lnTo>
                    <a:lnTo>
                      <a:pt x="82" y="20"/>
                    </a:lnTo>
                    <a:lnTo>
                      <a:pt x="78" y="20"/>
                    </a:lnTo>
                    <a:lnTo>
                      <a:pt x="77" y="22"/>
                    </a:lnTo>
                    <a:lnTo>
                      <a:pt x="77" y="23"/>
                    </a:lnTo>
                    <a:lnTo>
                      <a:pt x="77" y="23"/>
                    </a:lnTo>
                    <a:lnTo>
                      <a:pt x="77" y="25"/>
                    </a:lnTo>
                    <a:lnTo>
                      <a:pt x="74" y="25"/>
                    </a:lnTo>
                    <a:lnTo>
                      <a:pt x="70" y="22"/>
                    </a:lnTo>
                    <a:lnTo>
                      <a:pt x="70" y="22"/>
                    </a:lnTo>
                    <a:lnTo>
                      <a:pt x="65" y="23"/>
                    </a:lnTo>
                    <a:lnTo>
                      <a:pt x="60" y="26"/>
                    </a:lnTo>
                    <a:lnTo>
                      <a:pt x="55" y="32"/>
                    </a:lnTo>
                    <a:lnTo>
                      <a:pt x="54" y="36"/>
                    </a:lnTo>
                    <a:lnTo>
                      <a:pt x="54" y="36"/>
                    </a:lnTo>
                    <a:lnTo>
                      <a:pt x="55" y="43"/>
                    </a:lnTo>
                    <a:lnTo>
                      <a:pt x="53" y="47"/>
                    </a:lnTo>
                    <a:lnTo>
                      <a:pt x="48" y="52"/>
                    </a:lnTo>
                    <a:lnTo>
                      <a:pt x="48" y="52"/>
                    </a:lnTo>
                    <a:lnTo>
                      <a:pt x="44" y="56"/>
                    </a:lnTo>
                    <a:lnTo>
                      <a:pt x="40" y="60"/>
                    </a:lnTo>
                    <a:lnTo>
                      <a:pt x="33" y="70"/>
                    </a:lnTo>
                    <a:lnTo>
                      <a:pt x="33" y="70"/>
                    </a:lnTo>
                    <a:lnTo>
                      <a:pt x="31" y="70"/>
                    </a:lnTo>
                    <a:lnTo>
                      <a:pt x="30" y="70"/>
                    </a:lnTo>
                    <a:lnTo>
                      <a:pt x="30" y="70"/>
                    </a:lnTo>
                    <a:lnTo>
                      <a:pt x="28" y="73"/>
                    </a:lnTo>
                    <a:lnTo>
                      <a:pt x="27" y="76"/>
                    </a:lnTo>
                    <a:lnTo>
                      <a:pt x="27" y="76"/>
                    </a:lnTo>
                    <a:lnTo>
                      <a:pt x="16" y="86"/>
                    </a:lnTo>
                    <a:lnTo>
                      <a:pt x="16" y="86"/>
                    </a:lnTo>
                    <a:lnTo>
                      <a:pt x="21" y="91"/>
                    </a:lnTo>
                    <a:lnTo>
                      <a:pt x="21" y="91"/>
                    </a:lnTo>
                    <a:lnTo>
                      <a:pt x="24" y="94"/>
                    </a:lnTo>
                    <a:lnTo>
                      <a:pt x="24" y="99"/>
                    </a:lnTo>
                    <a:lnTo>
                      <a:pt x="24" y="101"/>
                    </a:lnTo>
                    <a:lnTo>
                      <a:pt x="24" y="103"/>
                    </a:lnTo>
                    <a:lnTo>
                      <a:pt x="24" y="103"/>
                    </a:lnTo>
                    <a:lnTo>
                      <a:pt x="26" y="109"/>
                    </a:lnTo>
                    <a:lnTo>
                      <a:pt x="26" y="110"/>
                    </a:lnTo>
                    <a:lnTo>
                      <a:pt x="24" y="113"/>
                    </a:lnTo>
                    <a:lnTo>
                      <a:pt x="24" y="113"/>
                    </a:lnTo>
                    <a:lnTo>
                      <a:pt x="24" y="117"/>
                    </a:lnTo>
                    <a:lnTo>
                      <a:pt x="24" y="124"/>
                    </a:lnTo>
                    <a:lnTo>
                      <a:pt x="26" y="133"/>
                    </a:lnTo>
                    <a:lnTo>
                      <a:pt x="27" y="137"/>
                    </a:lnTo>
                    <a:lnTo>
                      <a:pt x="27" y="137"/>
                    </a:lnTo>
                    <a:lnTo>
                      <a:pt x="28" y="140"/>
                    </a:lnTo>
                    <a:lnTo>
                      <a:pt x="28" y="143"/>
                    </a:lnTo>
                    <a:lnTo>
                      <a:pt x="24" y="151"/>
                    </a:lnTo>
                    <a:lnTo>
                      <a:pt x="24" y="151"/>
                    </a:lnTo>
                    <a:lnTo>
                      <a:pt x="21" y="155"/>
                    </a:lnTo>
                    <a:lnTo>
                      <a:pt x="18" y="158"/>
                    </a:lnTo>
                    <a:lnTo>
                      <a:pt x="16" y="161"/>
                    </a:lnTo>
                    <a:lnTo>
                      <a:pt x="11" y="161"/>
                    </a:lnTo>
                    <a:lnTo>
                      <a:pt x="11" y="161"/>
                    </a:lnTo>
                    <a:lnTo>
                      <a:pt x="8" y="163"/>
                    </a:lnTo>
                    <a:lnTo>
                      <a:pt x="7" y="164"/>
                    </a:lnTo>
                    <a:lnTo>
                      <a:pt x="6" y="167"/>
                    </a:lnTo>
                    <a:lnTo>
                      <a:pt x="4" y="171"/>
                    </a:lnTo>
                    <a:lnTo>
                      <a:pt x="3" y="173"/>
                    </a:lnTo>
                    <a:lnTo>
                      <a:pt x="3" y="173"/>
                    </a:lnTo>
                    <a:lnTo>
                      <a:pt x="1" y="173"/>
                    </a:lnTo>
                    <a:lnTo>
                      <a:pt x="0" y="174"/>
                    </a:lnTo>
                    <a:lnTo>
                      <a:pt x="0" y="178"/>
                    </a:lnTo>
                    <a:lnTo>
                      <a:pt x="0" y="178"/>
                    </a:lnTo>
                    <a:lnTo>
                      <a:pt x="10" y="187"/>
                    </a:lnTo>
                    <a:lnTo>
                      <a:pt x="16" y="188"/>
                    </a:lnTo>
                    <a:lnTo>
                      <a:pt x="20" y="190"/>
                    </a:lnTo>
                    <a:lnTo>
                      <a:pt x="20" y="190"/>
                    </a:lnTo>
                    <a:lnTo>
                      <a:pt x="21" y="191"/>
                    </a:lnTo>
                    <a:lnTo>
                      <a:pt x="24" y="192"/>
                    </a:lnTo>
                    <a:lnTo>
                      <a:pt x="30" y="197"/>
                    </a:lnTo>
                    <a:lnTo>
                      <a:pt x="30" y="19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8" name="Venezuela">
                <a:extLst>
                  <a:ext uri="{FF2B5EF4-FFF2-40B4-BE49-F238E27FC236}">
                    <a16:creationId xmlns:a16="http://schemas.microsoft.com/office/drawing/2014/main" id="{82F64E1B-2CC7-6840-A7BD-9D640442DD96}"/>
                  </a:ext>
                </a:extLst>
              </p:cNvPr>
              <p:cNvSpPr>
                <a:spLocks/>
              </p:cNvSpPr>
              <p:nvPr/>
            </p:nvSpPr>
            <p:spPr bwMode="auto">
              <a:xfrm>
                <a:off x="2566893" y="4021182"/>
                <a:ext cx="325552" cy="273761"/>
              </a:xfrm>
              <a:custGeom>
                <a:avLst/>
                <a:gdLst/>
                <a:ahLst/>
                <a:cxnLst>
                  <a:cxn ang="0">
                    <a:pos x="6" y="30"/>
                  </a:cxn>
                  <a:cxn ang="0">
                    <a:pos x="0" y="47"/>
                  </a:cxn>
                  <a:cxn ang="0">
                    <a:pos x="7" y="50"/>
                  </a:cxn>
                  <a:cxn ang="0">
                    <a:pos x="14" y="60"/>
                  </a:cxn>
                  <a:cxn ang="0">
                    <a:pos x="17" y="80"/>
                  </a:cxn>
                  <a:cxn ang="0">
                    <a:pos x="43" y="83"/>
                  </a:cxn>
                  <a:cxn ang="0">
                    <a:pos x="58" y="91"/>
                  </a:cxn>
                  <a:cxn ang="0">
                    <a:pos x="83" y="95"/>
                  </a:cxn>
                  <a:cxn ang="0">
                    <a:pos x="94" y="101"/>
                  </a:cxn>
                  <a:cxn ang="0">
                    <a:pos x="90" y="128"/>
                  </a:cxn>
                  <a:cxn ang="0">
                    <a:pos x="97" y="144"/>
                  </a:cxn>
                  <a:cxn ang="0">
                    <a:pos x="97" y="155"/>
                  </a:cxn>
                  <a:cxn ang="0">
                    <a:pos x="100" y="164"/>
                  </a:cxn>
                  <a:cxn ang="0">
                    <a:pos x="107" y="178"/>
                  </a:cxn>
                  <a:cxn ang="0">
                    <a:pos x="119" y="185"/>
                  </a:cxn>
                  <a:cxn ang="0">
                    <a:pos x="128" y="184"/>
                  </a:cxn>
                  <a:cxn ang="0">
                    <a:pos x="142" y="176"/>
                  </a:cxn>
                  <a:cxn ang="0">
                    <a:pos x="151" y="169"/>
                  </a:cxn>
                  <a:cxn ang="0">
                    <a:pos x="161" y="162"/>
                  </a:cxn>
                  <a:cxn ang="0">
                    <a:pos x="155" y="158"/>
                  </a:cxn>
                  <a:cxn ang="0">
                    <a:pos x="149" y="149"/>
                  </a:cxn>
                  <a:cxn ang="0">
                    <a:pos x="145" y="135"/>
                  </a:cxn>
                  <a:cxn ang="0">
                    <a:pos x="144" y="130"/>
                  </a:cxn>
                  <a:cxn ang="0">
                    <a:pos x="159" y="132"/>
                  </a:cxn>
                  <a:cxn ang="0">
                    <a:pos x="168" y="138"/>
                  </a:cxn>
                  <a:cxn ang="0">
                    <a:pos x="174" y="132"/>
                  </a:cxn>
                  <a:cxn ang="0">
                    <a:pos x="188" y="130"/>
                  </a:cxn>
                  <a:cxn ang="0">
                    <a:pos x="208" y="117"/>
                  </a:cxn>
                  <a:cxn ang="0">
                    <a:pos x="196" y="101"/>
                  </a:cxn>
                  <a:cxn ang="0">
                    <a:pos x="199" y="93"/>
                  </a:cxn>
                  <a:cxn ang="0">
                    <a:pos x="211" y="87"/>
                  </a:cxn>
                  <a:cxn ang="0">
                    <a:pos x="208" y="78"/>
                  </a:cxn>
                  <a:cxn ang="0">
                    <a:pos x="215" y="68"/>
                  </a:cxn>
                  <a:cxn ang="0">
                    <a:pos x="208" y="58"/>
                  </a:cxn>
                  <a:cxn ang="0">
                    <a:pos x="196" y="54"/>
                  </a:cxn>
                  <a:cxn ang="0">
                    <a:pos x="199" y="41"/>
                  </a:cxn>
                  <a:cxn ang="0">
                    <a:pos x="174" y="31"/>
                  </a:cxn>
                  <a:cxn ang="0">
                    <a:pos x="182" y="26"/>
                  </a:cxn>
                  <a:cxn ang="0">
                    <a:pos x="158" y="24"/>
                  </a:cxn>
                  <a:cxn ang="0">
                    <a:pos x="128" y="34"/>
                  </a:cxn>
                  <a:cxn ang="0">
                    <a:pos x="105" y="26"/>
                  </a:cxn>
                  <a:cxn ang="0">
                    <a:pos x="84" y="21"/>
                  </a:cxn>
                  <a:cxn ang="0">
                    <a:pos x="71" y="9"/>
                  </a:cxn>
                  <a:cxn ang="0">
                    <a:pos x="61" y="1"/>
                  </a:cxn>
                  <a:cxn ang="0">
                    <a:pos x="55" y="1"/>
                  </a:cxn>
                  <a:cxn ang="0">
                    <a:pos x="53" y="10"/>
                  </a:cxn>
                  <a:cxn ang="0">
                    <a:pos x="31" y="23"/>
                  </a:cxn>
                  <a:cxn ang="0">
                    <a:pos x="37" y="47"/>
                  </a:cxn>
                  <a:cxn ang="0">
                    <a:pos x="23" y="46"/>
                  </a:cxn>
                  <a:cxn ang="0">
                    <a:pos x="23" y="30"/>
                  </a:cxn>
                  <a:cxn ang="0">
                    <a:pos x="24" y="14"/>
                  </a:cxn>
                  <a:cxn ang="0">
                    <a:pos x="20" y="11"/>
                  </a:cxn>
                </a:cxnLst>
                <a:rect l="0" t="0" r="r" b="b"/>
                <a:pathLst>
                  <a:path w="220" h="185">
                    <a:moveTo>
                      <a:pt x="20" y="11"/>
                    </a:moveTo>
                    <a:lnTo>
                      <a:pt x="20" y="11"/>
                    </a:lnTo>
                    <a:lnTo>
                      <a:pt x="11" y="21"/>
                    </a:lnTo>
                    <a:lnTo>
                      <a:pt x="7" y="26"/>
                    </a:lnTo>
                    <a:lnTo>
                      <a:pt x="6" y="30"/>
                    </a:lnTo>
                    <a:lnTo>
                      <a:pt x="6" y="30"/>
                    </a:lnTo>
                    <a:lnTo>
                      <a:pt x="6" y="37"/>
                    </a:lnTo>
                    <a:lnTo>
                      <a:pt x="3" y="41"/>
                    </a:lnTo>
                    <a:lnTo>
                      <a:pt x="3" y="41"/>
                    </a:lnTo>
                    <a:lnTo>
                      <a:pt x="0" y="47"/>
                    </a:lnTo>
                    <a:lnTo>
                      <a:pt x="0" y="48"/>
                    </a:lnTo>
                    <a:lnTo>
                      <a:pt x="1" y="50"/>
                    </a:lnTo>
                    <a:lnTo>
                      <a:pt x="1" y="50"/>
                    </a:lnTo>
                    <a:lnTo>
                      <a:pt x="6" y="50"/>
                    </a:lnTo>
                    <a:lnTo>
                      <a:pt x="7" y="50"/>
                    </a:lnTo>
                    <a:lnTo>
                      <a:pt x="9" y="53"/>
                    </a:lnTo>
                    <a:lnTo>
                      <a:pt x="9" y="53"/>
                    </a:lnTo>
                    <a:lnTo>
                      <a:pt x="10" y="56"/>
                    </a:lnTo>
                    <a:lnTo>
                      <a:pt x="13" y="57"/>
                    </a:lnTo>
                    <a:lnTo>
                      <a:pt x="14" y="60"/>
                    </a:lnTo>
                    <a:lnTo>
                      <a:pt x="16" y="63"/>
                    </a:lnTo>
                    <a:lnTo>
                      <a:pt x="16" y="63"/>
                    </a:lnTo>
                    <a:lnTo>
                      <a:pt x="14" y="70"/>
                    </a:lnTo>
                    <a:lnTo>
                      <a:pt x="16" y="77"/>
                    </a:lnTo>
                    <a:lnTo>
                      <a:pt x="17" y="80"/>
                    </a:lnTo>
                    <a:lnTo>
                      <a:pt x="18" y="83"/>
                    </a:lnTo>
                    <a:lnTo>
                      <a:pt x="21" y="84"/>
                    </a:lnTo>
                    <a:lnTo>
                      <a:pt x="26" y="84"/>
                    </a:lnTo>
                    <a:lnTo>
                      <a:pt x="26" y="84"/>
                    </a:lnTo>
                    <a:lnTo>
                      <a:pt x="43" y="83"/>
                    </a:lnTo>
                    <a:lnTo>
                      <a:pt x="48" y="84"/>
                    </a:lnTo>
                    <a:lnTo>
                      <a:pt x="51" y="84"/>
                    </a:lnTo>
                    <a:lnTo>
                      <a:pt x="53" y="87"/>
                    </a:lnTo>
                    <a:lnTo>
                      <a:pt x="53" y="87"/>
                    </a:lnTo>
                    <a:lnTo>
                      <a:pt x="58" y="91"/>
                    </a:lnTo>
                    <a:lnTo>
                      <a:pt x="64" y="95"/>
                    </a:lnTo>
                    <a:lnTo>
                      <a:pt x="70" y="97"/>
                    </a:lnTo>
                    <a:lnTo>
                      <a:pt x="75" y="97"/>
                    </a:lnTo>
                    <a:lnTo>
                      <a:pt x="75" y="97"/>
                    </a:lnTo>
                    <a:lnTo>
                      <a:pt x="83" y="95"/>
                    </a:lnTo>
                    <a:lnTo>
                      <a:pt x="91" y="95"/>
                    </a:lnTo>
                    <a:lnTo>
                      <a:pt x="92" y="97"/>
                    </a:lnTo>
                    <a:lnTo>
                      <a:pt x="95" y="97"/>
                    </a:lnTo>
                    <a:lnTo>
                      <a:pt x="95" y="100"/>
                    </a:lnTo>
                    <a:lnTo>
                      <a:pt x="94" y="101"/>
                    </a:lnTo>
                    <a:lnTo>
                      <a:pt x="94" y="101"/>
                    </a:lnTo>
                    <a:lnTo>
                      <a:pt x="91" y="110"/>
                    </a:lnTo>
                    <a:lnTo>
                      <a:pt x="90" y="118"/>
                    </a:lnTo>
                    <a:lnTo>
                      <a:pt x="88" y="125"/>
                    </a:lnTo>
                    <a:lnTo>
                      <a:pt x="90" y="128"/>
                    </a:lnTo>
                    <a:lnTo>
                      <a:pt x="91" y="131"/>
                    </a:lnTo>
                    <a:lnTo>
                      <a:pt x="91" y="131"/>
                    </a:lnTo>
                    <a:lnTo>
                      <a:pt x="97" y="138"/>
                    </a:lnTo>
                    <a:lnTo>
                      <a:pt x="98" y="141"/>
                    </a:lnTo>
                    <a:lnTo>
                      <a:pt x="97" y="144"/>
                    </a:lnTo>
                    <a:lnTo>
                      <a:pt x="97" y="144"/>
                    </a:lnTo>
                    <a:lnTo>
                      <a:pt x="95" y="147"/>
                    </a:lnTo>
                    <a:lnTo>
                      <a:pt x="94" y="149"/>
                    </a:lnTo>
                    <a:lnTo>
                      <a:pt x="94" y="152"/>
                    </a:lnTo>
                    <a:lnTo>
                      <a:pt x="97" y="155"/>
                    </a:lnTo>
                    <a:lnTo>
                      <a:pt x="97" y="155"/>
                    </a:lnTo>
                    <a:lnTo>
                      <a:pt x="98" y="158"/>
                    </a:lnTo>
                    <a:lnTo>
                      <a:pt x="100" y="161"/>
                    </a:lnTo>
                    <a:lnTo>
                      <a:pt x="100" y="164"/>
                    </a:lnTo>
                    <a:lnTo>
                      <a:pt x="100" y="164"/>
                    </a:lnTo>
                    <a:lnTo>
                      <a:pt x="97" y="165"/>
                    </a:lnTo>
                    <a:lnTo>
                      <a:pt x="97" y="165"/>
                    </a:lnTo>
                    <a:lnTo>
                      <a:pt x="101" y="169"/>
                    </a:lnTo>
                    <a:lnTo>
                      <a:pt x="104" y="174"/>
                    </a:lnTo>
                    <a:lnTo>
                      <a:pt x="107" y="178"/>
                    </a:lnTo>
                    <a:lnTo>
                      <a:pt x="110" y="181"/>
                    </a:lnTo>
                    <a:lnTo>
                      <a:pt x="110" y="181"/>
                    </a:lnTo>
                    <a:lnTo>
                      <a:pt x="115" y="185"/>
                    </a:lnTo>
                    <a:lnTo>
                      <a:pt x="117" y="185"/>
                    </a:lnTo>
                    <a:lnTo>
                      <a:pt x="119" y="185"/>
                    </a:lnTo>
                    <a:lnTo>
                      <a:pt x="119" y="185"/>
                    </a:lnTo>
                    <a:lnTo>
                      <a:pt x="124" y="182"/>
                    </a:lnTo>
                    <a:lnTo>
                      <a:pt x="125" y="182"/>
                    </a:lnTo>
                    <a:lnTo>
                      <a:pt x="128" y="184"/>
                    </a:lnTo>
                    <a:lnTo>
                      <a:pt x="128" y="184"/>
                    </a:lnTo>
                    <a:lnTo>
                      <a:pt x="129" y="184"/>
                    </a:lnTo>
                    <a:lnTo>
                      <a:pt x="132" y="182"/>
                    </a:lnTo>
                    <a:lnTo>
                      <a:pt x="138" y="178"/>
                    </a:lnTo>
                    <a:lnTo>
                      <a:pt x="138" y="178"/>
                    </a:lnTo>
                    <a:lnTo>
                      <a:pt x="142" y="176"/>
                    </a:lnTo>
                    <a:lnTo>
                      <a:pt x="145" y="175"/>
                    </a:lnTo>
                    <a:lnTo>
                      <a:pt x="148" y="175"/>
                    </a:lnTo>
                    <a:lnTo>
                      <a:pt x="149" y="172"/>
                    </a:lnTo>
                    <a:lnTo>
                      <a:pt x="149" y="172"/>
                    </a:lnTo>
                    <a:lnTo>
                      <a:pt x="151" y="169"/>
                    </a:lnTo>
                    <a:lnTo>
                      <a:pt x="152" y="167"/>
                    </a:lnTo>
                    <a:lnTo>
                      <a:pt x="155" y="165"/>
                    </a:lnTo>
                    <a:lnTo>
                      <a:pt x="158" y="164"/>
                    </a:lnTo>
                    <a:lnTo>
                      <a:pt x="158" y="164"/>
                    </a:lnTo>
                    <a:lnTo>
                      <a:pt x="161" y="162"/>
                    </a:lnTo>
                    <a:lnTo>
                      <a:pt x="162" y="159"/>
                    </a:lnTo>
                    <a:lnTo>
                      <a:pt x="162" y="158"/>
                    </a:lnTo>
                    <a:lnTo>
                      <a:pt x="161" y="157"/>
                    </a:lnTo>
                    <a:lnTo>
                      <a:pt x="161" y="157"/>
                    </a:lnTo>
                    <a:lnTo>
                      <a:pt x="155" y="158"/>
                    </a:lnTo>
                    <a:lnTo>
                      <a:pt x="152" y="158"/>
                    </a:lnTo>
                    <a:lnTo>
                      <a:pt x="152" y="155"/>
                    </a:lnTo>
                    <a:lnTo>
                      <a:pt x="152" y="155"/>
                    </a:lnTo>
                    <a:lnTo>
                      <a:pt x="151" y="152"/>
                    </a:lnTo>
                    <a:lnTo>
                      <a:pt x="149" y="149"/>
                    </a:lnTo>
                    <a:lnTo>
                      <a:pt x="148" y="148"/>
                    </a:lnTo>
                    <a:lnTo>
                      <a:pt x="148" y="145"/>
                    </a:lnTo>
                    <a:lnTo>
                      <a:pt x="148" y="145"/>
                    </a:lnTo>
                    <a:lnTo>
                      <a:pt x="147" y="138"/>
                    </a:lnTo>
                    <a:lnTo>
                      <a:pt x="145" y="135"/>
                    </a:lnTo>
                    <a:lnTo>
                      <a:pt x="141" y="132"/>
                    </a:lnTo>
                    <a:lnTo>
                      <a:pt x="141" y="132"/>
                    </a:lnTo>
                    <a:lnTo>
                      <a:pt x="141" y="132"/>
                    </a:lnTo>
                    <a:lnTo>
                      <a:pt x="141" y="131"/>
                    </a:lnTo>
                    <a:lnTo>
                      <a:pt x="144" y="130"/>
                    </a:lnTo>
                    <a:lnTo>
                      <a:pt x="148" y="130"/>
                    </a:lnTo>
                    <a:lnTo>
                      <a:pt x="152" y="131"/>
                    </a:lnTo>
                    <a:lnTo>
                      <a:pt x="152" y="131"/>
                    </a:lnTo>
                    <a:lnTo>
                      <a:pt x="155" y="132"/>
                    </a:lnTo>
                    <a:lnTo>
                      <a:pt x="159" y="132"/>
                    </a:lnTo>
                    <a:lnTo>
                      <a:pt x="164" y="134"/>
                    </a:lnTo>
                    <a:lnTo>
                      <a:pt x="165" y="135"/>
                    </a:lnTo>
                    <a:lnTo>
                      <a:pt x="166" y="135"/>
                    </a:lnTo>
                    <a:lnTo>
                      <a:pt x="166" y="135"/>
                    </a:lnTo>
                    <a:lnTo>
                      <a:pt x="168" y="138"/>
                    </a:lnTo>
                    <a:lnTo>
                      <a:pt x="169" y="139"/>
                    </a:lnTo>
                    <a:lnTo>
                      <a:pt x="172" y="139"/>
                    </a:lnTo>
                    <a:lnTo>
                      <a:pt x="172" y="137"/>
                    </a:lnTo>
                    <a:lnTo>
                      <a:pt x="172" y="137"/>
                    </a:lnTo>
                    <a:lnTo>
                      <a:pt x="174" y="132"/>
                    </a:lnTo>
                    <a:lnTo>
                      <a:pt x="176" y="131"/>
                    </a:lnTo>
                    <a:lnTo>
                      <a:pt x="179" y="130"/>
                    </a:lnTo>
                    <a:lnTo>
                      <a:pt x="184" y="130"/>
                    </a:lnTo>
                    <a:lnTo>
                      <a:pt x="184" y="130"/>
                    </a:lnTo>
                    <a:lnTo>
                      <a:pt x="188" y="130"/>
                    </a:lnTo>
                    <a:lnTo>
                      <a:pt x="193" y="127"/>
                    </a:lnTo>
                    <a:lnTo>
                      <a:pt x="203" y="122"/>
                    </a:lnTo>
                    <a:lnTo>
                      <a:pt x="203" y="122"/>
                    </a:lnTo>
                    <a:lnTo>
                      <a:pt x="206" y="120"/>
                    </a:lnTo>
                    <a:lnTo>
                      <a:pt x="208" y="117"/>
                    </a:lnTo>
                    <a:lnTo>
                      <a:pt x="208" y="117"/>
                    </a:lnTo>
                    <a:lnTo>
                      <a:pt x="202" y="110"/>
                    </a:lnTo>
                    <a:lnTo>
                      <a:pt x="196" y="104"/>
                    </a:lnTo>
                    <a:lnTo>
                      <a:pt x="196" y="104"/>
                    </a:lnTo>
                    <a:lnTo>
                      <a:pt x="196" y="101"/>
                    </a:lnTo>
                    <a:lnTo>
                      <a:pt x="196" y="100"/>
                    </a:lnTo>
                    <a:lnTo>
                      <a:pt x="198" y="98"/>
                    </a:lnTo>
                    <a:lnTo>
                      <a:pt x="199" y="95"/>
                    </a:lnTo>
                    <a:lnTo>
                      <a:pt x="199" y="95"/>
                    </a:lnTo>
                    <a:lnTo>
                      <a:pt x="199" y="93"/>
                    </a:lnTo>
                    <a:lnTo>
                      <a:pt x="199" y="90"/>
                    </a:lnTo>
                    <a:lnTo>
                      <a:pt x="202" y="88"/>
                    </a:lnTo>
                    <a:lnTo>
                      <a:pt x="206" y="88"/>
                    </a:lnTo>
                    <a:lnTo>
                      <a:pt x="206" y="88"/>
                    </a:lnTo>
                    <a:lnTo>
                      <a:pt x="211" y="87"/>
                    </a:lnTo>
                    <a:lnTo>
                      <a:pt x="212" y="84"/>
                    </a:lnTo>
                    <a:lnTo>
                      <a:pt x="211" y="81"/>
                    </a:lnTo>
                    <a:lnTo>
                      <a:pt x="209" y="78"/>
                    </a:lnTo>
                    <a:lnTo>
                      <a:pt x="209" y="78"/>
                    </a:lnTo>
                    <a:lnTo>
                      <a:pt x="208" y="78"/>
                    </a:lnTo>
                    <a:lnTo>
                      <a:pt x="208" y="77"/>
                    </a:lnTo>
                    <a:lnTo>
                      <a:pt x="208" y="74"/>
                    </a:lnTo>
                    <a:lnTo>
                      <a:pt x="211" y="70"/>
                    </a:lnTo>
                    <a:lnTo>
                      <a:pt x="215" y="68"/>
                    </a:lnTo>
                    <a:lnTo>
                      <a:pt x="215" y="68"/>
                    </a:lnTo>
                    <a:lnTo>
                      <a:pt x="218" y="66"/>
                    </a:lnTo>
                    <a:lnTo>
                      <a:pt x="220" y="60"/>
                    </a:lnTo>
                    <a:lnTo>
                      <a:pt x="220" y="60"/>
                    </a:lnTo>
                    <a:lnTo>
                      <a:pt x="213" y="58"/>
                    </a:lnTo>
                    <a:lnTo>
                      <a:pt x="208" y="58"/>
                    </a:lnTo>
                    <a:lnTo>
                      <a:pt x="196" y="58"/>
                    </a:lnTo>
                    <a:lnTo>
                      <a:pt x="196" y="58"/>
                    </a:lnTo>
                    <a:lnTo>
                      <a:pt x="195" y="58"/>
                    </a:lnTo>
                    <a:lnTo>
                      <a:pt x="195" y="57"/>
                    </a:lnTo>
                    <a:lnTo>
                      <a:pt x="196" y="54"/>
                    </a:lnTo>
                    <a:lnTo>
                      <a:pt x="199" y="50"/>
                    </a:lnTo>
                    <a:lnTo>
                      <a:pt x="201" y="44"/>
                    </a:lnTo>
                    <a:lnTo>
                      <a:pt x="201" y="44"/>
                    </a:lnTo>
                    <a:lnTo>
                      <a:pt x="201" y="43"/>
                    </a:lnTo>
                    <a:lnTo>
                      <a:pt x="199" y="41"/>
                    </a:lnTo>
                    <a:lnTo>
                      <a:pt x="192" y="38"/>
                    </a:lnTo>
                    <a:lnTo>
                      <a:pt x="178" y="36"/>
                    </a:lnTo>
                    <a:lnTo>
                      <a:pt x="178" y="36"/>
                    </a:lnTo>
                    <a:lnTo>
                      <a:pt x="174" y="34"/>
                    </a:lnTo>
                    <a:lnTo>
                      <a:pt x="174" y="31"/>
                    </a:lnTo>
                    <a:lnTo>
                      <a:pt x="175" y="29"/>
                    </a:lnTo>
                    <a:lnTo>
                      <a:pt x="179" y="27"/>
                    </a:lnTo>
                    <a:lnTo>
                      <a:pt x="179" y="27"/>
                    </a:lnTo>
                    <a:lnTo>
                      <a:pt x="181" y="27"/>
                    </a:lnTo>
                    <a:lnTo>
                      <a:pt x="182" y="26"/>
                    </a:lnTo>
                    <a:lnTo>
                      <a:pt x="179" y="24"/>
                    </a:lnTo>
                    <a:lnTo>
                      <a:pt x="174" y="23"/>
                    </a:lnTo>
                    <a:lnTo>
                      <a:pt x="166" y="23"/>
                    </a:lnTo>
                    <a:lnTo>
                      <a:pt x="166" y="23"/>
                    </a:lnTo>
                    <a:lnTo>
                      <a:pt x="158" y="24"/>
                    </a:lnTo>
                    <a:lnTo>
                      <a:pt x="149" y="27"/>
                    </a:lnTo>
                    <a:lnTo>
                      <a:pt x="135" y="34"/>
                    </a:lnTo>
                    <a:lnTo>
                      <a:pt x="135" y="34"/>
                    </a:lnTo>
                    <a:lnTo>
                      <a:pt x="132" y="34"/>
                    </a:lnTo>
                    <a:lnTo>
                      <a:pt x="128" y="34"/>
                    </a:lnTo>
                    <a:lnTo>
                      <a:pt x="121" y="30"/>
                    </a:lnTo>
                    <a:lnTo>
                      <a:pt x="112" y="26"/>
                    </a:lnTo>
                    <a:lnTo>
                      <a:pt x="108" y="24"/>
                    </a:lnTo>
                    <a:lnTo>
                      <a:pt x="105" y="26"/>
                    </a:lnTo>
                    <a:lnTo>
                      <a:pt x="105" y="26"/>
                    </a:lnTo>
                    <a:lnTo>
                      <a:pt x="98" y="27"/>
                    </a:lnTo>
                    <a:lnTo>
                      <a:pt x="91" y="27"/>
                    </a:lnTo>
                    <a:lnTo>
                      <a:pt x="85" y="26"/>
                    </a:lnTo>
                    <a:lnTo>
                      <a:pt x="84" y="24"/>
                    </a:lnTo>
                    <a:lnTo>
                      <a:pt x="84" y="21"/>
                    </a:lnTo>
                    <a:lnTo>
                      <a:pt x="84" y="21"/>
                    </a:lnTo>
                    <a:lnTo>
                      <a:pt x="83" y="17"/>
                    </a:lnTo>
                    <a:lnTo>
                      <a:pt x="81" y="13"/>
                    </a:lnTo>
                    <a:lnTo>
                      <a:pt x="77" y="10"/>
                    </a:lnTo>
                    <a:lnTo>
                      <a:pt x="71" y="9"/>
                    </a:lnTo>
                    <a:lnTo>
                      <a:pt x="71" y="9"/>
                    </a:lnTo>
                    <a:lnTo>
                      <a:pt x="68" y="9"/>
                    </a:lnTo>
                    <a:lnTo>
                      <a:pt x="67" y="9"/>
                    </a:lnTo>
                    <a:lnTo>
                      <a:pt x="64" y="4"/>
                    </a:lnTo>
                    <a:lnTo>
                      <a:pt x="61" y="1"/>
                    </a:lnTo>
                    <a:lnTo>
                      <a:pt x="60" y="0"/>
                    </a:lnTo>
                    <a:lnTo>
                      <a:pt x="58" y="0"/>
                    </a:lnTo>
                    <a:lnTo>
                      <a:pt x="58" y="0"/>
                    </a:lnTo>
                    <a:lnTo>
                      <a:pt x="55" y="0"/>
                    </a:lnTo>
                    <a:lnTo>
                      <a:pt x="55" y="1"/>
                    </a:lnTo>
                    <a:lnTo>
                      <a:pt x="54" y="4"/>
                    </a:lnTo>
                    <a:lnTo>
                      <a:pt x="55" y="9"/>
                    </a:lnTo>
                    <a:lnTo>
                      <a:pt x="54" y="10"/>
                    </a:lnTo>
                    <a:lnTo>
                      <a:pt x="53" y="10"/>
                    </a:lnTo>
                    <a:lnTo>
                      <a:pt x="53" y="10"/>
                    </a:lnTo>
                    <a:lnTo>
                      <a:pt x="41" y="16"/>
                    </a:lnTo>
                    <a:lnTo>
                      <a:pt x="34" y="19"/>
                    </a:lnTo>
                    <a:lnTo>
                      <a:pt x="33" y="21"/>
                    </a:lnTo>
                    <a:lnTo>
                      <a:pt x="31" y="23"/>
                    </a:lnTo>
                    <a:lnTo>
                      <a:pt x="31" y="23"/>
                    </a:lnTo>
                    <a:lnTo>
                      <a:pt x="33" y="29"/>
                    </a:lnTo>
                    <a:lnTo>
                      <a:pt x="36" y="34"/>
                    </a:lnTo>
                    <a:lnTo>
                      <a:pt x="37" y="41"/>
                    </a:lnTo>
                    <a:lnTo>
                      <a:pt x="37" y="44"/>
                    </a:lnTo>
                    <a:lnTo>
                      <a:pt x="37" y="47"/>
                    </a:lnTo>
                    <a:lnTo>
                      <a:pt x="37" y="47"/>
                    </a:lnTo>
                    <a:lnTo>
                      <a:pt x="36" y="48"/>
                    </a:lnTo>
                    <a:lnTo>
                      <a:pt x="33" y="50"/>
                    </a:lnTo>
                    <a:lnTo>
                      <a:pt x="28" y="48"/>
                    </a:lnTo>
                    <a:lnTo>
                      <a:pt x="23" y="46"/>
                    </a:lnTo>
                    <a:lnTo>
                      <a:pt x="20" y="41"/>
                    </a:lnTo>
                    <a:lnTo>
                      <a:pt x="20" y="41"/>
                    </a:lnTo>
                    <a:lnTo>
                      <a:pt x="18" y="38"/>
                    </a:lnTo>
                    <a:lnTo>
                      <a:pt x="20" y="36"/>
                    </a:lnTo>
                    <a:lnTo>
                      <a:pt x="23" y="30"/>
                    </a:lnTo>
                    <a:lnTo>
                      <a:pt x="26" y="24"/>
                    </a:lnTo>
                    <a:lnTo>
                      <a:pt x="27" y="21"/>
                    </a:lnTo>
                    <a:lnTo>
                      <a:pt x="27" y="20"/>
                    </a:lnTo>
                    <a:lnTo>
                      <a:pt x="27" y="20"/>
                    </a:lnTo>
                    <a:lnTo>
                      <a:pt x="24" y="14"/>
                    </a:lnTo>
                    <a:lnTo>
                      <a:pt x="24" y="11"/>
                    </a:lnTo>
                    <a:lnTo>
                      <a:pt x="24" y="9"/>
                    </a:lnTo>
                    <a:lnTo>
                      <a:pt x="24" y="9"/>
                    </a:lnTo>
                    <a:lnTo>
                      <a:pt x="21" y="10"/>
                    </a:lnTo>
                    <a:lnTo>
                      <a:pt x="20" y="11"/>
                    </a:lnTo>
                    <a:lnTo>
                      <a:pt x="20" y="1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9" name="Argentina">
                <a:extLst>
                  <a:ext uri="{FF2B5EF4-FFF2-40B4-BE49-F238E27FC236}">
                    <a16:creationId xmlns:a16="http://schemas.microsoft.com/office/drawing/2014/main" id="{C14B9309-CE22-8949-9FE1-D6866BD4809C}"/>
                  </a:ext>
                </a:extLst>
              </p:cNvPr>
              <p:cNvSpPr>
                <a:spLocks noEditPoints="1"/>
              </p:cNvSpPr>
              <p:nvPr/>
            </p:nvSpPr>
            <p:spPr bwMode="auto">
              <a:xfrm>
                <a:off x="2560975" y="4846902"/>
                <a:ext cx="475011" cy="941142"/>
              </a:xfrm>
              <a:custGeom>
                <a:avLst/>
                <a:gdLst/>
                <a:ahLst/>
                <a:cxnLst>
                  <a:cxn ang="0">
                    <a:pos x="87" y="597"/>
                  </a:cxn>
                  <a:cxn ang="0">
                    <a:pos x="84" y="587"/>
                  </a:cxn>
                  <a:cxn ang="0">
                    <a:pos x="78" y="633"/>
                  </a:cxn>
                  <a:cxn ang="0">
                    <a:pos x="116" y="633"/>
                  </a:cxn>
                  <a:cxn ang="0">
                    <a:pos x="318" y="62"/>
                  </a:cxn>
                  <a:cxn ang="0">
                    <a:pos x="303" y="84"/>
                  </a:cxn>
                  <a:cxn ang="0">
                    <a:pos x="284" y="94"/>
                  </a:cxn>
                  <a:cxn ang="0">
                    <a:pos x="257" y="95"/>
                  </a:cxn>
                  <a:cxn ang="0">
                    <a:pos x="249" y="81"/>
                  </a:cxn>
                  <a:cxn ang="0">
                    <a:pos x="256" y="55"/>
                  </a:cxn>
                  <a:cxn ang="0">
                    <a:pos x="213" y="35"/>
                  </a:cxn>
                  <a:cxn ang="0">
                    <a:pos x="173" y="1"/>
                  </a:cxn>
                  <a:cxn ang="0">
                    <a:pos x="148" y="11"/>
                  </a:cxn>
                  <a:cxn ang="0">
                    <a:pos x="115" y="4"/>
                  </a:cxn>
                  <a:cxn ang="0">
                    <a:pos x="89" y="40"/>
                  </a:cxn>
                  <a:cxn ang="0">
                    <a:pos x="81" y="61"/>
                  </a:cxn>
                  <a:cxn ang="0">
                    <a:pos x="84" y="84"/>
                  </a:cxn>
                  <a:cxn ang="0">
                    <a:pos x="71" y="105"/>
                  </a:cxn>
                  <a:cxn ang="0">
                    <a:pos x="58" y="125"/>
                  </a:cxn>
                  <a:cxn ang="0">
                    <a:pos x="55" y="148"/>
                  </a:cxn>
                  <a:cxn ang="0">
                    <a:pos x="50" y="176"/>
                  </a:cxn>
                  <a:cxn ang="0">
                    <a:pos x="59" y="206"/>
                  </a:cxn>
                  <a:cxn ang="0">
                    <a:pos x="50" y="232"/>
                  </a:cxn>
                  <a:cxn ang="0">
                    <a:pos x="42" y="256"/>
                  </a:cxn>
                  <a:cxn ang="0">
                    <a:pos x="41" y="294"/>
                  </a:cxn>
                  <a:cxn ang="0">
                    <a:pos x="34" y="311"/>
                  </a:cxn>
                  <a:cxn ang="0">
                    <a:pos x="25" y="333"/>
                  </a:cxn>
                  <a:cxn ang="0">
                    <a:pos x="27" y="358"/>
                  </a:cxn>
                  <a:cxn ang="0">
                    <a:pos x="22" y="382"/>
                  </a:cxn>
                  <a:cxn ang="0">
                    <a:pos x="27" y="401"/>
                  </a:cxn>
                  <a:cxn ang="0">
                    <a:pos x="37" y="415"/>
                  </a:cxn>
                  <a:cxn ang="0">
                    <a:pos x="34" y="425"/>
                  </a:cxn>
                  <a:cxn ang="0">
                    <a:pos x="28" y="448"/>
                  </a:cxn>
                  <a:cxn ang="0">
                    <a:pos x="25" y="466"/>
                  </a:cxn>
                  <a:cxn ang="0">
                    <a:pos x="15" y="481"/>
                  </a:cxn>
                  <a:cxn ang="0">
                    <a:pos x="11" y="500"/>
                  </a:cxn>
                  <a:cxn ang="0">
                    <a:pos x="1" y="526"/>
                  </a:cxn>
                  <a:cxn ang="0">
                    <a:pos x="18" y="539"/>
                  </a:cxn>
                  <a:cxn ang="0">
                    <a:pos x="22" y="562"/>
                  </a:cxn>
                  <a:cxn ang="0">
                    <a:pos x="61" y="569"/>
                  </a:cxn>
                  <a:cxn ang="0">
                    <a:pos x="79" y="570"/>
                  </a:cxn>
                  <a:cxn ang="0">
                    <a:pos x="71" y="535"/>
                  </a:cxn>
                  <a:cxn ang="0">
                    <a:pos x="91" y="519"/>
                  </a:cxn>
                  <a:cxn ang="0">
                    <a:pos x="122" y="482"/>
                  </a:cxn>
                  <a:cxn ang="0">
                    <a:pos x="118" y="462"/>
                  </a:cxn>
                  <a:cxn ang="0">
                    <a:pos x="98" y="435"/>
                  </a:cxn>
                  <a:cxn ang="0">
                    <a:pos x="126" y="414"/>
                  </a:cxn>
                  <a:cxn ang="0">
                    <a:pos x="136" y="385"/>
                  </a:cxn>
                  <a:cxn ang="0">
                    <a:pos x="139" y="377"/>
                  </a:cxn>
                  <a:cxn ang="0">
                    <a:pos x="156" y="377"/>
                  </a:cxn>
                  <a:cxn ang="0">
                    <a:pos x="148" y="368"/>
                  </a:cxn>
                  <a:cxn ang="0">
                    <a:pos x="136" y="355"/>
                  </a:cxn>
                  <a:cxn ang="0">
                    <a:pos x="146" y="340"/>
                  </a:cxn>
                  <a:cxn ang="0">
                    <a:pos x="178" y="327"/>
                  </a:cxn>
                  <a:cxn ang="0">
                    <a:pos x="180" y="308"/>
                  </a:cxn>
                  <a:cxn ang="0">
                    <a:pos x="227" y="300"/>
                  </a:cxn>
                  <a:cxn ang="0">
                    <a:pos x="273" y="263"/>
                  </a:cxn>
                  <a:cxn ang="0">
                    <a:pos x="263" y="239"/>
                  </a:cxn>
                  <a:cxn ang="0">
                    <a:pos x="242" y="222"/>
                  </a:cxn>
                  <a:cxn ang="0">
                    <a:pos x="250" y="210"/>
                  </a:cxn>
                  <a:cxn ang="0">
                    <a:pos x="249" y="180"/>
                  </a:cxn>
                  <a:cxn ang="0">
                    <a:pos x="269" y="135"/>
                  </a:cxn>
                  <a:cxn ang="0">
                    <a:pos x="318" y="89"/>
                  </a:cxn>
                </a:cxnLst>
                <a:rect l="0" t="0" r="r" b="b"/>
                <a:pathLst>
                  <a:path w="321" h="636">
                    <a:moveTo>
                      <a:pt x="121" y="624"/>
                    </a:moveTo>
                    <a:lnTo>
                      <a:pt x="121" y="624"/>
                    </a:lnTo>
                    <a:lnTo>
                      <a:pt x="118" y="623"/>
                    </a:lnTo>
                    <a:lnTo>
                      <a:pt x="114" y="621"/>
                    </a:lnTo>
                    <a:lnTo>
                      <a:pt x="104" y="614"/>
                    </a:lnTo>
                    <a:lnTo>
                      <a:pt x="89" y="603"/>
                    </a:lnTo>
                    <a:lnTo>
                      <a:pt x="89" y="603"/>
                    </a:lnTo>
                    <a:lnTo>
                      <a:pt x="87" y="600"/>
                    </a:lnTo>
                    <a:lnTo>
                      <a:pt x="87" y="597"/>
                    </a:lnTo>
                    <a:lnTo>
                      <a:pt x="85" y="596"/>
                    </a:lnTo>
                    <a:lnTo>
                      <a:pt x="82" y="596"/>
                    </a:lnTo>
                    <a:lnTo>
                      <a:pt x="82" y="596"/>
                    </a:lnTo>
                    <a:lnTo>
                      <a:pt x="79" y="594"/>
                    </a:lnTo>
                    <a:lnTo>
                      <a:pt x="78" y="593"/>
                    </a:lnTo>
                    <a:lnTo>
                      <a:pt x="81" y="590"/>
                    </a:lnTo>
                    <a:lnTo>
                      <a:pt x="84" y="589"/>
                    </a:lnTo>
                    <a:lnTo>
                      <a:pt x="84" y="589"/>
                    </a:lnTo>
                    <a:lnTo>
                      <a:pt x="84" y="587"/>
                    </a:lnTo>
                    <a:lnTo>
                      <a:pt x="84" y="584"/>
                    </a:lnTo>
                    <a:lnTo>
                      <a:pt x="81" y="582"/>
                    </a:lnTo>
                    <a:lnTo>
                      <a:pt x="78" y="580"/>
                    </a:lnTo>
                    <a:lnTo>
                      <a:pt x="78" y="580"/>
                    </a:lnTo>
                    <a:lnTo>
                      <a:pt x="77" y="610"/>
                    </a:lnTo>
                    <a:lnTo>
                      <a:pt x="77" y="626"/>
                    </a:lnTo>
                    <a:lnTo>
                      <a:pt x="77" y="631"/>
                    </a:lnTo>
                    <a:lnTo>
                      <a:pt x="78" y="633"/>
                    </a:lnTo>
                    <a:lnTo>
                      <a:pt x="78" y="633"/>
                    </a:lnTo>
                    <a:lnTo>
                      <a:pt x="89" y="633"/>
                    </a:lnTo>
                    <a:lnTo>
                      <a:pt x="98" y="633"/>
                    </a:lnTo>
                    <a:lnTo>
                      <a:pt x="105" y="634"/>
                    </a:lnTo>
                    <a:lnTo>
                      <a:pt x="105" y="634"/>
                    </a:lnTo>
                    <a:lnTo>
                      <a:pt x="108" y="636"/>
                    </a:lnTo>
                    <a:lnTo>
                      <a:pt x="111" y="636"/>
                    </a:lnTo>
                    <a:lnTo>
                      <a:pt x="112" y="634"/>
                    </a:lnTo>
                    <a:lnTo>
                      <a:pt x="112" y="634"/>
                    </a:lnTo>
                    <a:lnTo>
                      <a:pt x="116" y="633"/>
                    </a:lnTo>
                    <a:lnTo>
                      <a:pt x="121" y="631"/>
                    </a:lnTo>
                    <a:lnTo>
                      <a:pt x="126" y="630"/>
                    </a:lnTo>
                    <a:lnTo>
                      <a:pt x="132" y="629"/>
                    </a:lnTo>
                    <a:lnTo>
                      <a:pt x="132" y="629"/>
                    </a:lnTo>
                    <a:lnTo>
                      <a:pt x="133" y="627"/>
                    </a:lnTo>
                    <a:lnTo>
                      <a:pt x="132" y="626"/>
                    </a:lnTo>
                    <a:lnTo>
                      <a:pt x="121" y="624"/>
                    </a:lnTo>
                    <a:lnTo>
                      <a:pt x="121" y="624"/>
                    </a:lnTo>
                    <a:close/>
                    <a:moveTo>
                      <a:pt x="318" y="62"/>
                    </a:moveTo>
                    <a:lnTo>
                      <a:pt x="318" y="62"/>
                    </a:lnTo>
                    <a:lnTo>
                      <a:pt x="314" y="61"/>
                    </a:lnTo>
                    <a:lnTo>
                      <a:pt x="307" y="61"/>
                    </a:lnTo>
                    <a:lnTo>
                      <a:pt x="307" y="61"/>
                    </a:lnTo>
                    <a:lnTo>
                      <a:pt x="307" y="64"/>
                    </a:lnTo>
                    <a:lnTo>
                      <a:pt x="307" y="64"/>
                    </a:lnTo>
                    <a:lnTo>
                      <a:pt x="307" y="69"/>
                    </a:lnTo>
                    <a:lnTo>
                      <a:pt x="306" y="78"/>
                    </a:lnTo>
                    <a:lnTo>
                      <a:pt x="303" y="84"/>
                    </a:lnTo>
                    <a:lnTo>
                      <a:pt x="301" y="87"/>
                    </a:lnTo>
                    <a:lnTo>
                      <a:pt x="300" y="87"/>
                    </a:lnTo>
                    <a:lnTo>
                      <a:pt x="300" y="87"/>
                    </a:lnTo>
                    <a:lnTo>
                      <a:pt x="296" y="88"/>
                    </a:lnTo>
                    <a:lnTo>
                      <a:pt x="293" y="89"/>
                    </a:lnTo>
                    <a:lnTo>
                      <a:pt x="290" y="92"/>
                    </a:lnTo>
                    <a:lnTo>
                      <a:pt x="287" y="94"/>
                    </a:lnTo>
                    <a:lnTo>
                      <a:pt x="287" y="94"/>
                    </a:lnTo>
                    <a:lnTo>
                      <a:pt x="284" y="94"/>
                    </a:lnTo>
                    <a:lnTo>
                      <a:pt x="280" y="95"/>
                    </a:lnTo>
                    <a:lnTo>
                      <a:pt x="277" y="96"/>
                    </a:lnTo>
                    <a:lnTo>
                      <a:pt x="273" y="96"/>
                    </a:lnTo>
                    <a:lnTo>
                      <a:pt x="273" y="96"/>
                    </a:lnTo>
                    <a:lnTo>
                      <a:pt x="269" y="95"/>
                    </a:lnTo>
                    <a:lnTo>
                      <a:pt x="264" y="95"/>
                    </a:lnTo>
                    <a:lnTo>
                      <a:pt x="261" y="95"/>
                    </a:lnTo>
                    <a:lnTo>
                      <a:pt x="257" y="95"/>
                    </a:lnTo>
                    <a:lnTo>
                      <a:pt x="257" y="95"/>
                    </a:lnTo>
                    <a:lnTo>
                      <a:pt x="254" y="94"/>
                    </a:lnTo>
                    <a:lnTo>
                      <a:pt x="249" y="94"/>
                    </a:lnTo>
                    <a:lnTo>
                      <a:pt x="244" y="92"/>
                    </a:lnTo>
                    <a:lnTo>
                      <a:pt x="243" y="91"/>
                    </a:lnTo>
                    <a:lnTo>
                      <a:pt x="243" y="91"/>
                    </a:lnTo>
                    <a:lnTo>
                      <a:pt x="243" y="89"/>
                    </a:lnTo>
                    <a:lnTo>
                      <a:pt x="246" y="88"/>
                    </a:lnTo>
                    <a:lnTo>
                      <a:pt x="247" y="85"/>
                    </a:lnTo>
                    <a:lnTo>
                      <a:pt x="249" y="81"/>
                    </a:lnTo>
                    <a:lnTo>
                      <a:pt x="249" y="81"/>
                    </a:lnTo>
                    <a:lnTo>
                      <a:pt x="249" y="77"/>
                    </a:lnTo>
                    <a:lnTo>
                      <a:pt x="250" y="74"/>
                    </a:lnTo>
                    <a:lnTo>
                      <a:pt x="254" y="68"/>
                    </a:lnTo>
                    <a:lnTo>
                      <a:pt x="260" y="62"/>
                    </a:lnTo>
                    <a:lnTo>
                      <a:pt x="260" y="61"/>
                    </a:lnTo>
                    <a:lnTo>
                      <a:pt x="260" y="59"/>
                    </a:lnTo>
                    <a:lnTo>
                      <a:pt x="260" y="59"/>
                    </a:lnTo>
                    <a:lnTo>
                      <a:pt x="256" y="55"/>
                    </a:lnTo>
                    <a:lnTo>
                      <a:pt x="246" y="52"/>
                    </a:lnTo>
                    <a:lnTo>
                      <a:pt x="236" y="48"/>
                    </a:lnTo>
                    <a:lnTo>
                      <a:pt x="230" y="44"/>
                    </a:lnTo>
                    <a:lnTo>
                      <a:pt x="230" y="44"/>
                    </a:lnTo>
                    <a:lnTo>
                      <a:pt x="227" y="41"/>
                    </a:lnTo>
                    <a:lnTo>
                      <a:pt x="224" y="38"/>
                    </a:lnTo>
                    <a:lnTo>
                      <a:pt x="219" y="35"/>
                    </a:lnTo>
                    <a:lnTo>
                      <a:pt x="213" y="35"/>
                    </a:lnTo>
                    <a:lnTo>
                      <a:pt x="213" y="35"/>
                    </a:lnTo>
                    <a:lnTo>
                      <a:pt x="207" y="34"/>
                    </a:lnTo>
                    <a:lnTo>
                      <a:pt x="203" y="31"/>
                    </a:lnTo>
                    <a:lnTo>
                      <a:pt x="200" y="28"/>
                    </a:lnTo>
                    <a:lnTo>
                      <a:pt x="195" y="24"/>
                    </a:lnTo>
                    <a:lnTo>
                      <a:pt x="195" y="24"/>
                    </a:lnTo>
                    <a:lnTo>
                      <a:pt x="189" y="20"/>
                    </a:lnTo>
                    <a:lnTo>
                      <a:pt x="183" y="13"/>
                    </a:lnTo>
                    <a:lnTo>
                      <a:pt x="178" y="7"/>
                    </a:lnTo>
                    <a:lnTo>
                      <a:pt x="173" y="1"/>
                    </a:lnTo>
                    <a:lnTo>
                      <a:pt x="173" y="1"/>
                    </a:lnTo>
                    <a:lnTo>
                      <a:pt x="163" y="0"/>
                    </a:lnTo>
                    <a:lnTo>
                      <a:pt x="159" y="0"/>
                    </a:lnTo>
                    <a:lnTo>
                      <a:pt x="158" y="1"/>
                    </a:lnTo>
                    <a:lnTo>
                      <a:pt x="158" y="1"/>
                    </a:lnTo>
                    <a:lnTo>
                      <a:pt x="152" y="10"/>
                    </a:lnTo>
                    <a:lnTo>
                      <a:pt x="151" y="13"/>
                    </a:lnTo>
                    <a:lnTo>
                      <a:pt x="149" y="13"/>
                    </a:lnTo>
                    <a:lnTo>
                      <a:pt x="148" y="11"/>
                    </a:lnTo>
                    <a:lnTo>
                      <a:pt x="148" y="11"/>
                    </a:lnTo>
                    <a:lnTo>
                      <a:pt x="145" y="7"/>
                    </a:lnTo>
                    <a:lnTo>
                      <a:pt x="139" y="4"/>
                    </a:lnTo>
                    <a:lnTo>
                      <a:pt x="129" y="3"/>
                    </a:lnTo>
                    <a:lnTo>
                      <a:pt x="129" y="3"/>
                    </a:lnTo>
                    <a:lnTo>
                      <a:pt x="125" y="1"/>
                    </a:lnTo>
                    <a:lnTo>
                      <a:pt x="122" y="0"/>
                    </a:lnTo>
                    <a:lnTo>
                      <a:pt x="119" y="0"/>
                    </a:lnTo>
                    <a:lnTo>
                      <a:pt x="115" y="4"/>
                    </a:lnTo>
                    <a:lnTo>
                      <a:pt x="115" y="4"/>
                    </a:lnTo>
                    <a:lnTo>
                      <a:pt x="109" y="8"/>
                    </a:lnTo>
                    <a:lnTo>
                      <a:pt x="104" y="13"/>
                    </a:lnTo>
                    <a:lnTo>
                      <a:pt x="104" y="13"/>
                    </a:lnTo>
                    <a:lnTo>
                      <a:pt x="102" y="24"/>
                    </a:lnTo>
                    <a:lnTo>
                      <a:pt x="99" y="32"/>
                    </a:lnTo>
                    <a:lnTo>
                      <a:pt x="99" y="32"/>
                    </a:lnTo>
                    <a:lnTo>
                      <a:pt x="96" y="35"/>
                    </a:lnTo>
                    <a:lnTo>
                      <a:pt x="89" y="40"/>
                    </a:lnTo>
                    <a:lnTo>
                      <a:pt x="84" y="42"/>
                    </a:lnTo>
                    <a:lnTo>
                      <a:pt x="81" y="47"/>
                    </a:lnTo>
                    <a:lnTo>
                      <a:pt x="81" y="47"/>
                    </a:lnTo>
                    <a:lnTo>
                      <a:pt x="82" y="52"/>
                    </a:lnTo>
                    <a:lnTo>
                      <a:pt x="82" y="55"/>
                    </a:lnTo>
                    <a:lnTo>
                      <a:pt x="81" y="58"/>
                    </a:lnTo>
                    <a:lnTo>
                      <a:pt x="81" y="58"/>
                    </a:lnTo>
                    <a:lnTo>
                      <a:pt x="79" y="59"/>
                    </a:lnTo>
                    <a:lnTo>
                      <a:pt x="81" y="61"/>
                    </a:lnTo>
                    <a:lnTo>
                      <a:pt x="82" y="67"/>
                    </a:lnTo>
                    <a:lnTo>
                      <a:pt x="84" y="72"/>
                    </a:lnTo>
                    <a:lnTo>
                      <a:pt x="84" y="74"/>
                    </a:lnTo>
                    <a:lnTo>
                      <a:pt x="82" y="75"/>
                    </a:lnTo>
                    <a:lnTo>
                      <a:pt x="82" y="75"/>
                    </a:lnTo>
                    <a:lnTo>
                      <a:pt x="81" y="77"/>
                    </a:lnTo>
                    <a:lnTo>
                      <a:pt x="81" y="78"/>
                    </a:lnTo>
                    <a:lnTo>
                      <a:pt x="81" y="81"/>
                    </a:lnTo>
                    <a:lnTo>
                      <a:pt x="84" y="84"/>
                    </a:lnTo>
                    <a:lnTo>
                      <a:pt x="84" y="85"/>
                    </a:lnTo>
                    <a:lnTo>
                      <a:pt x="82" y="85"/>
                    </a:lnTo>
                    <a:lnTo>
                      <a:pt x="82" y="85"/>
                    </a:lnTo>
                    <a:lnTo>
                      <a:pt x="77" y="89"/>
                    </a:lnTo>
                    <a:lnTo>
                      <a:pt x="74" y="91"/>
                    </a:lnTo>
                    <a:lnTo>
                      <a:pt x="72" y="94"/>
                    </a:lnTo>
                    <a:lnTo>
                      <a:pt x="72" y="94"/>
                    </a:lnTo>
                    <a:lnTo>
                      <a:pt x="72" y="101"/>
                    </a:lnTo>
                    <a:lnTo>
                      <a:pt x="71" y="105"/>
                    </a:lnTo>
                    <a:lnTo>
                      <a:pt x="68" y="106"/>
                    </a:lnTo>
                    <a:lnTo>
                      <a:pt x="68" y="106"/>
                    </a:lnTo>
                    <a:lnTo>
                      <a:pt x="65" y="109"/>
                    </a:lnTo>
                    <a:lnTo>
                      <a:pt x="62" y="114"/>
                    </a:lnTo>
                    <a:lnTo>
                      <a:pt x="61" y="118"/>
                    </a:lnTo>
                    <a:lnTo>
                      <a:pt x="61" y="122"/>
                    </a:lnTo>
                    <a:lnTo>
                      <a:pt x="61" y="122"/>
                    </a:lnTo>
                    <a:lnTo>
                      <a:pt x="59" y="123"/>
                    </a:lnTo>
                    <a:lnTo>
                      <a:pt x="58" y="125"/>
                    </a:lnTo>
                    <a:lnTo>
                      <a:pt x="57" y="126"/>
                    </a:lnTo>
                    <a:lnTo>
                      <a:pt x="57" y="131"/>
                    </a:lnTo>
                    <a:lnTo>
                      <a:pt x="57" y="131"/>
                    </a:lnTo>
                    <a:lnTo>
                      <a:pt x="59" y="141"/>
                    </a:lnTo>
                    <a:lnTo>
                      <a:pt x="59" y="145"/>
                    </a:lnTo>
                    <a:lnTo>
                      <a:pt x="58" y="146"/>
                    </a:lnTo>
                    <a:lnTo>
                      <a:pt x="57" y="146"/>
                    </a:lnTo>
                    <a:lnTo>
                      <a:pt x="57" y="146"/>
                    </a:lnTo>
                    <a:lnTo>
                      <a:pt x="55" y="148"/>
                    </a:lnTo>
                    <a:lnTo>
                      <a:pt x="54" y="149"/>
                    </a:lnTo>
                    <a:lnTo>
                      <a:pt x="52" y="153"/>
                    </a:lnTo>
                    <a:lnTo>
                      <a:pt x="51" y="158"/>
                    </a:lnTo>
                    <a:lnTo>
                      <a:pt x="50" y="159"/>
                    </a:lnTo>
                    <a:lnTo>
                      <a:pt x="50" y="159"/>
                    </a:lnTo>
                    <a:lnTo>
                      <a:pt x="48" y="160"/>
                    </a:lnTo>
                    <a:lnTo>
                      <a:pt x="47" y="166"/>
                    </a:lnTo>
                    <a:lnTo>
                      <a:pt x="48" y="172"/>
                    </a:lnTo>
                    <a:lnTo>
                      <a:pt x="50" y="176"/>
                    </a:lnTo>
                    <a:lnTo>
                      <a:pt x="50" y="176"/>
                    </a:lnTo>
                    <a:lnTo>
                      <a:pt x="52" y="180"/>
                    </a:lnTo>
                    <a:lnTo>
                      <a:pt x="54" y="185"/>
                    </a:lnTo>
                    <a:lnTo>
                      <a:pt x="55" y="192"/>
                    </a:lnTo>
                    <a:lnTo>
                      <a:pt x="55" y="192"/>
                    </a:lnTo>
                    <a:lnTo>
                      <a:pt x="55" y="196"/>
                    </a:lnTo>
                    <a:lnTo>
                      <a:pt x="58" y="199"/>
                    </a:lnTo>
                    <a:lnTo>
                      <a:pt x="59" y="202"/>
                    </a:lnTo>
                    <a:lnTo>
                      <a:pt x="59" y="206"/>
                    </a:lnTo>
                    <a:lnTo>
                      <a:pt x="59" y="206"/>
                    </a:lnTo>
                    <a:lnTo>
                      <a:pt x="57" y="215"/>
                    </a:lnTo>
                    <a:lnTo>
                      <a:pt x="57" y="217"/>
                    </a:lnTo>
                    <a:lnTo>
                      <a:pt x="54" y="220"/>
                    </a:lnTo>
                    <a:lnTo>
                      <a:pt x="54" y="220"/>
                    </a:lnTo>
                    <a:lnTo>
                      <a:pt x="52" y="222"/>
                    </a:lnTo>
                    <a:lnTo>
                      <a:pt x="52" y="226"/>
                    </a:lnTo>
                    <a:lnTo>
                      <a:pt x="52" y="229"/>
                    </a:lnTo>
                    <a:lnTo>
                      <a:pt x="50" y="232"/>
                    </a:lnTo>
                    <a:lnTo>
                      <a:pt x="50" y="232"/>
                    </a:lnTo>
                    <a:lnTo>
                      <a:pt x="48" y="233"/>
                    </a:lnTo>
                    <a:lnTo>
                      <a:pt x="48" y="234"/>
                    </a:lnTo>
                    <a:lnTo>
                      <a:pt x="50" y="242"/>
                    </a:lnTo>
                    <a:lnTo>
                      <a:pt x="51" y="247"/>
                    </a:lnTo>
                    <a:lnTo>
                      <a:pt x="51" y="250"/>
                    </a:lnTo>
                    <a:lnTo>
                      <a:pt x="50" y="252"/>
                    </a:lnTo>
                    <a:lnTo>
                      <a:pt x="50" y="252"/>
                    </a:lnTo>
                    <a:lnTo>
                      <a:pt x="42" y="256"/>
                    </a:lnTo>
                    <a:lnTo>
                      <a:pt x="40" y="260"/>
                    </a:lnTo>
                    <a:lnTo>
                      <a:pt x="38" y="267"/>
                    </a:lnTo>
                    <a:lnTo>
                      <a:pt x="38" y="267"/>
                    </a:lnTo>
                    <a:lnTo>
                      <a:pt x="38" y="280"/>
                    </a:lnTo>
                    <a:lnTo>
                      <a:pt x="38" y="289"/>
                    </a:lnTo>
                    <a:lnTo>
                      <a:pt x="38" y="289"/>
                    </a:lnTo>
                    <a:lnTo>
                      <a:pt x="38" y="291"/>
                    </a:lnTo>
                    <a:lnTo>
                      <a:pt x="40" y="293"/>
                    </a:lnTo>
                    <a:lnTo>
                      <a:pt x="41" y="294"/>
                    </a:lnTo>
                    <a:lnTo>
                      <a:pt x="42" y="297"/>
                    </a:lnTo>
                    <a:lnTo>
                      <a:pt x="42" y="297"/>
                    </a:lnTo>
                    <a:lnTo>
                      <a:pt x="41" y="300"/>
                    </a:lnTo>
                    <a:lnTo>
                      <a:pt x="40" y="301"/>
                    </a:lnTo>
                    <a:lnTo>
                      <a:pt x="37" y="301"/>
                    </a:lnTo>
                    <a:lnTo>
                      <a:pt x="34" y="303"/>
                    </a:lnTo>
                    <a:lnTo>
                      <a:pt x="32" y="304"/>
                    </a:lnTo>
                    <a:lnTo>
                      <a:pt x="32" y="304"/>
                    </a:lnTo>
                    <a:lnTo>
                      <a:pt x="34" y="311"/>
                    </a:lnTo>
                    <a:lnTo>
                      <a:pt x="32" y="314"/>
                    </a:lnTo>
                    <a:lnTo>
                      <a:pt x="32" y="316"/>
                    </a:lnTo>
                    <a:lnTo>
                      <a:pt x="32" y="316"/>
                    </a:lnTo>
                    <a:lnTo>
                      <a:pt x="30" y="317"/>
                    </a:lnTo>
                    <a:lnTo>
                      <a:pt x="28" y="318"/>
                    </a:lnTo>
                    <a:lnTo>
                      <a:pt x="28" y="325"/>
                    </a:lnTo>
                    <a:lnTo>
                      <a:pt x="28" y="325"/>
                    </a:lnTo>
                    <a:lnTo>
                      <a:pt x="27" y="330"/>
                    </a:lnTo>
                    <a:lnTo>
                      <a:pt x="25" y="333"/>
                    </a:lnTo>
                    <a:lnTo>
                      <a:pt x="24" y="335"/>
                    </a:lnTo>
                    <a:lnTo>
                      <a:pt x="22" y="337"/>
                    </a:lnTo>
                    <a:lnTo>
                      <a:pt x="22" y="337"/>
                    </a:lnTo>
                    <a:lnTo>
                      <a:pt x="24" y="340"/>
                    </a:lnTo>
                    <a:lnTo>
                      <a:pt x="25" y="343"/>
                    </a:lnTo>
                    <a:lnTo>
                      <a:pt x="25" y="345"/>
                    </a:lnTo>
                    <a:lnTo>
                      <a:pt x="27" y="348"/>
                    </a:lnTo>
                    <a:lnTo>
                      <a:pt x="27" y="348"/>
                    </a:lnTo>
                    <a:lnTo>
                      <a:pt x="27" y="358"/>
                    </a:lnTo>
                    <a:lnTo>
                      <a:pt x="27" y="362"/>
                    </a:lnTo>
                    <a:lnTo>
                      <a:pt x="27" y="365"/>
                    </a:lnTo>
                    <a:lnTo>
                      <a:pt x="25" y="365"/>
                    </a:lnTo>
                    <a:lnTo>
                      <a:pt x="25" y="365"/>
                    </a:lnTo>
                    <a:lnTo>
                      <a:pt x="24" y="368"/>
                    </a:lnTo>
                    <a:lnTo>
                      <a:pt x="22" y="374"/>
                    </a:lnTo>
                    <a:lnTo>
                      <a:pt x="22" y="380"/>
                    </a:lnTo>
                    <a:lnTo>
                      <a:pt x="22" y="382"/>
                    </a:lnTo>
                    <a:lnTo>
                      <a:pt x="22" y="382"/>
                    </a:lnTo>
                    <a:lnTo>
                      <a:pt x="25" y="384"/>
                    </a:lnTo>
                    <a:lnTo>
                      <a:pt x="25" y="387"/>
                    </a:lnTo>
                    <a:lnTo>
                      <a:pt x="24" y="391"/>
                    </a:lnTo>
                    <a:lnTo>
                      <a:pt x="24" y="391"/>
                    </a:lnTo>
                    <a:lnTo>
                      <a:pt x="25" y="394"/>
                    </a:lnTo>
                    <a:lnTo>
                      <a:pt x="27" y="395"/>
                    </a:lnTo>
                    <a:lnTo>
                      <a:pt x="28" y="398"/>
                    </a:lnTo>
                    <a:lnTo>
                      <a:pt x="28" y="399"/>
                    </a:lnTo>
                    <a:lnTo>
                      <a:pt x="27" y="401"/>
                    </a:lnTo>
                    <a:lnTo>
                      <a:pt x="27" y="401"/>
                    </a:lnTo>
                    <a:lnTo>
                      <a:pt x="25" y="405"/>
                    </a:lnTo>
                    <a:lnTo>
                      <a:pt x="25" y="408"/>
                    </a:lnTo>
                    <a:lnTo>
                      <a:pt x="28" y="409"/>
                    </a:lnTo>
                    <a:lnTo>
                      <a:pt x="32" y="409"/>
                    </a:lnTo>
                    <a:lnTo>
                      <a:pt x="32" y="409"/>
                    </a:lnTo>
                    <a:lnTo>
                      <a:pt x="35" y="409"/>
                    </a:lnTo>
                    <a:lnTo>
                      <a:pt x="37" y="412"/>
                    </a:lnTo>
                    <a:lnTo>
                      <a:pt x="37" y="415"/>
                    </a:lnTo>
                    <a:lnTo>
                      <a:pt x="35" y="417"/>
                    </a:lnTo>
                    <a:lnTo>
                      <a:pt x="34" y="417"/>
                    </a:lnTo>
                    <a:lnTo>
                      <a:pt x="34" y="417"/>
                    </a:lnTo>
                    <a:lnTo>
                      <a:pt x="28" y="417"/>
                    </a:lnTo>
                    <a:lnTo>
                      <a:pt x="27" y="418"/>
                    </a:lnTo>
                    <a:lnTo>
                      <a:pt x="28" y="419"/>
                    </a:lnTo>
                    <a:lnTo>
                      <a:pt x="28" y="419"/>
                    </a:lnTo>
                    <a:lnTo>
                      <a:pt x="31" y="422"/>
                    </a:lnTo>
                    <a:lnTo>
                      <a:pt x="34" y="425"/>
                    </a:lnTo>
                    <a:lnTo>
                      <a:pt x="34" y="428"/>
                    </a:lnTo>
                    <a:lnTo>
                      <a:pt x="31" y="431"/>
                    </a:lnTo>
                    <a:lnTo>
                      <a:pt x="31" y="431"/>
                    </a:lnTo>
                    <a:lnTo>
                      <a:pt x="28" y="432"/>
                    </a:lnTo>
                    <a:lnTo>
                      <a:pt x="27" y="435"/>
                    </a:lnTo>
                    <a:lnTo>
                      <a:pt x="28" y="439"/>
                    </a:lnTo>
                    <a:lnTo>
                      <a:pt x="28" y="444"/>
                    </a:lnTo>
                    <a:lnTo>
                      <a:pt x="28" y="444"/>
                    </a:lnTo>
                    <a:lnTo>
                      <a:pt x="28" y="448"/>
                    </a:lnTo>
                    <a:lnTo>
                      <a:pt x="30" y="451"/>
                    </a:lnTo>
                    <a:lnTo>
                      <a:pt x="30" y="454"/>
                    </a:lnTo>
                    <a:lnTo>
                      <a:pt x="28" y="455"/>
                    </a:lnTo>
                    <a:lnTo>
                      <a:pt x="28" y="455"/>
                    </a:lnTo>
                    <a:lnTo>
                      <a:pt x="27" y="456"/>
                    </a:lnTo>
                    <a:lnTo>
                      <a:pt x="25" y="458"/>
                    </a:lnTo>
                    <a:lnTo>
                      <a:pt x="25" y="461"/>
                    </a:lnTo>
                    <a:lnTo>
                      <a:pt x="25" y="465"/>
                    </a:lnTo>
                    <a:lnTo>
                      <a:pt x="25" y="466"/>
                    </a:lnTo>
                    <a:lnTo>
                      <a:pt x="22" y="466"/>
                    </a:lnTo>
                    <a:lnTo>
                      <a:pt x="22" y="466"/>
                    </a:lnTo>
                    <a:lnTo>
                      <a:pt x="20" y="468"/>
                    </a:lnTo>
                    <a:lnTo>
                      <a:pt x="18" y="471"/>
                    </a:lnTo>
                    <a:lnTo>
                      <a:pt x="18" y="475"/>
                    </a:lnTo>
                    <a:lnTo>
                      <a:pt x="15" y="478"/>
                    </a:lnTo>
                    <a:lnTo>
                      <a:pt x="15" y="478"/>
                    </a:lnTo>
                    <a:lnTo>
                      <a:pt x="15" y="479"/>
                    </a:lnTo>
                    <a:lnTo>
                      <a:pt x="15" y="481"/>
                    </a:lnTo>
                    <a:lnTo>
                      <a:pt x="17" y="483"/>
                    </a:lnTo>
                    <a:lnTo>
                      <a:pt x="18" y="486"/>
                    </a:lnTo>
                    <a:lnTo>
                      <a:pt x="18" y="488"/>
                    </a:lnTo>
                    <a:lnTo>
                      <a:pt x="17" y="489"/>
                    </a:lnTo>
                    <a:lnTo>
                      <a:pt x="17" y="489"/>
                    </a:lnTo>
                    <a:lnTo>
                      <a:pt x="14" y="493"/>
                    </a:lnTo>
                    <a:lnTo>
                      <a:pt x="13" y="496"/>
                    </a:lnTo>
                    <a:lnTo>
                      <a:pt x="13" y="499"/>
                    </a:lnTo>
                    <a:lnTo>
                      <a:pt x="11" y="500"/>
                    </a:lnTo>
                    <a:lnTo>
                      <a:pt x="10" y="500"/>
                    </a:lnTo>
                    <a:lnTo>
                      <a:pt x="10" y="500"/>
                    </a:lnTo>
                    <a:lnTo>
                      <a:pt x="7" y="502"/>
                    </a:lnTo>
                    <a:lnTo>
                      <a:pt x="4" y="505"/>
                    </a:lnTo>
                    <a:lnTo>
                      <a:pt x="1" y="512"/>
                    </a:lnTo>
                    <a:lnTo>
                      <a:pt x="1" y="512"/>
                    </a:lnTo>
                    <a:lnTo>
                      <a:pt x="0" y="519"/>
                    </a:lnTo>
                    <a:lnTo>
                      <a:pt x="0" y="522"/>
                    </a:lnTo>
                    <a:lnTo>
                      <a:pt x="1" y="526"/>
                    </a:lnTo>
                    <a:lnTo>
                      <a:pt x="1" y="526"/>
                    </a:lnTo>
                    <a:lnTo>
                      <a:pt x="3" y="530"/>
                    </a:lnTo>
                    <a:lnTo>
                      <a:pt x="3" y="533"/>
                    </a:lnTo>
                    <a:lnTo>
                      <a:pt x="3" y="535"/>
                    </a:lnTo>
                    <a:lnTo>
                      <a:pt x="4" y="537"/>
                    </a:lnTo>
                    <a:lnTo>
                      <a:pt x="4" y="537"/>
                    </a:lnTo>
                    <a:lnTo>
                      <a:pt x="8" y="537"/>
                    </a:lnTo>
                    <a:lnTo>
                      <a:pt x="14" y="537"/>
                    </a:lnTo>
                    <a:lnTo>
                      <a:pt x="18" y="539"/>
                    </a:lnTo>
                    <a:lnTo>
                      <a:pt x="20" y="540"/>
                    </a:lnTo>
                    <a:lnTo>
                      <a:pt x="20" y="542"/>
                    </a:lnTo>
                    <a:lnTo>
                      <a:pt x="20" y="542"/>
                    </a:lnTo>
                    <a:lnTo>
                      <a:pt x="18" y="547"/>
                    </a:lnTo>
                    <a:lnTo>
                      <a:pt x="18" y="553"/>
                    </a:lnTo>
                    <a:lnTo>
                      <a:pt x="18" y="557"/>
                    </a:lnTo>
                    <a:lnTo>
                      <a:pt x="20" y="560"/>
                    </a:lnTo>
                    <a:lnTo>
                      <a:pt x="20" y="560"/>
                    </a:lnTo>
                    <a:lnTo>
                      <a:pt x="22" y="562"/>
                    </a:lnTo>
                    <a:lnTo>
                      <a:pt x="24" y="563"/>
                    </a:lnTo>
                    <a:lnTo>
                      <a:pt x="25" y="566"/>
                    </a:lnTo>
                    <a:lnTo>
                      <a:pt x="28" y="567"/>
                    </a:lnTo>
                    <a:lnTo>
                      <a:pt x="28" y="567"/>
                    </a:lnTo>
                    <a:lnTo>
                      <a:pt x="41" y="566"/>
                    </a:lnTo>
                    <a:lnTo>
                      <a:pt x="50" y="566"/>
                    </a:lnTo>
                    <a:lnTo>
                      <a:pt x="57" y="566"/>
                    </a:lnTo>
                    <a:lnTo>
                      <a:pt x="57" y="566"/>
                    </a:lnTo>
                    <a:lnTo>
                      <a:pt x="61" y="569"/>
                    </a:lnTo>
                    <a:lnTo>
                      <a:pt x="65" y="572"/>
                    </a:lnTo>
                    <a:lnTo>
                      <a:pt x="65" y="572"/>
                    </a:lnTo>
                    <a:lnTo>
                      <a:pt x="69" y="572"/>
                    </a:lnTo>
                    <a:lnTo>
                      <a:pt x="74" y="573"/>
                    </a:lnTo>
                    <a:lnTo>
                      <a:pt x="78" y="573"/>
                    </a:lnTo>
                    <a:lnTo>
                      <a:pt x="81" y="573"/>
                    </a:lnTo>
                    <a:lnTo>
                      <a:pt x="81" y="573"/>
                    </a:lnTo>
                    <a:lnTo>
                      <a:pt x="81" y="572"/>
                    </a:lnTo>
                    <a:lnTo>
                      <a:pt x="79" y="570"/>
                    </a:lnTo>
                    <a:lnTo>
                      <a:pt x="77" y="566"/>
                    </a:lnTo>
                    <a:lnTo>
                      <a:pt x="74" y="562"/>
                    </a:lnTo>
                    <a:lnTo>
                      <a:pt x="72" y="559"/>
                    </a:lnTo>
                    <a:lnTo>
                      <a:pt x="72" y="559"/>
                    </a:lnTo>
                    <a:lnTo>
                      <a:pt x="71" y="553"/>
                    </a:lnTo>
                    <a:lnTo>
                      <a:pt x="69" y="546"/>
                    </a:lnTo>
                    <a:lnTo>
                      <a:pt x="69" y="546"/>
                    </a:lnTo>
                    <a:lnTo>
                      <a:pt x="69" y="539"/>
                    </a:lnTo>
                    <a:lnTo>
                      <a:pt x="71" y="535"/>
                    </a:lnTo>
                    <a:lnTo>
                      <a:pt x="74" y="532"/>
                    </a:lnTo>
                    <a:lnTo>
                      <a:pt x="74" y="532"/>
                    </a:lnTo>
                    <a:lnTo>
                      <a:pt x="78" y="526"/>
                    </a:lnTo>
                    <a:lnTo>
                      <a:pt x="79" y="525"/>
                    </a:lnTo>
                    <a:lnTo>
                      <a:pt x="82" y="525"/>
                    </a:lnTo>
                    <a:lnTo>
                      <a:pt x="82" y="525"/>
                    </a:lnTo>
                    <a:lnTo>
                      <a:pt x="85" y="525"/>
                    </a:lnTo>
                    <a:lnTo>
                      <a:pt x="88" y="523"/>
                    </a:lnTo>
                    <a:lnTo>
                      <a:pt x="91" y="519"/>
                    </a:lnTo>
                    <a:lnTo>
                      <a:pt x="92" y="513"/>
                    </a:lnTo>
                    <a:lnTo>
                      <a:pt x="92" y="513"/>
                    </a:lnTo>
                    <a:lnTo>
                      <a:pt x="92" y="508"/>
                    </a:lnTo>
                    <a:lnTo>
                      <a:pt x="95" y="503"/>
                    </a:lnTo>
                    <a:lnTo>
                      <a:pt x="104" y="496"/>
                    </a:lnTo>
                    <a:lnTo>
                      <a:pt x="104" y="496"/>
                    </a:lnTo>
                    <a:lnTo>
                      <a:pt x="116" y="486"/>
                    </a:lnTo>
                    <a:lnTo>
                      <a:pt x="121" y="483"/>
                    </a:lnTo>
                    <a:lnTo>
                      <a:pt x="122" y="482"/>
                    </a:lnTo>
                    <a:lnTo>
                      <a:pt x="122" y="481"/>
                    </a:lnTo>
                    <a:lnTo>
                      <a:pt x="122" y="481"/>
                    </a:lnTo>
                    <a:lnTo>
                      <a:pt x="122" y="476"/>
                    </a:lnTo>
                    <a:lnTo>
                      <a:pt x="122" y="472"/>
                    </a:lnTo>
                    <a:lnTo>
                      <a:pt x="125" y="465"/>
                    </a:lnTo>
                    <a:lnTo>
                      <a:pt x="125" y="465"/>
                    </a:lnTo>
                    <a:lnTo>
                      <a:pt x="123" y="463"/>
                    </a:lnTo>
                    <a:lnTo>
                      <a:pt x="122" y="462"/>
                    </a:lnTo>
                    <a:lnTo>
                      <a:pt x="118" y="462"/>
                    </a:lnTo>
                    <a:lnTo>
                      <a:pt x="109" y="461"/>
                    </a:lnTo>
                    <a:lnTo>
                      <a:pt x="109" y="461"/>
                    </a:lnTo>
                    <a:lnTo>
                      <a:pt x="105" y="458"/>
                    </a:lnTo>
                    <a:lnTo>
                      <a:pt x="99" y="452"/>
                    </a:lnTo>
                    <a:lnTo>
                      <a:pt x="96" y="449"/>
                    </a:lnTo>
                    <a:lnTo>
                      <a:pt x="96" y="445"/>
                    </a:lnTo>
                    <a:lnTo>
                      <a:pt x="96" y="441"/>
                    </a:lnTo>
                    <a:lnTo>
                      <a:pt x="98" y="435"/>
                    </a:lnTo>
                    <a:lnTo>
                      <a:pt x="98" y="435"/>
                    </a:lnTo>
                    <a:lnTo>
                      <a:pt x="101" y="431"/>
                    </a:lnTo>
                    <a:lnTo>
                      <a:pt x="104" y="428"/>
                    </a:lnTo>
                    <a:lnTo>
                      <a:pt x="112" y="424"/>
                    </a:lnTo>
                    <a:lnTo>
                      <a:pt x="119" y="421"/>
                    </a:lnTo>
                    <a:lnTo>
                      <a:pt x="123" y="421"/>
                    </a:lnTo>
                    <a:lnTo>
                      <a:pt x="123" y="421"/>
                    </a:lnTo>
                    <a:lnTo>
                      <a:pt x="126" y="419"/>
                    </a:lnTo>
                    <a:lnTo>
                      <a:pt x="126" y="417"/>
                    </a:lnTo>
                    <a:lnTo>
                      <a:pt x="126" y="414"/>
                    </a:lnTo>
                    <a:lnTo>
                      <a:pt x="128" y="412"/>
                    </a:lnTo>
                    <a:lnTo>
                      <a:pt x="128" y="412"/>
                    </a:lnTo>
                    <a:lnTo>
                      <a:pt x="131" y="411"/>
                    </a:lnTo>
                    <a:lnTo>
                      <a:pt x="132" y="408"/>
                    </a:lnTo>
                    <a:lnTo>
                      <a:pt x="132" y="401"/>
                    </a:lnTo>
                    <a:lnTo>
                      <a:pt x="132" y="401"/>
                    </a:lnTo>
                    <a:lnTo>
                      <a:pt x="133" y="391"/>
                    </a:lnTo>
                    <a:lnTo>
                      <a:pt x="135" y="387"/>
                    </a:lnTo>
                    <a:lnTo>
                      <a:pt x="136" y="385"/>
                    </a:lnTo>
                    <a:lnTo>
                      <a:pt x="139" y="385"/>
                    </a:lnTo>
                    <a:lnTo>
                      <a:pt x="139" y="385"/>
                    </a:lnTo>
                    <a:lnTo>
                      <a:pt x="142" y="384"/>
                    </a:lnTo>
                    <a:lnTo>
                      <a:pt x="145" y="382"/>
                    </a:lnTo>
                    <a:lnTo>
                      <a:pt x="145" y="381"/>
                    </a:lnTo>
                    <a:lnTo>
                      <a:pt x="143" y="380"/>
                    </a:lnTo>
                    <a:lnTo>
                      <a:pt x="143" y="380"/>
                    </a:lnTo>
                    <a:lnTo>
                      <a:pt x="141" y="378"/>
                    </a:lnTo>
                    <a:lnTo>
                      <a:pt x="139" y="377"/>
                    </a:lnTo>
                    <a:lnTo>
                      <a:pt x="141" y="374"/>
                    </a:lnTo>
                    <a:lnTo>
                      <a:pt x="143" y="372"/>
                    </a:lnTo>
                    <a:lnTo>
                      <a:pt x="143" y="372"/>
                    </a:lnTo>
                    <a:lnTo>
                      <a:pt x="148" y="374"/>
                    </a:lnTo>
                    <a:lnTo>
                      <a:pt x="149" y="375"/>
                    </a:lnTo>
                    <a:lnTo>
                      <a:pt x="151" y="378"/>
                    </a:lnTo>
                    <a:lnTo>
                      <a:pt x="152" y="378"/>
                    </a:lnTo>
                    <a:lnTo>
                      <a:pt x="152" y="378"/>
                    </a:lnTo>
                    <a:lnTo>
                      <a:pt x="156" y="377"/>
                    </a:lnTo>
                    <a:lnTo>
                      <a:pt x="159" y="374"/>
                    </a:lnTo>
                    <a:lnTo>
                      <a:pt x="160" y="370"/>
                    </a:lnTo>
                    <a:lnTo>
                      <a:pt x="160" y="368"/>
                    </a:lnTo>
                    <a:lnTo>
                      <a:pt x="159" y="365"/>
                    </a:lnTo>
                    <a:lnTo>
                      <a:pt x="159" y="365"/>
                    </a:lnTo>
                    <a:lnTo>
                      <a:pt x="155" y="364"/>
                    </a:lnTo>
                    <a:lnTo>
                      <a:pt x="152" y="365"/>
                    </a:lnTo>
                    <a:lnTo>
                      <a:pt x="151" y="367"/>
                    </a:lnTo>
                    <a:lnTo>
                      <a:pt x="148" y="368"/>
                    </a:lnTo>
                    <a:lnTo>
                      <a:pt x="148" y="368"/>
                    </a:lnTo>
                    <a:lnTo>
                      <a:pt x="145" y="368"/>
                    </a:lnTo>
                    <a:lnTo>
                      <a:pt x="143" y="367"/>
                    </a:lnTo>
                    <a:lnTo>
                      <a:pt x="141" y="365"/>
                    </a:lnTo>
                    <a:lnTo>
                      <a:pt x="139" y="364"/>
                    </a:lnTo>
                    <a:lnTo>
                      <a:pt x="139" y="364"/>
                    </a:lnTo>
                    <a:lnTo>
                      <a:pt x="138" y="362"/>
                    </a:lnTo>
                    <a:lnTo>
                      <a:pt x="138" y="360"/>
                    </a:lnTo>
                    <a:lnTo>
                      <a:pt x="136" y="355"/>
                    </a:lnTo>
                    <a:lnTo>
                      <a:pt x="136" y="353"/>
                    </a:lnTo>
                    <a:lnTo>
                      <a:pt x="136" y="353"/>
                    </a:lnTo>
                    <a:lnTo>
                      <a:pt x="135" y="345"/>
                    </a:lnTo>
                    <a:lnTo>
                      <a:pt x="135" y="341"/>
                    </a:lnTo>
                    <a:lnTo>
                      <a:pt x="136" y="337"/>
                    </a:lnTo>
                    <a:lnTo>
                      <a:pt x="136" y="337"/>
                    </a:lnTo>
                    <a:lnTo>
                      <a:pt x="138" y="337"/>
                    </a:lnTo>
                    <a:lnTo>
                      <a:pt x="139" y="337"/>
                    </a:lnTo>
                    <a:lnTo>
                      <a:pt x="146" y="340"/>
                    </a:lnTo>
                    <a:lnTo>
                      <a:pt x="153" y="343"/>
                    </a:lnTo>
                    <a:lnTo>
                      <a:pt x="162" y="344"/>
                    </a:lnTo>
                    <a:lnTo>
                      <a:pt x="162" y="344"/>
                    </a:lnTo>
                    <a:lnTo>
                      <a:pt x="169" y="344"/>
                    </a:lnTo>
                    <a:lnTo>
                      <a:pt x="175" y="341"/>
                    </a:lnTo>
                    <a:lnTo>
                      <a:pt x="179" y="338"/>
                    </a:lnTo>
                    <a:lnTo>
                      <a:pt x="180" y="335"/>
                    </a:lnTo>
                    <a:lnTo>
                      <a:pt x="180" y="335"/>
                    </a:lnTo>
                    <a:lnTo>
                      <a:pt x="178" y="327"/>
                    </a:lnTo>
                    <a:lnTo>
                      <a:pt x="179" y="323"/>
                    </a:lnTo>
                    <a:lnTo>
                      <a:pt x="179" y="321"/>
                    </a:lnTo>
                    <a:lnTo>
                      <a:pt x="182" y="320"/>
                    </a:lnTo>
                    <a:lnTo>
                      <a:pt x="182" y="320"/>
                    </a:lnTo>
                    <a:lnTo>
                      <a:pt x="185" y="317"/>
                    </a:lnTo>
                    <a:lnTo>
                      <a:pt x="185" y="314"/>
                    </a:lnTo>
                    <a:lnTo>
                      <a:pt x="182" y="311"/>
                    </a:lnTo>
                    <a:lnTo>
                      <a:pt x="180" y="308"/>
                    </a:lnTo>
                    <a:lnTo>
                      <a:pt x="180" y="308"/>
                    </a:lnTo>
                    <a:lnTo>
                      <a:pt x="180" y="304"/>
                    </a:lnTo>
                    <a:lnTo>
                      <a:pt x="182" y="301"/>
                    </a:lnTo>
                    <a:lnTo>
                      <a:pt x="183" y="301"/>
                    </a:lnTo>
                    <a:lnTo>
                      <a:pt x="186" y="301"/>
                    </a:lnTo>
                    <a:lnTo>
                      <a:pt x="186" y="301"/>
                    </a:lnTo>
                    <a:lnTo>
                      <a:pt x="192" y="303"/>
                    </a:lnTo>
                    <a:lnTo>
                      <a:pt x="202" y="303"/>
                    </a:lnTo>
                    <a:lnTo>
                      <a:pt x="227" y="300"/>
                    </a:lnTo>
                    <a:lnTo>
                      <a:pt x="227" y="300"/>
                    </a:lnTo>
                    <a:lnTo>
                      <a:pt x="240" y="296"/>
                    </a:lnTo>
                    <a:lnTo>
                      <a:pt x="249" y="293"/>
                    </a:lnTo>
                    <a:lnTo>
                      <a:pt x="256" y="289"/>
                    </a:lnTo>
                    <a:lnTo>
                      <a:pt x="259" y="284"/>
                    </a:lnTo>
                    <a:lnTo>
                      <a:pt x="259" y="284"/>
                    </a:lnTo>
                    <a:lnTo>
                      <a:pt x="260" y="280"/>
                    </a:lnTo>
                    <a:lnTo>
                      <a:pt x="264" y="274"/>
                    </a:lnTo>
                    <a:lnTo>
                      <a:pt x="273" y="263"/>
                    </a:lnTo>
                    <a:lnTo>
                      <a:pt x="273" y="263"/>
                    </a:lnTo>
                    <a:lnTo>
                      <a:pt x="274" y="260"/>
                    </a:lnTo>
                    <a:lnTo>
                      <a:pt x="273" y="257"/>
                    </a:lnTo>
                    <a:lnTo>
                      <a:pt x="270" y="254"/>
                    </a:lnTo>
                    <a:lnTo>
                      <a:pt x="266" y="253"/>
                    </a:lnTo>
                    <a:lnTo>
                      <a:pt x="266" y="253"/>
                    </a:lnTo>
                    <a:lnTo>
                      <a:pt x="261" y="252"/>
                    </a:lnTo>
                    <a:lnTo>
                      <a:pt x="260" y="247"/>
                    </a:lnTo>
                    <a:lnTo>
                      <a:pt x="261" y="243"/>
                    </a:lnTo>
                    <a:lnTo>
                      <a:pt x="263" y="239"/>
                    </a:lnTo>
                    <a:lnTo>
                      <a:pt x="263" y="239"/>
                    </a:lnTo>
                    <a:lnTo>
                      <a:pt x="264" y="236"/>
                    </a:lnTo>
                    <a:lnTo>
                      <a:pt x="263" y="233"/>
                    </a:lnTo>
                    <a:lnTo>
                      <a:pt x="259" y="230"/>
                    </a:lnTo>
                    <a:lnTo>
                      <a:pt x="254" y="229"/>
                    </a:lnTo>
                    <a:lnTo>
                      <a:pt x="254" y="229"/>
                    </a:lnTo>
                    <a:lnTo>
                      <a:pt x="249" y="229"/>
                    </a:lnTo>
                    <a:lnTo>
                      <a:pt x="243" y="226"/>
                    </a:lnTo>
                    <a:lnTo>
                      <a:pt x="242" y="222"/>
                    </a:lnTo>
                    <a:lnTo>
                      <a:pt x="242" y="220"/>
                    </a:lnTo>
                    <a:lnTo>
                      <a:pt x="243" y="219"/>
                    </a:lnTo>
                    <a:lnTo>
                      <a:pt x="243" y="219"/>
                    </a:lnTo>
                    <a:lnTo>
                      <a:pt x="246" y="216"/>
                    </a:lnTo>
                    <a:lnTo>
                      <a:pt x="249" y="217"/>
                    </a:lnTo>
                    <a:lnTo>
                      <a:pt x="249" y="217"/>
                    </a:lnTo>
                    <a:lnTo>
                      <a:pt x="250" y="213"/>
                    </a:lnTo>
                    <a:lnTo>
                      <a:pt x="250" y="210"/>
                    </a:lnTo>
                    <a:lnTo>
                      <a:pt x="250" y="210"/>
                    </a:lnTo>
                    <a:lnTo>
                      <a:pt x="247" y="209"/>
                    </a:lnTo>
                    <a:lnTo>
                      <a:pt x="246" y="206"/>
                    </a:lnTo>
                    <a:lnTo>
                      <a:pt x="244" y="200"/>
                    </a:lnTo>
                    <a:lnTo>
                      <a:pt x="244" y="200"/>
                    </a:lnTo>
                    <a:lnTo>
                      <a:pt x="246" y="195"/>
                    </a:lnTo>
                    <a:lnTo>
                      <a:pt x="247" y="192"/>
                    </a:lnTo>
                    <a:lnTo>
                      <a:pt x="249" y="188"/>
                    </a:lnTo>
                    <a:lnTo>
                      <a:pt x="249" y="180"/>
                    </a:lnTo>
                    <a:lnTo>
                      <a:pt x="249" y="180"/>
                    </a:lnTo>
                    <a:lnTo>
                      <a:pt x="250" y="172"/>
                    </a:lnTo>
                    <a:lnTo>
                      <a:pt x="252" y="165"/>
                    </a:lnTo>
                    <a:lnTo>
                      <a:pt x="254" y="158"/>
                    </a:lnTo>
                    <a:lnTo>
                      <a:pt x="254" y="152"/>
                    </a:lnTo>
                    <a:lnTo>
                      <a:pt x="254" y="152"/>
                    </a:lnTo>
                    <a:lnTo>
                      <a:pt x="256" y="151"/>
                    </a:lnTo>
                    <a:lnTo>
                      <a:pt x="257" y="148"/>
                    </a:lnTo>
                    <a:lnTo>
                      <a:pt x="261" y="142"/>
                    </a:lnTo>
                    <a:lnTo>
                      <a:pt x="269" y="135"/>
                    </a:lnTo>
                    <a:lnTo>
                      <a:pt x="274" y="126"/>
                    </a:lnTo>
                    <a:lnTo>
                      <a:pt x="274" y="126"/>
                    </a:lnTo>
                    <a:lnTo>
                      <a:pt x="280" y="118"/>
                    </a:lnTo>
                    <a:lnTo>
                      <a:pt x="289" y="109"/>
                    </a:lnTo>
                    <a:lnTo>
                      <a:pt x="296" y="102"/>
                    </a:lnTo>
                    <a:lnTo>
                      <a:pt x="301" y="98"/>
                    </a:lnTo>
                    <a:lnTo>
                      <a:pt x="301" y="98"/>
                    </a:lnTo>
                    <a:lnTo>
                      <a:pt x="313" y="92"/>
                    </a:lnTo>
                    <a:lnTo>
                      <a:pt x="318" y="89"/>
                    </a:lnTo>
                    <a:lnTo>
                      <a:pt x="321" y="87"/>
                    </a:lnTo>
                    <a:lnTo>
                      <a:pt x="321" y="87"/>
                    </a:lnTo>
                    <a:lnTo>
                      <a:pt x="321" y="82"/>
                    </a:lnTo>
                    <a:lnTo>
                      <a:pt x="321" y="74"/>
                    </a:lnTo>
                    <a:lnTo>
                      <a:pt x="320" y="67"/>
                    </a:lnTo>
                    <a:lnTo>
                      <a:pt x="318" y="62"/>
                    </a:lnTo>
                    <a:lnTo>
                      <a:pt x="318" y="6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60" name="Brazil">
                <a:extLst>
                  <a:ext uri="{FF2B5EF4-FFF2-40B4-BE49-F238E27FC236}">
                    <a16:creationId xmlns:a16="http://schemas.microsoft.com/office/drawing/2014/main" id="{4AFC5298-11B6-7947-8EF3-5FED4C8E5CFF}"/>
                  </a:ext>
                </a:extLst>
              </p:cNvPr>
              <p:cNvSpPr>
                <a:spLocks/>
              </p:cNvSpPr>
              <p:nvPr/>
            </p:nvSpPr>
            <p:spPr bwMode="auto">
              <a:xfrm>
                <a:off x="2553575" y="4189877"/>
                <a:ext cx="938183" cy="963340"/>
              </a:xfrm>
              <a:custGeom>
                <a:avLst/>
                <a:gdLst/>
                <a:ahLst/>
                <a:cxnLst>
                  <a:cxn ang="0">
                    <a:pos x="358" y="604"/>
                  </a:cxn>
                  <a:cxn ang="0">
                    <a:pos x="373" y="587"/>
                  </a:cxn>
                  <a:cxn ang="0">
                    <a:pos x="389" y="576"/>
                  </a:cxn>
                  <a:cxn ang="0">
                    <a:pos x="409" y="536"/>
                  </a:cxn>
                  <a:cxn ang="0">
                    <a:pos x="423" y="496"/>
                  </a:cxn>
                  <a:cxn ang="0">
                    <a:pos x="464" y="471"/>
                  </a:cxn>
                  <a:cxn ang="0">
                    <a:pos x="517" y="461"/>
                  </a:cxn>
                  <a:cxn ang="0">
                    <a:pos x="534" y="439"/>
                  </a:cxn>
                  <a:cxn ang="0">
                    <a:pos x="548" y="407"/>
                  </a:cxn>
                  <a:cxn ang="0">
                    <a:pos x="564" y="373"/>
                  </a:cxn>
                  <a:cxn ang="0">
                    <a:pos x="565" y="307"/>
                  </a:cxn>
                  <a:cxn ang="0">
                    <a:pos x="571" y="287"/>
                  </a:cxn>
                  <a:cxn ang="0">
                    <a:pos x="601" y="256"/>
                  </a:cxn>
                  <a:cxn ang="0">
                    <a:pos x="631" y="185"/>
                  </a:cxn>
                  <a:cxn ang="0">
                    <a:pos x="575" y="145"/>
                  </a:cxn>
                  <a:cxn ang="0">
                    <a:pos x="520" y="131"/>
                  </a:cxn>
                  <a:cxn ang="0">
                    <a:pos x="474" y="134"/>
                  </a:cxn>
                  <a:cxn ang="0">
                    <a:pos x="441" y="95"/>
                  </a:cxn>
                  <a:cxn ang="0">
                    <a:pos x="410" y="107"/>
                  </a:cxn>
                  <a:cxn ang="0">
                    <a:pos x="399" y="111"/>
                  </a:cxn>
                  <a:cxn ang="0">
                    <a:pos x="380" y="84"/>
                  </a:cxn>
                  <a:cxn ang="0">
                    <a:pos x="367" y="88"/>
                  </a:cxn>
                  <a:cxn ang="0">
                    <a:pos x="387" y="54"/>
                  </a:cxn>
                  <a:cxn ang="0">
                    <a:pos x="355" y="28"/>
                  </a:cxn>
                  <a:cxn ang="0">
                    <a:pos x="316" y="47"/>
                  </a:cxn>
                  <a:cxn ang="0">
                    <a:pos x="289" y="53"/>
                  </a:cxn>
                  <a:cxn ang="0">
                    <a:pos x="262" y="57"/>
                  </a:cxn>
                  <a:cxn ang="0">
                    <a:pos x="234" y="54"/>
                  </a:cxn>
                  <a:cxn ang="0">
                    <a:pos x="229" y="13"/>
                  </a:cxn>
                  <a:cxn ang="0">
                    <a:pos x="214" y="6"/>
                  </a:cxn>
                  <a:cxn ang="0">
                    <a:pos x="181" y="23"/>
                  </a:cxn>
                  <a:cxn ang="0">
                    <a:pos x="161" y="17"/>
                  </a:cxn>
                  <a:cxn ang="0">
                    <a:pos x="157" y="34"/>
                  </a:cxn>
                  <a:cxn ang="0">
                    <a:pos x="170" y="48"/>
                  </a:cxn>
                  <a:cxn ang="0">
                    <a:pos x="147" y="64"/>
                  </a:cxn>
                  <a:cxn ang="0">
                    <a:pos x="124" y="71"/>
                  </a:cxn>
                  <a:cxn ang="0">
                    <a:pos x="76" y="55"/>
                  </a:cxn>
                  <a:cxn ang="0">
                    <a:pos x="76" y="70"/>
                  </a:cxn>
                  <a:cxn ang="0">
                    <a:pos x="72" y="101"/>
                  </a:cxn>
                  <a:cxn ang="0">
                    <a:pos x="63" y="151"/>
                  </a:cxn>
                  <a:cxn ang="0">
                    <a:pos x="25" y="162"/>
                  </a:cxn>
                  <a:cxn ang="0">
                    <a:pos x="9" y="189"/>
                  </a:cxn>
                  <a:cxn ang="0">
                    <a:pos x="6" y="216"/>
                  </a:cxn>
                  <a:cxn ang="0">
                    <a:pos x="22" y="236"/>
                  </a:cxn>
                  <a:cxn ang="0">
                    <a:pos x="47" y="240"/>
                  </a:cxn>
                  <a:cxn ang="0">
                    <a:pos x="67" y="262"/>
                  </a:cxn>
                  <a:cxn ang="0">
                    <a:pos x="106" y="253"/>
                  </a:cxn>
                  <a:cxn ang="0">
                    <a:pos x="138" y="259"/>
                  </a:cxn>
                  <a:cxn ang="0">
                    <a:pos x="170" y="289"/>
                  </a:cxn>
                  <a:cxn ang="0">
                    <a:pos x="195" y="301"/>
                  </a:cxn>
                  <a:cxn ang="0">
                    <a:pos x="218" y="317"/>
                  </a:cxn>
                  <a:cxn ang="0">
                    <a:pos x="222" y="343"/>
                  </a:cxn>
                  <a:cxn ang="0">
                    <a:pos x="255" y="363"/>
                  </a:cxn>
                  <a:cxn ang="0">
                    <a:pos x="259" y="401"/>
                  </a:cxn>
                  <a:cxn ang="0">
                    <a:pos x="261" y="430"/>
                  </a:cxn>
                  <a:cxn ang="0">
                    <a:pos x="282" y="448"/>
                  </a:cxn>
                  <a:cxn ang="0">
                    <a:pos x="301" y="479"/>
                  </a:cxn>
                  <a:cxn ang="0">
                    <a:pos x="319" y="505"/>
                  </a:cxn>
                  <a:cxn ang="0">
                    <a:pos x="306" y="542"/>
                  </a:cxn>
                  <a:cxn ang="0">
                    <a:pos x="272" y="586"/>
                  </a:cxn>
                  <a:cxn ang="0">
                    <a:pos x="294" y="600"/>
                  </a:cxn>
                  <a:cxn ang="0">
                    <a:pos x="328" y="627"/>
                  </a:cxn>
                </a:cxnLst>
                <a:rect l="0" t="0" r="r" b="b"/>
                <a:pathLst>
                  <a:path w="634" h="651">
                    <a:moveTo>
                      <a:pt x="338" y="644"/>
                    </a:moveTo>
                    <a:lnTo>
                      <a:pt x="338" y="644"/>
                    </a:lnTo>
                    <a:lnTo>
                      <a:pt x="343" y="639"/>
                    </a:lnTo>
                    <a:lnTo>
                      <a:pt x="346" y="634"/>
                    </a:lnTo>
                    <a:lnTo>
                      <a:pt x="348" y="630"/>
                    </a:lnTo>
                    <a:lnTo>
                      <a:pt x="349" y="624"/>
                    </a:lnTo>
                    <a:lnTo>
                      <a:pt x="349" y="624"/>
                    </a:lnTo>
                    <a:lnTo>
                      <a:pt x="352" y="619"/>
                    </a:lnTo>
                    <a:lnTo>
                      <a:pt x="353" y="614"/>
                    </a:lnTo>
                    <a:lnTo>
                      <a:pt x="355" y="610"/>
                    </a:lnTo>
                    <a:lnTo>
                      <a:pt x="358" y="604"/>
                    </a:lnTo>
                    <a:lnTo>
                      <a:pt x="358" y="604"/>
                    </a:lnTo>
                    <a:lnTo>
                      <a:pt x="360" y="602"/>
                    </a:lnTo>
                    <a:lnTo>
                      <a:pt x="362" y="600"/>
                    </a:lnTo>
                    <a:lnTo>
                      <a:pt x="362" y="595"/>
                    </a:lnTo>
                    <a:lnTo>
                      <a:pt x="362" y="592"/>
                    </a:lnTo>
                    <a:lnTo>
                      <a:pt x="363" y="589"/>
                    </a:lnTo>
                    <a:lnTo>
                      <a:pt x="366" y="587"/>
                    </a:lnTo>
                    <a:lnTo>
                      <a:pt x="366" y="587"/>
                    </a:lnTo>
                    <a:lnTo>
                      <a:pt x="370" y="586"/>
                    </a:lnTo>
                    <a:lnTo>
                      <a:pt x="372" y="586"/>
                    </a:lnTo>
                    <a:lnTo>
                      <a:pt x="373" y="587"/>
                    </a:lnTo>
                    <a:lnTo>
                      <a:pt x="373" y="589"/>
                    </a:lnTo>
                    <a:lnTo>
                      <a:pt x="372" y="595"/>
                    </a:lnTo>
                    <a:lnTo>
                      <a:pt x="367" y="602"/>
                    </a:lnTo>
                    <a:lnTo>
                      <a:pt x="367" y="602"/>
                    </a:lnTo>
                    <a:lnTo>
                      <a:pt x="360" y="612"/>
                    </a:lnTo>
                    <a:lnTo>
                      <a:pt x="362" y="612"/>
                    </a:lnTo>
                    <a:lnTo>
                      <a:pt x="367" y="607"/>
                    </a:lnTo>
                    <a:lnTo>
                      <a:pt x="367" y="607"/>
                    </a:lnTo>
                    <a:lnTo>
                      <a:pt x="375" y="602"/>
                    </a:lnTo>
                    <a:lnTo>
                      <a:pt x="380" y="593"/>
                    </a:lnTo>
                    <a:lnTo>
                      <a:pt x="389" y="576"/>
                    </a:lnTo>
                    <a:lnTo>
                      <a:pt x="389" y="576"/>
                    </a:lnTo>
                    <a:lnTo>
                      <a:pt x="393" y="569"/>
                    </a:lnTo>
                    <a:lnTo>
                      <a:pt x="397" y="563"/>
                    </a:lnTo>
                    <a:lnTo>
                      <a:pt x="400" y="560"/>
                    </a:lnTo>
                    <a:lnTo>
                      <a:pt x="404" y="559"/>
                    </a:lnTo>
                    <a:lnTo>
                      <a:pt x="404" y="559"/>
                    </a:lnTo>
                    <a:lnTo>
                      <a:pt x="406" y="559"/>
                    </a:lnTo>
                    <a:lnTo>
                      <a:pt x="407" y="556"/>
                    </a:lnTo>
                    <a:lnTo>
                      <a:pt x="409" y="550"/>
                    </a:lnTo>
                    <a:lnTo>
                      <a:pt x="409" y="536"/>
                    </a:lnTo>
                    <a:lnTo>
                      <a:pt x="409" y="536"/>
                    </a:lnTo>
                    <a:lnTo>
                      <a:pt x="407" y="523"/>
                    </a:lnTo>
                    <a:lnTo>
                      <a:pt x="407" y="518"/>
                    </a:lnTo>
                    <a:lnTo>
                      <a:pt x="410" y="512"/>
                    </a:lnTo>
                    <a:lnTo>
                      <a:pt x="410" y="512"/>
                    </a:lnTo>
                    <a:lnTo>
                      <a:pt x="412" y="508"/>
                    </a:lnTo>
                    <a:lnTo>
                      <a:pt x="412" y="503"/>
                    </a:lnTo>
                    <a:lnTo>
                      <a:pt x="412" y="502"/>
                    </a:lnTo>
                    <a:lnTo>
                      <a:pt x="414" y="501"/>
                    </a:lnTo>
                    <a:lnTo>
                      <a:pt x="414" y="501"/>
                    </a:lnTo>
                    <a:lnTo>
                      <a:pt x="419" y="499"/>
                    </a:lnTo>
                    <a:lnTo>
                      <a:pt x="423" y="496"/>
                    </a:lnTo>
                    <a:lnTo>
                      <a:pt x="434" y="485"/>
                    </a:lnTo>
                    <a:lnTo>
                      <a:pt x="434" y="485"/>
                    </a:lnTo>
                    <a:lnTo>
                      <a:pt x="440" y="481"/>
                    </a:lnTo>
                    <a:lnTo>
                      <a:pt x="446" y="478"/>
                    </a:lnTo>
                    <a:lnTo>
                      <a:pt x="450" y="476"/>
                    </a:lnTo>
                    <a:lnTo>
                      <a:pt x="456" y="476"/>
                    </a:lnTo>
                    <a:lnTo>
                      <a:pt x="456" y="476"/>
                    </a:lnTo>
                    <a:lnTo>
                      <a:pt x="460" y="475"/>
                    </a:lnTo>
                    <a:lnTo>
                      <a:pt x="461" y="474"/>
                    </a:lnTo>
                    <a:lnTo>
                      <a:pt x="463" y="472"/>
                    </a:lnTo>
                    <a:lnTo>
                      <a:pt x="464" y="471"/>
                    </a:lnTo>
                    <a:lnTo>
                      <a:pt x="464" y="471"/>
                    </a:lnTo>
                    <a:lnTo>
                      <a:pt x="468" y="469"/>
                    </a:lnTo>
                    <a:lnTo>
                      <a:pt x="471" y="466"/>
                    </a:lnTo>
                    <a:lnTo>
                      <a:pt x="477" y="461"/>
                    </a:lnTo>
                    <a:lnTo>
                      <a:pt x="477" y="461"/>
                    </a:lnTo>
                    <a:lnTo>
                      <a:pt x="481" y="461"/>
                    </a:lnTo>
                    <a:lnTo>
                      <a:pt x="488" y="461"/>
                    </a:lnTo>
                    <a:lnTo>
                      <a:pt x="504" y="462"/>
                    </a:lnTo>
                    <a:lnTo>
                      <a:pt x="504" y="462"/>
                    </a:lnTo>
                    <a:lnTo>
                      <a:pt x="514" y="461"/>
                    </a:lnTo>
                    <a:lnTo>
                      <a:pt x="517" y="461"/>
                    </a:lnTo>
                    <a:lnTo>
                      <a:pt x="518" y="457"/>
                    </a:lnTo>
                    <a:lnTo>
                      <a:pt x="518" y="457"/>
                    </a:lnTo>
                    <a:lnTo>
                      <a:pt x="518" y="454"/>
                    </a:lnTo>
                    <a:lnTo>
                      <a:pt x="521" y="451"/>
                    </a:lnTo>
                    <a:lnTo>
                      <a:pt x="524" y="448"/>
                    </a:lnTo>
                    <a:lnTo>
                      <a:pt x="527" y="448"/>
                    </a:lnTo>
                    <a:lnTo>
                      <a:pt x="527" y="448"/>
                    </a:lnTo>
                    <a:lnTo>
                      <a:pt x="530" y="447"/>
                    </a:lnTo>
                    <a:lnTo>
                      <a:pt x="533" y="447"/>
                    </a:lnTo>
                    <a:lnTo>
                      <a:pt x="534" y="444"/>
                    </a:lnTo>
                    <a:lnTo>
                      <a:pt x="534" y="439"/>
                    </a:lnTo>
                    <a:lnTo>
                      <a:pt x="534" y="439"/>
                    </a:lnTo>
                    <a:lnTo>
                      <a:pt x="534" y="434"/>
                    </a:lnTo>
                    <a:lnTo>
                      <a:pt x="535" y="431"/>
                    </a:lnTo>
                    <a:lnTo>
                      <a:pt x="538" y="427"/>
                    </a:lnTo>
                    <a:lnTo>
                      <a:pt x="541" y="424"/>
                    </a:lnTo>
                    <a:lnTo>
                      <a:pt x="541" y="424"/>
                    </a:lnTo>
                    <a:lnTo>
                      <a:pt x="542" y="421"/>
                    </a:lnTo>
                    <a:lnTo>
                      <a:pt x="545" y="418"/>
                    </a:lnTo>
                    <a:lnTo>
                      <a:pt x="547" y="410"/>
                    </a:lnTo>
                    <a:lnTo>
                      <a:pt x="547" y="410"/>
                    </a:lnTo>
                    <a:lnTo>
                      <a:pt x="548" y="407"/>
                    </a:lnTo>
                    <a:lnTo>
                      <a:pt x="551" y="405"/>
                    </a:lnTo>
                    <a:lnTo>
                      <a:pt x="552" y="404"/>
                    </a:lnTo>
                    <a:lnTo>
                      <a:pt x="552" y="401"/>
                    </a:lnTo>
                    <a:lnTo>
                      <a:pt x="552" y="401"/>
                    </a:lnTo>
                    <a:lnTo>
                      <a:pt x="554" y="391"/>
                    </a:lnTo>
                    <a:lnTo>
                      <a:pt x="555" y="381"/>
                    </a:lnTo>
                    <a:lnTo>
                      <a:pt x="555" y="381"/>
                    </a:lnTo>
                    <a:lnTo>
                      <a:pt x="557" y="378"/>
                    </a:lnTo>
                    <a:lnTo>
                      <a:pt x="558" y="377"/>
                    </a:lnTo>
                    <a:lnTo>
                      <a:pt x="561" y="375"/>
                    </a:lnTo>
                    <a:lnTo>
                      <a:pt x="564" y="373"/>
                    </a:lnTo>
                    <a:lnTo>
                      <a:pt x="564" y="373"/>
                    </a:lnTo>
                    <a:lnTo>
                      <a:pt x="564" y="370"/>
                    </a:lnTo>
                    <a:lnTo>
                      <a:pt x="564" y="365"/>
                    </a:lnTo>
                    <a:lnTo>
                      <a:pt x="564" y="360"/>
                    </a:lnTo>
                    <a:lnTo>
                      <a:pt x="565" y="353"/>
                    </a:lnTo>
                    <a:lnTo>
                      <a:pt x="565" y="353"/>
                    </a:lnTo>
                    <a:lnTo>
                      <a:pt x="567" y="344"/>
                    </a:lnTo>
                    <a:lnTo>
                      <a:pt x="567" y="337"/>
                    </a:lnTo>
                    <a:lnTo>
                      <a:pt x="565" y="321"/>
                    </a:lnTo>
                    <a:lnTo>
                      <a:pt x="565" y="321"/>
                    </a:lnTo>
                    <a:lnTo>
                      <a:pt x="565" y="307"/>
                    </a:lnTo>
                    <a:lnTo>
                      <a:pt x="567" y="301"/>
                    </a:lnTo>
                    <a:lnTo>
                      <a:pt x="569" y="299"/>
                    </a:lnTo>
                    <a:lnTo>
                      <a:pt x="569" y="299"/>
                    </a:lnTo>
                    <a:lnTo>
                      <a:pt x="571" y="296"/>
                    </a:lnTo>
                    <a:lnTo>
                      <a:pt x="571" y="294"/>
                    </a:lnTo>
                    <a:lnTo>
                      <a:pt x="568" y="292"/>
                    </a:lnTo>
                    <a:lnTo>
                      <a:pt x="568" y="292"/>
                    </a:lnTo>
                    <a:lnTo>
                      <a:pt x="567" y="290"/>
                    </a:lnTo>
                    <a:lnTo>
                      <a:pt x="567" y="289"/>
                    </a:lnTo>
                    <a:lnTo>
                      <a:pt x="569" y="287"/>
                    </a:lnTo>
                    <a:lnTo>
                      <a:pt x="571" y="287"/>
                    </a:lnTo>
                    <a:lnTo>
                      <a:pt x="571" y="287"/>
                    </a:lnTo>
                    <a:lnTo>
                      <a:pt x="575" y="290"/>
                    </a:lnTo>
                    <a:lnTo>
                      <a:pt x="578" y="292"/>
                    </a:lnTo>
                    <a:lnTo>
                      <a:pt x="581" y="290"/>
                    </a:lnTo>
                    <a:lnTo>
                      <a:pt x="581" y="290"/>
                    </a:lnTo>
                    <a:lnTo>
                      <a:pt x="584" y="287"/>
                    </a:lnTo>
                    <a:lnTo>
                      <a:pt x="588" y="280"/>
                    </a:lnTo>
                    <a:lnTo>
                      <a:pt x="594" y="266"/>
                    </a:lnTo>
                    <a:lnTo>
                      <a:pt x="594" y="266"/>
                    </a:lnTo>
                    <a:lnTo>
                      <a:pt x="597" y="260"/>
                    </a:lnTo>
                    <a:lnTo>
                      <a:pt x="601" y="256"/>
                    </a:lnTo>
                    <a:lnTo>
                      <a:pt x="609" y="253"/>
                    </a:lnTo>
                    <a:lnTo>
                      <a:pt x="609" y="253"/>
                    </a:lnTo>
                    <a:lnTo>
                      <a:pt x="614" y="250"/>
                    </a:lnTo>
                    <a:lnTo>
                      <a:pt x="619" y="243"/>
                    </a:lnTo>
                    <a:lnTo>
                      <a:pt x="625" y="235"/>
                    </a:lnTo>
                    <a:lnTo>
                      <a:pt x="631" y="222"/>
                    </a:lnTo>
                    <a:lnTo>
                      <a:pt x="631" y="222"/>
                    </a:lnTo>
                    <a:lnTo>
                      <a:pt x="634" y="216"/>
                    </a:lnTo>
                    <a:lnTo>
                      <a:pt x="634" y="209"/>
                    </a:lnTo>
                    <a:lnTo>
                      <a:pt x="634" y="196"/>
                    </a:lnTo>
                    <a:lnTo>
                      <a:pt x="631" y="185"/>
                    </a:lnTo>
                    <a:lnTo>
                      <a:pt x="628" y="175"/>
                    </a:lnTo>
                    <a:lnTo>
                      <a:pt x="628" y="175"/>
                    </a:lnTo>
                    <a:lnTo>
                      <a:pt x="625" y="169"/>
                    </a:lnTo>
                    <a:lnTo>
                      <a:pt x="622" y="166"/>
                    </a:lnTo>
                    <a:lnTo>
                      <a:pt x="619" y="166"/>
                    </a:lnTo>
                    <a:lnTo>
                      <a:pt x="614" y="166"/>
                    </a:lnTo>
                    <a:lnTo>
                      <a:pt x="614" y="166"/>
                    </a:lnTo>
                    <a:lnTo>
                      <a:pt x="608" y="166"/>
                    </a:lnTo>
                    <a:lnTo>
                      <a:pt x="599" y="163"/>
                    </a:lnTo>
                    <a:lnTo>
                      <a:pt x="588" y="156"/>
                    </a:lnTo>
                    <a:lnTo>
                      <a:pt x="575" y="145"/>
                    </a:lnTo>
                    <a:lnTo>
                      <a:pt x="575" y="145"/>
                    </a:lnTo>
                    <a:lnTo>
                      <a:pt x="569" y="139"/>
                    </a:lnTo>
                    <a:lnTo>
                      <a:pt x="562" y="135"/>
                    </a:lnTo>
                    <a:lnTo>
                      <a:pt x="557" y="132"/>
                    </a:lnTo>
                    <a:lnTo>
                      <a:pt x="550" y="129"/>
                    </a:lnTo>
                    <a:lnTo>
                      <a:pt x="544" y="129"/>
                    </a:lnTo>
                    <a:lnTo>
                      <a:pt x="538" y="129"/>
                    </a:lnTo>
                    <a:lnTo>
                      <a:pt x="528" y="131"/>
                    </a:lnTo>
                    <a:lnTo>
                      <a:pt x="528" y="131"/>
                    </a:lnTo>
                    <a:lnTo>
                      <a:pt x="524" y="132"/>
                    </a:lnTo>
                    <a:lnTo>
                      <a:pt x="520" y="131"/>
                    </a:lnTo>
                    <a:lnTo>
                      <a:pt x="511" y="129"/>
                    </a:lnTo>
                    <a:lnTo>
                      <a:pt x="504" y="126"/>
                    </a:lnTo>
                    <a:lnTo>
                      <a:pt x="497" y="124"/>
                    </a:lnTo>
                    <a:lnTo>
                      <a:pt x="497" y="124"/>
                    </a:lnTo>
                    <a:lnTo>
                      <a:pt x="494" y="124"/>
                    </a:lnTo>
                    <a:lnTo>
                      <a:pt x="491" y="124"/>
                    </a:lnTo>
                    <a:lnTo>
                      <a:pt x="486" y="128"/>
                    </a:lnTo>
                    <a:lnTo>
                      <a:pt x="481" y="131"/>
                    </a:lnTo>
                    <a:lnTo>
                      <a:pt x="476" y="134"/>
                    </a:lnTo>
                    <a:lnTo>
                      <a:pt x="476" y="134"/>
                    </a:lnTo>
                    <a:lnTo>
                      <a:pt x="474" y="134"/>
                    </a:lnTo>
                    <a:lnTo>
                      <a:pt x="474" y="134"/>
                    </a:lnTo>
                    <a:lnTo>
                      <a:pt x="476" y="129"/>
                    </a:lnTo>
                    <a:lnTo>
                      <a:pt x="478" y="124"/>
                    </a:lnTo>
                    <a:lnTo>
                      <a:pt x="480" y="118"/>
                    </a:lnTo>
                    <a:lnTo>
                      <a:pt x="480" y="118"/>
                    </a:lnTo>
                    <a:lnTo>
                      <a:pt x="478" y="117"/>
                    </a:lnTo>
                    <a:lnTo>
                      <a:pt x="476" y="114"/>
                    </a:lnTo>
                    <a:lnTo>
                      <a:pt x="467" y="107"/>
                    </a:lnTo>
                    <a:lnTo>
                      <a:pt x="454" y="101"/>
                    </a:lnTo>
                    <a:lnTo>
                      <a:pt x="441" y="95"/>
                    </a:lnTo>
                    <a:lnTo>
                      <a:pt x="441" y="95"/>
                    </a:lnTo>
                    <a:lnTo>
                      <a:pt x="432" y="92"/>
                    </a:lnTo>
                    <a:lnTo>
                      <a:pt x="427" y="92"/>
                    </a:lnTo>
                    <a:lnTo>
                      <a:pt x="424" y="94"/>
                    </a:lnTo>
                    <a:lnTo>
                      <a:pt x="422" y="94"/>
                    </a:lnTo>
                    <a:lnTo>
                      <a:pt x="420" y="97"/>
                    </a:lnTo>
                    <a:lnTo>
                      <a:pt x="419" y="102"/>
                    </a:lnTo>
                    <a:lnTo>
                      <a:pt x="419" y="102"/>
                    </a:lnTo>
                    <a:lnTo>
                      <a:pt x="417" y="105"/>
                    </a:lnTo>
                    <a:lnTo>
                      <a:pt x="417" y="107"/>
                    </a:lnTo>
                    <a:lnTo>
                      <a:pt x="414" y="107"/>
                    </a:lnTo>
                    <a:lnTo>
                      <a:pt x="410" y="107"/>
                    </a:lnTo>
                    <a:lnTo>
                      <a:pt x="409" y="108"/>
                    </a:lnTo>
                    <a:lnTo>
                      <a:pt x="407" y="111"/>
                    </a:lnTo>
                    <a:lnTo>
                      <a:pt x="407" y="111"/>
                    </a:lnTo>
                    <a:lnTo>
                      <a:pt x="404" y="114"/>
                    </a:lnTo>
                    <a:lnTo>
                      <a:pt x="403" y="117"/>
                    </a:lnTo>
                    <a:lnTo>
                      <a:pt x="400" y="117"/>
                    </a:lnTo>
                    <a:lnTo>
                      <a:pt x="399" y="117"/>
                    </a:lnTo>
                    <a:lnTo>
                      <a:pt x="396" y="114"/>
                    </a:lnTo>
                    <a:lnTo>
                      <a:pt x="397" y="112"/>
                    </a:lnTo>
                    <a:lnTo>
                      <a:pt x="399" y="111"/>
                    </a:lnTo>
                    <a:lnTo>
                      <a:pt x="399" y="111"/>
                    </a:lnTo>
                    <a:lnTo>
                      <a:pt x="403" y="108"/>
                    </a:lnTo>
                    <a:lnTo>
                      <a:pt x="407" y="104"/>
                    </a:lnTo>
                    <a:lnTo>
                      <a:pt x="410" y="98"/>
                    </a:lnTo>
                    <a:lnTo>
                      <a:pt x="413" y="92"/>
                    </a:lnTo>
                    <a:lnTo>
                      <a:pt x="413" y="92"/>
                    </a:lnTo>
                    <a:lnTo>
                      <a:pt x="412" y="90"/>
                    </a:lnTo>
                    <a:lnTo>
                      <a:pt x="410" y="88"/>
                    </a:lnTo>
                    <a:lnTo>
                      <a:pt x="400" y="84"/>
                    </a:lnTo>
                    <a:lnTo>
                      <a:pt x="389" y="82"/>
                    </a:lnTo>
                    <a:lnTo>
                      <a:pt x="385" y="84"/>
                    </a:lnTo>
                    <a:lnTo>
                      <a:pt x="380" y="84"/>
                    </a:lnTo>
                    <a:lnTo>
                      <a:pt x="380" y="84"/>
                    </a:lnTo>
                    <a:lnTo>
                      <a:pt x="377" y="85"/>
                    </a:lnTo>
                    <a:lnTo>
                      <a:pt x="376" y="88"/>
                    </a:lnTo>
                    <a:lnTo>
                      <a:pt x="375" y="94"/>
                    </a:lnTo>
                    <a:lnTo>
                      <a:pt x="373" y="97"/>
                    </a:lnTo>
                    <a:lnTo>
                      <a:pt x="372" y="97"/>
                    </a:lnTo>
                    <a:lnTo>
                      <a:pt x="370" y="97"/>
                    </a:lnTo>
                    <a:lnTo>
                      <a:pt x="370" y="97"/>
                    </a:lnTo>
                    <a:lnTo>
                      <a:pt x="367" y="95"/>
                    </a:lnTo>
                    <a:lnTo>
                      <a:pt x="366" y="92"/>
                    </a:lnTo>
                    <a:lnTo>
                      <a:pt x="367" y="88"/>
                    </a:lnTo>
                    <a:lnTo>
                      <a:pt x="370" y="85"/>
                    </a:lnTo>
                    <a:lnTo>
                      <a:pt x="375" y="84"/>
                    </a:lnTo>
                    <a:lnTo>
                      <a:pt x="375" y="84"/>
                    </a:lnTo>
                    <a:lnTo>
                      <a:pt x="376" y="82"/>
                    </a:lnTo>
                    <a:lnTo>
                      <a:pt x="379" y="81"/>
                    </a:lnTo>
                    <a:lnTo>
                      <a:pt x="383" y="77"/>
                    </a:lnTo>
                    <a:lnTo>
                      <a:pt x="390" y="64"/>
                    </a:lnTo>
                    <a:lnTo>
                      <a:pt x="390" y="64"/>
                    </a:lnTo>
                    <a:lnTo>
                      <a:pt x="390" y="61"/>
                    </a:lnTo>
                    <a:lnTo>
                      <a:pt x="390" y="58"/>
                    </a:lnTo>
                    <a:lnTo>
                      <a:pt x="387" y="54"/>
                    </a:lnTo>
                    <a:lnTo>
                      <a:pt x="382" y="51"/>
                    </a:lnTo>
                    <a:lnTo>
                      <a:pt x="377" y="47"/>
                    </a:lnTo>
                    <a:lnTo>
                      <a:pt x="377" y="47"/>
                    </a:lnTo>
                    <a:lnTo>
                      <a:pt x="375" y="43"/>
                    </a:lnTo>
                    <a:lnTo>
                      <a:pt x="373" y="40"/>
                    </a:lnTo>
                    <a:lnTo>
                      <a:pt x="372" y="30"/>
                    </a:lnTo>
                    <a:lnTo>
                      <a:pt x="369" y="21"/>
                    </a:lnTo>
                    <a:lnTo>
                      <a:pt x="367" y="17"/>
                    </a:lnTo>
                    <a:lnTo>
                      <a:pt x="366" y="16"/>
                    </a:lnTo>
                    <a:lnTo>
                      <a:pt x="366" y="16"/>
                    </a:lnTo>
                    <a:lnTo>
                      <a:pt x="355" y="28"/>
                    </a:lnTo>
                    <a:lnTo>
                      <a:pt x="349" y="35"/>
                    </a:lnTo>
                    <a:lnTo>
                      <a:pt x="346" y="41"/>
                    </a:lnTo>
                    <a:lnTo>
                      <a:pt x="346" y="41"/>
                    </a:lnTo>
                    <a:lnTo>
                      <a:pt x="343" y="45"/>
                    </a:lnTo>
                    <a:lnTo>
                      <a:pt x="340" y="47"/>
                    </a:lnTo>
                    <a:lnTo>
                      <a:pt x="336" y="47"/>
                    </a:lnTo>
                    <a:lnTo>
                      <a:pt x="329" y="48"/>
                    </a:lnTo>
                    <a:lnTo>
                      <a:pt x="329" y="48"/>
                    </a:lnTo>
                    <a:lnTo>
                      <a:pt x="323" y="50"/>
                    </a:lnTo>
                    <a:lnTo>
                      <a:pt x="319" y="48"/>
                    </a:lnTo>
                    <a:lnTo>
                      <a:pt x="316" y="47"/>
                    </a:lnTo>
                    <a:lnTo>
                      <a:pt x="313" y="44"/>
                    </a:lnTo>
                    <a:lnTo>
                      <a:pt x="313" y="44"/>
                    </a:lnTo>
                    <a:lnTo>
                      <a:pt x="311" y="43"/>
                    </a:lnTo>
                    <a:lnTo>
                      <a:pt x="306" y="43"/>
                    </a:lnTo>
                    <a:lnTo>
                      <a:pt x="296" y="43"/>
                    </a:lnTo>
                    <a:lnTo>
                      <a:pt x="296" y="43"/>
                    </a:lnTo>
                    <a:lnTo>
                      <a:pt x="294" y="43"/>
                    </a:lnTo>
                    <a:lnTo>
                      <a:pt x="292" y="44"/>
                    </a:lnTo>
                    <a:lnTo>
                      <a:pt x="292" y="47"/>
                    </a:lnTo>
                    <a:lnTo>
                      <a:pt x="291" y="51"/>
                    </a:lnTo>
                    <a:lnTo>
                      <a:pt x="289" y="53"/>
                    </a:lnTo>
                    <a:lnTo>
                      <a:pt x="289" y="53"/>
                    </a:lnTo>
                    <a:lnTo>
                      <a:pt x="285" y="54"/>
                    </a:lnTo>
                    <a:lnTo>
                      <a:pt x="279" y="53"/>
                    </a:lnTo>
                    <a:lnTo>
                      <a:pt x="274" y="51"/>
                    </a:lnTo>
                    <a:lnTo>
                      <a:pt x="272" y="51"/>
                    </a:lnTo>
                    <a:lnTo>
                      <a:pt x="269" y="53"/>
                    </a:lnTo>
                    <a:lnTo>
                      <a:pt x="269" y="53"/>
                    </a:lnTo>
                    <a:lnTo>
                      <a:pt x="268" y="54"/>
                    </a:lnTo>
                    <a:lnTo>
                      <a:pt x="265" y="55"/>
                    </a:lnTo>
                    <a:lnTo>
                      <a:pt x="264" y="55"/>
                    </a:lnTo>
                    <a:lnTo>
                      <a:pt x="262" y="57"/>
                    </a:lnTo>
                    <a:lnTo>
                      <a:pt x="262" y="57"/>
                    </a:lnTo>
                    <a:lnTo>
                      <a:pt x="259" y="58"/>
                    </a:lnTo>
                    <a:lnTo>
                      <a:pt x="257" y="60"/>
                    </a:lnTo>
                    <a:lnTo>
                      <a:pt x="254" y="60"/>
                    </a:lnTo>
                    <a:lnTo>
                      <a:pt x="251" y="61"/>
                    </a:lnTo>
                    <a:lnTo>
                      <a:pt x="251" y="61"/>
                    </a:lnTo>
                    <a:lnTo>
                      <a:pt x="249" y="62"/>
                    </a:lnTo>
                    <a:lnTo>
                      <a:pt x="245" y="62"/>
                    </a:lnTo>
                    <a:lnTo>
                      <a:pt x="239" y="60"/>
                    </a:lnTo>
                    <a:lnTo>
                      <a:pt x="234" y="54"/>
                    </a:lnTo>
                    <a:lnTo>
                      <a:pt x="234" y="54"/>
                    </a:lnTo>
                    <a:lnTo>
                      <a:pt x="231" y="51"/>
                    </a:lnTo>
                    <a:lnTo>
                      <a:pt x="229" y="47"/>
                    </a:lnTo>
                    <a:lnTo>
                      <a:pt x="228" y="38"/>
                    </a:lnTo>
                    <a:lnTo>
                      <a:pt x="228" y="31"/>
                    </a:lnTo>
                    <a:lnTo>
                      <a:pt x="231" y="25"/>
                    </a:lnTo>
                    <a:lnTo>
                      <a:pt x="231" y="25"/>
                    </a:lnTo>
                    <a:lnTo>
                      <a:pt x="232" y="23"/>
                    </a:lnTo>
                    <a:lnTo>
                      <a:pt x="234" y="20"/>
                    </a:lnTo>
                    <a:lnTo>
                      <a:pt x="232" y="16"/>
                    </a:lnTo>
                    <a:lnTo>
                      <a:pt x="229" y="13"/>
                    </a:lnTo>
                    <a:lnTo>
                      <a:pt x="229" y="13"/>
                    </a:lnTo>
                    <a:lnTo>
                      <a:pt x="228" y="11"/>
                    </a:lnTo>
                    <a:lnTo>
                      <a:pt x="227" y="10"/>
                    </a:lnTo>
                    <a:lnTo>
                      <a:pt x="227" y="6"/>
                    </a:lnTo>
                    <a:lnTo>
                      <a:pt x="225" y="1"/>
                    </a:lnTo>
                    <a:lnTo>
                      <a:pt x="224" y="0"/>
                    </a:lnTo>
                    <a:lnTo>
                      <a:pt x="222" y="0"/>
                    </a:lnTo>
                    <a:lnTo>
                      <a:pt x="222" y="0"/>
                    </a:lnTo>
                    <a:lnTo>
                      <a:pt x="220" y="0"/>
                    </a:lnTo>
                    <a:lnTo>
                      <a:pt x="218" y="0"/>
                    </a:lnTo>
                    <a:lnTo>
                      <a:pt x="217" y="3"/>
                    </a:lnTo>
                    <a:lnTo>
                      <a:pt x="214" y="6"/>
                    </a:lnTo>
                    <a:lnTo>
                      <a:pt x="212" y="8"/>
                    </a:lnTo>
                    <a:lnTo>
                      <a:pt x="212" y="8"/>
                    </a:lnTo>
                    <a:lnTo>
                      <a:pt x="202" y="13"/>
                    </a:lnTo>
                    <a:lnTo>
                      <a:pt x="197" y="16"/>
                    </a:lnTo>
                    <a:lnTo>
                      <a:pt x="193" y="16"/>
                    </a:lnTo>
                    <a:lnTo>
                      <a:pt x="193" y="16"/>
                    </a:lnTo>
                    <a:lnTo>
                      <a:pt x="188" y="16"/>
                    </a:lnTo>
                    <a:lnTo>
                      <a:pt x="185" y="17"/>
                    </a:lnTo>
                    <a:lnTo>
                      <a:pt x="183" y="18"/>
                    </a:lnTo>
                    <a:lnTo>
                      <a:pt x="181" y="23"/>
                    </a:lnTo>
                    <a:lnTo>
                      <a:pt x="181" y="23"/>
                    </a:lnTo>
                    <a:lnTo>
                      <a:pt x="181" y="25"/>
                    </a:lnTo>
                    <a:lnTo>
                      <a:pt x="178" y="25"/>
                    </a:lnTo>
                    <a:lnTo>
                      <a:pt x="177" y="24"/>
                    </a:lnTo>
                    <a:lnTo>
                      <a:pt x="175" y="21"/>
                    </a:lnTo>
                    <a:lnTo>
                      <a:pt x="175" y="21"/>
                    </a:lnTo>
                    <a:lnTo>
                      <a:pt x="174" y="21"/>
                    </a:lnTo>
                    <a:lnTo>
                      <a:pt x="173" y="20"/>
                    </a:lnTo>
                    <a:lnTo>
                      <a:pt x="168" y="18"/>
                    </a:lnTo>
                    <a:lnTo>
                      <a:pt x="164" y="18"/>
                    </a:lnTo>
                    <a:lnTo>
                      <a:pt x="161" y="17"/>
                    </a:lnTo>
                    <a:lnTo>
                      <a:pt x="161" y="17"/>
                    </a:lnTo>
                    <a:lnTo>
                      <a:pt x="157" y="16"/>
                    </a:lnTo>
                    <a:lnTo>
                      <a:pt x="153" y="16"/>
                    </a:lnTo>
                    <a:lnTo>
                      <a:pt x="150" y="17"/>
                    </a:lnTo>
                    <a:lnTo>
                      <a:pt x="150" y="18"/>
                    </a:lnTo>
                    <a:lnTo>
                      <a:pt x="150" y="18"/>
                    </a:lnTo>
                    <a:lnTo>
                      <a:pt x="150" y="18"/>
                    </a:lnTo>
                    <a:lnTo>
                      <a:pt x="154" y="21"/>
                    </a:lnTo>
                    <a:lnTo>
                      <a:pt x="156" y="24"/>
                    </a:lnTo>
                    <a:lnTo>
                      <a:pt x="157" y="31"/>
                    </a:lnTo>
                    <a:lnTo>
                      <a:pt x="157" y="31"/>
                    </a:lnTo>
                    <a:lnTo>
                      <a:pt x="157" y="34"/>
                    </a:lnTo>
                    <a:lnTo>
                      <a:pt x="158" y="35"/>
                    </a:lnTo>
                    <a:lnTo>
                      <a:pt x="160" y="38"/>
                    </a:lnTo>
                    <a:lnTo>
                      <a:pt x="161" y="41"/>
                    </a:lnTo>
                    <a:lnTo>
                      <a:pt x="161" y="41"/>
                    </a:lnTo>
                    <a:lnTo>
                      <a:pt x="161" y="44"/>
                    </a:lnTo>
                    <a:lnTo>
                      <a:pt x="164" y="44"/>
                    </a:lnTo>
                    <a:lnTo>
                      <a:pt x="170" y="43"/>
                    </a:lnTo>
                    <a:lnTo>
                      <a:pt x="170" y="43"/>
                    </a:lnTo>
                    <a:lnTo>
                      <a:pt x="171" y="44"/>
                    </a:lnTo>
                    <a:lnTo>
                      <a:pt x="171" y="45"/>
                    </a:lnTo>
                    <a:lnTo>
                      <a:pt x="170" y="48"/>
                    </a:lnTo>
                    <a:lnTo>
                      <a:pt x="167" y="50"/>
                    </a:lnTo>
                    <a:lnTo>
                      <a:pt x="167" y="50"/>
                    </a:lnTo>
                    <a:lnTo>
                      <a:pt x="164" y="51"/>
                    </a:lnTo>
                    <a:lnTo>
                      <a:pt x="161" y="53"/>
                    </a:lnTo>
                    <a:lnTo>
                      <a:pt x="160" y="55"/>
                    </a:lnTo>
                    <a:lnTo>
                      <a:pt x="158" y="58"/>
                    </a:lnTo>
                    <a:lnTo>
                      <a:pt x="158" y="58"/>
                    </a:lnTo>
                    <a:lnTo>
                      <a:pt x="157" y="61"/>
                    </a:lnTo>
                    <a:lnTo>
                      <a:pt x="154" y="61"/>
                    </a:lnTo>
                    <a:lnTo>
                      <a:pt x="151" y="62"/>
                    </a:lnTo>
                    <a:lnTo>
                      <a:pt x="147" y="64"/>
                    </a:lnTo>
                    <a:lnTo>
                      <a:pt x="147" y="64"/>
                    </a:lnTo>
                    <a:lnTo>
                      <a:pt x="141" y="68"/>
                    </a:lnTo>
                    <a:lnTo>
                      <a:pt x="138" y="70"/>
                    </a:lnTo>
                    <a:lnTo>
                      <a:pt x="137" y="70"/>
                    </a:lnTo>
                    <a:lnTo>
                      <a:pt x="137" y="70"/>
                    </a:lnTo>
                    <a:lnTo>
                      <a:pt x="134" y="68"/>
                    </a:lnTo>
                    <a:lnTo>
                      <a:pt x="133" y="68"/>
                    </a:lnTo>
                    <a:lnTo>
                      <a:pt x="128" y="71"/>
                    </a:lnTo>
                    <a:lnTo>
                      <a:pt x="128" y="71"/>
                    </a:lnTo>
                    <a:lnTo>
                      <a:pt x="126" y="71"/>
                    </a:lnTo>
                    <a:lnTo>
                      <a:pt x="124" y="71"/>
                    </a:lnTo>
                    <a:lnTo>
                      <a:pt x="119" y="67"/>
                    </a:lnTo>
                    <a:lnTo>
                      <a:pt x="119" y="67"/>
                    </a:lnTo>
                    <a:lnTo>
                      <a:pt x="116" y="64"/>
                    </a:lnTo>
                    <a:lnTo>
                      <a:pt x="113" y="60"/>
                    </a:lnTo>
                    <a:lnTo>
                      <a:pt x="110" y="55"/>
                    </a:lnTo>
                    <a:lnTo>
                      <a:pt x="106" y="51"/>
                    </a:lnTo>
                    <a:lnTo>
                      <a:pt x="106" y="51"/>
                    </a:lnTo>
                    <a:lnTo>
                      <a:pt x="99" y="54"/>
                    </a:lnTo>
                    <a:lnTo>
                      <a:pt x="90" y="55"/>
                    </a:lnTo>
                    <a:lnTo>
                      <a:pt x="90" y="55"/>
                    </a:lnTo>
                    <a:lnTo>
                      <a:pt x="76" y="55"/>
                    </a:lnTo>
                    <a:lnTo>
                      <a:pt x="69" y="55"/>
                    </a:lnTo>
                    <a:lnTo>
                      <a:pt x="67" y="57"/>
                    </a:lnTo>
                    <a:lnTo>
                      <a:pt x="66" y="57"/>
                    </a:lnTo>
                    <a:lnTo>
                      <a:pt x="66" y="57"/>
                    </a:lnTo>
                    <a:lnTo>
                      <a:pt x="66" y="60"/>
                    </a:lnTo>
                    <a:lnTo>
                      <a:pt x="67" y="62"/>
                    </a:lnTo>
                    <a:lnTo>
                      <a:pt x="69" y="65"/>
                    </a:lnTo>
                    <a:lnTo>
                      <a:pt x="70" y="67"/>
                    </a:lnTo>
                    <a:lnTo>
                      <a:pt x="70" y="67"/>
                    </a:lnTo>
                    <a:lnTo>
                      <a:pt x="74" y="68"/>
                    </a:lnTo>
                    <a:lnTo>
                      <a:pt x="76" y="70"/>
                    </a:lnTo>
                    <a:lnTo>
                      <a:pt x="73" y="72"/>
                    </a:lnTo>
                    <a:lnTo>
                      <a:pt x="73" y="72"/>
                    </a:lnTo>
                    <a:lnTo>
                      <a:pt x="69" y="74"/>
                    </a:lnTo>
                    <a:lnTo>
                      <a:pt x="66" y="75"/>
                    </a:lnTo>
                    <a:lnTo>
                      <a:pt x="63" y="77"/>
                    </a:lnTo>
                    <a:lnTo>
                      <a:pt x="63" y="81"/>
                    </a:lnTo>
                    <a:lnTo>
                      <a:pt x="63" y="81"/>
                    </a:lnTo>
                    <a:lnTo>
                      <a:pt x="63" y="85"/>
                    </a:lnTo>
                    <a:lnTo>
                      <a:pt x="64" y="88"/>
                    </a:lnTo>
                    <a:lnTo>
                      <a:pt x="69" y="95"/>
                    </a:lnTo>
                    <a:lnTo>
                      <a:pt x="72" y="101"/>
                    </a:lnTo>
                    <a:lnTo>
                      <a:pt x="73" y="104"/>
                    </a:lnTo>
                    <a:lnTo>
                      <a:pt x="73" y="108"/>
                    </a:lnTo>
                    <a:lnTo>
                      <a:pt x="73" y="108"/>
                    </a:lnTo>
                    <a:lnTo>
                      <a:pt x="70" y="118"/>
                    </a:lnTo>
                    <a:lnTo>
                      <a:pt x="70" y="129"/>
                    </a:lnTo>
                    <a:lnTo>
                      <a:pt x="70" y="129"/>
                    </a:lnTo>
                    <a:lnTo>
                      <a:pt x="67" y="142"/>
                    </a:lnTo>
                    <a:lnTo>
                      <a:pt x="66" y="148"/>
                    </a:lnTo>
                    <a:lnTo>
                      <a:pt x="64" y="151"/>
                    </a:lnTo>
                    <a:lnTo>
                      <a:pt x="63" y="151"/>
                    </a:lnTo>
                    <a:lnTo>
                      <a:pt x="63" y="151"/>
                    </a:lnTo>
                    <a:lnTo>
                      <a:pt x="60" y="151"/>
                    </a:lnTo>
                    <a:lnTo>
                      <a:pt x="57" y="151"/>
                    </a:lnTo>
                    <a:lnTo>
                      <a:pt x="53" y="151"/>
                    </a:lnTo>
                    <a:lnTo>
                      <a:pt x="50" y="152"/>
                    </a:lnTo>
                    <a:lnTo>
                      <a:pt x="50" y="152"/>
                    </a:lnTo>
                    <a:lnTo>
                      <a:pt x="45" y="155"/>
                    </a:lnTo>
                    <a:lnTo>
                      <a:pt x="40" y="155"/>
                    </a:lnTo>
                    <a:lnTo>
                      <a:pt x="35" y="156"/>
                    </a:lnTo>
                    <a:lnTo>
                      <a:pt x="30" y="159"/>
                    </a:lnTo>
                    <a:lnTo>
                      <a:pt x="30" y="159"/>
                    </a:lnTo>
                    <a:lnTo>
                      <a:pt x="25" y="162"/>
                    </a:lnTo>
                    <a:lnTo>
                      <a:pt x="20" y="163"/>
                    </a:lnTo>
                    <a:lnTo>
                      <a:pt x="18" y="165"/>
                    </a:lnTo>
                    <a:lnTo>
                      <a:pt x="16" y="169"/>
                    </a:lnTo>
                    <a:lnTo>
                      <a:pt x="16" y="169"/>
                    </a:lnTo>
                    <a:lnTo>
                      <a:pt x="15" y="173"/>
                    </a:lnTo>
                    <a:lnTo>
                      <a:pt x="13" y="176"/>
                    </a:lnTo>
                    <a:lnTo>
                      <a:pt x="10" y="181"/>
                    </a:lnTo>
                    <a:lnTo>
                      <a:pt x="10" y="183"/>
                    </a:lnTo>
                    <a:lnTo>
                      <a:pt x="10" y="183"/>
                    </a:lnTo>
                    <a:lnTo>
                      <a:pt x="10" y="186"/>
                    </a:lnTo>
                    <a:lnTo>
                      <a:pt x="9" y="189"/>
                    </a:lnTo>
                    <a:lnTo>
                      <a:pt x="6" y="191"/>
                    </a:lnTo>
                    <a:lnTo>
                      <a:pt x="3" y="192"/>
                    </a:lnTo>
                    <a:lnTo>
                      <a:pt x="3" y="192"/>
                    </a:lnTo>
                    <a:lnTo>
                      <a:pt x="2" y="195"/>
                    </a:lnTo>
                    <a:lnTo>
                      <a:pt x="2" y="198"/>
                    </a:lnTo>
                    <a:lnTo>
                      <a:pt x="2" y="200"/>
                    </a:lnTo>
                    <a:lnTo>
                      <a:pt x="2" y="203"/>
                    </a:lnTo>
                    <a:lnTo>
                      <a:pt x="2" y="203"/>
                    </a:lnTo>
                    <a:lnTo>
                      <a:pt x="0" y="206"/>
                    </a:lnTo>
                    <a:lnTo>
                      <a:pt x="0" y="209"/>
                    </a:lnTo>
                    <a:lnTo>
                      <a:pt x="6" y="216"/>
                    </a:lnTo>
                    <a:lnTo>
                      <a:pt x="6" y="216"/>
                    </a:lnTo>
                    <a:lnTo>
                      <a:pt x="10" y="223"/>
                    </a:lnTo>
                    <a:lnTo>
                      <a:pt x="12" y="227"/>
                    </a:lnTo>
                    <a:lnTo>
                      <a:pt x="12" y="230"/>
                    </a:lnTo>
                    <a:lnTo>
                      <a:pt x="12" y="230"/>
                    </a:lnTo>
                    <a:lnTo>
                      <a:pt x="12" y="233"/>
                    </a:lnTo>
                    <a:lnTo>
                      <a:pt x="15" y="235"/>
                    </a:lnTo>
                    <a:lnTo>
                      <a:pt x="18" y="236"/>
                    </a:lnTo>
                    <a:lnTo>
                      <a:pt x="20" y="236"/>
                    </a:lnTo>
                    <a:lnTo>
                      <a:pt x="20" y="236"/>
                    </a:lnTo>
                    <a:lnTo>
                      <a:pt x="22" y="236"/>
                    </a:lnTo>
                    <a:lnTo>
                      <a:pt x="22" y="237"/>
                    </a:lnTo>
                    <a:lnTo>
                      <a:pt x="23" y="240"/>
                    </a:lnTo>
                    <a:lnTo>
                      <a:pt x="25" y="245"/>
                    </a:lnTo>
                    <a:lnTo>
                      <a:pt x="26" y="245"/>
                    </a:lnTo>
                    <a:lnTo>
                      <a:pt x="29" y="246"/>
                    </a:lnTo>
                    <a:lnTo>
                      <a:pt x="29" y="246"/>
                    </a:lnTo>
                    <a:lnTo>
                      <a:pt x="39" y="246"/>
                    </a:lnTo>
                    <a:lnTo>
                      <a:pt x="43" y="245"/>
                    </a:lnTo>
                    <a:lnTo>
                      <a:pt x="46" y="243"/>
                    </a:lnTo>
                    <a:lnTo>
                      <a:pt x="46" y="243"/>
                    </a:lnTo>
                    <a:lnTo>
                      <a:pt x="47" y="240"/>
                    </a:lnTo>
                    <a:lnTo>
                      <a:pt x="50" y="239"/>
                    </a:lnTo>
                    <a:lnTo>
                      <a:pt x="52" y="239"/>
                    </a:lnTo>
                    <a:lnTo>
                      <a:pt x="53" y="242"/>
                    </a:lnTo>
                    <a:lnTo>
                      <a:pt x="53" y="242"/>
                    </a:lnTo>
                    <a:lnTo>
                      <a:pt x="53" y="255"/>
                    </a:lnTo>
                    <a:lnTo>
                      <a:pt x="55" y="260"/>
                    </a:lnTo>
                    <a:lnTo>
                      <a:pt x="55" y="263"/>
                    </a:lnTo>
                    <a:lnTo>
                      <a:pt x="57" y="263"/>
                    </a:lnTo>
                    <a:lnTo>
                      <a:pt x="57" y="263"/>
                    </a:lnTo>
                    <a:lnTo>
                      <a:pt x="62" y="262"/>
                    </a:lnTo>
                    <a:lnTo>
                      <a:pt x="67" y="262"/>
                    </a:lnTo>
                    <a:lnTo>
                      <a:pt x="77" y="263"/>
                    </a:lnTo>
                    <a:lnTo>
                      <a:pt x="77" y="263"/>
                    </a:lnTo>
                    <a:lnTo>
                      <a:pt x="82" y="263"/>
                    </a:lnTo>
                    <a:lnTo>
                      <a:pt x="86" y="263"/>
                    </a:lnTo>
                    <a:lnTo>
                      <a:pt x="89" y="262"/>
                    </a:lnTo>
                    <a:lnTo>
                      <a:pt x="92" y="260"/>
                    </a:lnTo>
                    <a:lnTo>
                      <a:pt x="92" y="260"/>
                    </a:lnTo>
                    <a:lnTo>
                      <a:pt x="94" y="257"/>
                    </a:lnTo>
                    <a:lnTo>
                      <a:pt x="97" y="256"/>
                    </a:lnTo>
                    <a:lnTo>
                      <a:pt x="106" y="253"/>
                    </a:lnTo>
                    <a:lnTo>
                      <a:pt x="106" y="253"/>
                    </a:lnTo>
                    <a:lnTo>
                      <a:pt x="114" y="247"/>
                    </a:lnTo>
                    <a:lnTo>
                      <a:pt x="120" y="245"/>
                    </a:lnTo>
                    <a:lnTo>
                      <a:pt x="124" y="245"/>
                    </a:lnTo>
                    <a:lnTo>
                      <a:pt x="124" y="245"/>
                    </a:lnTo>
                    <a:lnTo>
                      <a:pt x="134" y="243"/>
                    </a:lnTo>
                    <a:lnTo>
                      <a:pt x="138" y="243"/>
                    </a:lnTo>
                    <a:lnTo>
                      <a:pt x="140" y="243"/>
                    </a:lnTo>
                    <a:lnTo>
                      <a:pt x="140" y="245"/>
                    </a:lnTo>
                    <a:lnTo>
                      <a:pt x="140" y="245"/>
                    </a:lnTo>
                    <a:lnTo>
                      <a:pt x="138" y="250"/>
                    </a:lnTo>
                    <a:lnTo>
                      <a:pt x="138" y="259"/>
                    </a:lnTo>
                    <a:lnTo>
                      <a:pt x="140" y="269"/>
                    </a:lnTo>
                    <a:lnTo>
                      <a:pt x="141" y="273"/>
                    </a:lnTo>
                    <a:lnTo>
                      <a:pt x="144" y="276"/>
                    </a:lnTo>
                    <a:lnTo>
                      <a:pt x="144" y="276"/>
                    </a:lnTo>
                    <a:lnTo>
                      <a:pt x="150" y="282"/>
                    </a:lnTo>
                    <a:lnTo>
                      <a:pt x="154" y="286"/>
                    </a:lnTo>
                    <a:lnTo>
                      <a:pt x="158" y="287"/>
                    </a:lnTo>
                    <a:lnTo>
                      <a:pt x="164" y="287"/>
                    </a:lnTo>
                    <a:lnTo>
                      <a:pt x="164" y="287"/>
                    </a:lnTo>
                    <a:lnTo>
                      <a:pt x="167" y="287"/>
                    </a:lnTo>
                    <a:lnTo>
                      <a:pt x="170" y="289"/>
                    </a:lnTo>
                    <a:lnTo>
                      <a:pt x="171" y="290"/>
                    </a:lnTo>
                    <a:lnTo>
                      <a:pt x="175" y="290"/>
                    </a:lnTo>
                    <a:lnTo>
                      <a:pt x="175" y="290"/>
                    </a:lnTo>
                    <a:lnTo>
                      <a:pt x="177" y="290"/>
                    </a:lnTo>
                    <a:lnTo>
                      <a:pt x="178" y="293"/>
                    </a:lnTo>
                    <a:lnTo>
                      <a:pt x="180" y="294"/>
                    </a:lnTo>
                    <a:lnTo>
                      <a:pt x="181" y="296"/>
                    </a:lnTo>
                    <a:lnTo>
                      <a:pt x="181" y="296"/>
                    </a:lnTo>
                    <a:lnTo>
                      <a:pt x="190" y="297"/>
                    </a:lnTo>
                    <a:lnTo>
                      <a:pt x="194" y="299"/>
                    </a:lnTo>
                    <a:lnTo>
                      <a:pt x="195" y="301"/>
                    </a:lnTo>
                    <a:lnTo>
                      <a:pt x="195" y="301"/>
                    </a:lnTo>
                    <a:lnTo>
                      <a:pt x="195" y="303"/>
                    </a:lnTo>
                    <a:lnTo>
                      <a:pt x="197" y="304"/>
                    </a:lnTo>
                    <a:lnTo>
                      <a:pt x="202" y="304"/>
                    </a:lnTo>
                    <a:lnTo>
                      <a:pt x="208" y="304"/>
                    </a:lnTo>
                    <a:lnTo>
                      <a:pt x="212" y="306"/>
                    </a:lnTo>
                    <a:lnTo>
                      <a:pt x="212" y="306"/>
                    </a:lnTo>
                    <a:lnTo>
                      <a:pt x="217" y="310"/>
                    </a:lnTo>
                    <a:lnTo>
                      <a:pt x="218" y="313"/>
                    </a:lnTo>
                    <a:lnTo>
                      <a:pt x="218" y="317"/>
                    </a:lnTo>
                    <a:lnTo>
                      <a:pt x="218" y="317"/>
                    </a:lnTo>
                    <a:lnTo>
                      <a:pt x="220" y="320"/>
                    </a:lnTo>
                    <a:lnTo>
                      <a:pt x="221" y="324"/>
                    </a:lnTo>
                    <a:lnTo>
                      <a:pt x="222" y="327"/>
                    </a:lnTo>
                    <a:lnTo>
                      <a:pt x="222" y="328"/>
                    </a:lnTo>
                    <a:lnTo>
                      <a:pt x="221" y="328"/>
                    </a:lnTo>
                    <a:lnTo>
                      <a:pt x="221" y="328"/>
                    </a:lnTo>
                    <a:lnTo>
                      <a:pt x="220" y="331"/>
                    </a:lnTo>
                    <a:lnTo>
                      <a:pt x="220" y="334"/>
                    </a:lnTo>
                    <a:lnTo>
                      <a:pt x="221" y="338"/>
                    </a:lnTo>
                    <a:lnTo>
                      <a:pt x="222" y="343"/>
                    </a:lnTo>
                    <a:lnTo>
                      <a:pt x="222" y="343"/>
                    </a:lnTo>
                    <a:lnTo>
                      <a:pt x="224" y="346"/>
                    </a:lnTo>
                    <a:lnTo>
                      <a:pt x="228" y="348"/>
                    </a:lnTo>
                    <a:lnTo>
                      <a:pt x="234" y="350"/>
                    </a:lnTo>
                    <a:lnTo>
                      <a:pt x="241" y="350"/>
                    </a:lnTo>
                    <a:lnTo>
                      <a:pt x="241" y="350"/>
                    </a:lnTo>
                    <a:lnTo>
                      <a:pt x="247" y="350"/>
                    </a:lnTo>
                    <a:lnTo>
                      <a:pt x="251" y="351"/>
                    </a:lnTo>
                    <a:lnTo>
                      <a:pt x="252" y="354"/>
                    </a:lnTo>
                    <a:lnTo>
                      <a:pt x="254" y="358"/>
                    </a:lnTo>
                    <a:lnTo>
                      <a:pt x="254" y="358"/>
                    </a:lnTo>
                    <a:lnTo>
                      <a:pt x="255" y="363"/>
                    </a:lnTo>
                    <a:lnTo>
                      <a:pt x="258" y="367"/>
                    </a:lnTo>
                    <a:lnTo>
                      <a:pt x="261" y="370"/>
                    </a:lnTo>
                    <a:lnTo>
                      <a:pt x="264" y="374"/>
                    </a:lnTo>
                    <a:lnTo>
                      <a:pt x="264" y="374"/>
                    </a:lnTo>
                    <a:lnTo>
                      <a:pt x="264" y="380"/>
                    </a:lnTo>
                    <a:lnTo>
                      <a:pt x="262" y="385"/>
                    </a:lnTo>
                    <a:lnTo>
                      <a:pt x="261" y="390"/>
                    </a:lnTo>
                    <a:lnTo>
                      <a:pt x="261" y="395"/>
                    </a:lnTo>
                    <a:lnTo>
                      <a:pt x="261" y="395"/>
                    </a:lnTo>
                    <a:lnTo>
                      <a:pt x="261" y="398"/>
                    </a:lnTo>
                    <a:lnTo>
                      <a:pt x="259" y="401"/>
                    </a:lnTo>
                    <a:lnTo>
                      <a:pt x="257" y="405"/>
                    </a:lnTo>
                    <a:lnTo>
                      <a:pt x="257" y="405"/>
                    </a:lnTo>
                    <a:lnTo>
                      <a:pt x="259" y="411"/>
                    </a:lnTo>
                    <a:lnTo>
                      <a:pt x="258" y="412"/>
                    </a:lnTo>
                    <a:lnTo>
                      <a:pt x="257" y="414"/>
                    </a:lnTo>
                    <a:lnTo>
                      <a:pt x="257" y="414"/>
                    </a:lnTo>
                    <a:lnTo>
                      <a:pt x="257" y="415"/>
                    </a:lnTo>
                    <a:lnTo>
                      <a:pt x="257" y="417"/>
                    </a:lnTo>
                    <a:lnTo>
                      <a:pt x="258" y="421"/>
                    </a:lnTo>
                    <a:lnTo>
                      <a:pt x="259" y="427"/>
                    </a:lnTo>
                    <a:lnTo>
                      <a:pt x="261" y="430"/>
                    </a:lnTo>
                    <a:lnTo>
                      <a:pt x="259" y="434"/>
                    </a:lnTo>
                    <a:lnTo>
                      <a:pt x="259" y="434"/>
                    </a:lnTo>
                    <a:lnTo>
                      <a:pt x="258" y="441"/>
                    </a:lnTo>
                    <a:lnTo>
                      <a:pt x="259" y="444"/>
                    </a:lnTo>
                    <a:lnTo>
                      <a:pt x="262" y="447"/>
                    </a:lnTo>
                    <a:lnTo>
                      <a:pt x="268" y="447"/>
                    </a:lnTo>
                    <a:lnTo>
                      <a:pt x="268" y="447"/>
                    </a:lnTo>
                    <a:lnTo>
                      <a:pt x="274" y="448"/>
                    </a:lnTo>
                    <a:lnTo>
                      <a:pt x="278" y="449"/>
                    </a:lnTo>
                    <a:lnTo>
                      <a:pt x="279" y="449"/>
                    </a:lnTo>
                    <a:lnTo>
                      <a:pt x="282" y="448"/>
                    </a:lnTo>
                    <a:lnTo>
                      <a:pt x="282" y="448"/>
                    </a:lnTo>
                    <a:lnTo>
                      <a:pt x="284" y="448"/>
                    </a:lnTo>
                    <a:lnTo>
                      <a:pt x="285" y="449"/>
                    </a:lnTo>
                    <a:lnTo>
                      <a:pt x="288" y="452"/>
                    </a:lnTo>
                    <a:lnTo>
                      <a:pt x="291" y="457"/>
                    </a:lnTo>
                    <a:lnTo>
                      <a:pt x="294" y="462"/>
                    </a:lnTo>
                    <a:lnTo>
                      <a:pt x="294" y="462"/>
                    </a:lnTo>
                    <a:lnTo>
                      <a:pt x="296" y="472"/>
                    </a:lnTo>
                    <a:lnTo>
                      <a:pt x="299" y="478"/>
                    </a:lnTo>
                    <a:lnTo>
                      <a:pt x="301" y="479"/>
                    </a:lnTo>
                    <a:lnTo>
                      <a:pt x="301" y="479"/>
                    </a:lnTo>
                    <a:lnTo>
                      <a:pt x="306" y="478"/>
                    </a:lnTo>
                    <a:lnTo>
                      <a:pt x="311" y="476"/>
                    </a:lnTo>
                    <a:lnTo>
                      <a:pt x="315" y="476"/>
                    </a:lnTo>
                    <a:lnTo>
                      <a:pt x="315" y="476"/>
                    </a:lnTo>
                    <a:lnTo>
                      <a:pt x="316" y="478"/>
                    </a:lnTo>
                    <a:lnTo>
                      <a:pt x="316" y="481"/>
                    </a:lnTo>
                    <a:lnTo>
                      <a:pt x="315" y="489"/>
                    </a:lnTo>
                    <a:lnTo>
                      <a:pt x="313" y="498"/>
                    </a:lnTo>
                    <a:lnTo>
                      <a:pt x="312" y="505"/>
                    </a:lnTo>
                    <a:lnTo>
                      <a:pt x="312" y="505"/>
                    </a:lnTo>
                    <a:lnTo>
                      <a:pt x="319" y="505"/>
                    </a:lnTo>
                    <a:lnTo>
                      <a:pt x="323" y="506"/>
                    </a:lnTo>
                    <a:lnTo>
                      <a:pt x="323" y="506"/>
                    </a:lnTo>
                    <a:lnTo>
                      <a:pt x="325" y="511"/>
                    </a:lnTo>
                    <a:lnTo>
                      <a:pt x="326" y="518"/>
                    </a:lnTo>
                    <a:lnTo>
                      <a:pt x="326" y="526"/>
                    </a:lnTo>
                    <a:lnTo>
                      <a:pt x="326" y="531"/>
                    </a:lnTo>
                    <a:lnTo>
                      <a:pt x="326" y="531"/>
                    </a:lnTo>
                    <a:lnTo>
                      <a:pt x="323" y="533"/>
                    </a:lnTo>
                    <a:lnTo>
                      <a:pt x="318" y="536"/>
                    </a:lnTo>
                    <a:lnTo>
                      <a:pt x="306" y="542"/>
                    </a:lnTo>
                    <a:lnTo>
                      <a:pt x="306" y="542"/>
                    </a:lnTo>
                    <a:lnTo>
                      <a:pt x="301" y="546"/>
                    </a:lnTo>
                    <a:lnTo>
                      <a:pt x="294" y="553"/>
                    </a:lnTo>
                    <a:lnTo>
                      <a:pt x="285" y="562"/>
                    </a:lnTo>
                    <a:lnTo>
                      <a:pt x="279" y="570"/>
                    </a:lnTo>
                    <a:lnTo>
                      <a:pt x="279" y="570"/>
                    </a:lnTo>
                    <a:lnTo>
                      <a:pt x="272" y="580"/>
                    </a:lnTo>
                    <a:lnTo>
                      <a:pt x="265" y="587"/>
                    </a:lnTo>
                    <a:lnTo>
                      <a:pt x="265" y="587"/>
                    </a:lnTo>
                    <a:lnTo>
                      <a:pt x="269" y="587"/>
                    </a:lnTo>
                    <a:lnTo>
                      <a:pt x="269" y="587"/>
                    </a:lnTo>
                    <a:lnTo>
                      <a:pt x="272" y="586"/>
                    </a:lnTo>
                    <a:lnTo>
                      <a:pt x="275" y="587"/>
                    </a:lnTo>
                    <a:lnTo>
                      <a:pt x="279" y="589"/>
                    </a:lnTo>
                    <a:lnTo>
                      <a:pt x="284" y="592"/>
                    </a:lnTo>
                    <a:lnTo>
                      <a:pt x="284" y="592"/>
                    </a:lnTo>
                    <a:lnTo>
                      <a:pt x="286" y="597"/>
                    </a:lnTo>
                    <a:lnTo>
                      <a:pt x="288" y="600"/>
                    </a:lnTo>
                    <a:lnTo>
                      <a:pt x="289" y="603"/>
                    </a:lnTo>
                    <a:lnTo>
                      <a:pt x="291" y="603"/>
                    </a:lnTo>
                    <a:lnTo>
                      <a:pt x="291" y="603"/>
                    </a:lnTo>
                    <a:lnTo>
                      <a:pt x="292" y="602"/>
                    </a:lnTo>
                    <a:lnTo>
                      <a:pt x="294" y="600"/>
                    </a:lnTo>
                    <a:lnTo>
                      <a:pt x="296" y="599"/>
                    </a:lnTo>
                    <a:lnTo>
                      <a:pt x="299" y="602"/>
                    </a:lnTo>
                    <a:lnTo>
                      <a:pt x="299" y="602"/>
                    </a:lnTo>
                    <a:lnTo>
                      <a:pt x="303" y="606"/>
                    </a:lnTo>
                    <a:lnTo>
                      <a:pt x="309" y="609"/>
                    </a:lnTo>
                    <a:lnTo>
                      <a:pt x="318" y="614"/>
                    </a:lnTo>
                    <a:lnTo>
                      <a:pt x="318" y="614"/>
                    </a:lnTo>
                    <a:lnTo>
                      <a:pt x="323" y="619"/>
                    </a:lnTo>
                    <a:lnTo>
                      <a:pt x="326" y="623"/>
                    </a:lnTo>
                    <a:lnTo>
                      <a:pt x="328" y="627"/>
                    </a:lnTo>
                    <a:lnTo>
                      <a:pt x="328" y="627"/>
                    </a:lnTo>
                    <a:lnTo>
                      <a:pt x="328" y="639"/>
                    </a:lnTo>
                    <a:lnTo>
                      <a:pt x="328" y="644"/>
                    </a:lnTo>
                    <a:lnTo>
                      <a:pt x="331" y="651"/>
                    </a:lnTo>
                    <a:lnTo>
                      <a:pt x="331" y="651"/>
                    </a:lnTo>
                    <a:lnTo>
                      <a:pt x="333" y="647"/>
                    </a:lnTo>
                    <a:lnTo>
                      <a:pt x="338" y="644"/>
                    </a:lnTo>
                    <a:lnTo>
                      <a:pt x="338" y="64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61" name="Chile">
                <a:extLst>
                  <a:ext uri="{FF2B5EF4-FFF2-40B4-BE49-F238E27FC236}">
                    <a16:creationId xmlns:a16="http://schemas.microsoft.com/office/drawing/2014/main" id="{07AFEFFC-0D21-A94A-BF27-679D481E2738}"/>
                  </a:ext>
                </a:extLst>
              </p:cNvPr>
              <p:cNvSpPr>
                <a:spLocks/>
              </p:cNvSpPr>
              <p:nvPr/>
            </p:nvSpPr>
            <p:spPr bwMode="auto">
              <a:xfrm>
                <a:off x="2510662" y="4737397"/>
                <a:ext cx="205691" cy="1066925"/>
              </a:xfrm>
              <a:custGeom>
                <a:avLst/>
                <a:gdLst/>
                <a:ahLst/>
                <a:cxnLst>
                  <a:cxn ang="0">
                    <a:pos x="52" y="613"/>
                  </a:cxn>
                  <a:cxn ang="0">
                    <a:pos x="38" y="579"/>
                  </a:cxn>
                  <a:cxn ang="0">
                    <a:pos x="49" y="553"/>
                  </a:cxn>
                  <a:cxn ang="0">
                    <a:pos x="62" y="529"/>
                  </a:cxn>
                  <a:cxn ang="0">
                    <a:pos x="62" y="493"/>
                  </a:cxn>
                  <a:cxn ang="0">
                    <a:pos x="59" y="479"/>
                  </a:cxn>
                  <a:cxn ang="0">
                    <a:pos x="56" y="448"/>
                  </a:cxn>
                  <a:cxn ang="0">
                    <a:pos x="58" y="409"/>
                  </a:cxn>
                  <a:cxn ang="0">
                    <a:pos x="71" y="375"/>
                  </a:cxn>
                  <a:cxn ang="0">
                    <a:pos x="76" y="330"/>
                  </a:cxn>
                  <a:cxn ang="0">
                    <a:pos x="88" y="294"/>
                  </a:cxn>
                  <a:cxn ang="0">
                    <a:pos x="82" y="246"/>
                  </a:cxn>
                  <a:cxn ang="0">
                    <a:pos x="91" y="205"/>
                  </a:cxn>
                  <a:cxn ang="0">
                    <a:pos x="106" y="168"/>
                  </a:cxn>
                  <a:cxn ang="0">
                    <a:pos x="118" y="146"/>
                  </a:cxn>
                  <a:cxn ang="0">
                    <a:pos x="133" y="106"/>
                  </a:cxn>
                  <a:cxn ang="0">
                    <a:pos x="119" y="61"/>
                  </a:cxn>
                  <a:cxn ang="0">
                    <a:pos x="116" y="31"/>
                  </a:cxn>
                  <a:cxn ang="0">
                    <a:pos x="98" y="0"/>
                  </a:cxn>
                  <a:cxn ang="0">
                    <a:pos x="89" y="48"/>
                  </a:cxn>
                  <a:cxn ang="0">
                    <a:pos x="82" y="126"/>
                  </a:cxn>
                  <a:cxn ang="0">
                    <a:pos x="64" y="195"/>
                  </a:cxn>
                  <a:cxn ang="0">
                    <a:pos x="64" y="264"/>
                  </a:cxn>
                  <a:cxn ang="0">
                    <a:pos x="42" y="330"/>
                  </a:cxn>
                  <a:cxn ang="0">
                    <a:pos x="35" y="375"/>
                  </a:cxn>
                  <a:cxn ang="0">
                    <a:pos x="29" y="428"/>
                  </a:cxn>
                  <a:cxn ang="0">
                    <a:pos x="31" y="459"/>
                  </a:cxn>
                  <a:cxn ang="0">
                    <a:pos x="44" y="431"/>
                  </a:cxn>
                  <a:cxn ang="0">
                    <a:pos x="41" y="459"/>
                  </a:cxn>
                  <a:cxn ang="0">
                    <a:pos x="38" y="486"/>
                  </a:cxn>
                  <a:cxn ang="0">
                    <a:pos x="29" y="508"/>
                  </a:cxn>
                  <a:cxn ang="0">
                    <a:pos x="29" y="496"/>
                  </a:cxn>
                  <a:cxn ang="0">
                    <a:pos x="22" y="503"/>
                  </a:cxn>
                  <a:cxn ang="0">
                    <a:pos x="10" y="520"/>
                  </a:cxn>
                  <a:cxn ang="0">
                    <a:pos x="11" y="530"/>
                  </a:cxn>
                  <a:cxn ang="0">
                    <a:pos x="17" y="550"/>
                  </a:cxn>
                  <a:cxn ang="0">
                    <a:pos x="24" y="553"/>
                  </a:cxn>
                  <a:cxn ang="0">
                    <a:pos x="4" y="570"/>
                  </a:cxn>
                  <a:cxn ang="0">
                    <a:pos x="15" y="573"/>
                  </a:cxn>
                  <a:cxn ang="0">
                    <a:pos x="12" y="596"/>
                  </a:cxn>
                  <a:cxn ang="0">
                    <a:pos x="24" y="587"/>
                  </a:cxn>
                  <a:cxn ang="0">
                    <a:pos x="11" y="614"/>
                  </a:cxn>
                  <a:cxn ang="0">
                    <a:pos x="21" y="624"/>
                  </a:cxn>
                  <a:cxn ang="0">
                    <a:pos x="29" y="636"/>
                  </a:cxn>
                  <a:cxn ang="0">
                    <a:pos x="47" y="640"/>
                  </a:cxn>
                  <a:cxn ang="0">
                    <a:pos x="39" y="650"/>
                  </a:cxn>
                  <a:cxn ang="0">
                    <a:pos x="49" y="657"/>
                  </a:cxn>
                  <a:cxn ang="0">
                    <a:pos x="38" y="668"/>
                  </a:cxn>
                  <a:cxn ang="0">
                    <a:pos x="68" y="663"/>
                  </a:cxn>
                  <a:cxn ang="0">
                    <a:pos x="31" y="671"/>
                  </a:cxn>
                  <a:cxn ang="0">
                    <a:pos x="56" y="690"/>
                  </a:cxn>
                  <a:cxn ang="0">
                    <a:pos x="74" y="668"/>
                  </a:cxn>
                  <a:cxn ang="0">
                    <a:pos x="79" y="664"/>
                  </a:cxn>
                  <a:cxn ang="0">
                    <a:pos x="91" y="675"/>
                  </a:cxn>
                  <a:cxn ang="0">
                    <a:pos x="82" y="675"/>
                  </a:cxn>
                  <a:cxn ang="0">
                    <a:pos x="66" y="690"/>
                  </a:cxn>
                  <a:cxn ang="0">
                    <a:pos x="72" y="700"/>
                  </a:cxn>
                  <a:cxn ang="0">
                    <a:pos x="86" y="701"/>
                  </a:cxn>
                  <a:cxn ang="0">
                    <a:pos x="105" y="710"/>
                  </a:cxn>
                  <a:cxn ang="0">
                    <a:pos x="125" y="711"/>
                  </a:cxn>
                  <a:cxn ang="0">
                    <a:pos x="111" y="684"/>
                  </a:cxn>
                  <a:cxn ang="0">
                    <a:pos x="91" y="640"/>
                  </a:cxn>
                </a:cxnLst>
                <a:rect l="0" t="0" r="r" b="b"/>
                <a:pathLst>
                  <a:path w="139" h="721">
                    <a:moveTo>
                      <a:pt x="62" y="641"/>
                    </a:moveTo>
                    <a:lnTo>
                      <a:pt x="62" y="641"/>
                    </a:lnTo>
                    <a:lnTo>
                      <a:pt x="59" y="640"/>
                    </a:lnTo>
                    <a:lnTo>
                      <a:pt x="58" y="637"/>
                    </a:lnTo>
                    <a:lnTo>
                      <a:pt x="56" y="636"/>
                    </a:lnTo>
                    <a:lnTo>
                      <a:pt x="54" y="634"/>
                    </a:lnTo>
                    <a:lnTo>
                      <a:pt x="54" y="634"/>
                    </a:lnTo>
                    <a:lnTo>
                      <a:pt x="52" y="631"/>
                    </a:lnTo>
                    <a:lnTo>
                      <a:pt x="52" y="627"/>
                    </a:lnTo>
                    <a:lnTo>
                      <a:pt x="52" y="621"/>
                    </a:lnTo>
                    <a:lnTo>
                      <a:pt x="54" y="616"/>
                    </a:lnTo>
                    <a:lnTo>
                      <a:pt x="54" y="616"/>
                    </a:lnTo>
                    <a:lnTo>
                      <a:pt x="54" y="614"/>
                    </a:lnTo>
                    <a:lnTo>
                      <a:pt x="52" y="613"/>
                    </a:lnTo>
                    <a:lnTo>
                      <a:pt x="48" y="611"/>
                    </a:lnTo>
                    <a:lnTo>
                      <a:pt x="42" y="611"/>
                    </a:lnTo>
                    <a:lnTo>
                      <a:pt x="38" y="611"/>
                    </a:lnTo>
                    <a:lnTo>
                      <a:pt x="38" y="611"/>
                    </a:lnTo>
                    <a:lnTo>
                      <a:pt x="37" y="609"/>
                    </a:lnTo>
                    <a:lnTo>
                      <a:pt x="37" y="607"/>
                    </a:lnTo>
                    <a:lnTo>
                      <a:pt x="37" y="604"/>
                    </a:lnTo>
                    <a:lnTo>
                      <a:pt x="35" y="600"/>
                    </a:lnTo>
                    <a:lnTo>
                      <a:pt x="35" y="600"/>
                    </a:lnTo>
                    <a:lnTo>
                      <a:pt x="34" y="596"/>
                    </a:lnTo>
                    <a:lnTo>
                      <a:pt x="34" y="593"/>
                    </a:lnTo>
                    <a:lnTo>
                      <a:pt x="35" y="586"/>
                    </a:lnTo>
                    <a:lnTo>
                      <a:pt x="35" y="586"/>
                    </a:lnTo>
                    <a:lnTo>
                      <a:pt x="38" y="579"/>
                    </a:lnTo>
                    <a:lnTo>
                      <a:pt x="41" y="576"/>
                    </a:lnTo>
                    <a:lnTo>
                      <a:pt x="44" y="574"/>
                    </a:lnTo>
                    <a:lnTo>
                      <a:pt x="44" y="574"/>
                    </a:lnTo>
                    <a:lnTo>
                      <a:pt x="45" y="574"/>
                    </a:lnTo>
                    <a:lnTo>
                      <a:pt x="47" y="573"/>
                    </a:lnTo>
                    <a:lnTo>
                      <a:pt x="47" y="570"/>
                    </a:lnTo>
                    <a:lnTo>
                      <a:pt x="48" y="567"/>
                    </a:lnTo>
                    <a:lnTo>
                      <a:pt x="51" y="563"/>
                    </a:lnTo>
                    <a:lnTo>
                      <a:pt x="51" y="563"/>
                    </a:lnTo>
                    <a:lnTo>
                      <a:pt x="52" y="562"/>
                    </a:lnTo>
                    <a:lnTo>
                      <a:pt x="52" y="560"/>
                    </a:lnTo>
                    <a:lnTo>
                      <a:pt x="51" y="557"/>
                    </a:lnTo>
                    <a:lnTo>
                      <a:pt x="49" y="555"/>
                    </a:lnTo>
                    <a:lnTo>
                      <a:pt x="49" y="553"/>
                    </a:lnTo>
                    <a:lnTo>
                      <a:pt x="49" y="552"/>
                    </a:lnTo>
                    <a:lnTo>
                      <a:pt x="49" y="552"/>
                    </a:lnTo>
                    <a:lnTo>
                      <a:pt x="52" y="549"/>
                    </a:lnTo>
                    <a:lnTo>
                      <a:pt x="52" y="545"/>
                    </a:lnTo>
                    <a:lnTo>
                      <a:pt x="54" y="542"/>
                    </a:lnTo>
                    <a:lnTo>
                      <a:pt x="56" y="540"/>
                    </a:lnTo>
                    <a:lnTo>
                      <a:pt x="56" y="540"/>
                    </a:lnTo>
                    <a:lnTo>
                      <a:pt x="59" y="540"/>
                    </a:lnTo>
                    <a:lnTo>
                      <a:pt x="59" y="539"/>
                    </a:lnTo>
                    <a:lnTo>
                      <a:pt x="59" y="535"/>
                    </a:lnTo>
                    <a:lnTo>
                      <a:pt x="59" y="532"/>
                    </a:lnTo>
                    <a:lnTo>
                      <a:pt x="61" y="530"/>
                    </a:lnTo>
                    <a:lnTo>
                      <a:pt x="62" y="529"/>
                    </a:lnTo>
                    <a:lnTo>
                      <a:pt x="62" y="529"/>
                    </a:lnTo>
                    <a:lnTo>
                      <a:pt x="64" y="528"/>
                    </a:lnTo>
                    <a:lnTo>
                      <a:pt x="64" y="525"/>
                    </a:lnTo>
                    <a:lnTo>
                      <a:pt x="62" y="522"/>
                    </a:lnTo>
                    <a:lnTo>
                      <a:pt x="62" y="518"/>
                    </a:lnTo>
                    <a:lnTo>
                      <a:pt x="62" y="518"/>
                    </a:lnTo>
                    <a:lnTo>
                      <a:pt x="62" y="513"/>
                    </a:lnTo>
                    <a:lnTo>
                      <a:pt x="61" y="509"/>
                    </a:lnTo>
                    <a:lnTo>
                      <a:pt x="62" y="506"/>
                    </a:lnTo>
                    <a:lnTo>
                      <a:pt x="65" y="505"/>
                    </a:lnTo>
                    <a:lnTo>
                      <a:pt x="65" y="505"/>
                    </a:lnTo>
                    <a:lnTo>
                      <a:pt x="68" y="502"/>
                    </a:lnTo>
                    <a:lnTo>
                      <a:pt x="68" y="499"/>
                    </a:lnTo>
                    <a:lnTo>
                      <a:pt x="65" y="496"/>
                    </a:lnTo>
                    <a:lnTo>
                      <a:pt x="62" y="493"/>
                    </a:lnTo>
                    <a:lnTo>
                      <a:pt x="62" y="493"/>
                    </a:lnTo>
                    <a:lnTo>
                      <a:pt x="61" y="492"/>
                    </a:lnTo>
                    <a:lnTo>
                      <a:pt x="62" y="491"/>
                    </a:lnTo>
                    <a:lnTo>
                      <a:pt x="68" y="491"/>
                    </a:lnTo>
                    <a:lnTo>
                      <a:pt x="68" y="491"/>
                    </a:lnTo>
                    <a:lnTo>
                      <a:pt x="69" y="491"/>
                    </a:lnTo>
                    <a:lnTo>
                      <a:pt x="71" y="489"/>
                    </a:lnTo>
                    <a:lnTo>
                      <a:pt x="71" y="486"/>
                    </a:lnTo>
                    <a:lnTo>
                      <a:pt x="69" y="483"/>
                    </a:lnTo>
                    <a:lnTo>
                      <a:pt x="66" y="483"/>
                    </a:lnTo>
                    <a:lnTo>
                      <a:pt x="66" y="483"/>
                    </a:lnTo>
                    <a:lnTo>
                      <a:pt x="62" y="483"/>
                    </a:lnTo>
                    <a:lnTo>
                      <a:pt x="59" y="482"/>
                    </a:lnTo>
                    <a:lnTo>
                      <a:pt x="59" y="479"/>
                    </a:lnTo>
                    <a:lnTo>
                      <a:pt x="61" y="475"/>
                    </a:lnTo>
                    <a:lnTo>
                      <a:pt x="61" y="475"/>
                    </a:lnTo>
                    <a:lnTo>
                      <a:pt x="62" y="473"/>
                    </a:lnTo>
                    <a:lnTo>
                      <a:pt x="62" y="472"/>
                    </a:lnTo>
                    <a:lnTo>
                      <a:pt x="61" y="469"/>
                    </a:lnTo>
                    <a:lnTo>
                      <a:pt x="59" y="468"/>
                    </a:lnTo>
                    <a:lnTo>
                      <a:pt x="58" y="465"/>
                    </a:lnTo>
                    <a:lnTo>
                      <a:pt x="58" y="465"/>
                    </a:lnTo>
                    <a:lnTo>
                      <a:pt x="59" y="461"/>
                    </a:lnTo>
                    <a:lnTo>
                      <a:pt x="59" y="458"/>
                    </a:lnTo>
                    <a:lnTo>
                      <a:pt x="56" y="456"/>
                    </a:lnTo>
                    <a:lnTo>
                      <a:pt x="56" y="456"/>
                    </a:lnTo>
                    <a:lnTo>
                      <a:pt x="56" y="454"/>
                    </a:lnTo>
                    <a:lnTo>
                      <a:pt x="56" y="448"/>
                    </a:lnTo>
                    <a:lnTo>
                      <a:pt x="58" y="442"/>
                    </a:lnTo>
                    <a:lnTo>
                      <a:pt x="59" y="439"/>
                    </a:lnTo>
                    <a:lnTo>
                      <a:pt x="59" y="439"/>
                    </a:lnTo>
                    <a:lnTo>
                      <a:pt x="61" y="439"/>
                    </a:lnTo>
                    <a:lnTo>
                      <a:pt x="61" y="436"/>
                    </a:lnTo>
                    <a:lnTo>
                      <a:pt x="61" y="432"/>
                    </a:lnTo>
                    <a:lnTo>
                      <a:pt x="61" y="422"/>
                    </a:lnTo>
                    <a:lnTo>
                      <a:pt x="61" y="422"/>
                    </a:lnTo>
                    <a:lnTo>
                      <a:pt x="59" y="419"/>
                    </a:lnTo>
                    <a:lnTo>
                      <a:pt x="59" y="417"/>
                    </a:lnTo>
                    <a:lnTo>
                      <a:pt x="58" y="414"/>
                    </a:lnTo>
                    <a:lnTo>
                      <a:pt x="56" y="411"/>
                    </a:lnTo>
                    <a:lnTo>
                      <a:pt x="56" y="411"/>
                    </a:lnTo>
                    <a:lnTo>
                      <a:pt x="58" y="409"/>
                    </a:lnTo>
                    <a:lnTo>
                      <a:pt x="59" y="407"/>
                    </a:lnTo>
                    <a:lnTo>
                      <a:pt x="61" y="404"/>
                    </a:lnTo>
                    <a:lnTo>
                      <a:pt x="62" y="399"/>
                    </a:lnTo>
                    <a:lnTo>
                      <a:pt x="62" y="399"/>
                    </a:lnTo>
                    <a:lnTo>
                      <a:pt x="62" y="392"/>
                    </a:lnTo>
                    <a:lnTo>
                      <a:pt x="64" y="391"/>
                    </a:lnTo>
                    <a:lnTo>
                      <a:pt x="66" y="390"/>
                    </a:lnTo>
                    <a:lnTo>
                      <a:pt x="66" y="390"/>
                    </a:lnTo>
                    <a:lnTo>
                      <a:pt x="66" y="388"/>
                    </a:lnTo>
                    <a:lnTo>
                      <a:pt x="68" y="385"/>
                    </a:lnTo>
                    <a:lnTo>
                      <a:pt x="66" y="378"/>
                    </a:lnTo>
                    <a:lnTo>
                      <a:pt x="66" y="378"/>
                    </a:lnTo>
                    <a:lnTo>
                      <a:pt x="68" y="377"/>
                    </a:lnTo>
                    <a:lnTo>
                      <a:pt x="71" y="375"/>
                    </a:lnTo>
                    <a:lnTo>
                      <a:pt x="74" y="375"/>
                    </a:lnTo>
                    <a:lnTo>
                      <a:pt x="75" y="374"/>
                    </a:lnTo>
                    <a:lnTo>
                      <a:pt x="76" y="371"/>
                    </a:lnTo>
                    <a:lnTo>
                      <a:pt x="76" y="371"/>
                    </a:lnTo>
                    <a:lnTo>
                      <a:pt x="75" y="368"/>
                    </a:lnTo>
                    <a:lnTo>
                      <a:pt x="74" y="367"/>
                    </a:lnTo>
                    <a:lnTo>
                      <a:pt x="72" y="365"/>
                    </a:lnTo>
                    <a:lnTo>
                      <a:pt x="72" y="363"/>
                    </a:lnTo>
                    <a:lnTo>
                      <a:pt x="72" y="363"/>
                    </a:lnTo>
                    <a:lnTo>
                      <a:pt x="72" y="354"/>
                    </a:lnTo>
                    <a:lnTo>
                      <a:pt x="72" y="341"/>
                    </a:lnTo>
                    <a:lnTo>
                      <a:pt x="72" y="341"/>
                    </a:lnTo>
                    <a:lnTo>
                      <a:pt x="74" y="334"/>
                    </a:lnTo>
                    <a:lnTo>
                      <a:pt x="76" y="330"/>
                    </a:lnTo>
                    <a:lnTo>
                      <a:pt x="84" y="326"/>
                    </a:lnTo>
                    <a:lnTo>
                      <a:pt x="84" y="326"/>
                    </a:lnTo>
                    <a:lnTo>
                      <a:pt x="85" y="324"/>
                    </a:lnTo>
                    <a:lnTo>
                      <a:pt x="85" y="321"/>
                    </a:lnTo>
                    <a:lnTo>
                      <a:pt x="84" y="316"/>
                    </a:lnTo>
                    <a:lnTo>
                      <a:pt x="82" y="308"/>
                    </a:lnTo>
                    <a:lnTo>
                      <a:pt x="82" y="307"/>
                    </a:lnTo>
                    <a:lnTo>
                      <a:pt x="84" y="306"/>
                    </a:lnTo>
                    <a:lnTo>
                      <a:pt x="84" y="306"/>
                    </a:lnTo>
                    <a:lnTo>
                      <a:pt x="86" y="303"/>
                    </a:lnTo>
                    <a:lnTo>
                      <a:pt x="86" y="300"/>
                    </a:lnTo>
                    <a:lnTo>
                      <a:pt x="86" y="296"/>
                    </a:lnTo>
                    <a:lnTo>
                      <a:pt x="88" y="294"/>
                    </a:lnTo>
                    <a:lnTo>
                      <a:pt x="88" y="294"/>
                    </a:lnTo>
                    <a:lnTo>
                      <a:pt x="91" y="291"/>
                    </a:lnTo>
                    <a:lnTo>
                      <a:pt x="91" y="289"/>
                    </a:lnTo>
                    <a:lnTo>
                      <a:pt x="93" y="280"/>
                    </a:lnTo>
                    <a:lnTo>
                      <a:pt x="93" y="280"/>
                    </a:lnTo>
                    <a:lnTo>
                      <a:pt x="93" y="276"/>
                    </a:lnTo>
                    <a:lnTo>
                      <a:pt x="92" y="273"/>
                    </a:lnTo>
                    <a:lnTo>
                      <a:pt x="89" y="270"/>
                    </a:lnTo>
                    <a:lnTo>
                      <a:pt x="89" y="266"/>
                    </a:lnTo>
                    <a:lnTo>
                      <a:pt x="89" y="266"/>
                    </a:lnTo>
                    <a:lnTo>
                      <a:pt x="88" y="259"/>
                    </a:lnTo>
                    <a:lnTo>
                      <a:pt x="86" y="254"/>
                    </a:lnTo>
                    <a:lnTo>
                      <a:pt x="84" y="250"/>
                    </a:lnTo>
                    <a:lnTo>
                      <a:pt x="84" y="250"/>
                    </a:lnTo>
                    <a:lnTo>
                      <a:pt x="82" y="246"/>
                    </a:lnTo>
                    <a:lnTo>
                      <a:pt x="81" y="240"/>
                    </a:lnTo>
                    <a:lnTo>
                      <a:pt x="82" y="234"/>
                    </a:lnTo>
                    <a:lnTo>
                      <a:pt x="84" y="233"/>
                    </a:lnTo>
                    <a:lnTo>
                      <a:pt x="84" y="233"/>
                    </a:lnTo>
                    <a:lnTo>
                      <a:pt x="85" y="232"/>
                    </a:lnTo>
                    <a:lnTo>
                      <a:pt x="86" y="227"/>
                    </a:lnTo>
                    <a:lnTo>
                      <a:pt x="88" y="223"/>
                    </a:lnTo>
                    <a:lnTo>
                      <a:pt x="89" y="222"/>
                    </a:lnTo>
                    <a:lnTo>
                      <a:pt x="91" y="220"/>
                    </a:lnTo>
                    <a:lnTo>
                      <a:pt x="91" y="220"/>
                    </a:lnTo>
                    <a:lnTo>
                      <a:pt x="92" y="220"/>
                    </a:lnTo>
                    <a:lnTo>
                      <a:pt x="93" y="219"/>
                    </a:lnTo>
                    <a:lnTo>
                      <a:pt x="93" y="215"/>
                    </a:lnTo>
                    <a:lnTo>
                      <a:pt x="91" y="205"/>
                    </a:lnTo>
                    <a:lnTo>
                      <a:pt x="91" y="205"/>
                    </a:lnTo>
                    <a:lnTo>
                      <a:pt x="91" y="200"/>
                    </a:lnTo>
                    <a:lnTo>
                      <a:pt x="92" y="199"/>
                    </a:lnTo>
                    <a:lnTo>
                      <a:pt x="93" y="197"/>
                    </a:lnTo>
                    <a:lnTo>
                      <a:pt x="95" y="196"/>
                    </a:lnTo>
                    <a:lnTo>
                      <a:pt x="95" y="196"/>
                    </a:lnTo>
                    <a:lnTo>
                      <a:pt x="95" y="192"/>
                    </a:lnTo>
                    <a:lnTo>
                      <a:pt x="96" y="188"/>
                    </a:lnTo>
                    <a:lnTo>
                      <a:pt x="99" y="183"/>
                    </a:lnTo>
                    <a:lnTo>
                      <a:pt x="102" y="180"/>
                    </a:lnTo>
                    <a:lnTo>
                      <a:pt x="102" y="180"/>
                    </a:lnTo>
                    <a:lnTo>
                      <a:pt x="105" y="179"/>
                    </a:lnTo>
                    <a:lnTo>
                      <a:pt x="106" y="175"/>
                    </a:lnTo>
                    <a:lnTo>
                      <a:pt x="106" y="168"/>
                    </a:lnTo>
                    <a:lnTo>
                      <a:pt x="106" y="168"/>
                    </a:lnTo>
                    <a:lnTo>
                      <a:pt x="108" y="165"/>
                    </a:lnTo>
                    <a:lnTo>
                      <a:pt x="111" y="163"/>
                    </a:lnTo>
                    <a:lnTo>
                      <a:pt x="116" y="159"/>
                    </a:lnTo>
                    <a:lnTo>
                      <a:pt x="116" y="159"/>
                    </a:lnTo>
                    <a:lnTo>
                      <a:pt x="118" y="159"/>
                    </a:lnTo>
                    <a:lnTo>
                      <a:pt x="118" y="158"/>
                    </a:lnTo>
                    <a:lnTo>
                      <a:pt x="115" y="155"/>
                    </a:lnTo>
                    <a:lnTo>
                      <a:pt x="115" y="152"/>
                    </a:lnTo>
                    <a:lnTo>
                      <a:pt x="115" y="151"/>
                    </a:lnTo>
                    <a:lnTo>
                      <a:pt x="116" y="149"/>
                    </a:lnTo>
                    <a:lnTo>
                      <a:pt x="116" y="149"/>
                    </a:lnTo>
                    <a:lnTo>
                      <a:pt x="118" y="148"/>
                    </a:lnTo>
                    <a:lnTo>
                      <a:pt x="118" y="146"/>
                    </a:lnTo>
                    <a:lnTo>
                      <a:pt x="116" y="141"/>
                    </a:lnTo>
                    <a:lnTo>
                      <a:pt x="115" y="135"/>
                    </a:lnTo>
                    <a:lnTo>
                      <a:pt x="113" y="133"/>
                    </a:lnTo>
                    <a:lnTo>
                      <a:pt x="115" y="132"/>
                    </a:lnTo>
                    <a:lnTo>
                      <a:pt x="115" y="132"/>
                    </a:lnTo>
                    <a:lnTo>
                      <a:pt x="116" y="129"/>
                    </a:lnTo>
                    <a:lnTo>
                      <a:pt x="116" y="126"/>
                    </a:lnTo>
                    <a:lnTo>
                      <a:pt x="115" y="121"/>
                    </a:lnTo>
                    <a:lnTo>
                      <a:pt x="115" y="121"/>
                    </a:lnTo>
                    <a:lnTo>
                      <a:pt x="118" y="116"/>
                    </a:lnTo>
                    <a:lnTo>
                      <a:pt x="123" y="114"/>
                    </a:lnTo>
                    <a:lnTo>
                      <a:pt x="130" y="109"/>
                    </a:lnTo>
                    <a:lnTo>
                      <a:pt x="133" y="106"/>
                    </a:lnTo>
                    <a:lnTo>
                      <a:pt x="133" y="106"/>
                    </a:lnTo>
                    <a:lnTo>
                      <a:pt x="136" y="98"/>
                    </a:lnTo>
                    <a:lnTo>
                      <a:pt x="138" y="87"/>
                    </a:lnTo>
                    <a:lnTo>
                      <a:pt x="138" y="87"/>
                    </a:lnTo>
                    <a:lnTo>
                      <a:pt x="130" y="91"/>
                    </a:lnTo>
                    <a:lnTo>
                      <a:pt x="128" y="91"/>
                    </a:lnTo>
                    <a:lnTo>
                      <a:pt x="128" y="91"/>
                    </a:lnTo>
                    <a:lnTo>
                      <a:pt x="128" y="91"/>
                    </a:lnTo>
                    <a:lnTo>
                      <a:pt x="126" y="82"/>
                    </a:lnTo>
                    <a:lnTo>
                      <a:pt x="125" y="77"/>
                    </a:lnTo>
                    <a:lnTo>
                      <a:pt x="123" y="72"/>
                    </a:lnTo>
                    <a:lnTo>
                      <a:pt x="123" y="72"/>
                    </a:lnTo>
                    <a:lnTo>
                      <a:pt x="121" y="69"/>
                    </a:lnTo>
                    <a:lnTo>
                      <a:pt x="121" y="64"/>
                    </a:lnTo>
                    <a:lnTo>
                      <a:pt x="119" y="61"/>
                    </a:lnTo>
                    <a:lnTo>
                      <a:pt x="118" y="58"/>
                    </a:lnTo>
                    <a:lnTo>
                      <a:pt x="118" y="58"/>
                    </a:lnTo>
                    <a:lnTo>
                      <a:pt x="115" y="55"/>
                    </a:lnTo>
                    <a:lnTo>
                      <a:pt x="112" y="52"/>
                    </a:lnTo>
                    <a:lnTo>
                      <a:pt x="111" y="48"/>
                    </a:lnTo>
                    <a:lnTo>
                      <a:pt x="111" y="47"/>
                    </a:lnTo>
                    <a:lnTo>
                      <a:pt x="112" y="45"/>
                    </a:lnTo>
                    <a:lnTo>
                      <a:pt x="112" y="45"/>
                    </a:lnTo>
                    <a:lnTo>
                      <a:pt x="113" y="42"/>
                    </a:lnTo>
                    <a:lnTo>
                      <a:pt x="113" y="40"/>
                    </a:lnTo>
                    <a:lnTo>
                      <a:pt x="113" y="35"/>
                    </a:lnTo>
                    <a:lnTo>
                      <a:pt x="115" y="34"/>
                    </a:lnTo>
                    <a:lnTo>
                      <a:pt x="115" y="34"/>
                    </a:lnTo>
                    <a:lnTo>
                      <a:pt x="116" y="31"/>
                    </a:lnTo>
                    <a:lnTo>
                      <a:pt x="115" y="30"/>
                    </a:lnTo>
                    <a:lnTo>
                      <a:pt x="112" y="28"/>
                    </a:lnTo>
                    <a:lnTo>
                      <a:pt x="109" y="24"/>
                    </a:lnTo>
                    <a:lnTo>
                      <a:pt x="109" y="24"/>
                    </a:lnTo>
                    <a:lnTo>
                      <a:pt x="108" y="23"/>
                    </a:lnTo>
                    <a:lnTo>
                      <a:pt x="106" y="20"/>
                    </a:lnTo>
                    <a:lnTo>
                      <a:pt x="106" y="15"/>
                    </a:lnTo>
                    <a:lnTo>
                      <a:pt x="106" y="11"/>
                    </a:lnTo>
                    <a:lnTo>
                      <a:pt x="106" y="8"/>
                    </a:lnTo>
                    <a:lnTo>
                      <a:pt x="105" y="7"/>
                    </a:lnTo>
                    <a:lnTo>
                      <a:pt x="105" y="7"/>
                    </a:lnTo>
                    <a:lnTo>
                      <a:pt x="102" y="4"/>
                    </a:lnTo>
                    <a:lnTo>
                      <a:pt x="99" y="1"/>
                    </a:lnTo>
                    <a:lnTo>
                      <a:pt x="98" y="0"/>
                    </a:lnTo>
                    <a:lnTo>
                      <a:pt x="98" y="0"/>
                    </a:lnTo>
                    <a:lnTo>
                      <a:pt x="98" y="0"/>
                    </a:lnTo>
                    <a:lnTo>
                      <a:pt x="95" y="7"/>
                    </a:lnTo>
                    <a:lnTo>
                      <a:pt x="93" y="10"/>
                    </a:lnTo>
                    <a:lnTo>
                      <a:pt x="91" y="13"/>
                    </a:lnTo>
                    <a:lnTo>
                      <a:pt x="91" y="13"/>
                    </a:lnTo>
                    <a:lnTo>
                      <a:pt x="88" y="15"/>
                    </a:lnTo>
                    <a:lnTo>
                      <a:pt x="88" y="15"/>
                    </a:lnTo>
                    <a:lnTo>
                      <a:pt x="86" y="23"/>
                    </a:lnTo>
                    <a:lnTo>
                      <a:pt x="86" y="27"/>
                    </a:lnTo>
                    <a:lnTo>
                      <a:pt x="88" y="30"/>
                    </a:lnTo>
                    <a:lnTo>
                      <a:pt x="88" y="30"/>
                    </a:lnTo>
                    <a:lnTo>
                      <a:pt x="89" y="37"/>
                    </a:lnTo>
                    <a:lnTo>
                      <a:pt x="89" y="48"/>
                    </a:lnTo>
                    <a:lnTo>
                      <a:pt x="89" y="61"/>
                    </a:lnTo>
                    <a:lnTo>
                      <a:pt x="89" y="71"/>
                    </a:lnTo>
                    <a:lnTo>
                      <a:pt x="89" y="71"/>
                    </a:lnTo>
                    <a:lnTo>
                      <a:pt x="82" y="95"/>
                    </a:lnTo>
                    <a:lnTo>
                      <a:pt x="82" y="95"/>
                    </a:lnTo>
                    <a:lnTo>
                      <a:pt x="82" y="99"/>
                    </a:lnTo>
                    <a:lnTo>
                      <a:pt x="84" y="101"/>
                    </a:lnTo>
                    <a:lnTo>
                      <a:pt x="85" y="102"/>
                    </a:lnTo>
                    <a:lnTo>
                      <a:pt x="85" y="105"/>
                    </a:lnTo>
                    <a:lnTo>
                      <a:pt x="85" y="105"/>
                    </a:lnTo>
                    <a:lnTo>
                      <a:pt x="84" y="108"/>
                    </a:lnTo>
                    <a:lnTo>
                      <a:pt x="82" y="112"/>
                    </a:lnTo>
                    <a:lnTo>
                      <a:pt x="82" y="126"/>
                    </a:lnTo>
                    <a:lnTo>
                      <a:pt x="82" y="126"/>
                    </a:lnTo>
                    <a:lnTo>
                      <a:pt x="82" y="135"/>
                    </a:lnTo>
                    <a:lnTo>
                      <a:pt x="79" y="146"/>
                    </a:lnTo>
                    <a:lnTo>
                      <a:pt x="75" y="162"/>
                    </a:lnTo>
                    <a:lnTo>
                      <a:pt x="75" y="162"/>
                    </a:lnTo>
                    <a:lnTo>
                      <a:pt x="75" y="166"/>
                    </a:lnTo>
                    <a:lnTo>
                      <a:pt x="74" y="170"/>
                    </a:lnTo>
                    <a:lnTo>
                      <a:pt x="72" y="175"/>
                    </a:lnTo>
                    <a:lnTo>
                      <a:pt x="71" y="179"/>
                    </a:lnTo>
                    <a:lnTo>
                      <a:pt x="71" y="179"/>
                    </a:lnTo>
                    <a:lnTo>
                      <a:pt x="71" y="183"/>
                    </a:lnTo>
                    <a:lnTo>
                      <a:pt x="69" y="188"/>
                    </a:lnTo>
                    <a:lnTo>
                      <a:pt x="64" y="193"/>
                    </a:lnTo>
                    <a:lnTo>
                      <a:pt x="64" y="193"/>
                    </a:lnTo>
                    <a:lnTo>
                      <a:pt x="64" y="195"/>
                    </a:lnTo>
                    <a:lnTo>
                      <a:pt x="64" y="196"/>
                    </a:lnTo>
                    <a:lnTo>
                      <a:pt x="66" y="202"/>
                    </a:lnTo>
                    <a:lnTo>
                      <a:pt x="69" y="207"/>
                    </a:lnTo>
                    <a:lnTo>
                      <a:pt x="71" y="212"/>
                    </a:lnTo>
                    <a:lnTo>
                      <a:pt x="71" y="212"/>
                    </a:lnTo>
                    <a:lnTo>
                      <a:pt x="69" y="216"/>
                    </a:lnTo>
                    <a:lnTo>
                      <a:pt x="66" y="220"/>
                    </a:lnTo>
                    <a:lnTo>
                      <a:pt x="64" y="225"/>
                    </a:lnTo>
                    <a:lnTo>
                      <a:pt x="64" y="230"/>
                    </a:lnTo>
                    <a:lnTo>
                      <a:pt x="64" y="230"/>
                    </a:lnTo>
                    <a:lnTo>
                      <a:pt x="65" y="240"/>
                    </a:lnTo>
                    <a:lnTo>
                      <a:pt x="65" y="250"/>
                    </a:lnTo>
                    <a:lnTo>
                      <a:pt x="64" y="264"/>
                    </a:lnTo>
                    <a:lnTo>
                      <a:pt x="64" y="264"/>
                    </a:lnTo>
                    <a:lnTo>
                      <a:pt x="64" y="267"/>
                    </a:lnTo>
                    <a:lnTo>
                      <a:pt x="62" y="269"/>
                    </a:lnTo>
                    <a:lnTo>
                      <a:pt x="61" y="271"/>
                    </a:lnTo>
                    <a:lnTo>
                      <a:pt x="61" y="276"/>
                    </a:lnTo>
                    <a:lnTo>
                      <a:pt x="61" y="276"/>
                    </a:lnTo>
                    <a:lnTo>
                      <a:pt x="61" y="281"/>
                    </a:lnTo>
                    <a:lnTo>
                      <a:pt x="58" y="284"/>
                    </a:lnTo>
                    <a:lnTo>
                      <a:pt x="56" y="290"/>
                    </a:lnTo>
                    <a:lnTo>
                      <a:pt x="55" y="296"/>
                    </a:lnTo>
                    <a:lnTo>
                      <a:pt x="55" y="296"/>
                    </a:lnTo>
                    <a:lnTo>
                      <a:pt x="52" y="304"/>
                    </a:lnTo>
                    <a:lnTo>
                      <a:pt x="49" y="314"/>
                    </a:lnTo>
                    <a:lnTo>
                      <a:pt x="42" y="330"/>
                    </a:lnTo>
                    <a:lnTo>
                      <a:pt x="42" y="330"/>
                    </a:lnTo>
                    <a:lnTo>
                      <a:pt x="39" y="340"/>
                    </a:lnTo>
                    <a:lnTo>
                      <a:pt x="38" y="343"/>
                    </a:lnTo>
                    <a:lnTo>
                      <a:pt x="35" y="343"/>
                    </a:lnTo>
                    <a:lnTo>
                      <a:pt x="35" y="343"/>
                    </a:lnTo>
                    <a:lnTo>
                      <a:pt x="32" y="344"/>
                    </a:lnTo>
                    <a:lnTo>
                      <a:pt x="31" y="345"/>
                    </a:lnTo>
                    <a:lnTo>
                      <a:pt x="31" y="350"/>
                    </a:lnTo>
                    <a:lnTo>
                      <a:pt x="32" y="354"/>
                    </a:lnTo>
                    <a:lnTo>
                      <a:pt x="32" y="354"/>
                    </a:lnTo>
                    <a:lnTo>
                      <a:pt x="34" y="360"/>
                    </a:lnTo>
                    <a:lnTo>
                      <a:pt x="34" y="365"/>
                    </a:lnTo>
                    <a:lnTo>
                      <a:pt x="34" y="370"/>
                    </a:lnTo>
                    <a:lnTo>
                      <a:pt x="35" y="375"/>
                    </a:lnTo>
                    <a:lnTo>
                      <a:pt x="35" y="375"/>
                    </a:lnTo>
                    <a:lnTo>
                      <a:pt x="37" y="380"/>
                    </a:lnTo>
                    <a:lnTo>
                      <a:pt x="38" y="384"/>
                    </a:lnTo>
                    <a:lnTo>
                      <a:pt x="35" y="391"/>
                    </a:lnTo>
                    <a:lnTo>
                      <a:pt x="35" y="391"/>
                    </a:lnTo>
                    <a:lnTo>
                      <a:pt x="32" y="398"/>
                    </a:lnTo>
                    <a:lnTo>
                      <a:pt x="31" y="401"/>
                    </a:lnTo>
                    <a:lnTo>
                      <a:pt x="31" y="405"/>
                    </a:lnTo>
                    <a:lnTo>
                      <a:pt x="31" y="405"/>
                    </a:lnTo>
                    <a:lnTo>
                      <a:pt x="29" y="409"/>
                    </a:lnTo>
                    <a:lnTo>
                      <a:pt x="28" y="414"/>
                    </a:lnTo>
                    <a:lnTo>
                      <a:pt x="28" y="418"/>
                    </a:lnTo>
                    <a:lnTo>
                      <a:pt x="28" y="424"/>
                    </a:lnTo>
                    <a:lnTo>
                      <a:pt x="28" y="424"/>
                    </a:lnTo>
                    <a:lnTo>
                      <a:pt x="29" y="428"/>
                    </a:lnTo>
                    <a:lnTo>
                      <a:pt x="31" y="431"/>
                    </a:lnTo>
                    <a:lnTo>
                      <a:pt x="29" y="432"/>
                    </a:lnTo>
                    <a:lnTo>
                      <a:pt x="27" y="434"/>
                    </a:lnTo>
                    <a:lnTo>
                      <a:pt x="27" y="434"/>
                    </a:lnTo>
                    <a:lnTo>
                      <a:pt x="25" y="434"/>
                    </a:lnTo>
                    <a:lnTo>
                      <a:pt x="22" y="438"/>
                    </a:lnTo>
                    <a:lnTo>
                      <a:pt x="21" y="451"/>
                    </a:lnTo>
                    <a:lnTo>
                      <a:pt x="21" y="451"/>
                    </a:lnTo>
                    <a:lnTo>
                      <a:pt x="20" y="458"/>
                    </a:lnTo>
                    <a:lnTo>
                      <a:pt x="21" y="461"/>
                    </a:lnTo>
                    <a:lnTo>
                      <a:pt x="22" y="462"/>
                    </a:lnTo>
                    <a:lnTo>
                      <a:pt x="28" y="461"/>
                    </a:lnTo>
                    <a:lnTo>
                      <a:pt x="28" y="461"/>
                    </a:lnTo>
                    <a:lnTo>
                      <a:pt x="31" y="459"/>
                    </a:lnTo>
                    <a:lnTo>
                      <a:pt x="32" y="456"/>
                    </a:lnTo>
                    <a:lnTo>
                      <a:pt x="32" y="446"/>
                    </a:lnTo>
                    <a:lnTo>
                      <a:pt x="32" y="436"/>
                    </a:lnTo>
                    <a:lnTo>
                      <a:pt x="34" y="434"/>
                    </a:lnTo>
                    <a:lnTo>
                      <a:pt x="35" y="432"/>
                    </a:lnTo>
                    <a:lnTo>
                      <a:pt x="35" y="432"/>
                    </a:lnTo>
                    <a:lnTo>
                      <a:pt x="38" y="432"/>
                    </a:lnTo>
                    <a:lnTo>
                      <a:pt x="38" y="429"/>
                    </a:lnTo>
                    <a:lnTo>
                      <a:pt x="38" y="428"/>
                    </a:lnTo>
                    <a:lnTo>
                      <a:pt x="41" y="427"/>
                    </a:lnTo>
                    <a:lnTo>
                      <a:pt x="41" y="427"/>
                    </a:lnTo>
                    <a:lnTo>
                      <a:pt x="44" y="427"/>
                    </a:lnTo>
                    <a:lnTo>
                      <a:pt x="44" y="428"/>
                    </a:lnTo>
                    <a:lnTo>
                      <a:pt x="44" y="431"/>
                    </a:lnTo>
                    <a:lnTo>
                      <a:pt x="45" y="432"/>
                    </a:lnTo>
                    <a:lnTo>
                      <a:pt x="45" y="432"/>
                    </a:lnTo>
                    <a:lnTo>
                      <a:pt x="48" y="434"/>
                    </a:lnTo>
                    <a:lnTo>
                      <a:pt x="49" y="435"/>
                    </a:lnTo>
                    <a:lnTo>
                      <a:pt x="49" y="438"/>
                    </a:lnTo>
                    <a:lnTo>
                      <a:pt x="47" y="439"/>
                    </a:lnTo>
                    <a:lnTo>
                      <a:pt x="47" y="439"/>
                    </a:lnTo>
                    <a:lnTo>
                      <a:pt x="45" y="441"/>
                    </a:lnTo>
                    <a:lnTo>
                      <a:pt x="44" y="442"/>
                    </a:lnTo>
                    <a:lnTo>
                      <a:pt x="45" y="446"/>
                    </a:lnTo>
                    <a:lnTo>
                      <a:pt x="45" y="449"/>
                    </a:lnTo>
                    <a:lnTo>
                      <a:pt x="45" y="454"/>
                    </a:lnTo>
                    <a:lnTo>
                      <a:pt x="45" y="454"/>
                    </a:lnTo>
                    <a:lnTo>
                      <a:pt x="41" y="459"/>
                    </a:lnTo>
                    <a:lnTo>
                      <a:pt x="41" y="462"/>
                    </a:lnTo>
                    <a:lnTo>
                      <a:pt x="41" y="466"/>
                    </a:lnTo>
                    <a:lnTo>
                      <a:pt x="41" y="466"/>
                    </a:lnTo>
                    <a:lnTo>
                      <a:pt x="41" y="469"/>
                    </a:lnTo>
                    <a:lnTo>
                      <a:pt x="41" y="471"/>
                    </a:lnTo>
                    <a:lnTo>
                      <a:pt x="39" y="472"/>
                    </a:lnTo>
                    <a:lnTo>
                      <a:pt x="38" y="476"/>
                    </a:lnTo>
                    <a:lnTo>
                      <a:pt x="38" y="476"/>
                    </a:lnTo>
                    <a:lnTo>
                      <a:pt x="38" y="479"/>
                    </a:lnTo>
                    <a:lnTo>
                      <a:pt x="39" y="482"/>
                    </a:lnTo>
                    <a:lnTo>
                      <a:pt x="39" y="483"/>
                    </a:lnTo>
                    <a:lnTo>
                      <a:pt x="39" y="483"/>
                    </a:lnTo>
                    <a:lnTo>
                      <a:pt x="39" y="483"/>
                    </a:lnTo>
                    <a:lnTo>
                      <a:pt x="38" y="486"/>
                    </a:lnTo>
                    <a:lnTo>
                      <a:pt x="39" y="488"/>
                    </a:lnTo>
                    <a:lnTo>
                      <a:pt x="39" y="489"/>
                    </a:lnTo>
                    <a:lnTo>
                      <a:pt x="38" y="491"/>
                    </a:lnTo>
                    <a:lnTo>
                      <a:pt x="38" y="491"/>
                    </a:lnTo>
                    <a:lnTo>
                      <a:pt x="37" y="492"/>
                    </a:lnTo>
                    <a:lnTo>
                      <a:pt x="37" y="495"/>
                    </a:lnTo>
                    <a:lnTo>
                      <a:pt x="39" y="501"/>
                    </a:lnTo>
                    <a:lnTo>
                      <a:pt x="39" y="501"/>
                    </a:lnTo>
                    <a:lnTo>
                      <a:pt x="39" y="502"/>
                    </a:lnTo>
                    <a:lnTo>
                      <a:pt x="37" y="503"/>
                    </a:lnTo>
                    <a:lnTo>
                      <a:pt x="34" y="503"/>
                    </a:lnTo>
                    <a:lnTo>
                      <a:pt x="31" y="505"/>
                    </a:lnTo>
                    <a:lnTo>
                      <a:pt x="31" y="505"/>
                    </a:lnTo>
                    <a:lnTo>
                      <a:pt x="29" y="508"/>
                    </a:lnTo>
                    <a:lnTo>
                      <a:pt x="31" y="510"/>
                    </a:lnTo>
                    <a:lnTo>
                      <a:pt x="32" y="513"/>
                    </a:lnTo>
                    <a:lnTo>
                      <a:pt x="32" y="516"/>
                    </a:lnTo>
                    <a:lnTo>
                      <a:pt x="32" y="516"/>
                    </a:lnTo>
                    <a:lnTo>
                      <a:pt x="31" y="518"/>
                    </a:lnTo>
                    <a:lnTo>
                      <a:pt x="28" y="516"/>
                    </a:lnTo>
                    <a:lnTo>
                      <a:pt x="22" y="512"/>
                    </a:lnTo>
                    <a:lnTo>
                      <a:pt x="22" y="512"/>
                    </a:lnTo>
                    <a:lnTo>
                      <a:pt x="22" y="509"/>
                    </a:lnTo>
                    <a:lnTo>
                      <a:pt x="24" y="506"/>
                    </a:lnTo>
                    <a:lnTo>
                      <a:pt x="29" y="501"/>
                    </a:lnTo>
                    <a:lnTo>
                      <a:pt x="29" y="501"/>
                    </a:lnTo>
                    <a:lnTo>
                      <a:pt x="29" y="499"/>
                    </a:lnTo>
                    <a:lnTo>
                      <a:pt x="29" y="496"/>
                    </a:lnTo>
                    <a:lnTo>
                      <a:pt x="28" y="492"/>
                    </a:lnTo>
                    <a:lnTo>
                      <a:pt x="25" y="489"/>
                    </a:lnTo>
                    <a:lnTo>
                      <a:pt x="22" y="489"/>
                    </a:lnTo>
                    <a:lnTo>
                      <a:pt x="21" y="489"/>
                    </a:lnTo>
                    <a:lnTo>
                      <a:pt x="21" y="489"/>
                    </a:lnTo>
                    <a:lnTo>
                      <a:pt x="20" y="491"/>
                    </a:lnTo>
                    <a:lnTo>
                      <a:pt x="20" y="492"/>
                    </a:lnTo>
                    <a:lnTo>
                      <a:pt x="21" y="495"/>
                    </a:lnTo>
                    <a:lnTo>
                      <a:pt x="24" y="498"/>
                    </a:lnTo>
                    <a:lnTo>
                      <a:pt x="27" y="502"/>
                    </a:lnTo>
                    <a:lnTo>
                      <a:pt x="27" y="502"/>
                    </a:lnTo>
                    <a:lnTo>
                      <a:pt x="25" y="503"/>
                    </a:lnTo>
                    <a:lnTo>
                      <a:pt x="25" y="503"/>
                    </a:lnTo>
                    <a:lnTo>
                      <a:pt x="22" y="503"/>
                    </a:lnTo>
                    <a:lnTo>
                      <a:pt x="18" y="503"/>
                    </a:lnTo>
                    <a:lnTo>
                      <a:pt x="18" y="505"/>
                    </a:lnTo>
                    <a:lnTo>
                      <a:pt x="18" y="506"/>
                    </a:lnTo>
                    <a:lnTo>
                      <a:pt x="18" y="506"/>
                    </a:lnTo>
                    <a:lnTo>
                      <a:pt x="17" y="509"/>
                    </a:lnTo>
                    <a:lnTo>
                      <a:pt x="14" y="509"/>
                    </a:lnTo>
                    <a:lnTo>
                      <a:pt x="11" y="510"/>
                    </a:lnTo>
                    <a:lnTo>
                      <a:pt x="8" y="512"/>
                    </a:lnTo>
                    <a:lnTo>
                      <a:pt x="8" y="512"/>
                    </a:lnTo>
                    <a:lnTo>
                      <a:pt x="8" y="515"/>
                    </a:lnTo>
                    <a:lnTo>
                      <a:pt x="8" y="518"/>
                    </a:lnTo>
                    <a:lnTo>
                      <a:pt x="10" y="519"/>
                    </a:lnTo>
                    <a:lnTo>
                      <a:pt x="10" y="520"/>
                    </a:lnTo>
                    <a:lnTo>
                      <a:pt x="10" y="520"/>
                    </a:lnTo>
                    <a:lnTo>
                      <a:pt x="2" y="525"/>
                    </a:lnTo>
                    <a:lnTo>
                      <a:pt x="0" y="528"/>
                    </a:lnTo>
                    <a:lnTo>
                      <a:pt x="0" y="530"/>
                    </a:lnTo>
                    <a:lnTo>
                      <a:pt x="0" y="530"/>
                    </a:lnTo>
                    <a:lnTo>
                      <a:pt x="0" y="532"/>
                    </a:lnTo>
                    <a:lnTo>
                      <a:pt x="1" y="533"/>
                    </a:lnTo>
                    <a:lnTo>
                      <a:pt x="2" y="532"/>
                    </a:lnTo>
                    <a:lnTo>
                      <a:pt x="2" y="530"/>
                    </a:lnTo>
                    <a:lnTo>
                      <a:pt x="2" y="530"/>
                    </a:lnTo>
                    <a:lnTo>
                      <a:pt x="4" y="529"/>
                    </a:lnTo>
                    <a:lnTo>
                      <a:pt x="7" y="528"/>
                    </a:lnTo>
                    <a:lnTo>
                      <a:pt x="8" y="528"/>
                    </a:lnTo>
                    <a:lnTo>
                      <a:pt x="11" y="530"/>
                    </a:lnTo>
                    <a:lnTo>
                      <a:pt x="11" y="530"/>
                    </a:lnTo>
                    <a:lnTo>
                      <a:pt x="12" y="533"/>
                    </a:lnTo>
                    <a:lnTo>
                      <a:pt x="14" y="532"/>
                    </a:lnTo>
                    <a:lnTo>
                      <a:pt x="17" y="532"/>
                    </a:lnTo>
                    <a:lnTo>
                      <a:pt x="20" y="532"/>
                    </a:lnTo>
                    <a:lnTo>
                      <a:pt x="20" y="532"/>
                    </a:lnTo>
                    <a:lnTo>
                      <a:pt x="22" y="533"/>
                    </a:lnTo>
                    <a:lnTo>
                      <a:pt x="24" y="536"/>
                    </a:lnTo>
                    <a:lnTo>
                      <a:pt x="22" y="539"/>
                    </a:lnTo>
                    <a:lnTo>
                      <a:pt x="21" y="540"/>
                    </a:lnTo>
                    <a:lnTo>
                      <a:pt x="21" y="540"/>
                    </a:lnTo>
                    <a:lnTo>
                      <a:pt x="20" y="540"/>
                    </a:lnTo>
                    <a:lnTo>
                      <a:pt x="17" y="543"/>
                    </a:lnTo>
                    <a:lnTo>
                      <a:pt x="17" y="546"/>
                    </a:lnTo>
                    <a:lnTo>
                      <a:pt x="17" y="550"/>
                    </a:lnTo>
                    <a:lnTo>
                      <a:pt x="17" y="550"/>
                    </a:lnTo>
                    <a:lnTo>
                      <a:pt x="17" y="552"/>
                    </a:lnTo>
                    <a:lnTo>
                      <a:pt x="18" y="552"/>
                    </a:lnTo>
                    <a:lnTo>
                      <a:pt x="22" y="552"/>
                    </a:lnTo>
                    <a:lnTo>
                      <a:pt x="27" y="552"/>
                    </a:lnTo>
                    <a:lnTo>
                      <a:pt x="31" y="552"/>
                    </a:lnTo>
                    <a:lnTo>
                      <a:pt x="31" y="552"/>
                    </a:lnTo>
                    <a:lnTo>
                      <a:pt x="34" y="553"/>
                    </a:lnTo>
                    <a:lnTo>
                      <a:pt x="34" y="556"/>
                    </a:lnTo>
                    <a:lnTo>
                      <a:pt x="32" y="557"/>
                    </a:lnTo>
                    <a:lnTo>
                      <a:pt x="31" y="557"/>
                    </a:lnTo>
                    <a:lnTo>
                      <a:pt x="31" y="557"/>
                    </a:lnTo>
                    <a:lnTo>
                      <a:pt x="27" y="555"/>
                    </a:lnTo>
                    <a:lnTo>
                      <a:pt x="24" y="553"/>
                    </a:lnTo>
                    <a:lnTo>
                      <a:pt x="21" y="555"/>
                    </a:lnTo>
                    <a:lnTo>
                      <a:pt x="21" y="555"/>
                    </a:lnTo>
                    <a:lnTo>
                      <a:pt x="18" y="557"/>
                    </a:lnTo>
                    <a:lnTo>
                      <a:pt x="17" y="557"/>
                    </a:lnTo>
                    <a:lnTo>
                      <a:pt x="11" y="556"/>
                    </a:lnTo>
                    <a:lnTo>
                      <a:pt x="11" y="556"/>
                    </a:lnTo>
                    <a:lnTo>
                      <a:pt x="8" y="556"/>
                    </a:lnTo>
                    <a:lnTo>
                      <a:pt x="2" y="559"/>
                    </a:lnTo>
                    <a:lnTo>
                      <a:pt x="0" y="562"/>
                    </a:lnTo>
                    <a:lnTo>
                      <a:pt x="0" y="563"/>
                    </a:lnTo>
                    <a:lnTo>
                      <a:pt x="1" y="565"/>
                    </a:lnTo>
                    <a:lnTo>
                      <a:pt x="1" y="565"/>
                    </a:lnTo>
                    <a:lnTo>
                      <a:pt x="2" y="567"/>
                    </a:lnTo>
                    <a:lnTo>
                      <a:pt x="4" y="570"/>
                    </a:lnTo>
                    <a:lnTo>
                      <a:pt x="5" y="572"/>
                    </a:lnTo>
                    <a:lnTo>
                      <a:pt x="7" y="572"/>
                    </a:lnTo>
                    <a:lnTo>
                      <a:pt x="7" y="572"/>
                    </a:lnTo>
                    <a:lnTo>
                      <a:pt x="11" y="570"/>
                    </a:lnTo>
                    <a:lnTo>
                      <a:pt x="14" y="567"/>
                    </a:lnTo>
                    <a:lnTo>
                      <a:pt x="14" y="567"/>
                    </a:lnTo>
                    <a:lnTo>
                      <a:pt x="15" y="565"/>
                    </a:lnTo>
                    <a:lnTo>
                      <a:pt x="18" y="563"/>
                    </a:lnTo>
                    <a:lnTo>
                      <a:pt x="20" y="565"/>
                    </a:lnTo>
                    <a:lnTo>
                      <a:pt x="21" y="567"/>
                    </a:lnTo>
                    <a:lnTo>
                      <a:pt x="21" y="567"/>
                    </a:lnTo>
                    <a:lnTo>
                      <a:pt x="20" y="570"/>
                    </a:lnTo>
                    <a:lnTo>
                      <a:pt x="18" y="572"/>
                    </a:lnTo>
                    <a:lnTo>
                      <a:pt x="15" y="573"/>
                    </a:lnTo>
                    <a:lnTo>
                      <a:pt x="12" y="574"/>
                    </a:lnTo>
                    <a:lnTo>
                      <a:pt x="12" y="574"/>
                    </a:lnTo>
                    <a:lnTo>
                      <a:pt x="10" y="579"/>
                    </a:lnTo>
                    <a:lnTo>
                      <a:pt x="4" y="584"/>
                    </a:lnTo>
                    <a:lnTo>
                      <a:pt x="4" y="584"/>
                    </a:lnTo>
                    <a:lnTo>
                      <a:pt x="2" y="587"/>
                    </a:lnTo>
                    <a:lnTo>
                      <a:pt x="4" y="589"/>
                    </a:lnTo>
                    <a:lnTo>
                      <a:pt x="5" y="592"/>
                    </a:lnTo>
                    <a:lnTo>
                      <a:pt x="8" y="590"/>
                    </a:lnTo>
                    <a:lnTo>
                      <a:pt x="8" y="590"/>
                    </a:lnTo>
                    <a:lnTo>
                      <a:pt x="10" y="590"/>
                    </a:lnTo>
                    <a:lnTo>
                      <a:pt x="10" y="593"/>
                    </a:lnTo>
                    <a:lnTo>
                      <a:pt x="10" y="594"/>
                    </a:lnTo>
                    <a:lnTo>
                      <a:pt x="12" y="596"/>
                    </a:lnTo>
                    <a:lnTo>
                      <a:pt x="12" y="596"/>
                    </a:lnTo>
                    <a:lnTo>
                      <a:pt x="15" y="596"/>
                    </a:lnTo>
                    <a:lnTo>
                      <a:pt x="17" y="594"/>
                    </a:lnTo>
                    <a:lnTo>
                      <a:pt x="17" y="592"/>
                    </a:lnTo>
                    <a:lnTo>
                      <a:pt x="17" y="589"/>
                    </a:lnTo>
                    <a:lnTo>
                      <a:pt x="17" y="589"/>
                    </a:lnTo>
                    <a:lnTo>
                      <a:pt x="17" y="586"/>
                    </a:lnTo>
                    <a:lnTo>
                      <a:pt x="18" y="583"/>
                    </a:lnTo>
                    <a:lnTo>
                      <a:pt x="21" y="580"/>
                    </a:lnTo>
                    <a:lnTo>
                      <a:pt x="22" y="582"/>
                    </a:lnTo>
                    <a:lnTo>
                      <a:pt x="24" y="582"/>
                    </a:lnTo>
                    <a:lnTo>
                      <a:pt x="24" y="582"/>
                    </a:lnTo>
                    <a:lnTo>
                      <a:pt x="25" y="584"/>
                    </a:lnTo>
                    <a:lnTo>
                      <a:pt x="24" y="587"/>
                    </a:lnTo>
                    <a:lnTo>
                      <a:pt x="22" y="590"/>
                    </a:lnTo>
                    <a:lnTo>
                      <a:pt x="21" y="593"/>
                    </a:lnTo>
                    <a:lnTo>
                      <a:pt x="21" y="593"/>
                    </a:lnTo>
                    <a:lnTo>
                      <a:pt x="20" y="599"/>
                    </a:lnTo>
                    <a:lnTo>
                      <a:pt x="20" y="606"/>
                    </a:lnTo>
                    <a:lnTo>
                      <a:pt x="20" y="606"/>
                    </a:lnTo>
                    <a:lnTo>
                      <a:pt x="18" y="607"/>
                    </a:lnTo>
                    <a:lnTo>
                      <a:pt x="17" y="609"/>
                    </a:lnTo>
                    <a:lnTo>
                      <a:pt x="15" y="609"/>
                    </a:lnTo>
                    <a:lnTo>
                      <a:pt x="15" y="611"/>
                    </a:lnTo>
                    <a:lnTo>
                      <a:pt x="15" y="611"/>
                    </a:lnTo>
                    <a:lnTo>
                      <a:pt x="14" y="613"/>
                    </a:lnTo>
                    <a:lnTo>
                      <a:pt x="14" y="613"/>
                    </a:lnTo>
                    <a:lnTo>
                      <a:pt x="11" y="614"/>
                    </a:lnTo>
                    <a:lnTo>
                      <a:pt x="8" y="614"/>
                    </a:lnTo>
                    <a:lnTo>
                      <a:pt x="10" y="616"/>
                    </a:lnTo>
                    <a:lnTo>
                      <a:pt x="10" y="616"/>
                    </a:lnTo>
                    <a:lnTo>
                      <a:pt x="11" y="619"/>
                    </a:lnTo>
                    <a:lnTo>
                      <a:pt x="10" y="620"/>
                    </a:lnTo>
                    <a:lnTo>
                      <a:pt x="8" y="623"/>
                    </a:lnTo>
                    <a:lnTo>
                      <a:pt x="10" y="626"/>
                    </a:lnTo>
                    <a:lnTo>
                      <a:pt x="10" y="626"/>
                    </a:lnTo>
                    <a:lnTo>
                      <a:pt x="11" y="626"/>
                    </a:lnTo>
                    <a:lnTo>
                      <a:pt x="12" y="624"/>
                    </a:lnTo>
                    <a:lnTo>
                      <a:pt x="15" y="623"/>
                    </a:lnTo>
                    <a:lnTo>
                      <a:pt x="18" y="623"/>
                    </a:lnTo>
                    <a:lnTo>
                      <a:pt x="18" y="623"/>
                    </a:lnTo>
                    <a:lnTo>
                      <a:pt x="21" y="624"/>
                    </a:lnTo>
                    <a:lnTo>
                      <a:pt x="25" y="623"/>
                    </a:lnTo>
                    <a:lnTo>
                      <a:pt x="25" y="623"/>
                    </a:lnTo>
                    <a:lnTo>
                      <a:pt x="29" y="623"/>
                    </a:lnTo>
                    <a:lnTo>
                      <a:pt x="31" y="624"/>
                    </a:lnTo>
                    <a:lnTo>
                      <a:pt x="31" y="627"/>
                    </a:lnTo>
                    <a:lnTo>
                      <a:pt x="29" y="629"/>
                    </a:lnTo>
                    <a:lnTo>
                      <a:pt x="29" y="629"/>
                    </a:lnTo>
                    <a:lnTo>
                      <a:pt x="25" y="630"/>
                    </a:lnTo>
                    <a:lnTo>
                      <a:pt x="22" y="633"/>
                    </a:lnTo>
                    <a:lnTo>
                      <a:pt x="21" y="634"/>
                    </a:lnTo>
                    <a:lnTo>
                      <a:pt x="21" y="636"/>
                    </a:lnTo>
                    <a:lnTo>
                      <a:pt x="21" y="636"/>
                    </a:lnTo>
                    <a:lnTo>
                      <a:pt x="27" y="636"/>
                    </a:lnTo>
                    <a:lnTo>
                      <a:pt x="29" y="636"/>
                    </a:lnTo>
                    <a:lnTo>
                      <a:pt x="31" y="637"/>
                    </a:lnTo>
                    <a:lnTo>
                      <a:pt x="31" y="637"/>
                    </a:lnTo>
                    <a:lnTo>
                      <a:pt x="32" y="640"/>
                    </a:lnTo>
                    <a:lnTo>
                      <a:pt x="34" y="640"/>
                    </a:lnTo>
                    <a:lnTo>
                      <a:pt x="35" y="638"/>
                    </a:lnTo>
                    <a:lnTo>
                      <a:pt x="37" y="636"/>
                    </a:lnTo>
                    <a:lnTo>
                      <a:pt x="37" y="636"/>
                    </a:lnTo>
                    <a:lnTo>
                      <a:pt x="37" y="634"/>
                    </a:lnTo>
                    <a:lnTo>
                      <a:pt x="38" y="633"/>
                    </a:lnTo>
                    <a:lnTo>
                      <a:pt x="41" y="633"/>
                    </a:lnTo>
                    <a:lnTo>
                      <a:pt x="45" y="636"/>
                    </a:lnTo>
                    <a:lnTo>
                      <a:pt x="47" y="638"/>
                    </a:lnTo>
                    <a:lnTo>
                      <a:pt x="47" y="638"/>
                    </a:lnTo>
                    <a:lnTo>
                      <a:pt x="47" y="640"/>
                    </a:lnTo>
                    <a:lnTo>
                      <a:pt x="45" y="641"/>
                    </a:lnTo>
                    <a:lnTo>
                      <a:pt x="42" y="644"/>
                    </a:lnTo>
                    <a:lnTo>
                      <a:pt x="37" y="644"/>
                    </a:lnTo>
                    <a:lnTo>
                      <a:pt x="32" y="644"/>
                    </a:lnTo>
                    <a:lnTo>
                      <a:pt x="32" y="644"/>
                    </a:lnTo>
                    <a:lnTo>
                      <a:pt x="29" y="644"/>
                    </a:lnTo>
                    <a:lnTo>
                      <a:pt x="27" y="647"/>
                    </a:lnTo>
                    <a:lnTo>
                      <a:pt x="27" y="650"/>
                    </a:lnTo>
                    <a:lnTo>
                      <a:pt x="28" y="654"/>
                    </a:lnTo>
                    <a:lnTo>
                      <a:pt x="28" y="654"/>
                    </a:lnTo>
                    <a:lnTo>
                      <a:pt x="31" y="656"/>
                    </a:lnTo>
                    <a:lnTo>
                      <a:pt x="34" y="656"/>
                    </a:lnTo>
                    <a:lnTo>
                      <a:pt x="39" y="650"/>
                    </a:lnTo>
                    <a:lnTo>
                      <a:pt x="39" y="650"/>
                    </a:lnTo>
                    <a:lnTo>
                      <a:pt x="45" y="648"/>
                    </a:lnTo>
                    <a:lnTo>
                      <a:pt x="52" y="648"/>
                    </a:lnTo>
                    <a:lnTo>
                      <a:pt x="61" y="648"/>
                    </a:lnTo>
                    <a:lnTo>
                      <a:pt x="62" y="650"/>
                    </a:lnTo>
                    <a:lnTo>
                      <a:pt x="64" y="651"/>
                    </a:lnTo>
                    <a:lnTo>
                      <a:pt x="64" y="651"/>
                    </a:lnTo>
                    <a:lnTo>
                      <a:pt x="64" y="653"/>
                    </a:lnTo>
                    <a:lnTo>
                      <a:pt x="64" y="654"/>
                    </a:lnTo>
                    <a:lnTo>
                      <a:pt x="61" y="654"/>
                    </a:lnTo>
                    <a:lnTo>
                      <a:pt x="56" y="654"/>
                    </a:lnTo>
                    <a:lnTo>
                      <a:pt x="54" y="654"/>
                    </a:lnTo>
                    <a:lnTo>
                      <a:pt x="54" y="654"/>
                    </a:lnTo>
                    <a:lnTo>
                      <a:pt x="52" y="657"/>
                    </a:lnTo>
                    <a:lnTo>
                      <a:pt x="49" y="657"/>
                    </a:lnTo>
                    <a:lnTo>
                      <a:pt x="47" y="658"/>
                    </a:lnTo>
                    <a:lnTo>
                      <a:pt x="44" y="657"/>
                    </a:lnTo>
                    <a:lnTo>
                      <a:pt x="44" y="657"/>
                    </a:lnTo>
                    <a:lnTo>
                      <a:pt x="42" y="656"/>
                    </a:lnTo>
                    <a:lnTo>
                      <a:pt x="39" y="657"/>
                    </a:lnTo>
                    <a:lnTo>
                      <a:pt x="37" y="658"/>
                    </a:lnTo>
                    <a:lnTo>
                      <a:pt x="35" y="663"/>
                    </a:lnTo>
                    <a:lnTo>
                      <a:pt x="35" y="663"/>
                    </a:lnTo>
                    <a:lnTo>
                      <a:pt x="34" y="666"/>
                    </a:lnTo>
                    <a:lnTo>
                      <a:pt x="32" y="667"/>
                    </a:lnTo>
                    <a:lnTo>
                      <a:pt x="32" y="667"/>
                    </a:lnTo>
                    <a:lnTo>
                      <a:pt x="35" y="668"/>
                    </a:lnTo>
                    <a:lnTo>
                      <a:pt x="35" y="668"/>
                    </a:lnTo>
                    <a:lnTo>
                      <a:pt x="38" y="668"/>
                    </a:lnTo>
                    <a:lnTo>
                      <a:pt x="39" y="668"/>
                    </a:lnTo>
                    <a:lnTo>
                      <a:pt x="42" y="666"/>
                    </a:lnTo>
                    <a:lnTo>
                      <a:pt x="45" y="664"/>
                    </a:lnTo>
                    <a:lnTo>
                      <a:pt x="47" y="663"/>
                    </a:lnTo>
                    <a:lnTo>
                      <a:pt x="51" y="663"/>
                    </a:lnTo>
                    <a:lnTo>
                      <a:pt x="51" y="663"/>
                    </a:lnTo>
                    <a:lnTo>
                      <a:pt x="56" y="661"/>
                    </a:lnTo>
                    <a:lnTo>
                      <a:pt x="62" y="658"/>
                    </a:lnTo>
                    <a:lnTo>
                      <a:pt x="65" y="657"/>
                    </a:lnTo>
                    <a:lnTo>
                      <a:pt x="68" y="657"/>
                    </a:lnTo>
                    <a:lnTo>
                      <a:pt x="68" y="658"/>
                    </a:lnTo>
                    <a:lnTo>
                      <a:pt x="68" y="658"/>
                    </a:lnTo>
                    <a:lnTo>
                      <a:pt x="69" y="661"/>
                    </a:lnTo>
                    <a:lnTo>
                      <a:pt x="68" y="663"/>
                    </a:lnTo>
                    <a:lnTo>
                      <a:pt x="65" y="666"/>
                    </a:lnTo>
                    <a:lnTo>
                      <a:pt x="61" y="667"/>
                    </a:lnTo>
                    <a:lnTo>
                      <a:pt x="56" y="666"/>
                    </a:lnTo>
                    <a:lnTo>
                      <a:pt x="56" y="666"/>
                    </a:lnTo>
                    <a:lnTo>
                      <a:pt x="54" y="664"/>
                    </a:lnTo>
                    <a:lnTo>
                      <a:pt x="51" y="667"/>
                    </a:lnTo>
                    <a:lnTo>
                      <a:pt x="49" y="670"/>
                    </a:lnTo>
                    <a:lnTo>
                      <a:pt x="48" y="674"/>
                    </a:lnTo>
                    <a:lnTo>
                      <a:pt x="48" y="674"/>
                    </a:lnTo>
                    <a:lnTo>
                      <a:pt x="48" y="675"/>
                    </a:lnTo>
                    <a:lnTo>
                      <a:pt x="47" y="675"/>
                    </a:lnTo>
                    <a:lnTo>
                      <a:pt x="42" y="675"/>
                    </a:lnTo>
                    <a:lnTo>
                      <a:pt x="31" y="671"/>
                    </a:lnTo>
                    <a:lnTo>
                      <a:pt x="31" y="671"/>
                    </a:lnTo>
                    <a:lnTo>
                      <a:pt x="28" y="673"/>
                    </a:lnTo>
                    <a:lnTo>
                      <a:pt x="28" y="674"/>
                    </a:lnTo>
                    <a:lnTo>
                      <a:pt x="29" y="678"/>
                    </a:lnTo>
                    <a:lnTo>
                      <a:pt x="32" y="683"/>
                    </a:lnTo>
                    <a:lnTo>
                      <a:pt x="32" y="683"/>
                    </a:lnTo>
                    <a:lnTo>
                      <a:pt x="37" y="684"/>
                    </a:lnTo>
                    <a:lnTo>
                      <a:pt x="39" y="684"/>
                    </a:lnTo>
                    <a:lnTo>
                      <a:pt x="42" y="684"/>
                    </a:lnTo>
                    <a:lnTo>
                      <a:pt x="47" y="685"/>
                    </a:lnTo>
                    <a:lnTo>
                      <a:pt x="47" y="685"/>
                    </a:lnTo>
                    <a:lnTo>
                      <a:pt x="52" y="690"/>
                    </a:lnTo>
                    <a:lnTo>
                      <a:pt x="55" y="691"/>
                    </a:lnTo>
                    <a:lnTo>
                      <a:pt x="56" y="690"/>
                    </a:lnTo>
                    <a:lnTo>
                      <a:pt x="56" y="690"/>
                    </a:lnTo>
                    <a:lnTo>
                      <a:pt x="59" y="687"/>
                    </a:lnTo>
                    <a:lnTo>
                      <a:pt x="58" y="685"/>
                    </a:lnTo>
                    <a:lnTo>
                      <a:pt x="54" y="684"/>
                    </a:lnTo>
                    <a:lnTo>
                      <a:pt x="54" y="684"/>
                    </a:lnTo>
                    <a:lnTo>
                      <a:pt x="54" y="683"/>
                    </a:lnTo>
                    <a:lnTo>
                      <a:pt x="54" y="680"/>
                    </a:lnTo>
                    <a:lnTo>
                      <a:pt x="56" y="678"/>
                    </a:lnTo>
                    <a:lnTo>
                      <a:pt x="61" y="680"/>
                    </a:lnTo>
                    <a:lnTo>
                      <a:pt x="61" y="680"/>
                    </a:lnTo>
                    <a:lnTo>
                      <a:pt x="65" y="680"/>
                    </a:lnTo>
                    <a:lnTo>
                      <a:pt x="71" y="678"/>
                    </a:lnTo>
                    <a:lnTo>
                      <a:pt x="74" y="674"/>
                    </a:lnTo>
                    <a:lnTo>
                      <a:pt x="74" y="668"/>
                    </a:lnTo>
                    <a:lnTo>
                      <a:pt x="74" y="668"/>
                    </a:lnTo>
                    <a:lnTo>
                      <a:pt x="72" y="666"/>
                    </a:lnTo>
                    <a:lnTo>
                      <a:pt x="74" y="663"/>
                    </a:lnTo>
                    <a:lnTo>
                      <a:pt x="76" y="658"/>
                    </a:lnTo>
                    <a:lnTo>
                      <a:pt x="81" y="656"/>
                    </a:lnTo>
                    <a:lnTo>
                      <a:pt x="88" y="653"/>
                    </a:lnTo>
                    <a:lnTo>
                      <a:pt x="88" y="653"/>
                    </a:lnTo>
                    <a:lnTo>
                      <a:pt x="91" y="653"/>
                    </a:lnTo>
                    <a:lnTo>
                      <a:pt x="92" y="654"/>
                    </a:lnTo>
                    <a:lnTo>
                      <a:pt x="92" y="656"/>
                    </a:lnTo>
                    <a:lnTo>
                      <a:pt x="89" y="658"/>
                    </a:lnTo>
                    <a:lnTo>
                      <a:pt x="85" y="661"/>
                    </a:lnTo>
                    <a:lnTo>
                      <a:pt x="85" y="661"/>
                    </a:lnTo>
                    <a:lnTo>
                      <a:pt x="82" y="663"/>
                    </a:lnTo>
                    <a:lnTo>
                      <a:pt x="79" y="664"/>
                    </a:lnTo>
                    <a:lnTo>
                      <a:pt x="81" y="667"/>
                    </a:lnTo>
                    <a:lnTo>
                      <a:pt x="82" y="670"/>
                    </a:lnTo>
                    <a:lnTo>
                      <a:pt x="82" y="670"/>
                    </a:lnTo>
                    <a:lnTo>
                      <a:pt x="85" y="671"/>
                    </a:lnTo>
                    <a:lnTo>
                      <a:pt x="86" y="671"/>
                    </a:lnTo>
                    <a:lnTo>
                      <a:pt x="91" y="671"/>
                    </a:lnTo>
                    <a:lnTo>
                      <a:pt x="93" y="670"/>
                    </a:lnTo>
                    <a:lnTo>
                      <a:pt x="96" y="670"/>
                    </a:lnTo>
                    <a:lnTo>
                      <a:pt x="98" y="671"/>
                    </a:lnTo>
                    <a:lnTo>
                      <a:pt x="98" y="671"/>
                    </a:lnTo>
                    <a:lnTo>
                      <a:pt x="98" y="673"/>
                    </a:lnTo>
                    <a:lnTo>
                      <a:pt x="98" y="673"/>
                    </a:lnTo>
                    <a:lnTo>
                      <a:pt x="95" y="674"/>
                    </a:lnTo>
                    <a:lnTo>
                      <a:pt x="91" y="675"/>
                    </a:lnTo>
                    <a:lnTo>
                      <a:pt x="88" y="678"/>
                    </a:lnTo>
                    <a:lnTo>
                      <a:pt x="88" y="678"/>
                    </a:lnTo>
                    <a:lnTo>
                      <a:pt x="88" y="681"/>
                    </a:lnTo>
                    <a:lnTo>
                      <a:pt x="91" y="684"/>
                    </a:lnTo>
                    <a:lnTo>
                      <a:pt x="91" y="687"/>
                    </a:lnTo>
                    <a:lnTo>
                      <a:pt x="91" y="688"/>
                    </a:lnTo>
                    <a:lnTo>
                      <a:pt x="89" y="690"/>
                    </a:lnTo>
                    <a:lnTo>
                      <a:pt x="89" y="690"/>
                    </a:lnTo>
                    <a:lnTo>
                      <a:pt x="88" y="690"/>
                    </a:lnTo>
                    <a:lnTo>
                      <a:pt x="86" y="688"/>
                    </a:lnTo>
                    <a:lnTo>
                      <a:pt x="85" y="684"/>
                    </a:lnTo>
                    <a:lnTo>
                      <a:pt x="84" y="680"/>
                    </a:lnTo>
                    <a:lnTo>
                      <a:pt x="84" y="677"/>
                    </a:lnTo>
                    <a:lnTo>
                      <a:pt x="82" y="675"/>
                    </a:lnTo>
                    <a:lnTo>
                      <a:pt x="82" y="675"/>
                    </a:lnTo>
                    <a:lnTo>
                      <a:pt x="79" y="675"/>
                    </a:lnTo>
                    <a:lnTo>
                      <a:pt x="78" y="677"/>
                    </a:lnTo>
                    <a:lnTo>
                      <a:pt x="78" y="681"/>
                    </a:lnTo>
                    <a:lnTo>
                      <a:pt x="79" y="685"/>
                    </a:lnTo>
                    <a:lnTo>
                      <a:pt x="79" y="685"/>
                    </a:lnTo>
                    <a:lnTo>
                      <a:pt x="79" y="690"/>
                    </a:lnTo>
                    <a:lnTo>
                      <a:pt x="78" y="690"/>
                    </a:lnTo>
                    <a:lnTo>
                      <a:pt x="71" y="683"/>
                    </a:lnTo>
                    <a:lnTo>
                      <a:pt x="71" y="683"/>
                    </a:lnTo>
                    <a:lnTo>
                      <a:pt x="68" y="683"/>
                    </a:lnTo>
                    <a:lnTo>
                      <a:pt x="66" y="683"/>
                    </a:lnTo>
                    <a:lnTo>
                      <a:pt x="65" y="685"/>
                    </a:lnTo>
                    <a:lnTo>
                      <a:pt x="66" y="690"/>
                    </a:lnTo>
                    <a:lnTo>
                      <a:pt x="66" y="690"/>
                    </a:lnTo>
                    <a:lnTo>
                      <a:pt x="68" y="691"/>
                    </a:lnTo>
                    <a:lnTo>
                      <a:pt x="68" y="691"/>
                    </a:lnTo>
                    <a:lnTo>
                      <a:pt x="65" y="691"/>
                    </a:lnTo>
                    <a:lnTo>
                      <a:pt x="61" y="693"/>
                    </a:lnTo>
                    <a:lnTo>
                      <a:pt x="59" y="694"/>
                    </a:lnTo>
                    <a:lnTo>
                      <a:pt x="59" y="695"/>
                    </a:lnTo>
                    <a:lnTo>
                      <a:pt x="59" y="695"/>
                    </a:lnTo>
                    <a:lnTo>
                      <a:pt x="59" y="698"/>
                    </a:lnTo>
                    <a:lnTo>
                      <a:pt x="62" y="698"/>
                    </a:lnTo>
                    <a:lnTo>
                      <a:pt x="66" y="698"/>
                    </a:lnTo>
                    <a:lnTo>
                      <a:pt x="71" y="698"/>
                    </a:lnTo>
                    <a:lnTo>
                      <a:pt x="71" y="698"/>
                    </a:lnTo>
                    <a:lnTo>
                      <a:pt x="72" y="700"/>
                    </a:lnTo>
                    <a:lnTo>
                      <a:pt x="74" y="701"/>
                    </a:lnTo>
                    <a:lnTo>
                      <a:pt x="75" y="704"/>
                    </a:lnTo>
                    <a:lnTo>
                      <a:pt x="76" y="708"/>
                    </a:lnTo>
                    <a:lnTo>
                      <a:pt x="79" y="712"/>
                    </a:lnTo>
                    <a:lnTo>
                      <a:pt x="79" y="712"/>
                    </a:lnTo>
                    <a:lnTo>
                      <a:pt x="81" y="712"/>
                    </a:lnTo>
                    <a:lnTo>
                      <a:pt x="81" y="712"/>
                    </a:lnTo>
                    <a:lnTo>
                      <a:pt x="82" y="708"/>
                    </a:lnTo>
                    <a:lnTo>
                      <a:pt x="82" y="703"/>
                    </a:lnTo>
                    <a:lnTo>
                      <a:pt x="84" y="701"/>
                    </a:lnTo>
                    <a:lnTo>
                      <a:pt x="85" y="700"/>
                    </a:lnTo>
                    <a:lnTo>
                      <a:pt x="85" y="700"/>
                    </a:lnTo>
                    <a:lnTo>
                      <a:pt x="86" y="700"/>
                    </a:lnTo>
                    <a:lnTo>
                      <a:pt x="86" y="701"/>
                    </a:lnTo>
                    <a:lnTo>
                      <a:pt x="88" y="705"/>
                    </a:lnTo>
                    <a:lnTo>
                      <a:pt x="91" y="711"/>
                    </a:lnTo>
                    <a:lnTo>
                      <a:pt x="92" y="712"/>
                    </a:lnTo>
                    <a:lnTo>
                      <a:pt x="96" y="715"/>
                    </a:lnTo>
                    <a:lnTo>
                      <a:pt x="96" y="715"/>
                    </a:lnTo>
                    <a:lnTo>
                      <a:pt x="101" y="715"/>
                    </a:lnTo>
                    <a:lnTo>
                      <a:pt x="101" y="715"/>
                    </a:lnTo>
                    <a:lnTo>
                      <a:pt x="101" y="715"/>
                    </a:lnTo>
                    <a:lnTo>
                      <a:pt x="101" y="712"/>
                    </a:lnTo>
                    <a:lnTo>
                      <a:pt x="101" y="711"/>
                    </a:lnTo>
                    <a:lnTo>
                      <a:pt x="102" y="710"/>
                    </a:lnTo>
                    <a:lnTo>
                      <a:pt x="102" y="710"/>
                    </a:lnTo>
                    <a:lnTo>
                      <a:pt x="103" y="708"/>
                    </a:lnTo>
                    <a:lnTo>
                      <a:pt x="105" y="710"/>
                    </a:lnTo>
                    <a:lnTo>
                      <a:pt x="109" y="714"/>
                    </a:lnTo>
                    <a:lnTo>
                      <a:pt x="113" y="718"/>
                    </a:lnTo>
                    <a:lnTo>
                      <a:pt x="118" y="721"/>
                    </a:lnTo>
                    <a:lnTo>
                      <a:pt x="118" y="721"/>
                    </a:lnTo>
                    <a:lnTo>
                      <a:pt x="119" y="721"/>
                    </a:lnTo>
                    <a:lnTo>
                      <a:pt x="121" y="721"/>
                    </a:lnTo>
                    <a:lnTo>
                      <a:pt x="121" y="718"/>
                    </a:lnTo>
                    <a:lnTo>
                      <a:pt x="119" y="714"/>
                    </a:lnTo>
                    <a:lnTo>
                      <a:pt x="116" y="711"/>
                    </a:lnTo>
                    <a:lnTo>
                      <a:pt x="116" y="711"/>
                    </a:lnTo>
                    <a:lnTo>
                      <a:pt x="115" y="708"/>
                    </a:lnTo>
                    <a:lnTo>
                      <a:pt x="118" y="708"/>
                    </a:lnTo>
                    <a:lnTo>
                      <a:pt x="125" y="711"/>
                    </a:lnTo>
                    <a:lnTo>
                      <a:pt x="125" y="711"/>
                    </a:lnTo>
                    <a:lnTo>
                      <a:pt x="132" y="712"/>
                    </a:lnTo>
                    <a:lnTo>
                      <a:pt x="135" y="711"/>
                    </a:lnTo>
                    <a:lnTo>
                      <a:pt x="136" y="710"/>
                    </a:lnTo>
                    <a:lnTo>
                      <a:pt x="136" y="710"/>
                    </a:lnTo>
                    <a:lnTo>
                      <a:pt x="138" y="708"/>
                    </a:lnTo>
                    <a:lnTo>
                      <a:pt x="139" y="708"/>
                    </a:lnTo>
                    <a:lnTo>
                      <a:pt x="139" y="708"/>
                    </a:lnTo>
                    <a:lnTo>
                      <a:pt x="132" y="707"/>
                    </a:lnTo>
                    <a:lnTo>
                      <a:pt x="123" y="707"/>
                    </a:lnTo>
                    <a:lnTo>
                      <a:pt x="112" y="707"/>
                    </a:lnTo>
                    <a:lnTo>
                      <a:pt x="112" y="707"/>
                    </a:lnTo>
                    <a:lnTo>
                      <a:pt x="111" y="705"/>
                    </a:lnTo>
                    <a:lnTo>
                      <a:pt x="111" y="700"/>
                    </a:lnTo>
                    <a:lnTo>
                      <a:pt x="111" y="684"/>
                    </a:lnTo>
                    <a:lnTo>
                      <a:pt x="112" y="654"/>
                    </a:lnTo>
                    <a:lnTo>
                      <a:pt x="112" y="654"/>
                    </a:lnTo>
                    <a:lnTo>
                      <a:pt x="111" y="654"/>
                    </a:lnTo>
                    <a:lnTo>
                      <a:pt x="111" y="654"/>
                    </a:lnTo>
                    <a:lnTo>
                      <a:pt x="102" y="653"/>
                    </a:lnTo>
                    <a:lnTo>
                      <a:pt x="98" y="651"/>
                    </a:lnTo>
                    <a:lnTo>
                      <a:pt x="98" y="650"/>
                    </a:lnTo>
                    <a:lnTo>
                      <a:pt x="98" y="647"/>
                    </a:lnTo>
                    <a:lnTo>
                      <a:pt x="98" y="647"/>
                    </a:lnTo>
                    <a:lnTo>
                      <a:pt x="99" y="646"/>
                    </a:lnTo>
                    <a:lnTo>
                      <a:pt x="99" y="646"/>
                    </a:lnTo>
                    <a:lnTo>
                      <a:pt x="95" y="643"/>
                    </a:lnTo>
                    <a:lnTo>
                      <a:pt x="91" y="640"/>
                    </a:lnTo>
                    <a:lnTo>
                      <a:pt x="91" y="640"/>
                    </a:lnTo>
                    <a:lnTo>
                      <a:pt x="84" y="640"/>
                    </a:lnTo>
                    <a:lnTo>
                      <a:pt x="75" y="640"/>
                    </a:lnTo>
                    <a:lnTo>
                      <a:pt x="62" y="641"/>
                    </a:lnTo>
                    <a:lnTo>
                      <a:pt x="62" y="64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91" name="Oceana">
              <a:extLst>
                <a:ext uri="{FF2B5EF4-FFF2-40B4-BE49-F238E27FC236}">
                  <a16:creationId xmlns:a16="http://schemas.microsoft.com/office/drawing/2014/main" id="{3C5FC313-8459-2A41-BE26-DC761E8764B1}"/>
                </a:ext>
              </a:extLst>
            </p:cNvPr>
            <p:cNvGrpSpPr/>
            <p:nvPr/>
          </p:nvGrpSpPr>
          <p:grpSpPr>
            <a:xfrm>
              <a:off x="10019823" y="3667853"/>
              <a:ext cx="1239161" cy="751679"/>
              <a:chOff x="6975168" y="4574621"/>
              <a:chExt cx="1568572" cy="951500"/>
            </a:xfrm>
            <a:grpFill/>
          </p:grpSpPr>
          <p:sp>
            <p:nvSpPr>
              <p:cNvPr id="1746" name="New Zealand">
                <a:extLst>
                  <a:ext uri="{FF2B5EF4-FFF2-40B4-BE49-F238E27FC236}">
                    <a16:creationId xmlns:a16="http://schemas.microsoft.com/office/drawing/2014/main" id="{A55B925B-0852-4A46-B712-B517155C4396}"/>
                  </a:ext>
                </a:extLst>
              </p:cNvPr>
              <p:cNvSpPr>
                <a:spLocks noEditPoints="1"/>
              </p:cNvSpPr>
              <p:nvPr/>
            </p:nvSpPr>
            <p:spPr bwMode="auto">
              <a:xfrm>
                <a:off x="8255182" y="5187251"/>
                <a:ext cx="288558" cy="338870"/>
              </a:xfrm>
              <a:custGeom>
                <a:avLst/>
                <a:gdLst/>
                <a:ahLst/>
                <a:cxnLst>
                  <a:cxn ang="0">
                    <a:pos x="114" y="115"/>
                  </a:cxn>
                  <a:cxn ang="0">
                    <a:pos x="104" y="120"/>
                  </a:cxn>
                  <a:cxn ang="0">
                    <a:pos x="92" y="114"/>
                  </a:cxn>
                  <a:cxn ang="0">
                    <a:pos x="87" y="124"/>
                  </a:cxn>
                  <a:cxn ang="0">
                    <a:pos x="78" y="135"/>
                  </a:cxn>
                  <a:cxn ang="0">
                    <a:pos x="67" y="155"/>
                  </a:cxn>
                  <a:cxn ang="0">
                    <a:pos x="30" y="177"/>
                  </a:cxn>
                  <a:cxn ang="0">
                    <a:pos x="14" y="189"/>
                  </a:cxn>
                  <a:cxn ang="0">
                    <a:pos x="5" y="198"/>
                  </a:cxn>
                  <a:cxn ang="0">
                    <a:pos x="0" y="214"/>
                  </a:cxn>
                  <a:cxn ang="0">
                    <a:pos x="8" y="219"/>
                  </a:cxn>
                  <a:cxn ang="0">
                    <a:pos x="20" y="224"/>
                  </a:cxn>
                  <a:cxn ang="0">
                    <a:pos x="28" y="226"/>
                  </a:cxn>
                  <a:cxn ang="0">
                    <a:pos x="48" y="226"/>
                  </a:cxn>
                  <a:cxn ang="0">
                    <a:pos x="64" y="212"/>
                  </a:cxn>
                  <a:cxn ang="0">
                    <a:pos x="68" y="201"/>
                  </a:cxn>
                  <a:cxn ang="0">
                    <a:pos x="77" y="185"/>
                  </a:cxn>
                  <a:cxn ang="0">
                    <a:pos x="94" y="174"/>
                  </a:cxn>
                  <a:cxn ang="0">
                    <a:pos x="102" y="172"/>
                  </a:cxn>
                  <a:cxn ang="0">
                    <a:pos x="99" y="162"/>
                  </a:cxn>
                  <a:cxn ang="0">
                    <a:pos x="109" y="152"/>
                  </a:cxn>
                  <a:cxn ang="0">
                    <a:pos x="112" y="144"/>
                  </a:cxn>
                  <a:cxn ang="0">
                    <a:pos x="122" y="130"/>
                  </a:cxn>
                  <a:cxn ang="0">
                    <a:pos x="122" y="118"/>
                  </a:cxn>
                  <a:cxn ang="0">
                    <a:pos x="178" y="59"/>
                  </a:cxn>
                  <a:cxn ang="0">
                    <a:pos x="168" y="59"/>
                  </a:cxn>
                  <a:cxn ang="0">
                    <a:pos x="155" y="54"/>
                  </a:cxn>
                  <a:cxn ang="0">
                    <a:pos x="152" y="43"/>
                  </a:cxn>
                  <a:cxn ang="0">
                    <a:pos x="146" y="34"/>
                  </a:cxn>
                  <a:cxn ang="0">
                    <a:pos x="145" y="41"/>
                  </a:cxn>
                  <a:cxn ang="0">
                    <a:pos x="142" y="43"/>
                  </a:cxn>
                  <a:cxn ang="0">
                    <a:pos x="136" y="40"/>
                  </a:cxn>
                  <a:cxn ang="0">
                    <a:pos x="134" y="30"/>
                  </a:cxn>
                  <a:cxn ang="0">
                    <a:pos x="126" y="14"/>
                  </a:cxn>
                  <a:cxn ang="0">
                    <a:pos x="119" y="4"/>
                  </a:cxn>
                  <a:cxn ang="0">
                    <a:pos x="105" y="2"/>
                  </a:cxn>
                  <a:cxn ang="0">
                    <a:pos x="112" y="17"/>
                  </a:cxn>
                  <a:cxn ang="0">
                    <a:pos x="124" y="29"/>
                  </a:cxn>
                  <a:cxn ang="0">
                    <a:pos x="129" y="40"/>
                  </a:cxn>
                  <a:cxn ang="0">
                    <a:pos x="134" y="44"/>
                  </a:cxn>
                  <a:cxn ang="0">
                    <a:pos x="131" y="66"/>
                  </a:cxn>
                  <a:cxn ang="0">
                    <a:pos x="116" y="80"/>
                  </a:cxn>
                  <a:cxn ang="0">
                    <a:pos x="122" y="90"/>
                  </a:cxn>
                  <a:cxn ang="0">
                    <a:pos x="141" y="103"/>
                  </a:cxn>
                  <a:cxn ang="0">
                    <a:pos x="134" y="123"/>
                  </a:cxn>
                  <a:cxn ang="0">
                    <a:pos x="138" y="127"/>
                  </a:cxn>
                  <a:cxn ang="0">
                    <a:pos x="151" y="125"/>
                  </a:cxn>
                  <a:cxn ang="0">
                    <a:pos x="166" y="103"/>
                  </a:cxn>
                  <a:cxn ang="0">
                    <a:pos x="171" y="88"/>
                  </a:cxn>
                  <a:cxn ang="0">
                    <a:pos x="176" y="83"/>
                  </a:cxn>
                  <a:cxn ang="0">
                    <a:pos x="183" y="80"/>
                  </a:cxn>
                  <a:cxn ang="0">
                    <a:pos x="189" y="73"/>
                  </a:cxn>
                  <a:cxn ang="0">
                    <a:pos x="192" y="63"/>
                  </a:cxn>
                  <a:cxn ang="0">
                    <a:pos x="193" y="54"/>
                  </a:cxn>
                  <a:cxn ang="0">
                    <a:pos x="178" y="59"/>
                  </a:cxn>
                </a:cxnLst>
                <a:rect l="0" t="0" r="r" b="b"/>
                <a:pathLst>
                  <a:path w="195" h="229">
                    <a:moveTo>
                      <a:pt x="121" y="115"/>
                    </a:moveTo>
                    <a:lnTo>
                      <a:pt x="121" y="115"/>
                    </a:lnTo>
                    <a:lnTo>
                      <a:pt x="116" y="115"/>
                    </a:lnTo>
                    <a:lnTo>
                      <a:pt x="114" y="115"/>
                    </a:lnTo>
                    <a:lnTo>
                      <a:pt x="108" y="120"/>
                    </a:lnTo>
                    <a:lnTo>
                      <a:pt x="108" y="120"/>
                    </a:lnTo>
                    <a:lnTo>
                      <a:pt x="105" y="120"/>
                    </a:lnTo>
                    <a:lnTo>
                      <a:pt x="104" y="120"/>
                    </a:lnTo>
                    <a:lnTo>
                      <a:pt x="99" y="115"/>
                    </a:lnTo>
                    <a:lnTo>
                      <a:pt x="97" y="113"/>
                    </a:lnTo>
                    <a:lnTo>
                      <a:pt x="94" y="113"/>
                    </a:lnTo>
                    <a:lnTo>
                      <a:pt x="92" y="114"/>
                    </a:lnTo>
                    <a:lnTo>
                      <a:pt x="92" y="114"/>
                    </a:lnTo>
                    <a:lnTo>
                      <a:pt x="88" y="117"/>
                    </a:lnTo>
                    <a:lnTo>
                      <a:pt x="88" y="120"/>
                    </a:lnTo>
                    <a:lnTo>
                      <a:pt x="87" y="124"/>
                    </a:lnTo>
                    <a:lnTo>
                      <a:pt x="84" y="127"/>
                    </a:lnTo>
                    <a:lnTo>
                      <a:pt x="84" y="127"/>
                    </a:lnTo>
                    <a:lnTo>
                      <a:pt x="79" y="131"/>
                    </a:lnTo>
                    <a:lnTo>
                      <a:pt x="78" y="135"/>
                    </a:lnTo>
                    <a:lnTo>
                      <a:pt x="75" y="141"/>
                    </a:lnTo>
                    <a:lnTo>
                      <a:pt x="71" y="150"/>
                    </a:lnTo>
                    <a:lnTo>
                      <a:pt x="71" y="150"/>
                    </a:lnTo>
                    <a:lnTo>
                      <a:pt x="67" y="155"/>
                    </a:lnTo>
                    <a:lnTo>
                      <a:pt x="61" y="160"/>
                    </a:lnTo>
                    <a:lnTo>
                      <a:pt x="47" y="167"/>
                    </a:lnTo>
                    <a:lnTo>
                      <a:pt x="34" y="174"/>
                    </a:lnTo>
                    <a:lnTo>
                      <a:pt x="30" y="177"/>
                    </a:lnTo>
                    <a:lnTo>
                      <a:pt x="27" y="179"/>
                    </a:lnTo>
                    <a:lnTo>
                      <a:pt x="27" y="179"/>
                    </a:lnTo>
                    <a:lnTo>
                      <a:pt x="21" y="184"/>
                    </a:lnTo>
                    <a:lnTo>
                      <a:pt x="14" y="189"/>
                    </a:lnTo>
                    <a:lnTo>
                      <a:pt x="8" y="194"/>
                    </a:lnTo>
                    <a:lnTo>
                      <a:pt x="7" y="197"/>
                    </a:lnTo>
                    <a:lnTo>
                      <a:pt x="5" y="198"/>
                    </a:lnTo>
                    <a:lnTo>
                      <a:pt x="5" y="198"/>
                    </a:lnTo>
                    <a:lnTo>
                      <a:pt x="4" y="202"/>
                    </a:lnTo>
                    <a:lnTo>
                      <a:pt x="1" y="206"/>
                    </a:lnTo>
                    <a:lnTo>
                      <a:pt x="0" y="211"/>
                    </a:lnTo>
                    <a:lnTo>
                      <a:pt x="0" y="214"/>
                    </a:lnTo>
                    <a:lnTo>
                      <a:pt x="1" y="215"/>
                    </a:lnTo>
                    <a:lnTo>
                      <a:pt x="1" y="215"/>
                    </a:lnTo>
                    <a:lnTo>
                      <a:pt x="5" y="218"/>
                    </a:lnTo>
                    <a:lnTo>
                      <a:pt x="8" y="219"/>
                    </a:lnTo>
                    <a:lnTo>
                      <a:pt x="13" y="219"/>
                    </a:lnTo>
                    <a:lnTo>
                      <a:pt x="17" y="222"/>
                    </a:lnTo>
                    <a:lnTo>
                      <a:pt x="17" y="222"/>
                    </a:lnTo>
                    <a:lnTo>
                      <a:pt x="20" y="224"/>
                    </a:lnTo>
                    <a:lnTo>
                      <a:pt x="23" y="225"/>
                    </a:lnTo>
                    <a:lnTo>
                      <a:pt x="25" y="225"/>
                    </a:lnTo>
                    <a:lnTo>
                      <a:pt x="28" y="226"/>
                    </a:lnTo>
                    <a:lnTo>
                      <a:pt x="28" y="226"/>
                    </a:lnTo>
                    <a:lnTo>
                      <a:pt x="30" y="228"/>
                    </a:lnTo>
                    <a:lnTo>
                      <a:pt x="31" y="229"/>
                    </a:lnTo>
                    <a:lnTo>
                      <a:pt x="38" y="229"/>
                    </a:lnTo>
                    <a:lnTo>
                      <a:pt x="48" y="226"/>
                    </a:lnTo>
                    <a:lnTo>
                      <a:pt x="52" y="224"/>
                    </a:lnTo>
                    <a:lnTo>
                      <a:pt x="57" y="219"/>
                    </a:lnTo>
                    <a:lnTo>
                      <a:pt x="57" y="219"/>
                    </a:lnTo>
                    <a:lnTo>
                      <a:pt x="64" y="212"/>
                    </a:lnTo>
                    <a:lnTo>
                      <a:pt x="65" y="208"/>
                    </a:lnTo>
                    <a:lnTo>
                      <a:pt x="65" y="204"/>
                    </a:lnTo>
                    <a:lnTo>
                      <a:pt x="68" y="201"/>
                    </a:lnTo>
                    <a:lnTo>
                      <a:pt x="68" y="201"/>
                    </a:lnTo>
                    <a:lnTo>
                      <a:pt x="71" y="198"/>
                    </a:lnTo>
                    <a:lnTo>
                      <a:pt x="72" y="194"/>
                    </a:lnTo>
                    <a:lnTo>
                      <a:pt x="77" y="185"/>
                    </a:lnTo>
                    <a:lnTo>
                      <a:pt x="77" y="185"/>
                    </a:lnTo>
                    <a:lnTo>
                      <a:pt x="78" y="181"/>
                    </a:lnTo>
                    <a:lnTo>
                      <a:pt x="81" y="177"/>
                    </a:lnTo>
                    <a:lnTo>
                      <a:pt x="87" y="175"/>
                    </a:lnTo>
                    <a:lnTo>
                      <a:pt x="94" y="174"/>
                    </a:lnTo>
                    <a:lnTo>
                      <a:pt x="94" y="174"/>
                    </a:lnTo>
                    <a:lnTo>
                      <a:pt x="101" y="174"/>
                    </a:lnTo>
                    <a:lnTo>
                      <a:pt x="101" y="172"/>
                    </a:lnTo>
                    <a:lnTo>
                      <a:pt x="102" y="172"/>
                    </a:lnTo>
                    <a:lnTo>
                      <a:pt x="101" y="169"/>
                    </a:lnTo>
                    <a:lnTo>
                      <a:pt x="99" y="165"/>
                    </a:lnTo>
                    <a:lnTo>
                      <a:pt x="99" y="165"/>
                    </a:lnTo>
                    <a:lnTo>
                      <a:pt x="99" y="162"/>
                    </a:lnTo>
                    <a:lnTo>
                      <a:pt x="101" y="161"/>
                    </a:lnTo>
                    <a:lnTo>
                      <a:pt x="104" y="158"/>
                    </a:lnTo>
                    <a:lnTo>
                      <a:pt x="108" y="155"/>
                    </a:lnTo>
                    <a:lnTo>
                      <a:pt x="109" y="152"/>
                    </a:lnTo>
                    <a:lnTo>
                      <a:pt x="109" y="150"/>
                    </a:lnTo>
                    <a:lnTo>
                      <a:pt x="109" y="150"/>
                    </a:lnTo>
                    <a:lnTo>
                      <a:pt x="111" y="147"/>
                    </a:lnTo>
                    <a:lnTo>
                      <a:pt x="112" y="144"/>
                    </a:lnTo>
                    <a:lnTo>
                      <a:pt x="118" y="140"/>
                    </a:lnTo>
                    <a:lnTo>
                      <a:pt x="122" y="134"/>
                    </a:lnTo>
                    <a:lnTo>
                      <a:pt x="122" y="131"/>
                    </a:lnTo>
                    <a:lnTo>
                      <a:pt x="122" y="130"/>
                    </a:lnTo>
                    <a:lnTo>
                      <a:pt x="122" y="130"/>
                    </a:lnTo>
                    <a:lnTo>
                      <a:pt x="121" y="125"/>
                    </a:lnTo>
                    <a:lnTo>
                      <a:pt x="122" y="121"/>
                    </a:lnTo>
                    <a:lnTo>
                      <a:pt x="122" y="118"/>
                    </a:lnTo>
                    <a:lnTo>
                      <a:pt x="121" y="115"/>
                    </a:lnTo>
                    <a:lnTo>
                      <a:pt x="121" y="115"/>
                    </a:lnTo>
                    <a:close/>
                    <a:moveTo>
                      <a:pt x="178" y="59"/>
                    </a:moveTo>
                    <a:lnTo>
                      <a:pt x="178" y="59"/>
                    </a:lnTo>
                    <a:lnTo>
                      <a:pt x="176" y="60"/>
                    </a:lnTo>
                    <a:lnTo>
                      <a:pt x="175" y="61"/>
                    </a:lnTo>
                    <a:lnTo>
                      <a:pt x="172" y="60"/>
                    </a:lnTo>
                    <a:lnTo>
                      <a:pt x="168" y="59"/>
                    </a:lnTo>
                    <a:lnTo>
                      <a:pt x="162" y="57"/>
                    </a:lnTo>
                    <a:lnTo>
                      <a:pt x="162" y="57"/>
                    </a:lnTo>
                    <a:lnTo>
                      <a:pt x="158" y="57"/>
                    </a:lnTo>
                    <a:lnTo>
                      <a:pt x="155" y="54"/>
                    </a:lnTo>
                    <a:lnTo>
                      <a:pt x="153" y="51"/>
                    </a:lnTo>
                    <a:lnTo>
                      <a:pt x="153" y="47"/>
                    </a:lnTo>
                    <a:lnTo>
                      <a:pt x="153" y="47"/>
                    </a:lnTo>
                    <a:lnTo>
                      <a:pt x="152" y="43"/>
                    </a:lnTo>
                    <a:lnTo>
                      <a:pt x="152" y="39"/>
                    </a:lnTo>
                    <a:lnTo>
                      <a:pt x="149" y="36"/>
                    </a:lnTo>
                    <a:lnTo>
                      <a:pt x="146" y="34"/>
                    </a:lnTo>
                    <a:lnTo>
                      <a:pt x="146" y="34"/>
                    </a:lnTo>
                    <a:lnTo>
                      <a:pt x="143" y="36"/>
                    </a:lnTo>
                    <a:lnTo>
                      <a:pt x="143" y="36"/>
                    </a:lnTo>
                    <a:lnTo>
                      <a:pt x="145" y="39"/>
                    </a:lnTo>
                    <a:lnTo>
                      <a:pt x="145" y="41"/>
                    </a:lnTo>
                    <a:lnTo>
                      <a:pt x="145" y="44"/>
                    </a:lnTo>
                    <a:lnTo>
                      <a:pt x="145" y="44"/>
                    </a:lnTo>
                    <a:lnTo>
                      <a:pt x="143" y="44"/>
                    </a:lnTo>
                    <a:lnTo>
                      <a:pt x="142" y="43"/>
                    </a:lnTo>
                    <a:lnTo>
                      <a:pt x="141" y="41"/>
                    </a:lnTo>
                    <a:lnTo>
                      <a:pt x="139" y="40"/>
                    </a:lnTo>
                    <a:lnTo>
                      <a:pt x="139" y="40"/>
                    </a:lnTo>
                    <a:lnTo>
                      <a:pt x="136" y="40"/>
                    </a:lnTo>
                    <a:lnTo>
                      <a:pt x="135" y="37"/>
                    </a:lnTo>
                    <a:lnTo>
                      <a:pt x="134" y="34"/>
                    </a:lnTo>
                    <a:lnTo>
                      <a:pt x="134" y="30"/>
                    </a:lnTo>
                    <a:lnTo>
                      <a:pt x="134" y="30"/>
                    </a:lnTo>
                    <a:lnTo>
                      <a:pt x="132" y="26"/>
                    </a:lnTo>
                    <a:lnTo>
                      <a:pt x="129" y="23"/>
                    </a:lnTo>
                    <a:lnTo>
                      <a:pt x="128" y="20"/>
                    </a:lnTo>
                    <a:lnTo>
                      <a:pt x="126" y="14"/>
                    </a:lnTo>
                    <a:lnTo>
                      <a:pt x="126" y="14"/>
                    </a:lnTo>
                    <a:lnTo>
                      <a:pt x="126" y="12"/>
                    </a:lnTo>
                    <a:lnTo>
                      <a:pt x="125" y="9"/>
                    </a:lnTo>
                    <a:lnTo>
                      <a:pt x="119" y="4"/>
                    </a:lnTo>
                    <a:lnTo>
                      <a:pt x="114" y="2"/>
                    </a:lnTo>
                    <a:lnTo>
                      <a:pt x="106" y="0"/>
                    </a:lnTo>
                    <a:lnTo>
                      <a:pt x="106" y="0"/>
                    </a:lnTo>
                    <a:lnTo>
                      <a:pt x="105" y="2"/>
                    </a:lnTo>
                    <a:lnTo>
                      <a:pt x="104" y="3"/>
                    </a:lnTo>
                    <a:lnTo>
                      <a:pt x="105" y="7"/>
                    </a:lnTo>
                    <a:lnTo>
                      <a:pt x="109" y="13"/>
                    </a:lnTo>
                    <a:lnTo>
                      <a:pt x="112" y="17"/>
                    </a:lnTo>
                    <a:lnTo>
                      <a:pt x="112" y="17"/>
                    </a:lnTo>
                    <a:lnTo>
                      <a:pt x="119" y="23"/>
                    </a:lnTo>
                    <a:lnTo>
                      <a:pt x="122" y="26"/>
                    </a:lnTo>
                    <a:lnTo>
                      <a:pt x="124" y="29"/>
                    </a:lnTo>
                    <a:lnTo>
                      <a:pt x="124" y="29"/>
                    </a:lnTo>
                    <a:lnTo>
                      <a:pt x="124" y="31"/>
                    </a:lnTo>
                    <a:lnTo>
                      <a:pt x="126" y="36"/>
                    </a:lnTo>
                    <a:lnTo>
                      <a:pt x="129" y="40"/>
                    </a:lnTo>
                    <a:lnTo>
                      <a:pt x="132" y="41"/>
                    </a:lnTo>
                    <a:lnTo>
                      <a:pt x="132" y="41"/>
                    </a:lnTo>
                    <a:lnTo>
                      <a:pt x="134" y="43"/>
                    </a:lnTo>
                    <a:lnTo>
                      <a:pt x="134" y="44"/>
                    </a:lnTo>
                    <a:lnTo>
                      <a:pt x="134" y="50"/>
                    </a:lnTo>
                    <a:lnTo>
                      <a:pt x="131" y="57"/>
                    </a:lnTo>
                    <a:lnTo>
                      <a:pt x="131" y="66"/>
                    </a:lnTo>
                    <a:lnTo>
                      <a:pt x="131" y="66"/>
                    </a:lnTo>
                    <a:lnTo>
                      <a:pt x="129" y="71"/>
                    </a:lnTo>
                    <a:lnTo>
                      <a:pt x="125" y="74"/>
                    </a:lnTo>
                    <a:lnTo>
                      <a:pt x="121" y="77"/>
                    </a:lnTo>
                    <a:lnTo>
                      <a:pt x="116" y="80"/>
                    </a:lnTo>
                    <a:lnTo>
                      <a:pt x="116" y="80"/>
                    </a:lnTo>
                    <a:lnTo>
                      <a:pt x="116" y="83"/>
                    </a:lnTo>
                    <a:lnTo>
                      <a:pt x="116" y="86"/>
                    </a:lnTo>
                    <a:lnTo>
                      <a:pt x="122" y="90"/>
                    </a:lnTo>
                    <a:lnTo>
                      <a:pt x="131" y="94"/>
                    </a:lnTo>
                    <a:lnTo>
                      <a:pt x="138" y="100"/>
                    </a:lnTo>
                    <a:lnTo>
                      <a:pt x="138" y="100"/>
                    </a:lnTo>
                    <a:lnTo>
                      <a:pt x="141" y="103"/>
                    </a:lnTo>
                    <a:lnTo>
                      <a:pt x="141" y="105"/>
                    </a:lnTo>
                    <a:lnTo>
                      <a:pt x="138" y="113"/>
                    </a:lnTo>
                    <a:lnTo>
                      <a:pt x="135" y="120"/>
                    </a:lnTo>
                    <a:lnTo>
                      <a:pt x="134" y="123"/>
                    </a:lnTo>
                    <a:lnTo>
                      <a:pt x="134" y="125"/>
                    </a:lnTo>
                    <a:lnTo>
                      <a:pt x="134" y="125"/>
                    </a:lnTo>
                    <a:lnTo>
                      <a:pt x="135" y="127"/>
                    </a:lnTo>
                    <a:lnTo>
                      <a:pt x="138" y="127"/>
                    </a:lnTo>
                    <a:lnTo>
                      <a:pt x="142" y="128"/>
                    </a:lnTo>
                    <a:lnTo>
                      <a:pt x="148" y="127"/>
                    </a:lnTo>
                    <a:lnTo>
                      <a:pt x="148" y="127"/>
                    </a:lnTo>
                    <a:lnTo>
                      <a:pt x="151" y="125"/>
                    </a:lnTo>
                    <a:lnTo>
                      <a:pt x="153" y="123"/>
                    </a:lnTo>
                    <a:lnTo>
                      <a:pt x="158" y="115"/>
                    </a:lnTo>
                    <a:lnTo>
                      <a:pt x="162" y="108"/>
                    </a:lnTo>
                    <a:lnTo>
                      <a:pt x="166" y="103"/>
                    </a:lnTo>
                    <a:lnTo>
                      <a:pt x="166" y="103"/>
                    </a:lnTo>
                    <a:lnTo>
                      <a:pt x="169" y="98"/>
                    </a:lnTo>
                    <a:lnTo>
                      <a:pt x="169" y="94"/>
                    </a:lnTo>
                    <a:lnTo>
                      <a:pt x="171" y="88"/>
                    </a:lnTo>
                    <a:lnTo>
                      <a:pt x="171" y="86"/>
                    </a:lnTo>
                    <a:lnTo>
                      <a:pt x="171" y="86"/>
                    </a:lnTo>
                    <a:lnTo>
                      <a:pt x="173" y="83"/>
                    </a:lnTo>
                    <a:lnTo>
                      <a:pt x="176" y="83"/>
                    </a:lnTo>
                    <a:lnTo>
                      <a:pt x="182" y="81"/>
                    </a:lnTo>
                    <a:lnTo>
                      <a:pt x="182" y="81"/>
                    </a:lnTo>
                    <a:lnTo>
                      <a:pt x="183" y="81"/>
                    </a:lnTo>
                    <a:lnTo>
                      <a:pt x="183" y="80"/>
                    </a:lnTo>
                    <a:lnTo>
                      <a:pt x="185" y="77"/>
                    </a:lnTo>
                    <a:lnTo>
                      <a:pt x="186" y="74"/>
                    </a:lnTo>
                    <a:lnTo>
                      <a:pt x="186" y="73"/>
                    </a:lnTo>
                    <a:lnTo>
                      <a:pt x="189" y="73"/>
                    </a:lnTo>
                    <a:lnTo>
                      <a:pt x="189" y="73"/>
                    </a:lnTo>
                    <a:lnTo>
                      <a:pt x="190" y="71"/>
                    </a:lnTo>
                    <a:lnTo>
                      <a:pt x="192" y="68"/>
                    </a:lnTo>
                    <a:lnTo>
                      <a:pt x="192" y="63"/>
                    </a:lnTo>
                    <a:lnTo>
                      <a:pt x="193" y="59"/>
                    </a:lnTo>
                    <a:lnTo>
                      <a:pt x="193" y="59"/>
                    </a:lnTo>
                    <a:lnTo>
                      <a:pt x="195" y="56"/>
                    </a:lnTo>
                    <a:lnTo>
                      <a:pt x="193" y="54"/>
                    </a:lnTo>
                    <a:lnTo>
                      <a:pt x="188" y="54"/>
                    </a:lnTo>
                    <a:lnTo>
                      <a:pt x="182" y="56"/>
                    </a:lnTo>
                    <a:lnTo>
                      <a:pt x="178" y="59"/>
                    </a:lnTo>
                    <a:lnTo>
                      <a:pt x="178" y="5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7" name="Australia">
                <a:extLst>
                  <a:ext uri="{FF2B5EF4-FFF2-40B4-BE49-F238E27FC236}">
                    <a16:creationId xmlns:a16="http://schemas.microsoft.com/office/drawing/2014/main" id="{2AF1248A-98D0-7247-B623-ADF5C5AE6C2D}"/>
                  </a:ext>
                </a:extLst>
              </p:cNvPr>
              <p:cNvSpPr>
                <a:spLocks noEditPoints="1"/>
              </p:cNvSpPr>
              <p:nvPr/>
            </p:nvSpPr>
            <p:spPr bwMode="auto">
              <a:xfrm>
                <a:off x="6975168" y="4574621"/>
                <a:ext cx="967778" cy="861234"/>
              </a:xfrm>
              <a:custGeom>
                <a:avLst/>
                <a:gdLst/>
                <a:ahLst/>
                <a:cxnLst>
                  <a:cxn ang="0">
                    <a:pos x="649" y="253"/>
                  </a:cxn>
                  <a:cxn ang="0">
                    <a:pos x="633" y="234"/>
                  </a:cxn>
                  <a:cxn ang="0">
                    <a:pos x="614" y="218"/>
                  </a:cxn>
                  <a:cxn ang="0">
                    <a:pos x="600" y="195"/>
                  </a:cxn>
                  <a:cxn ang="0">
                    <a:pos x="586" y="177"/>
                  </a:cxn>
                  <a:cxn ang="0">
                    <a:pos x="540" y="141"/>
                  </a:cxn>
                  <a:cxn ang="0">
                    <a:pos x="532" y="105"/>
                  </a:cxn>
                  <a:cxn ang="0">
                    <a:pos x="519" y="70"/>
                  </a:cxn>
                  <a:cxn ang="0">
                    <a:pos x="492" y="51"/>
                  </a:cxn>
                  <a:cxn ang="0">
                    <a:pos x="478" y="0"/>
                  </a:cxn>
                  <a:cxn ang="0">
                    <a:pos x="462" y="33"/>
                  </a:cxn>
                  <a:cxn ang="0">
                    <a:pos x="458" y="90"/>
                  </a:cxn>
                  <a:cxn ang="0">
                    <a:pos x="422" y="105"/>
                  </a:cxn>
                  <a:cxn ang="0">
                    <a:pos x="387" y="84"/>
                  </a:cxn>
                  <a:cxn ang="0">
                    <a:pos x="367" y="61"/>
                  </a:cxn>
                  <a:cxn ang="0">
                    <a:pos x="381" y="34"/>
                  </a:cxn>
                  <a:cxn ang="0">
                    <a:pos x="374" y="29"/>
                  </a:cxn>
                  <a:cxn ang="0">
                    <a:pos x="350" y="22"/>
                  </a:cxn>
                  <a:cxn ang="0">
                    <a:pos x="316" y="16"/>
                  </a:cxn>
                  <a:cxn ang="0">
                    <a:pos x="286" y="29"/>
                  </a:cxn>
                  <a:cxn ang="0">
                    <a:pos x="269" y="54"/>
                  </a:cxn>
                  <a:cxn ang="0">
                    <a:pos x="257" y="67"/>
                  </a:cxn>
                  <a:cxn ang="0">
                    <a:pos x="242" y="63"/>
                  </a:cxn>
                  <a:cxn ang="0">
                    <a:pos x="213" y="56"/>
                  </a:cxn>
                  <a:cxn ang="0">
                    <a:pos x="196" y="63"/>
                  </a:cxn>
                  <a:cxn ang="0">
                    <a:pos x="183" y="77"/>
                  </a:cxn>
                  <a:cxn ang="0">
                    <a:pos x="172" y="98"/>
                  </a:cxn>
                  <a:cxn ang="0">
                    <a:pos x="162" y="98"/>
                  </a:cxn>
                  <a:cxn ang="0">
                    <a:pos x="149" y="124"/>
                  </a:cxn>
                  <a:cxn ang="0">
                    <a:pos x="89" y="157"/>
                  </a:cxn>
                  <a:cxn ang="0">
                    <a:pos x="53" y="167"/>
                  </a:cxn>
                  <a:cxn ang="0">
                    <a:pos x="20" y="194"/>
                  </a:cxn>
                  <a:cxn ang="0">
                    <a:pos x="10" y="195"/>
                  </a:cxn>
                  <a:cxn ang="0">
                    <a:pos x="7" y="239"/>
                  </a:cxn>
                  <a:cxn ang="0">
                    <a:pos x="7" y="253"/>
                  </a:cxn>
                  <a:cxn ang="0">
                    <a:pos x="0" y="256"/>
                  </a:cxn>
                  <a:cxn ang="0">
                    <a:pos x="30" y="322"/>
                  </a:cxn>
                  <a:cxn ang="0">
                    <a:pos x="41" y="386"/>
                  </a:cxn>
                  <a:cxn ang="0">
                    <a:pos x="41" y="407"/>
                  </a:cxn>
                  <a:cxn ang="0">
                    <a:pos x="95" y="407"/>
                  </a:cxn>
                  <a:cxn ang="0">
                    <a:pos x="173" y="390"/>
                  </a:cxn>
                  <a:cxn ang="0">
                    <a:pos x="222" y="367"/>
                  </a:cxn>
                  <a:cxn ang="0">
                    <a:pos x="297" y="353"/>
                  </a:cxn>
                  <a:cxn ang="0">
                    <a:pos x="334" y="367"/>
                  </a:cxn>
                  <a:cxn ang="0">
                    <a:pos x="348" y="387"/>
                  </a:cxn>
                  <a:cxn ang="0">
                    <a:pos x="371" y="406"/>
                  </a:cxn>
                  <a:cxn ang="0">
                    <a:pos x="401" y="380"/>
                  </a:cxn>
                  <a:cxn ang="0">
                    <a:pos x="385" y="414"/>
                  </a:cxn>
                  <a:cxn ang="0">
                    <a:pos x="402" y="404"/>
                  </a:cxn>
                  <a:cxn ang="0">
                    <a:pos x="415" y="427"/>
                  </a:cxn>
                  <a:cxn ang="0">
                    <a:pos x="439" y="468"/>
                  </a:cxn>
                  <a:cxn ang="0">
                    <a:pos x="491" y="488"/>
                  </a:cxn>
                  <a:cxn ang="0">
                    <a:pos x="516" y="478"/>
                  </a:cxn>
                  <a:cxn ang="0">
                    <a:pos x="523" y="480"/>
                  </a:cxn>
                  <a:cxn ang="0">
                    <a:pos x="542" y="487"/>
                  </a:cxn>
                  <a:cxn ang="0">
                    <a:pos x="597" y="455"/>
                  </a:cxn>
                  <a:cxn ang="0">
                    <a:pos x="629" y="376"/>
                  </a:cxn>
                  <a:cxn ang="0">
                    <a:pos x="651" y="326"/>
                  </a:cxn>
                  <a:cxn ang="0">
                    <a:pos x="654" y="292"/>
                  </a:cxn>
                  <a:cxn ang="0">
                    <a:pos x="519" y="549"/>
                  </a:cxn>
                  <a:cxn ang="0">
                    <a:pos x="546" y="576"/>
                  </a:cxn>
                  <a:cxn ang="0">
                    <a:pos x="562" y="569"/>
                  </a:cxn>
                  <a:cxn ang="0">
                    <a:pos x="565" y="528"/>
                  </a:cxn>
                </a:cxnLst>
                <a:rect l="0" t="0" r="r" b="b"/>
                <a:pathLst>
                  <a:path w="654" h="582">
                    <a:moveTo>
                      <a:pt x="654" y="292"/>
                    </a:moveTo>
                    <a:lnTo>
                      <a:pt x="654" y="292"/>
                    </a:lnTo>
                    <a:lnTo>
                      <a:pt x="654" y="289"/>
                    </a:lnTo>
                    <a:lnTo>
                      <a:pt x="654" y="285"/>
                    </a:lnTo>
                    <a:lnTo>
                      <a:pt x="651" y="280"/>
                    </a:lnTo>
                    <a:lnTo>
                      <a:pt x="651" y="280"/>
                    </a:lnTo>
                    <a:lnTo>
                      <a:pt x="650" y="280"/>
                    </a:lnTo>
                    <a:lnTo>
                      <a:pt x="650" y="280"/>
                    </a:lnTo>
                    <a:lnTo>
                      <a:pt x="649" y="279"/>
                    </a:lnTo>
                    <a:lnTo>
                      <a:pt x="649" y="278"/>
                    </a:lnTo>
                    <a:lnTo>
                      <a:pt x="647" y="271"/>
                    </a:lnTo>
                    <a:lnTo>
                      <a:pt x="649" y="253"/>
                    </a:lnTo>
                    <a:lnTo>
                      <a:pt x="649" y="253"/>
                    </a:lnTo>
                    <a:lnTo>
                      <a:pt x="650" y="248"/>
                    </a:lnTo>
                    <a:lnTo>
                      <a:pt x="650" y="246"/>
                    </a:lnTo>
                    <a:lnTo>
                      <a:pt x="649" y="248"/>
                    </a:lnTo>
                    <a:lnTo>
                      <a:pt x="646" y="251"/>
                    </a:lnTo>
                    <a:lnTo>
                      <a:pt x="646" y="251"/>
                    </a:lnTo>
                    <a:lnTo>
                      <a:pt x="643" y="251"/>
                    </a:lnTo>
                    <a:lnTo>
                      <a:pt x="641" y="251"/>
                    </a:lnTo>
                    <a:lnTo>
                      <a:pt x="639" y="246"/>
                    </a:lnTo>
                    <a:lnTo>
                      <a:pt x="634" y="238"/>
                    </a:lnTo>
                    <a:lnTo>
                      <a:pt x="634" y="238"/>
                    </a:lnTo>
                    <a:lnTo>
                      <a:pt x="633" y="234"/>
                    </a:lnTo>
                    <a:lnTo>
                      <a:pt x="630" y="229"/>
                    </a:lnTo>
                    <a:lnTo>
                      <a:pt x="626" y="226"/>
                    </a:lnTo>
                    <a:lnTo>
                      <a:pt x="624" y="225"/>
                    </a:lnTo>
                    <a:lnTo>
                      <a:pt x="622" y="225"/>
                    </a:lnTo>
                    <a:lnTo>
                      <a:pt x="622" y="225"/>
                    </a:lnTo>
                    <a:lnTo>
                      <a:pt x="620" y="225"/>
                    </a:lnTo>
                    <a:lnTo>
                      <a:pt x="619" y="225"/>
                    </a:lnTo>
                    <a:lnTo>
                      <a:pt x="619" y="222"/>
                    </a:lnTo>
                    <a:lnTo>
                      <a:pt x="617" y="219"/>
                    </a:lnTo>
                    <a:lnTo>
                      <a:pt x="616" y="218"/>
                    </a:lnTo>
                    <a:lnTo>
                      <a:pt x="614" y="218"/>
                    </a:lnTo>
                    <a:lnTo>
                      <a:pt x="614" y="218"/>
                    </a:lnTo>
                    <a:lnTo>
                      <a:pt x="612" y="218"/>
                    </a:lnTo>
                    <a:lnTo>
                      <a:pt x="610" y="216"/>
                    </a:lnTo>
                    <a:lnTo>
                      <a:pt x="609" y="214"/>
                    </a:lnTo>
                    <a:lnTo>
                      <a:pt x="609" y="208"/>
                    </a:lnTo>
                    <a:lnTo>
                      <a:pt x="609" y="201"/>
                    </a:lnTo>
                    <a:lnTo>
                      <a:pt x="609" y="201"/>
                    </a:lnTo>
                    <a:lnTo>
                      <a:pt x="609" y="198"/>
                    </a:lnTo>
                    <a:lnTo>
                      <a:pt x="607" y="197"/>
                    </a:lnTo>
                    <a:lnTo>
                      <a:pt x="604" y="197"/>
                    </a:lnTo>
                    <a:lnTo>
                      <a:pt x="602" y="197"/>
                    </a:lnTo>
                    <a:lnTo>
                      <a:pt x="602" y="197"/>
                    </a:lnTo>
                    <a:lnTo>
                      <a:pt x="600" y="195"/>
                    </a:lnTo>
                    <a:lnTo>
                      <a:pt x="597" y="195"/>
                    </a:lnTo>
                    <a:lnTo>
                      <a:pt x="593" y="197"/>
                    </a:lnTo>
                    <a:lnTo>
                      <a:pt x="593" y="197"/>
                    </a:lnTo>
                    <a:lnTo>
                      <a:pt x="592" y="197"/>
                    </a:lnTo>
                    <a:lnTo>
                      <a:pt x="590" y="197"/>
                    </a:lnTo>
                    <a:lnTo>
                      <a:pt x="589" y="194"/>
                    </a:lnTo>
                    <a:lnTo>
                      <a:pt x="589" y="189"/>
                    </a:lnTo>
                    <a:lnTo>
                      <a:pt x="589" y="185"/>
                    </a:lnTo>
                    <a:lnTo>
                      <a:pt x="589" y="185"/>
                    </a:lnTo>
                    <a:lnTo>
                      <a:pt x="589" y="182"/>
                    </a:lnTo>
                    <a:lnTo>
                      <a:pt x="589" y="179"/>
                    </a:lnTo>
                    <a:lnTo>
                      <a:pt x="586" y="177"/>
                    </a:lnTo>
                    <a:lnTo>
                      <a:pt x="583" y="174"/>
                    </a:lnTo>
                    <a:lnTo>
                      <a:pt x="583" y="174"/>
                    </a:lnTo>
                    <a:lnTo>
                      <a:pt x="580" y="171"/>
                    </a:lnTo>
                    <a:lnTo>
                      <a:pt x="577" y="168"/>
                    </a:lnTo>
                    <a:lnTo>
                      <a:pt x="577" y="162"/>
                    </a:lnTo>
                    <a:lnTo>
                      <a:pt x="577" y="162"/>
                    </a:lnTo>
                    <a:lnTo>
                      <a:pt x="576" y="160"/>
                    </a:lnTo>
                    <a:lnTo>
                      <a:pt x="573" y="157"/>
                    </a:lnTo>
                    <a:lnTo>
                      <a:pt x="562" y="150"/>
                    </a:lnTo>
                    <a:lnTo>
                      <a:pt x="549" y="144"/>
                    </a:lnTo>
                    <a:lnTo>
                      <a:pt x="540" y="141"/>
                    </a:lnTo>
                    <a:lnTo>
                      <a:pt x="540" y="141"/>
                    </a:lnTo>
                    <a:lnTo>
                      <a:pt x="539" y="140"/>
                    </a:lnTo>
                    <a:lnTo>
                      <a:pt x="538" y="138"/>
                    </a:lnTo>
                    <a:lnTo>
                      <a:pt x="538" y="135"/>
                    </a:lnTo>
                    <a:lnTo>
                      <a:pt x="538" y="133"/>
                    </a:lnTo>
                    <a:lnTo>
                      <a:pt x="536" y="130"/>
                    </a:lnTo>
                    <a:lnTo>
                      <a:pt x="536" y="130"/>
                    </a:lnTo>
                    <a:lnTo>
                      <a:pt x="535" y="127"/>
                    </a:lnTo>
                    <a:lnTo>
                      <a:pt x="533" y="121"/>
                    </a:lnTo>
                    <a:lnTo>
                      <a:pt x="533" y="110"/>
                    </a:lnTo>
                    <a:lnTo>
                      <a:pt x="533" y="110"/>
                    </a:lnTo>
                    <a:lnTo>
                      <a:pt x="532" y="107"/>
                    </a:lnTo>
                    <a:lnTo>
                      <a:pt x="532" y="105"/>
                    </a:lnTo>
                    <a:lnTo>
                      <a:pt x="528" y="101"/>
                    </a:lnTo>
                    <a:lnTo>
                      <a:pt x="525" y="97"/>
                    </a:lnTo>
                    <a:lnTo>
                      <a:pt x="523" y="96"/>
                    </a:lnTo>
                    <a:lnTo>
                      <a:pt x="523" y="93"/>
                    </a:lnTo>
                    <a:lnTo>
                      <a:pt x="523" y="93"/>
                    </a:lnTo>
                    <a:lnTo>
                      <a:pt x="523" y="88"/>
                    </a:lnTo>
                    <a:lnTo>
                      <a:pt x="522" y="84"/>
                    </a:lnTo>
                    <a:lnTo>
                      <a:pt x="521" y="78"/>
                    </a:lnTo>
                    <a:lnTo>
                      <a:pt x="521" y="74"/>
                    </a:lnTo>
                    <a:lnTo>
                      <a:pt x="521" y="74"/>
                    </a:lnTo>
                    <a:lnTo>
                      <a:pt x="521" y="71"/>
                    </a:lnTo>
                    <a:lnTo>
                      <a:pt x="519" y="70"/>
                    </a:lnTo>
                    <a:lnTo>
                      <a:pt x="516" y="66"/>
                    </a:lnTo>
                    <a:lnTo>
                      <a:pt x="512" y="64"/>
                    </a:lnTo>
                    <a:lnTo>
                      <a:pt x="511" y="61"/>
                    </a:lnTo>
                    <a:lnTo>
                      <a:pt x="511" y="61"/>
                    </a:lnTo>
                    <a:lnTo>
                      <a:pt x="509" y="59"/>
                    </a:lnTo>
                    <a:lnTo>
                      <a:pt x="506" y="60"/>
                    </a:lnTo>
                    <a:lnTo>
                      <a:pt x="498" y="61"/>
                    </a:lnTo>
                    <a:lnTo>
                      <a:pt x="498" y="61"/>
                    </a:lnTo>
                    <a:lnTo>
                      <a:pt x="496" y="61"/>
                    </a:lnTo>
                    <a:lnTo>
                      <a:pt x="495" y="60"/>
                    </a:lnTo>
                    <a:lnTo>
                      <a:pt x="494" y="57"/>
                    </a:lnTo>
                    <a:lnTo>
                      <a:pt x="492" y="51"/>
                    </a:lnTo>
                    <a:lnTo>
                      <a:pt x="494" y="46"/>
                    </a:lnTo>
                    <a:lnTo>
                      <a:pt x="494" y="46"/>
                    </a:lnTo>
                    <a:lnTo>
                      <a:pt x="492" y="39"/>
                    </a:lnTo>
                    <a:lnTo>
                      <a:pt x="491" y="32"/>
                    </a:lnTo>
                    <a:lnTo>
                      <a:pt x="489" y="24"/>
                    </a:lnTo>
                    <a:lnTo>
                      <a:pt x="485" y="20"/>
                    </a:lnTo>
                    <a:lnTo>
                      <a:pt x="485" y="20"/>
                    </a:lnTo>
                    <a:lnTo>
                      <a:pt x="482" y="16"/>
                    </a:lnTo>
                    <a:lnTo>
                      <a:pt x="481" y="9"/>
                    </a:lnTo>
                    <a:lnTo>
                      <a:pt x="479" y="3"/>
                    </a:lnTo>
                    <a:lnTo>
                      <a:pt x="478" y="0"/>
                    </a:lnTo>
                    <a:lnTo>
                      <a:pt x="478" y="0"/>
                    </a:lnTo>
                    <a:lnTo>
                      <a:pt x="476" y="0"/>
                    </a:lnTo>
                    <a:lnTo>
                      <a:pt x="475" y="0"/>
                    </a:lnTo>
                    <a:lnTo>
                      <a:pt x="471" y="3"/>
                    </a:lnTo>
                    <a:lnTo>
                      <a:pt x="468" y="7"/>
                    </a:lnTo>
                    <a:lnTo>
                      <a:pt x="468" y="12"/>
                    </a:lnTo>
                    <a:lnTo>
                      <a:pt x="468" y="12"/>
                    </a:lnTo>
                    <a:lnTo>
                      <a:pt x="466" y="19"/>
                    </a:lnTo>
                    <a:lnTo>
                      <a:pt x="465" y="22"/>
                    </a:lnTo>
                    <a:lnTo>
                      <a:pt x="464" y="24"/>
                    </a:lnTo>
                    <a:lnTo>
                      <a:pt x="464" y="24"/>
                    </a:lnTo>
                    <a:lnTo>
                      <a:pt x="462" y="29"/>
                    </a:lnTo>
                    <a:lnTo>
                      <a:pt x="462" y="33"/>
                    </a:lnTo>
                    <a:lnTo>
                      <a:pt x="464" y="39"/>
                    </a:lnTo>
                    <a:lnTo>
                      <a:pt x="462" y="40"/>
                    </a:lnTo>
                    <a:lnTo>
                      <a:pt x="461" y="43"/>
                    </a:lnTo>
                    <a:lnTo>
                      <a:pt x="461" y="43"/>
                    </a:lnTo>
                    <a:lnTo>
                      <a:pt x="459" y="44"/>
                    </a:lnTo>
                    <a:lnTo>
                      <a:pt x="459" y="47"/>
                    </a:lnTo>
                    <a:lnTo>
                      <a:pt x="459" y="54"/>
                    </a:lnTo>
                    <a:lnTo>
                      <a:pt x="459" y="63"/>
                    </a:lnTo>
                    <a:lnTo>
                      <a:pt x="459" y="71"/>
                    </a:lnTo>
                    <a:lnTo>
                      <a:pt x="459" y="71"/>
                    </a:lnTo>
                    <a:lnTo>
                      <a:pt x="458" y="84"/>
                    </a:lnTo>
                    <a:lnTo>
                      <a:pt x="458" y="90"/>
                    </a:lnTo>
                    <a:lnTo>
                      <a:pt x="455" y="96"/>
                    </a:lnTo>
                    <a:lnTo>
                      <a:pt x="455" y="96"/>
                    </a:lnTo>
                    <a:lnTo>
                      <a:pt x="452" y="100"/>
                    </a:lnTo>
                    <a:lnTo>
                      <a:pt x="449" y="105"/>
                    </a:lnTo>
                    <a:lnTo>
                      <a:pt x="447" y="111"/>
                    </a:lnTo>
                    <a:lnTo>
                      <a:pt x="441" y="114"/>
                    </a:lnTo>
                    <a:lnTo>
                      <a:pt x="441" y="114"/>
                    </a:lnTo>
                    <a:lnTo>
                      <a:pt x="435" y="115"/>
                    </a:lnTo>
                    <a:lnTo>
                      <a:pt x="428" y="113"/>
                    </a:lnTo>
                    <a:lnTo>
                      <a:pt x="424" y="110"/>
                    </a:lnTo>
                    <a:lnTo>
                      <a:pt x="422" y="105"/>
                    </a:lnTo>
                    <a:lnTo>
                      <a:pt x="422" y="105"/>
                    </a:lnTo>
                    <a:lnTo>
                      <a:pt x="421" y="103"/>
                    </a:lnTo>
                    <a:lnTo>
                      <a:pt x="417" y="101"/>
                    </a:lnTo>
                    <a:lnTo>
                      <a:pt x="412" y="100"/>
                    </a:lnTo>
                    <a:lnTo>
                      <a:pt x="408" y="100"/>
                    </a:lnTo>
                    <a:lnTo>
                      <a:pt x="408" y="100"/>
                    </a:lnTo>
                    <a:lnTo>
                      <a:pt x="404" y="98"/>
                    </a:lnTo>
                    <a:lnTo>
                      <a:pt x="401" y="96"/>
                    </a:lnTo>
                    <a:lnTo>
                      <a:pt x="397" y="91"/>
                    </a:lnTo>
                    <a:lnTo>
                      <a:pt x="392" y="87"/>
                    </a:lnTo>
                    <a:lnTo>
                      <a:pt x="392" y="87"/>
                    </a:lnTo>
                    <a:lnTo>
                      <a:pt x="390" y="86"/>
                    </a:lnTo>
                    <a:lnTo>
                      <a:pt x="387" y="84"/>
                    </a:lnTo>
                    <a:lnTo>
                      <a:pt x="381" y="84"/>
                    </a:lnTo>
                    <a:lnTo>
                      <a:pt x="378" y="84"/>
                    </a:lnTo>
                    <a:lnTo>
                      <a:pt x="377" y="83"/>
                    </a:lnTo>
                    <a:lnTo>
                      <a:pt x="375" y="81"/>
                    </a:lnTo>
                    <a:lnTo>
                      <a:pt x="375" y="81"/>
                    </a:lnTo>
                    <a:lnTo>
                      <a:pt x="374" y="77"/>
                    </a:lnTo>
                    <a:lnTo>
                      <a:pt x="371" y="74"/>
                    </a:lnTo>
                    <a:lnTo>
                      <a:pt x="365" y="68"/>
                    </a:lnTo>
                    <a:lnTo>
                      <a:pt x="365" y="68"/>
                    </a:lnTo>
                    <a:lnTo>
                      <a:pt x="363" y="67"/>
                    </a:lnTo>
                    <a:lnTo>
                      <a:pt x="361" y="66"/>
                    </a:lnTo>
                    <a:lnTo>
                      <a:pt x="367" y="61"/>
                    </a:lnTo>
                    <a:lnTo>
                      <a:pt x="367" y="61"/>
                    </a:lnTo>
                    <a:lnTo>
                      <a:pt x="370" y="59"/>
                    </a:lnTo>
                    <a:lnTo>
                      <a:pt x="370" y="54"/>
                    </a:lnTo>
                    <a:lnTo>
                      <a:pt x="370" y="51"/>
                    </a:lnTo>
                    <a:lnTo>
                      <a:pt x="368" y="47"/>
                    </a:lnTo>
                    <a:lnTo>
                      <a:pt x="368" y="47"/>
                    </a:lnTo>
                    <a:lnTo>
                      <a:pt x="367" y="46"/>
                    </a:lnTo>
                    <a:lnTo>
                      <a:pt x="370" y="44"/>
                    </a:lnTo>
                    <a:lnTo>
                      <a:pt x="378" y="40"/>
                    </a:lnTo>
                    <a:lnTo>
                      <a:pt x="378" y="40"/>
                    </a:lnTo>
                    <a:lnTo>
                      <a:pt x="381" y="37"/>
                    </a:lnTo>
                    <a:lnTo>
                      <a:pt x="381" y="34"/>
                    </a:lnTo>
                    <a:lnTo>
                      <a:pt x="381" y="32"/>
                    </a:lnTo>
                    <a:lnTo>
                      <a:pt x="384" y="30"/>
                    </a:lnTo>
                    <a:lnTo>
                      <a:pt x="384" y="30"/>
                    </a:lnTo>
                    <a:lnTo>
                      <a:pt x="385" y="27"/>
                    </a:lnTo>
                    <a:lnTo>
                      <a:pt x="385" y="26"/>
                    </a:lnTo>
                    <a:lnTo>
                      <a:pt x="384" y="23"/>
                    </a:lnTo>
                    <a:lnTo>
                      <a:pt x="380" y="22"/>
                    </a:lnTo>
                    <a:lnTo>
                      <a:pt x="380" y="22"/>
                    </a:lnTo>
                    <a:lnTo>
                      <a:pt x="377" y="22"/>
                    </a:lnTo>
                    <a:lnTo>
                      <a:pt x="375" y="24"/>
                    </a:lnTo>
                    <a:lnTo>
                      <a:pt x="375" y="27"/>
                    </a:lnTo>
                    <a:lnTo>
                      <a:pt x="374" y="29"/>
                    </a:lnTo>
                    <a:lnTo>
                      <a:pt x="374" y="29"/>
                    </a:lnTo>
                    <a:lnTo>
                      <a:pt x="373" y="27"/>
                    </a:lnTo>
                    <a:lnTo>
                      <a:pt x="371" y="24"/>
                    </a:lnTo>
                    <a:lnTo>
                      <a:pt x="370" y="22"/>
                    </a:lnTo>
                    <a:lnTo>
                      <a:pt x="368" y="20"/>
                    </a:lnTo>
                    <a:lnTo>
                      <a:pt x="368" y="20"/>
                    </a:lnTo>
                    <a:lnTo>
                      <a:pt x="363" y="24"/>
                    </a:lnTo>
                    <a:lnTo>
                      <a:pt x="358" y="26"/>
                    </a:lnTo>
                    <a:lnTo>
                      <a:pt x="357" y="26"/>
                    </a:lnTo>
                    <a:lnTo>
                      <a:pt x="356" y="24"/>
                    </a:lnTo>
                    <a:lnTo>
                      <a:pt x="356" y="24"/>
                    </a:lnTo>
                    <a:lnTo>
                      <a:pt x="350" y="22"/>
                    </a:lnTo>
                    <a:lnTo>
                      <a:pt x="341" y="19"/>
                    </a:lnTo>
                    <a:lnTo>
                      <a:pt x="324" y="14"/>
                    </a:lnTo>
                    <a:lnTo>
                      <a:pt x="324" y="14"/>
                    </a:lnTo>
                    <a:lnTo>
                      <a:pt x="320" y="13"/>
                    </a:lnTo>
                    <a:lnTo>
                      <a:pt x="316" y="9"/>
                    </a:lnTo>
                    <a:lnTo>
                      <a:pt x="313" y="6"/>
                    </a:lnTo>
                    <a:lnTo>
                      <a:pt x="311" y="6"/>
                    </a:lnTo>
                    <a:lnTo>
                      <a:pt x="310" y="6"/>
                    </a:lnTo>
                    <a:lnTo>
                      <a:pt x="310" y="6"/>
                    </a:lnTo>
                    <a:lnTo>
                      <a:pt x="307" y="7"/>
                    </a:lnTo>
                    <a:lnTo>
                      <a:pt x="309" y="10"/>
                    </a:lnTo>
                    <a:lnTo>
                      <a:pt x="316" y="16"/>
                    </a:lnTo>
                    <a:lnTo>
                      <a:pt x="316" y="16"/>
                    </a:lnTo>
                    <a:lnTo>
                      <a:pt x="316" y="19"/>
                    </a:lnTo>
                    <a:lnTo>
                      <a:pt x="314" y="20"/>
                    </a:lnTo>
                    <a:lnTo>
                      <a:pt x="307" y="23"/>
                    </a:lnTo>
                    <a:lnTo>
                      <a:pt x="299" y="24"/>
                    </a:lnTo>
                    <a:lnTo>
                      <a:pt x="291" y="24"/>
                    </a:lnTo>
                    <a:lnTo>
                      <a:pt x="291" y="24"/>
                    </a:lnTo>
                    <a:lnTo>
                      <a:pt x="289" y="24"/>
                    </a:lnTo>
                    <a:lnTo>
                      <a:pt x="289" y="26"/>
                    </a:lnTo>
                    <a:lnTo>
                      <a:pt x="289" y="27"/>
                    </a:lnTo>
                    <a:lnTo>
                      <a:pt x="287" y="29"/>
                    </a:lnTo>
                    <a:lnTo>
                      <a:pt x="286" y="29"/>
                    </a:lnTo>
                    <a:lnTo>
                      <a:pt x="286" y="29"/>
                    </a:lnTo>
                    <a:lnTo>
                      <a:pt x="284" y="29"/>
                    </a:lnTo>
                    <a:lnTo>
                      <a:pt x="283" y="30"/>
                    </a:lnTo>
                    <a:lnTo>
                      <a:pt x="280" y="34"/>
                    </a:lnTo>
                    <a:lnTo>
                      <a:pt x="277" y="39"/>
                    </a:lnTo>
                    <a:lnTo>
                      <a:pt x="274" y="43"/>
                    </a:lnTo>
                    <a:lnTo>
                      <a:pt x="274" y="43"/>
                    </a:lnTo>
                    <a:lnTo>
                      <a:pt x="273" y="47"/>
                    </a:lnTo>
                    <a:lnTo>
                      <a:pt x="272" y="50"/>
                    </a:lnTo>
                    <a:lnTo>
                      <a:pt x="272" y="53"/>
                    </a:lnTo>
                    <a:lnTo>
                      <a:pt x="269" y="54"/>
                    </a:lnTo>
                    <a:lnTo>
                      <a:pt x="269" y="54"/>
                    </a:lnTo>
                    <a:lnTo>
                      <a:pt x="266" y="57"/>
                    </a:lnTo>
                    <a:lnTo>
                      <a:pt x="264" y="60"/>
                    </a:lnTo>
                    <a:lnTo>
                      <a:pt x="266" y="64"/>
                    </a:lnTo>
                    <a:lnTo>
                      <a:pt x="269" y="68"/>
                    </a:lnTo>
                    <a:lnTo>
                      <a:pt x="269" y="68"/>
                    </a:lnTo>
                    <a:lnTo>
                      <a:pt x="272" y="73"/>
                    </a:lnTo>
                    <a:lnTo>
                      <a:pt x="270" y="73"/>
                    </a:lnTo>
                    <a:lnTo>
                      <a:pt x="269" y="74"/>
                    </a:lnTo>
                    <a:lnTo>
                      <a:pt x="266" y="73"/>
                    </a:lnTo>
                    <a:lnTo>
                      <a:pt x="262" y="70"/>
                    </a:lnTo>
                    <a:lnTo>
                      <a:pt x="262" y="70"/>
                    </a:lnTo>
                    <a:lnTo>
                      <a:pt x="257" y="67"/>
                    </a:lnTo>
                    <a:lnTo>
                      <a:pt x="253" y="66"/>
                    </a:lnTo>
                    <a:lnTo>
                      <a:pt x="252" y="67"/>
                    </a:lnTo>
                    <a:lnTo>
                      <a:pt x="250" y="71"/>
                    </a:lnTo>
                    <a:lnTo>
                      <a:pt x="250" y="71"/>
                    </a:lnTo>
                    <a:lnTo>
                      <a:pt x="250" y="74"/>
                    </a:lnTo>
                    <a:lnTo>
                      <a:pt x="247" y="74"/>
                    </a:lnTo>
                    <a:lnTo>
                      <a:pt x="246" y="71"/>
                    </a:lnTo>
                    <a:lnTo>
                      <a:pt x="246" y="67"/>
                    </a:lnTo>
                    <a:lnTo>
                      <a:pt x="246" y="67"/>
                    </a:lnTo>
                    <a:lnTo>
                      <a:pt x="246" y="66"/>
                    </a:lnTo>
                    <a:lnTo>
                      <a:pt x="245" y="64"/>
                    </a:lnTo>
                    <a:lnTo>
                      <a:pt x="242" y="63"/>
                    </a:lnTo>
                    <a:lnTo>
                      <a:pt x="239" y="61"/>
                    </a:lnTo>
                    <a:lnTo>
                      <a:pt x="236" y="60"/>
                    </a:lnTo>
                    <a:lnTo>
                      <a:pt x="236" y="60"/>
                    </a:lnTo>
                    <a:lnTo>
                      <a:pt x="235" y="57"/>
                    </a:lnTo>
                    <a:lnTo>
                      <a:pt x="230" y="53"/>
                    </a:lnTo>
                    <a:lnTo>
                      <a:pt x="227" y="51"/>
                    </a:lnTo>
                    <a:lnTo>
                      <a:pt x="223" y="50"/>
                    </a:lnTo>
                    <a:lnTo>
                      <a:pt x="223" y="50"/>
                    </a:lnTo>
                    <a:lnTo>
                      <a:pt x="220" y="51"/>
                    </a:lnTo>
                    <a:lnTo>
                      <a:pt x="219" y="53"/>
                    </a:lnTo>
                    <a:lnTo>
                      <a:pt x="216" y="54"/>
                    </a:lnTo>
                    <a:lnTo>
                      <a:pt x="213" y="56"/>
                    </a:lnTo>
                    <a:lnTo>
                      <a:pt x="213" y="56"/>
                    </a:lnTo>
                    <a:lnTo>
                      <a:pt x="210" y="56"/>
                    </a:lnTo>
                    <a:lnTo>
                      <a:pt x="209" y="57"/>
                    </a:lnTo>
                    <a:lnTo>
                      <a:pt x="209" y="60"/>
                    </a:lnTo>
                    <a:lnTo>
                      <a:pt x="209" y="63"/>
                    </a:lnTo>
                    <a:lnTo>
                      <a:pt x="209" y="63"/>
                    </a:lnTo>
                    <a:lnTo>
                      <a:pt x="209" y="64"/>
                    </a:lnTo>
                    <a:lnTo>
                      <a:pt x="208" y="64"/>
                    </a:lnTo>
                    <a:lnTo>
                      <a:pt x="205" y="64"/>
                    </a:lnTo>
                    <a:lnTo>
                      <a:pt x="200" y="63"/>
                    </a:lnTo>
                    <a:lnTo>
                      <a:pt x="196" y="63"/>
                    </a:lnTo>
                    <a:lnTo>
                      <a:pt x="196" y="63"/>
                    </a:lnTo>
                    <a:lnTo>
                      <a:pt x="193" y="64"/>
                    </a:lnTo>
                    <a:lnTo>
                      <a:pt x="193" y="67"/>
                    </a:lnTo>
                    <a:lnTo>
                      <a:pt x="195" y="68"/>
                    </a:lnTo>
                    <a:lnTo>
                      <a:pt x="193" y="70"/>
                    </a:lnTo>
                    <a:lnTo>
                      <a:pt x="193" y="70"/>
                    </a:lnTo>
                    <a:lnTo>
                      <a:pt x="192" y="71"/>
                    </a:lnTo>
                    <a:lnTo>
                      <a:pt x="190" y="73"/>
                    </a:lnTo>
                    <a:lnTo>
                      <a:pt x="189" y="74"/>
                    </a:lnTo>
                    <a:lnTo>
                      <a:pt x="186" y="76"/>
                    </a:lnTo>
                    <a:lnTo>
                      <a:pt x="186" y="76"/>
                    </a:lnTo>
                    <a:lnTo>
                      <a:pt x="185" y="76"/>
                    </a:lnTo>
                    <a:lnTo>
                      <a:pt x="183" y="77"/>
                    </a:lnTo>
                    <a:lnTo>
                      <a:pt x="182" y="81"/>
                    </a:lnTo>
                    <a:lnTo>
                      <a:pt x="183" y="91"/>
                    </a:lnTo>
                    <a:lnTo>
                      <a:pt x="183" y="91"/>
                    </a:lnTo>
                    <a:lnTo>
                      <a:pt x="183" y="93"/>
                    </a:lnTo>
                    <a:lnTo>
                      <a:pt x="182" y="93"/>
                    </a:lnTo>
                    <a:lnTo>
                      <a:pt x="179" y="93"/>
                    </a:lnTo>
                    <a:lnTo>
                      <a:pt x="175" y="90"/>
                    </a:lnTo>
                    <a:lnTo>
                      <a:pt x="171" y="90"/>
                    </a:lnTo>
                    <a:lnTo>
                      <a:pt x="171" y="90"/>
                    </a:lnTo>
                    <a:lnTo>
                      <a:pt x="169" y="91"/>
                    </a:lnTo>
                    <a:lnTo>
                      <a:pt x="171" y="94"/>
                    </a:lnTo>
                    <a:lnTo>
                      <a:pt x="172" y="98"/>
                    </a:lnTo>
                    <a:lnTo>
                      <a:pt x="173" y="103"/>
                    </a:lnTo>
                    <a:lnTo>
                      <a:pt x="173" y="103"/>
                    </a:lnTo>
                    <a:lnTo>
                      <a:pt x="173" y="105"/>
                    </a:lnTo>
                    <a:lnTo>
                      <a:pt x="172" y="107"/>
                    </a:lnTo>
                    <a:lnTo>
                      <a:pt x="169" y="110"/>
                    </a:lnTo>
                    <a:lnTo>
                      <a:pt x="169" y="110"/>
                    </a:lnTo>
                    <a:lnTo>
                      <a:pt x="168" y="111"/>
                    </a:lnTo>
                    <a:lnTo>
                      <a:pt x="166" y="110"/>
                    </a:lnTo>
                    <a:lnTo>
                      <a:pt x="165" y="107"/>
                    </a:lnTo>
                    <a:lnTo>
                      <a:pt x="163" y="103"/>
                    </a:lnTo>
                    <a:lnTo>
                      <a:pt x="162" y="98"/>
                    </a:lnTo>
                    <a:lnTo>
                      <a:pt x="162" y="98"/>
                    </a:lnTo>
                    <a:lnTo>
                      <a:pt x="162" y="97"/>
                    </a:lnTo>
                    <a:lnTo>
                      <a:pt x="161" y="96"/>
                    </a:lnTo>
                    <a:lnTo>
                      <a:pt x="158" y="97"/>
                    </a:lnTo>
                    <a:lnTo>
                      <a:pt x="149" y="104"/>
                    </a:lnTo>
                    <a:lnTo>
                      <a:pt x="149" y="104"/>
                    </a:lnTo>
                    <a:lnTo>
                      <a:pt x="148" y="107"/>
                    </a:lnTo>
                    <a:lnTo>
                      <a:pt x="148" y="110"/>
                    </a:lnTo>
                    <a:lnTo>
                      <a:pt x="148" y="115"/>
                    </a:lnTo>
                    <a:lnTo>
                      <a:pt x="149" y="121"/>
                    </a:lnTo>
                    <a:lnTo>
                      <a:pt x="149" y="123"/>
                    </a:lnTo>
                    <a:lnTo>
                      <a:pt x="149" y="124"/>
                    </a:lnTo>
                    <a:lnTo>
                      <a:pt x="149" y="124"/>
                    </a:lnTo>
                    <a:lnTo>
                      <a:pt x="139" y="133"/>
                    </a:lnTo>
                    <a:lnTo>
                      <a:pt x="126" y="147"/>
                    </a:lnTo>
                    <a:lnTo>
                      <a:pt x="126" y="147"/>
                    </a:lnTo>
                    <a:lnTo>
                      <a:pt x="122" y="150"/>
                    </a:lnTo>
                    <a:lnTo>
                      <a:pt x="119" y="151"/>
                    </a:lnTo>
                    <a:lnTo>
                      <a:pt x="111" y="152"/>
                    </a:lnTo>
                    <a:lnTo>
                      <a:pt x="102" y="152"/>
                    </a:lnTo>
                    <a:lnTo>
                      <a:pt x="99" y="152"/>
                    </a:lnTo>
                    <a:lnTo>
                      <a:pt x="98" y="154"/>
                    </a:lnTo>
                    <a:lnTo>
                      <a:pt x="98" y="154"/>
                    </a:lnTo>
                    <a:lnTo>
                      <a:pt x="94" y="157"/>
                    </a:lnTo>
                    <a:lnTo>
                      <a:pt x="89" y="157"/>
                    </a:lnTo>
                    <a:lnTo>
                      <a:pt x="87" y="157"/>
                    </a:lnTo>
                    <a:lnTo>
                      <a:pt x="82" y="160"/>
                    </a:lnTo>
                    <a:lnTo>
                      <a:pt x="82" y="160"/>
                    </a:lnTo>
                    <a:lnTo>
                      <a:pt x="72" y="165"/>
                    </a:lnTo>
                    <a:lnTo>
                      <a:pt x="70" y="167"/>
                    </a:lnTo>
                    <a:lnTo>
                      <a:pt x="68" y="167"/>
                    </a:lnTo>
                    <a:lnTo>
                      <a:pt x="67" y="165"/>
                    </a:lnTo>
                    <a:lnTo>
                      <a:pt x="67" y="165"/>
                    </a:lnTo>
                    <a:lnTo>
                      <a:pt x="65" y="164"/>
                    </a:lnTo>
                    <a:lnTo>
                      <a:pt x="64" y="164"/>
                    </a:lnTo>
                    <a:lnTo>
                      <a:pt x="58" y="164"/>
                    </a:lnTo>
                    <a:lnTo>
                      <a:pt x="53" y="167"/>
                    </a:lnTo>
                    <a:lnTo>
                      <a:pt x="48" y="171"/>
                    </a:lnTo>
                    <a:lnTo>
                      <a:pt x="48" y="171"/>
                    </a:lnTo>
                    <a:lnTo>
                      <a:pt x="43" y="175"/>
                    </a:lnTo>
                    <a:lnTo>
                      <a:pt x="38" y="178"/>
                    </a:lnTo>
                    <a:lnTo>
                      <a:pt x="33" y="181"/>
                    </a:lnTo>
                    <a:lnTo>
                      <a:pt x="28" y="181"/>
                    </a:lnTo>
                    <a:lnTo>
                      <a:pt x="28" y="181"/>
                    </a:lnTo>
                    <a:lnTo>
                      <a:pt x="25" y="182"/>
                    </a:lnTo>
                    <a:lnTo>
                      <a:pt x="24" y="184"/>
                    </a:lnTo>
                    <a:lnTo>
                      <a:pt x="23" y="187"/>
                    </a:lnTo>
                    <a:lnTo>
                      <a:pt x="21" y="191"/>
                    </a:lnTo>
                    <a:lnTo>
                      <a:pt x="20" y="194"/>
                    </a:lnTo>
                    <a:lnTo>
                      <a:pt x="20" y="194"/>
                    </a:lnTo>
                    <a:lnTo>
                      <a:pt x="18" y="194"/>
                    </a:lnTo>
                    <a:lnTo>
                      <a:pt x="18" y="192"/>
                    </a:lnTo>
                    <a:lnTo>
                      <a:pt x="17" y="189"/>
                    </a:lnTo>
                    <a:lnTo>
                      <a:pt x="17" y="184"/>
                    </a:lnTo>
                    <a:lnTo>
                      <a:pt x="17" y="184"/>
                    </a:lnTo>
                    <a:lnTo>
                      <a:pt x="17" y="182"/>
                    </a:lnTo>
                    <a:lnTo>
                      <a:pt x="17" y="182"/>
                    </a:lnTo>
                    <a:lnTo>
                      <a:pt x="14" y="185"/>
                    </a:lnTo>
                    <a:lnTo>
                      <a:pt x="11" y="189"/>
                    </a:lnTo>
                    <a:lnTo>
                      <a:pt x="10" y="195"/>
                    </a:lnTo>
                    <a:lnTo>
                      <a:pt x="10" y="195"/>
                    </a:lnTo>
                    <a:lnTo>
                      <a:pt x="8" y="199"/>
                    </a:lnTo>
                    <a:lnTo>
                      <a:pt x="11" y="204"/>
                    </a:lnTo>
                    <a:lnTo>
                      <a:pt x="11" y="208"/>
                    </a:lnTo>
                    <a:lnTo>
                      <a:pt x="11" y="211"/>
                    </a:lnTo>
                    <a:lnTo>
                      <a:pt x="10" y="214"/>
                    </a:lnTo>
                    <a:lnTo>
                      <a:pt x="10" y="214"/>
                    </a:lnTo>
                    <a:lnTo>
                      <a:pt x="6" y="219"/>
                    </a:lnTo>
                    <a:lnTo>
                      <a:pt x="4" y="225"/>
                    </a:lnTo>
                    <a:lnTo>
                      <a:pt x="4" y="232"/>
                    </a:lnTo>
                    <a:lnTo>
                      <a:pt x="6" y="235"/>
                    </a:lnTo>
                    <a:lnTo>
                      <a:pt x="7" y="239"/>
                    </a:lnTo>
                    <a:lnTo>
                      <a:pt x="7" y="239"/>
                    </a:lnTo>
                    <a:lnTo>
                      <a:pt x="16" y="251"/>
                    </a:lnTo>
                    <a:lnTo>
                      <a:pt x="17" y="256"/>
                    </a:lnTo>
                    <a:lnTo>
                      <a:pt x="17" y="261"/>
                    </a:lnTo>
                    <a:lnTo>
                      <a:pt x="17" y="261"/>
                    </a:lnTo>
                    <a:lnTo>
                      <a:pt x="16" y="261"/>
                    </a:lnTo>
                    <a:lnTo>
                      <a:pt x="14" y="261"/>
                    </a:lnTo>
                    <a:lnTo>
                      <a:pt x="11" y="258"/>
                    </a:lnTo>
                    <a:lnTo>
                      <a:pt x="8" y="253"/>
                    </a:lnTo>
                    <a:lnTo>
                      <a:pt x="7" y="252"/>
                    </a:lnTo>
                    <a:lnTo>
                      <a:pt x="7" y="252"/>
                    </a:lnTo>
                    <a:lnTo>
                      <a:pt x="7" y="252"/>
                    </a:lnTo>
                    <a:lnTo>
                      <a:pt x="7" y="253"/>
                    </a:lnTo>
                    <a:lnTo>
                      <a:pt x="10" y="258"/>
                    </a:lnTo>
                    <a:lnTo>
                      <a:pt x="11" y="261"/>
                    </a:lnTo>
                    <a:lnTo>
                      <a:pt x="11" y="263"/>
                    </a:lnTo>
                    <a:lnTo>
                      <a:pt x="11" y="263"/>
                    </a:lnTo>
                    <a:lnTo>
                      <a:pt x="10" y="263"/>
                    </a:lnTo>
                    <a:lnTo>
                      <a:pt x="8" y="263"/>
                    </a:lnTo>
                    <a:lnTo>
                      <a:pt x="6" y="259"/>
                    </a:lnTo>
                    <a:lnTo>
                      <a:pt x="3" y="255"/>
                    </a:lnTo>
                    <a:lnTo>
                      <a:pt x="1" y="255"/>
                    </a:lnTo>
                    <a:lnTo>
                      <a:pt x="0" y="255"/>
                    </a:lnTo>
                    <a:lnTo>
                      <a:pt x="0" y="255"/>
                    </a:lnTo>
                    <a:lnTo>
                      <a:pt x="0" y="256"/>
                    </a:lnTo>
                    <a:lnTo>
                      <a:pt x="1" y="261"/>
                    </a:lnTo>
                    <a:lnTo>
                      <a:pt x="7" y="271"/>
                    </a:lnTo>
                    <a:lnTo>
                      <a:pt x="14" y="282"/>
                    </a:lnTo>
                    <a:lnTo>
                      <a:pt x="16" y="288"/>
                    </a:lnTo>
                    <a:lnTo>
                      <a:pt x="17" y="290"/>
                    </a:lnTo>
                    <a:lnTo>
                      <a:pt x="17" y="290"/>
                    </a:lnTo>
                    <a:lnTo>
                      <a:pt x="17" y="295"/>
                    </a:lnTo>
                    <a:lnTo>
                      <a:pt x="18" y="298"/>
                    </a:lnTo>
                    <a:lnTo>
                      <a:pt x="24" y="305"/>
                    </a:lnTo>
                    <a:lnTo>
                      <a:pt x="28" y="312"/>
                    </a:lnTo>
                    <a:lnTo>
                      <a:pt x="30" y="316"/>
                    </a:lnTo>
                    <a:lnTo>
                      <a:pt x="30" y="322"/>
                    </a:lnTo>
                    <a:lnTo>
                      <a:pt x="30" y="322"/>
                    </a:lnTo>
                    <a:lnTo>
                      <a:pt x="30" y="326"/>
                    </a:lnTo>
                    <a:lnTo>
                      <a:pt x="31" y="332"/>
                    </a:lnTo>
                    <a:lnTo>
                      <a:pt x="35" y="343"/>
                    </a:lnTo>
                    <a:lnTo>
                      <a:pt x="44" y="357"/>
                    </a:lnTo>
                    <a:lnTo>
                      <a:pt x="44" y="357"/>
                    </a:lnTo>
                    <a:lnTo>
                      <a:pt x="44" y="362"/>
                    </a:lnTo>
                    <a:lnTo>
                      <a:pt x="43" y="366"/>
                    </a:lnTo>
                    <a:lnTo>
                      <a:pt x="41" y="373"/>
                    </a:lnTo>
                    <a:lnTo>
                      <a:pt x="41" y="379"/>
                    </a:lnTo>
                    <a:lnTo>
                      <a:pt x="41" y="379"/>
                    </a:lnTo>
                    <a:lnTo>
                      <a:pt x="41" y="386"/>
                    </a:lnTo>
                    <a:lnTo>
                      <a:pt x="38" y="390"/>
                    </a:lnTo>
                    <a:lnTo>
                      <a:pt x="35" y="391"/>
                    </a:lnTo>
                    <a:lnTo>
                      <a:pt x="31" y="393"/>
                    </a:lnTo>
                    <a:lnTo>
                      <a:pt x="31" y="393"/>
                    </a:lnTo>
                    <a:lnTo>
                      <a:pt x="30" y="393"/>
                    </a:lnTo>
                    <a:lnTo>
                      <a:pt x="28" y="394"/>
                    </a:lnTo>
                    <a:lnTo>
                      <a:pt x="28" y="397"/>
                    </a:lnTo>
                    <a:lnTo>
                      <a:pt x="31" y="401"/>
                    </a:lnTo>
                    <a:lnTo>
                      <a:pt x="35" y="403"/>
                    </a:lnTo>
                    <a:lnTo>
                      <a:pt x="35" y="403"/>
                    </a:lnTo>
                    <a:lnTo>
                      <a:pt x="40" y="404"/>
                    </a:lnTo>
                    <a:lnTo>
                      <a:pt x="41" y="407"/>
                    </a:lnTo>
                    <a:lnTo>
                      <a:pt x="44" y="410"/>
                    </a:lnTo>
                    <a:lnTo>
                      <a:pt x="47" y="413"/>
                    </a:lnTo>
                    <a:lnTo>
                      <a:pt x="47" y="413"/>
                    </a:lnTo>
                    <a:lnTo>
                      <a:pt x="54" y="416"/>
                    </a:lnTo>
                    <a:lnTo>
                      <a:pt x="64" y="417"/>
                    </a:lnTo>
                    <a:lnTo>
                      <a:pt x="78" y="417"/>
                    </a:lnTo>
                    <a:lnTo>
                      <a:pt x="78" y="417"/>
                    </a:lnTo>
                    <a:lnTo>
                      <a:pt x="82" y="416"/>
                    </a:lnTo>
                    <a:lnTo>
                      <a:pt x="85" y="411"/>
                    </a:lnTo>
                    <a:lnTo>
                      <a:pt x="89" y="408"/>
                    </a:lnTo>
                    <a:lnTo>
                      <a:pt x="95" y="407"/>
                    </a:lnTo>
                    <a:lnTo>
                      <a:pt x="95" y="407"/>
                    </a:lnTo>
                    <a:lnTo>
                      <a:pt x="99" y="406"/>
                    </a:lnTo>
                    <a:lnTo>
                      <a:pt x="102" y="404"/>
                    </a:lnTo>
                    <a:lnTo>
                      <a:pt x="107" y="399"/>
                    </a:lnTo>
                    <a:lnTo>
                      <a:pt x="107" y="399"/>
                    </a:lnTo>
                    <a:lnTo>
                      <a:pt x="108" y="397"/>
                    </a:lnTo>
                    <a:lnTo>
                      <a:pt x="111" y="397"/>
                    </a:lnTo>
                    <a:lnTo>
                      <a:pt x="121" y="396"/>
                    </a:lnTo>
                    <a:lnTo>
                      <a:pt x="148" y="397"/>
                    </a:lnTo>
                    <a:lnTo>
                      <a:pt x="148" y="397"/>
                    </a:lnTo>
                    <a:lnTo>
                      <a:pt x="159" y="396"/>
                    </a:lnTo>
                    <a:lnTo>
                      <a:pt x="168" y="394"/>
                    </a:lnTo>
                    <a:lnTo>
                      <a:pt x="173" y="390"/>
                    </a:lnTo>
                    <a:lnTo>
                      <a:pt x="178" y="384"/>
                    </a:lnTo>
                    <a:lnTo>
                      <a:pt x="178" y="384"/>
                    </a:lnTo>
                    <a:lnTo>
                      <a:pt x="179" y="381"/>
                    </a:lnTo>
                    <a:lnTo>
                      <a:pt x="181" y="380"/>
                    </a:lnTo>
                    <a:lnTo>
                      <a:pt x="186" y="377"/>
                    </a:lnTo>
                    <a:lnTo>
                      <a:pt x="193" y="376"/>
                    </a:lnTo>
                    <a:lnTo>
                      <a:pt x="199" y="372"/>
                    </a:lnTo>
                    <a:lnTo>
                      <a:pt x="199" y="372"/>
                    </a:lnTo>
                    <a:lnTo>
                      <a:pt x="202" y="369"/>
                    </a:lnTo>
                    <a:lnTo>
                      <a:pt x="208" y="367"/>
                    </a:lnTo>
                    <a:lnTo>
                      <a:pt x="213" y="367"/>
                    </a:lnTo>
                    <a:lnTo>
                      <a:pt x="222" y="367"/>
                    </a:lnTo>
                    <a:lnTo>
                      <a:pt x="222" y="367"/>
                    </a:lnTo>
                    <a:lnTo>
                      <a:pt x="232" y="367"/>
                    </a:lnTo>
                    <a:lnTo>
                      <a:pt x="242" y="364"/>
                    </a:lnTo>
                    <a:lnTo>
                      <a:pt x="257" y="357"/>
                    </a:lnTo>
                    <a:lnTo>
                      <a:pt x="257" y="357"/>
                    </a:lnTo>
                    <a:lnTo>
                      <a:pt x="266" y="356"/>
                    </a:lnTo>
                    <a:lnTo>
                      <a:pt x="274" y="354"/>
                    </a:lnTo>
                    <a:lnTo>
                      <a:pt x="284" y="354"/>
                    </a:lnTo>
                    <a:lnTo>
                      <a:pt x="291" y="353"/>
                    </a:lnTo>
                    <a:lnTo>
                      <a:pt x="291" y="353"/>
                    </a:lnTo>
                    <a:lnTo>
                      <a:pt x="294" y="353"/>
                    </a:lnTo>
                    <a:lnTo>
                      <a:pt x="297" y="353"/>
                    </a:lnTo>
                    <a:lnTo>
                      <a:pt x="301" y="357"/>
                    </a:lnTo>
                    <a:lnTo>
                      <a:pt x="306" y="362"/>
                    </a:lnTo>
                    <a:lnTo>
                      <a:pt x="309" y="363"/>
                    </a:lnTo>
                    <a:lnTo>
                      <a:pt x="311" y="363"/>
                    </a:lnTo>
                    <a:lnTo>
                      <a:pt x="311" y="363"/>
                    </a:lnTo>
                    <a:lnTo>
                      <a:pt x="317" y="363"/>
                    </a:lnTo>
                    <a:lnTo>
                      <a:pt x="323" y="363"/>
                    </a:lnTo>
                    <a:lnTo>
                      <a:pt x="326" y="364"/>
                    </a:lnTo>
                    <a:lnTo>
                      <a:pt x="330" y="364"/>
                    </a:lnTo>
                    <a:lnTo>
                      <a:pt x="330" y="364"/>
                    </a:lnTo>
                    <a:lnTo>
                      <a:pt x="333" y="366"/>
                    </a:lnTo>
                    <a:lnTo>
                      <a:pt x="334" y="367"/>
                    </a:lnTo>
                    <a:lnTo>
                      <a:pt x="337" y="369"/>
                    </a:lnTo>
                    <a:lnTo>
                      <a:pt x="340" y="370"/>
                    </a:lnTo>
                    <a:lnTo>
                      <a:pt x="340" y="370"/>
                    </a:lnTo>
                    <a:lnTo>
                      <a:pt x="343" y="372"/>
                    </a:lnTo>
                    <a:lnTo>
                      <a:pt x="343" y="373"/>
                    </a:lnTo>
                    <a:lnTo>
                      <a:pt x="343" y="376"/>
                    </a:lnTo>
                    <a:lnTo>
                      <a:pt x="340" y="380"/>
                    </a:lnTo>
                    <a:lnTo>
                      <a:pt x="340" y="380"/>
                    </a:lnTo>
                    <a:lnTo>
                      <a:pt x="340" y="381"/>
                    </a:lnTo>
                    <a:lnTo>
                      <a:pt x="340" y="383"/>
                    </a:lnTo>
                    <a:lnTo>
                      <a:pt x="344" y="384"/>
                    </a:lnTo>
                    <a:lnTo>
                      <a:pt x="348" y="387"/>
                    </a:lnTo>
                    <a:lnTo>
                      <a:pt x="354" y="393"/>
                    </a:lnTo>
                    <a:lnTo>
                      <a:pt x="354" y="393"/>
                    </a:lnTo>
                    <a:lnTo>
                      <a:pt x="357" y="399"/>
                    </a:lnTo>
                    <a:lnTo>
                      <a:pt x="358" y="403"/>
                    </a:lnTo>
                    <a:lnTo>
                      <a:pt x="357" y="407"/>
                    </a:lnTo>
                    <a:lnTo>
                      <a:pt x="358" y="411"/>
                    </a:lnTo>
                    <a:lnTo>
                      <a:pt x="358" y="411"/>
                    </a:lnTo>
                    <a:lnTo>
                      <a:pt x="361" y="414"/>
                    </a:lnTo>
                    <a:lnTo>
                      <a:pt x="364" y="416"/>
                    </a:lnTo>
                    <a:lnTo>
                      <a:pt x="367" y="413"/>
                    </a:lnTo>
                    <a:lnTo>
                      <a:pt x="371" y="406"/>
                    </a:lnTo>
                    <a:lnTo>
                      <a:pt x="371" y="406"/>
                    </a:lnTo>
                    <a:lnTo>
                      <a:pt x="374" y="403"/>
                    </a:lnTo>
                    <a:lnTo>
                      <a:pt x="377" y="401"/>
                    </a:lnTo>
                    <a:lnTo>
                      <a:pt x="383" y="400"/>
                    </a:lnTo>
                    <a:lnTo>
                      <a:pt x="385" y="399"/>
                    </a:lnTo>
                    <a:lnTo>
                      <a:pt x="387" y="397"/>
                    </a:lnTo>
                    <a:lnTo>
                      <a:pt x="388" y="394"/>
                    </a:lnTo>
                    <a:lnTo>
                      <a:pt x="388" y="394"/>
                    </a:lnTo>
                    <a:lnTo>
                      <a:pt x="390" y="387"/>
                    </a:lnTo>
                    <a:lnTo>
                      <a:pt x="392" y="383"/>
                    </a:lnTo>
                    <a:lnTo>
                      <a:pt x="397" y="379"/>
                    </a:lnTo>
                    <a:lnTo>
                      <a:pt x="400" y="379"/>
                    </a:lnTo>
                    <a:lnTo>
                      <a:pt x="401" y="380"/>
                    </a:lnTo>
                    <a:lnTo>
                      <a:pt x="401" y="380"/>
                    </a:lnTo>
                    <a:lnTo>
                      <a:pt x="402" y="381"/>
                    </a:lnTo>
                    <a:lnTo>
                      <a:pt x="402" y="383"/>
                    </a:lnTo>
                    <a:lnTo>
                      <a:pt x="401" y="387"/>
                    </a:lnTo>
                    <a:lnTo>
                      <a:pt x="398" y="393"/>
                    </a:lnTo>
                    <a:lnTo>
                      <a:pt x="394" y="403"/>
                    </a:lnTo>
                    <a:lnTo>
                      <a:pt x="394" y="403"/>
                    </a:lnTo>
                    <a:lnTo>
                      <a:pt x="391" y="411"/>
                    </a:lnTo>
                    <a:lnTo>
                      <a:pt x="390" y="413"/>
                    </a:lnTo>
                    <a:lnTo>
                      <a:pt x="388" y="413"/>
                    </a:lnTo>
                    <a:lnTo>
                      <a:pt x="385" y="414"/>
                    </a:lnTo>
                    <a:lnTo>
                      <a:pt x="385" y="414"/>
                    </a:lnTo>
                    <a:lnTo>
                      <a:pt x="384" y="416"/>
                    </a:lnTo>
                    <a:lnTo>
                      <a:pt x="384" y="416"/>
                    </a:lnTo>
                    <a:lnTo>
                      <a:pt x="385" y="417"/>
                    </a:lnTo>
                    <a:lnTo>
                      <a:pt x="387" y="418"/>
                    </a:lnTo>
                    <a:lnTo>
                      <a:pt x="391" y="420"/>
                    </a:lnTo>
                    <a:lnTo>
                      <a:pt x="397" y="418"/>
                    </a:lnTo>
                    <a:lnTo>
                      <a:pt x="398" y="417"/>
                    </a:lnTo>
                    <a:lnTo>
                      <a:pt x="400" y="414"/>
                    </a:lnTo>
                    <a:lnTo>
                      <a:pt x="400" y="414"/>
                    </a:lnTo>
                    <a:lnTo>
                      <a:pt x="400" y="408"/>
                    </a:lnTo>
                    <a:lnTo>
                      <a:pt x="401" y="406"/>
                    </a:lnTo>
                    <a:lnTo>
                      <a:pt x="402" y="404"/>
                    </a:lnTo>
                    <a:lnTo>
                      <a:pt x="404" y="406"/>
                    </a:lnTo>
                    <a:lnTo>
                      <a:pt x="408" y="408"/>
                    </a:lnTo>
                    <a:lnTo>
                      <a:pt x="408" y="408"/>
                    </a:lnTo>
                    <a:lnTo>
                      <a:pt x="410" y="411"/>
                    </a:lnTo>
                    <a:lnTo>
                      <a:pt x="411" y="414"/>
                    </a:lnTo>
                    <a:lnTo>
                      <a:pt x="410" y="420"/>
                    </a:lnTo>
                    <a:lnTo>
                      <a:pt x="407" y="424"/>
                    </a:lnTo>
                    <a:lnTo>
                      <a:pt x="407" y="427"/>
                    </a:lnTo>
                    <a:lnTo>
                      <a:pt x="407" y="427"/>
                    </a:lnTo>
                    <a:lnTo>
                      <a:pt x="408" y="428"/>
                    </a:lnTo>
                    <a:lnTo>
                      <a:pt x="411" y="428"/>
                    </a:lnTo>
                    <a:lnTo>
                      <a:pt x="415" y="427"/>
                    </a:lnTo>
                    <a:lnTo>
                      <a:pt x="418" y="426"/>
                    </a:lnTo>
                    <a:lnTo>
                      <a:pt x="418" y="426"/>
                    </a:lnTo>
                    <a:lnTo>
                      <a:pt x="421" y="427"/>
                    </a:lnTo>
                    <a:lnTo>
                      <a:pt x="422" y="428"/>
                    </a:lnTo>
                    <a:lnTo>
                      <a:pt x="428" y="434"/>
                    </a:lnTo>
                    <a:lnTo>
                      <a:pt x="431" y="441"/>
                    </a:lnTo>
                    <a:lnTo>
                      <a:pt x="431" y="448"/>
                    </a:lnTo>
                    <a:lnTo>
                      <a:pt x="431" y="448"/>
                    </a:lnTo>
                    <a:lnTo>
                      <a:pt x="431" y="454"/>
                    </a:lnTo>
                    <a:lnTo>
                      <a:pt x="431" y="460"/>
                    </a:lnTo>
                    <a:lnTo>
                      <a:pt x="434" y="464"/>
                    </a:lnTo>
                    <a:lnTo>
                      <a:pt x="439" y="468"/>
                    </a:lnTo>
                    <a:lnTo>
                      <a:pt x="439" y="468"/>
                    </a:lnTo>
                    <a:lnTo>
                      <a:pt x="447" y="473"/>
                    </a:lnTo>
                    <a:lnTo>
                      <a:pt x="449" y="475"/>
                    </a:lnTo>
                    <a:lnTo>
                      <a:pt x="452" y="475"/>
                    </a:lnTo>
                    <a:lnTo>
                      <a:pt x="457" y="475"/>
                    </a:lnTo>
                    <a:lnTo>
                      <a:pt x="457" y="475"/>
                    </a:lnTo>
                    <a:lnTo>
                      <a:pt x="465" y="477"/>
                    </a:lnTo>
                    <a:lnTo>
                      <a:pt x="474" y="480"/>
                    </a:lnTo>
                    <a:lnTo>
                      <a:pt x="482" y="484"/>
                    </a:lnTo>
                    <a:lnTo>
                      <a:pt x="489" y="487"/>
                    </a:lnTo>
                    <a:lnTo>
                      <a:pt x="489" y="487"/>
                    </a:lnTo>
                    <a:lnTo>
                      <a:pt x="491" y="488"/>
                    </a:lnTo>
                    <a:lnTo>
                      <a:pt x="494" y="488"/>
                    </a:lnTo>
                    <a:lnTo>
                      <a:pt x="499" y="487"/>
                    </a:lnTo>
                    <a:lnTo>
                      <a:pt x="505" y="481"/>
                    </a:lnTo>
                    <a:lnTo>
                      <a:pt x="509" y="475"/>
                    </a:lnTo>
                    <a:lnTo>
                      <a:pt x="509" y="475"/>
                    </a:lnTo>
                    <a:lnTo>
                      <a:pt x="511" y="473"/>
                    </a:lnTo>
                    <a:lnTo>
                      <a:pt x="512" y="473"/>
                    </a:lnTo>
                    <a:lnTo>
                      <a:pt x="513" y="473"/>
                    </a:lnTo>
                    <a:lnTo>
                      <a:pt x="515" y="473"/>
                    </a:lnTo>
                    <a:lnTo>
                      <a:pt x="518" y="475"/>
                    </a:lnTo>
                    <a:lnTo>
                      <a:pt x="516" y="477"/>
                    </a:lnTo>
                    <a:lnTo>
                      <a:pt x="516" y="478"/>
                    </a:lnTo>
                    <a:lnTo>
                      <a:pt x="516" y="478"/>
                    </a:lnTo>
                    <a:lnTo>
                      <a:pt x="515" y="480"/>
                    </a:lnTo>
                    <a:lnTo>
                      <a:pt x="513" y="481"/>
                    </a:lnTo>
                    <a:lnTo>
                      <a:pt x="515" y="484"/>
                    </a:lnTo>
                    <a:lnTo>
                      <a:pt x="518" y="485"/>
                    </a:lnTo>
                    <a:lnTo>
                      <a:pt x="518" y="484"/>
                    </a:lnTo>
                    <a:lnTo>
                      <a:pt x="519" y="482"/>
                    </a:lnTo>
                    <a:lnTo>
                      <a:pt x="519" y="482"/>
                    </a:lnTo>
                    <a:lnTo>
                      <a:pt x="521" y="478"/>
                    </a:lnTo>
                    <a:lnTo>
                      <a:pt x="522" y="477"/>
                    </a:lnTo>
                    <a:lnTo>
                      <a:pt x="523" y="480"/>
                    </a:lnTo>
                    <a:lnTo>
                      <a:pt x="523" y="480"/>
                    </a:lnTo>
                    <a:lnTo>
                      <a:pt x="525" y="482"/>
                    </a:lnTo>
                    <a:lnTo>
                      <a:pt x="528" y="485"/>
                    </a:lnTo>
                    <a:lnTo>
                      <a:pt x="530" y="487"/>
                    </a:lnTo>
                    <a:lnTo>
                      <a:pt x="533" y="490"/>
                    </a:lnTo>
                    <a:lnTo>
                      <a:pt x="533" y="490"/>
                    </a:lnTo>
                    <a:lnTo>
                      <a:pt x="538" y="494"/>
                    </a:lnTo>
                    <a:lnTo>
                      <a:pt x="539" y="495"/>
                    </a:lnTo>
                    <a:lnTo>
                      <a:pt x="539" y="494"/>
                    </a:lnTo>
                    <a:lnTo>
                      <a:pt x="539" y="494"/>
                    </a:lnTo>
                    <a:lnTo>
                      <a:pt x="539" y="491"/>
                    </a:lnTo>
                    <a:lnTo>
                      <a:pt x="540" y="488"/>
                    </a:lnTo>
                    <a:lnTo>
                      <a:pt x="542" y="487"/>
                    </a:lnTo>
                    <a:lnTo>
                      <a:pt x="546" y="484"/>
                    </a:lnTo>
                    <a:lnTo>
                      <a:pt x="546" y="484"/>
                    </a:lnTo>
                    <a:lnTo>
                      <a:pt x="553" y="480"/>
                    </a:lnTo>
                    <a:lnTo>
                      <a:pt x="562" y="474"/>
                    </a:lnTo>
                    <a:lnTo>
                      <a:pt x="562" y="474"/>
                    </a:lnTo>
                    <a:lnTo>
                      <a:pt x="565" y="471"/>
                    </a:lnTo>
                    <a:lnTo>
                      <a:pt x="569" y="471"/>
                    </a:lnTo>
                    <a:lnTo>
                      <a:pt x="579" y="468"/>
                    </a:lnTo>
                    <a:lnTo>
                      <a:pt x="595" y="467"/>
                    </a:lnTo>
                    <a:lnTo>
                      <a:pt x="595" y="467"/>
                    </a:lnTo>
                    <a:lnTo>
                      <a:pt x="596" y="464"/>
                    </a:lnTo>
                    <a:lnTo>
                      <a:pt x="597" y="455"/>
                    </a:lnTo>
                    <a:lnTo>
                      <a:pt x="600" y="436"/>
                    </a:lnTo>
                    <a:lnTo>
                      <a:pt x="600" y="436"/>
                    </a:lnTo>
                    <a:lnTo>
                      <a:pt x="602" y="428"/>
                    </a:lnTo>
                    <a:lnTo>
                      <a:pt x="606" y="423"/>
                    </a:lnTo>
                    <a:lnTo>
                      <a:pt x="610" y="417"/>
                    </a:lnTo>
                    <a:lnTo>
                      <a:pt x="612" y="410"/>
                    </a:lnTo>
                    <a:lnTo>
                      <a:pt x="612" y="410"/>
                    </a:lnTo>
                    <a:lnTo>
                      <a:pt x="614" y="400"/>
                    </a:lnTo>
                    <a:lnTo>
                      <a:pt x="620" y="389"/>
                    </a:lnTo>
                    <a:lnTo>
                      <a:pt x="626" y="380"/>
                    </a:lnTo>
                    <a:lnTo>
                      <a:pt x="629" y="376"/>
                    </a:lnTo>
                    <a:lnTo>
                      <a:pt x="629" y="376"/>
                    </a:lnTo>
                    <a:lnTo>
                      <a:pt x="634" y="373"/>
                    </a:lnTo>
                    <a:lnTo>
                      <a:pt x="637" y="370"/>
                    </a:lnTo>
                    <a:lnTo>
                      <a:pt x="639" y="364"/>
                    </a:lnTo>
                    <a:lnTo>
                      <a:pt x="639" y="364"/>
                    </a:lnTo>
                    <a:lnTo>
                      <a:pt x="640" y="360"/>
                    </a:lnTo>
                    <a:lnTo>
                      <a:pt x="643" y="354"/>
                    </a:lnTo>
                    <a:lnTo>
                      <a:pt x="646" y="349"/>
                    </a:lnTo>
                    <a:lnTo>
                      <a:pt x="647" y="343"/>
                    </a:lnTo>
                    <a:lnTo>
                      <a:pt x="647" y="343"/>
                    </a:lnTo>
                    <a:lnTo>
                      <a:pt x="649" y="336"/>
                    </a:lnTo>
                    <a:lnTo>
                      <a:pt x="650" y="330"/>
                    </a:lnTo>
                    <a:lnTo>
                      <a:pt x="651" y="326"/>
                    </a:lnTo>
                    <a:lnTo>
                      <a:pt x="651" y="322"/>
                    </a:lnTo>
                    <a:lnTo>
                      <a:pt x="651" y="322"/>
                    </a:lnTo>
                    <a:lnTo>
                      <a:pt x="650" y="316"/>
                    </a:lnTo>
                    <a:lnTo>
                      <a:pt x="650" y="310"/>
                    </a:lnTo>
                    <a:lnTo>
                      <a:pt x="653" y="306"/>
                    </a:lnTo>
                    <a:lnTo>
                      <a:pt x="653" y="306"/>
                    </a:lnTo>
                    <a:lnTo>
                      <a:pt x="654" y="305"/>
                    </a:lnTo>
                    <a:lnTo>
                      <a:pt x="654" y="302"/>
                    </a:lnTo>
                    <a:lnTo>
                      <a:pt x="654" y="298"/>
                    </a:lnTo>
                    <a:lnTo>
                      <a:pt x="653" y="295"/>
                    </a:lnTo>
                    <a:lnTo>
                      <a:pt x="653" y="293"/>
                    </a:lnTo>
                    <a:lnTo>
                      <a:pt x="654" y="292"/>
                    </a:lnTo>
                    <a:lnTo>
                      <a:pt x="654" y="292"/>
                    </a:lnTo>
                    <a:close/>
                    <a:moveTo>
                      <a:pt x="538" y="534"/>
                    </a:moveTo>
                    <a:lnTo>
                      <a:pt x="538" y="534"/>
                    </a:lnTo>
                    <a:lnTo>
                      <a:pt x="530" y="532"/>
                    </a:lnTo>
                    <a:lnTo>
                      <a:pt x="522" y="529"/>
                    </a:lnTo>
                    <a:lnTo>
                      <a:pt x="515" y="527"/>
                    </a:lnTo>
                    <a:lnTo>
                      <a:pt x="511" y="525"/>
                    </a:lnTo>
                    <a:lnTo>
                      <a:pt x="511" y="525"/>
                    </a:lnTo>
                    <a:lnTo>
                      <a:pt x="511" y="527"/>
                    </a:lnTo>
                    <a:lnTo>
                      <a:pt x="511" y="529"/>
                    </a:lnTo>
                    <a:lnTo>
                      <a:pt x="515" y="539"/>
                    </a:lnTo>
                    <a:lnTo>
                      <a:pt x="519" y="549"/>
                    </a:lnTo>
                    <a:lnTo>
                      <a:pt x="519" y="554"/>
                    </a:lnTo>
                    <a:lnTo>
                      <a:pt x="518" y="558"/>
                    </a:lnTo>
                    <a:lnTo>
                      <a:pt x="518" y="558"/>
                    </a:lnTo>
                    <a:lnTo>
                      <a:pt x="518" y="561"/>
                    </a:lnTo>
                    <a:lnTo>
                      <a:pt x="519" y="564"/>
                    </a:lnTo>
                    <a:lnTo>
                      <a:pt x="525" y="572"/>
                    </a:lnTo>
                    <a:lnTo>
                      <a:pt x="533" y="579"/>
                    </a:lnTo>
                    <a:lnTo>
                      <a:pt x="539" y="582"/>
                    </a:lnTo>
                    <a:lnTo>
                      <a:pt x="539" y="582"/>
                    </a:lnTo>
                    <a:lnTo>
                      <a:pt x="543" y="582"/>
                    </a:lnTo>
                    <a:lnTo>
                      <a:pt x="545" y="579"/>
                    </a:lnTo>
                    <a:lnTo>
                      <a:pt x="546" y="576"/>
                    </a:lnTo>
                    <a:lnTo>
                      <a:pt x="549" y="576"/>
                    </a:lnTo>
                    <a:lnTo>
                      <a:pt x="549" y="576"/>
                    </a:lnTo>
                    <a:lnTo>
                      <a:pt x="550" y="575"/>
                    </a:lnTo>
                    <a:lnTo>
                      <a:pt x="552" y="574"/>
                    </a:lnTo>
                    <a:lnTo>
                      <a:pt x="552" y="568"/>
                    </a:lnTo>
                    <a:lnTo>
                      <a:pt x="552" y="568"/>
                    </a:lnTo>
                    <a:lnTo>
                      <a:pt x="552" y="566"/>
                    </a:lnTo>
                    <a:lnTo>
                      <a:pt x="553" y="566"/>
                    </a:lnTo>
                    <a:lnTo>
                      <a:pt x="556" y="568"/>
                    </a:lnTo>
                    <a:lnTo>
                      <a:pt x="558" y="569"/>
                    </a:lnTo>
                    <a:lnTo>
                      <a:pt x="562" y="569"/>
                    </a:lnTo>
                    <a:lnTo>
                      <a:pt x="562" y="569"/>
                    </a:lnTo>
                    <a:lnTo>
                      <a:pt x="562" y="568"/>
                    </a:lnTo>
                    <a:lnTo>
                      <a:pt x="563" y="566"/>
                    </a:lnTo>
                    <a:lnTo>
                      <a:pt x="563" y="559"/>
                    </a:lnTo>
                    <a:lnTo>
                      <a:pt x="563" y="555"/>
                    </a:lnTo>
                    <a:lnTo>
                      <a:pt x="565" y="552"/>
                    </a:lnTo>
                    <a:lnTo>
                      <a:pt x="566" y="552"/>
                    </a:lnTo>
                    <a:lnTo>
                      <a:pt x="566" y="552"/>
                    </a:lnTo>
                    <a:lnTo>
                      <a:pt x="567" y="551"/>
                    </a:lnTo>
                    <a:lnTo>
                      <a:pt x="569" y="549"/>
                    </a:lnTo>
                    <a:lnTo>
                      <a:pt x="569" y="542"/>
                    </a:lnTo>
                    <a:lnTo>
                      <a:pt x="565" y="528"/>
                    </a:lnTo>
                    <a:lnTo>
                      <a:pt x="565" y="528"/>
                    </a:lnTo>
                    <a:lnTo>
                      <a:pt x="563" y="527"/>
                    </a:lnTo>
                    <a:lnTo>
                      <a:pt x="562" y="525"/>
                    </a:lnTo>
                    <a:lnTo>
                      <a:pt x="555" y="528"/>
                    </a:lnTo>
                    <a:lnTo>
                      <a:pt x="546" y="531"/>
                    </a:lnTo>
                    <a:lnTo>
                      <a:pt x="538" y="534"/>
                    </a:lnTo>
                    <a:lnTo>
                      <a:pt x="538" y="53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92" name="North American">
              <a:extLst>
                <a:ext uri="{FF2B5EF4-FFF2-40B4-BE49-F238E27FC236}">
                  <a16:creationId xmlns:a16="http://schemas.microsoft.com/office/drawing/2014/main" id="{4B4568A1-272D-834C-AC31-CC587D9BF42A}"/>
                </a:ext>
              </a:extLst>
            </p:cNvPr>
            <p:cNvGrpSpPr/>
            <p:nvPr/>
          </p:nvGrpSpPr>
          <p:grpSpPr>
            <a:xfrm>
              <a:off x="4754563" y="1329815"/>
              <a:ext cx="2173207" cy="1845881"/>
              <a:chOff x="310223" y="1615054"/>
              <a:chExt cx="2750919" cy="2336578"/>
            </a:xfrm>
            <a:grpFill/>
          </p:grpSpPr>
          <p:sp>
            <p:nvSpPr>
              <p:cNvPr id="1743" name="Mexico">
                <a:extLst>
                  <a:ext uri="{FF2B5EF4-FFF2-40B4-BE49-F238E27FC236}">
                    <a16:creationId xmlns:a16="http://schemas.microsoft.com/office/drawing/2014/main" id="{852B721A-E382-2A4F-8C72-9C1950121FD6}"/>
                  </a:ext>
                </a:extLst>
              </p:cNvPr>
              <p:cNvSpPr>
                <a:spLocks/>
              </p:cNvSpPr>
              <p:nvPr/>
            </p:nvSpPr>
            <p:spPr bwMode="auto">
              <a:xfrm>
                <a:off x="1526605" y="3501778"/>
                <a:ext cx="720655" cy="449854"/>
              </a:xfrm>
              <a:custGeom>
                <a:avLst/>
                <a:gdLst/>
                <a:ahLst/>
                <a:cxnLst>
                  <a:cxn ang="0">
                    <a:pos x="427" y="284"/>
                  </a:cxn>
                  <a:cxn ang="0">
                    <a:pos x="417" y="266"/>
                  </a:cxn>
                  <a:cxn ang="0">
                    <a:pos x="450" y="256"/>
                  </a:cxn>
                  <a:cxn ang="0">
                    <a:pos x="468" y="251"/>
                  </a:cxn>
                  <a:cxn ang="0">
                    <a:pos x="478" y="212"/>
                  </a:cxn>
                  <a:cxn ang="0">
                    <a:pos x="485" y="195"/>
                  </a:cxn>
                  <a:cxn ang="0">
                    <a:pos x="448" y="196"/>
                  </a:cxn>
                  <a:cxn ang="0">
                    <a:pos x="427" y="219"/>
                  </a:cxn>
                  <a:cxn ang="0">
                    <a:pos x="417" y="237"/>
                  </a:cxn>
                  <a:cxn ang="0">
                    <a:pos x="407" y="244"/>
                  </a:cxn>
                  <a:cxn ang="0">
                    <a:pos x="359" y="249"/>
                  </a:cxn>
                  <a:cxn ang="0">
                    <a:pos x="337" y="236"/>
                  </a:cxn>
                  <a:cxn ang="0">
                    <a:pos x="317" y="203"/>
                  </a:cxn>
                  <a:cxn ang="0">
                    <a:pos x="313" y="141"/>
                  </a:cxn>
                  <a:cxn ang="0">
                    <a:pos x="312" y="118"/>
                  </a:cxn>
                  <a:cxn ang="0">
                    <a:pos x="285" y="101"/>
                  </a:cxn>
                  <a:cxn ang="0">
                    <a:pos x="273" y="81"/>
                  </a:cxn>
                  <a:cxn ang="0">
                    <a:pos x="244" y="52"/>
                  </a:cxn>
                  <a:cxn ang="0">
                    <a:pos x="225" y="65"/>
                  </a:cxn>
                  <a:cxn ang="0">
                    <a:pos x="202" y="51"/>
                  </a:cxn>
                  <a:cxn ang="0">
                    <a:pos x="179" y="24"/>
                  </a:cxn>
                  <a:cxn ang="0">
                    <a:pos x="54" y="10"/>
                  </a:cxn>
                  <a:cxn ang="0">
                    <a:pos x="3" y="11"/>
                  </a:cxn>
                  <a:cxn ang="0">
                    <a:pos x="22" y="49"/>
                  </a:cxn>
                  <a:cxn ang="0">
                    <a:pos x="49" y="77"/>
                  </a:cxn>
                  <a:cxn ang="0">
                    <a:pos x="39" y="86"/>
                  </a:cxn>
                  <a:cxn ang="0">
                    <a:pos x="57" y="102"/>
                  </a:cxn>
                  <a:cxn ang="0">
                    <a:pos x="81" y="125"/>
                  </a:cxn>
                  <a:cxn ang="0">
                    <a:pos x="97" y="149"/>
                  </a:cxn>
                  <a:cxn ang="0">
                    <a:pos x="115" y="172"/>
                  </a:cxn>
                  <a:cxn ang="0">
                    <a:pos x="120" y="156"/>
                  </a:cxn>
                  <a:cxn ang="0">
                    <a:pos x="106" y="146"/>
                  </a:cxn>
                  <a:cxn ang="0">
                    <a:pos x="98" y="128"/>
                  </a:cxn>
                  <a:cxn ang="0">
                    <a:pos x="73" y="85"/>
                  </a:cxn>
                  <a:cxn ang="0">
                    <a:pos x="63" y="62"/>
                  </a:cxn>
                  <a:cxn ang="0">
                    <a:pos x="46" y="52"/>
                  </a:cxn>
                  <a:cxn ang="0">
                    <a:pos x="36" y="18"/>
                  </a:cxn>
                  <a:cxn ang="0">
                    <a:pos x="44" y="20"/>
                  </a:cxn>
                  <a:cxn ang="0">
                    <a:pos x="56" y="22"/>
                  </a:cxn>
                  <a:cxn ang="0">
                    <a:pos x="66" y="27"/>
                  </a:cxn>
                  <a:cxn ang="0">
                    <a:pos x="74" y="57"/>
                  </a:cxn>
                  <a:cxn ang="0">
                    <a:pos x="77" y="69"/>
                  </a:cxn>
                  <a:cxn ang="0">
                    <a:pos x="94" y="81"/>
                  </a:cxn>
                  <a:cxn ang="0">
                    <a:pos x="108" y="95"/>
                  </a:cxn>
                  <a:cxn ang="0">
                    <a:pos x="123" y="105"/>
                  </a:cxn>
                  <a:cxn ang="0">
                    <a:pos x="125" y="121"/>
                  </a:cxn>
                  <a:cxn ang="0">
                    <a:pos x="148" y="139"/>
                  </a:cxn>
                  <a:cxn ang="0">
                    <a:pos x="191" y="195"/>
                  </a:cxn>
                  <a:cxn ang="0">
                    <a:pos x="188" y="210"/>
                  </a:cxn>
                  <a:cxn ang="0">
                    <a:pos x="195" y="232"/>
                  </a:cxn>
                  <a:cxn ang="0">
                    <a:pos x="226" y="251"/>
                  </a:cxn>
                  <a:cxn ang="0">
                    <a:pos x="269" y="269"/>
                  </a:cxn>
                  <a:cxn ang="0">
                    <a:pos x="329" y="291"/>
                  </a:cxn>
                  <a:cxn ang="0">
                    <a:pos x="370" y="287"/>
                  </a:cxn>
                  <a:cxn ang="0">
                    <a:pos x="406" y="286"/>
                  </a:cxn>
                </a:cxnLst>
                <a:rect l="0" t="0" r="r" b="b"/>
                <a:pathLst>
                  <a:path w="487" h="304">
                    <a:moveTo>
                      <a:pt x="406" y="286"/>
                    </a:moveTo>
                    <a:lnTo>
                      <a:pt x="406" y="286"/>
                    </a:lnTo>
                    <a:lnTo>
                      <a:pt x="417" y="287"/>
                    </a:lnTo>
                    <a:lnTo>
                      <a:pt x="424" y="286"/>
                    </a:lnTo>
                    <a:lnTo>
                      <a:pt x="426" y="286"/>
                    </a:lnTo>
                    <a:lnTo>
                      <a:pt x="427" y="284"/>
                    </a:lnTo>
                    <a:lnTo>
                      <a:pt x="427" y="284"/>
                    </a:lnTo>
                    <a:lnTo>
                      <a:pt x="427" y="281"/>
                    </a:lnTo>
                    <a:lnTo>
                      <a:pt x="426" y="280"/>
                    </a:lnTo>
                    <a:lnTo>
                      <a:pt x="421" y="274"/>
                    </a:lnTo>
                    <a:lnTo>
                      <a:pt x="417" y="270"/>
                    </a:lnTo>
                    <a:lnTo>
                      <a:pt x="416" y="269"/>
                    </a:lnTo>
                    <a:lnTo>
                      <a:pt x="416" y="269"/>
                    </a:lnTo>
                    <a:lnTo>
                      <a:pt x="417" y="266"/>
                    </a:lnTo>
                    <a:lnTo>
                      <a:pt x="418" y="261"/>
                    </a:lnTo>
                    <a:lnTo>
                      <a:pt x="420" y="259"/>
                    </a:lnTo>
                    <a:lnTo>
                      <a:pt x="421" y="256"/>
                    </a:lnTo>
                    <a:lnTo>
                      <a:pt x="421" y="256"/>
                    </a:lnTo>
                    <a:lnTo>
                      <a:pt x="436" y="257"/>
                    </a:lnTo>
                    <a:lnTo>
                      <a:pt x="450" y="256"/>
                    </a:lnTo>
                    <a:lnTo>
                      <a:pt x="450" y="256"/>
                    </a:lnTo>
                    <a:lnTo>
                      <a:pt x="454" y="251"/>
                    </a:lnTo>
                    <a:lnTo>
                      <a:pt x="457" y="249"/>
                    </a:lnTo>
                    <a:lnTo>
                      <a:pt x="461" y="246"/>
                    </a:lnTo>
                    <a:lnTo>
                      <a:pt x="461" y="246"/>
                    </a:lnTo>
                    <a:lnTo>
                      <a:pt x="464" y="247"/>
                    </a:lnTo>
                    <a:lnTo>
                      <a:pt x="468" y="251"/>
                    </a:lnTo>
                    <a:lnTo>
                      <a:pt x="468" y="251"/>
                    </a:lnTo>
                    <a:lnTo>
                      <a:pt x="471" y="247"/>
                    </a:lnTo>
                    <a:lnTo>
                      <a:pt x="473" y="242"/>
                    </a:lnTo>
                    <a:lnTo>
                      <a:pt x="475" y="229"/>
                    </a:lnTo>
                    <a:lnTo>
                      <a:pt x="475" y="229"/>
                    </a:lnTo>
                    <a:lnTo>
                      <a:pt x="475" y="219"/>
                    </a:lnTo>
                    <a:lnTo>
                      <a:pt x="475" y="215"/>
                    </a:lnTo>
                    <a:lnTo>
                      <a:pt x="478" y="212"/>
                    </a:lnTo>
                    <a:lnTo>
                      <a:pt x="478" y="212"/>
                    </a:lnTo>
                    <a:lnTo>
                      <a:pt x="485" y="206"/>
                    </a:lnTo>
                    <a:lnTo>
                      <a:pt x="487" y="203"/>
                    </a:lnTo>
                    <a:lnTo>
                      <a:pt x="487" y="197"/>
                    </a:lnTo>
                    <a:lnTo>
                      <a:pt x="487" y="197"/>
                    </a:lnTo>
                    <a:lnTo>
                      <a:pt x="487" y="196"/>
                    </a:lnTo>
                    <a:lnTo>
                      <a:pt x="485" y="195"/>
                    </a:lnTo>
                    <a:lnTo>
                      <a:pt x="481" y="195"/>
                    </a:lnTo>
                    <a:lnTo>
                      <a:pt x="477" y="196"/>
                    </a:lnTo>
                    <a:lnTo>
                      <a:pt x="473" y="195"/>
                    </a:lnTo>
                    <a:lnTo>
                      <a:pt x="473" y="195"/>
                    </a:lnTo>
                    <a:lnTo>
                      <a:pt x="468" y="193"/>
                    </a:lnTo>
                    <a:lnTo>
                      <a:pt x="464" y="193"/>
                    </a:lnTo>
                    <a:lnTo>
                      <a:pt x="448" y="196"/>
                    </a:lnTo>
                    <a:lnTo>
                      <a:pt x="448" y="196"/>
                    </a:lnTo>
                    <a:lnTo>
                      <a:pt x="438" y="197"/>
                    </a:lnTo>
                    <a:lnTo>
                      <a:pt x="431" y="202"/>
                    </a:lnTo>
                    <a:lnTo>
                      <a:pt x="428" y="207"/>
                    </a:lnTo>
                    <a:lnTo>
                      <a:pt x="427" y="215"/>
                    </a:lnTo>
                    <a:lnTo>
                      <a:pt x="427" y="215"/>
                    </a:lnTo>
                    <a:lnTo>
                      <a:pt x="427" y="219"/>
                    </a:lnTo>
                    <a:lnTo>
                      <a:pt x="426" y="222"/>
                    </a:lnTo>
                    <a:lnTo>
                      <a:pt x="423" y="224"/>
                    </a:lnTo>
                    <a:lnTo>
                      <a:pt x="423" y="229"/>
                    </a:lnTo>
                    <a:lnTo>
                      <a:pt x="423" y="229"/>
                    </a:lnTo>
                    <a:lnTo>
                      <a:pt x="423" y="232"/>
                    </a:lnTo>
                    <a:lnTo>
                      <a:pt x="421" y="234"/>
                    </a:lnTo>
                    <a:lnTo>
                      <a:pt x="417" y="237"/>
                    </a:lnTo>
                    <a:lnTo>
                      <a:pt x="413" y="240"/>
                    </a:lnTo>
                    <a:lnTo>
                      <a:pt x="413" y="242"/>
                    </a:lnTo>
                    <a:lnTo>
                      <a:pt x="411" y="243"/>
                    </a:lnTo>
                    <a:lnTo>
                      <a:pt x="411" y="243"/>
                    </a:lnTo>
                    <a:lnTo>
                      <a:pt x="411" y="244"/>
                    </a:lnTo>
                    <a:lnTo>
                      <a:pt x="411" y="246"/>
                    </a:lnTo>
                    <a:lnTo>
                      <a:pt x="407" y="244"/>
                    </a:lnTo>
                    <a:lnTo>
                      <a:pt x="400" y="242"/>
                    </a:lnTo>
                    <a:lnTo>
                      <a:pt x="400" y="242"/>
                    </a:lnTo>
                    <a:lnTo>
                      <a:pt x="393" y="242"/>
                    </a:lnTo>
                    <a:lnTo>
                      <a:pt x="381" y="244"/>
                    </a:lnTo>
                    <a:lnTo>
                      <a:pt x="362" y="250"/>
                    </a:lnTo>
                    <a:lnTo>
                      <a:pt x="362" y="250"/>
                    </a:lnTo>
                    <a:lnTo>
                      <a:pt x="359" y="249"/>
                    </a:lnTo>
                    <a:lnTo>
                      <a:pt x="353" y="246"/>
                    </a:lnTo>
                    <a:lnTo>
                      <a:pt x="349" y="243"/>
                    </a:lnTo>
                    <a:lnTo>
                      <a:pt x="345" y="242"/>
                    </a:lnTo>
                    <a:lnTo>
                      <a:pt x="345" y="242"/>
                    </a:lnTo>
                    <a:lnTo>
                      <a:pt x="342" y="240"/>
                    </a:lnTo>
                    <a:lnTo>
                      <a:pt x="340" y="240"/>
                    </a:lnTo>
                    <a:lnTo>
                      <a:pt x="337" y="236"/>
                    </a:lnTo>
                    <a:lnTo>
                      <a:pt x="336" y="230"/>
                    </a:lnTo>
                    <a:lnTo>
                      <a:pt x="335" y="224"/>
                    </a:lnTo>
                    <a:lnTo>
                      <a:pt x="335" y="224"/>
                    </a:lnTo>
                    <a:lnTo>
                      <a:pt x="333" y="219"/>
                    </a:lnTo>
                    <a:lnTo>
                      <a:pt x="327" y="215"/>
                    </a:lnTo>
                    <a:lnTo>
                      <a:pt x="322" y="209"/>
                    </a:lnTo>
                    <a:lnTo>
                      <a:pt x="317" y="203"/>
                    </a:lnTo>
                    <a:lnTo>
                      <a:pt x="317" y="203"/>
                    </a:lnTo>
                    <a:lnTo>
                      <a:pt x="315" y="197"/>
                    </a:lnTo>
                    <a:lnTo>
                      <a:pt x="313" y="189"/>
                    </a:lnTo>
                    <a:lnTo>
                      <a:pt x="312" y="172"/>
                    </a:lnTo>
                    <a:lnTo>
                      <a:pt x="312" y="172"/>
                    </a:lnTo>
                    <a:lnTo>
                      <a:pt x="312" y="153"/>
                    </a:lnTo>
                    <a:lnTo>
                      <a:pt x="313" y="141"/>
                    </a:lnTo>
                    <a:lnTo>
                      <a:pt x="317" y="128"/>
                    </a:lnTo>
                    <a:lnTo>
                      <a:pt x="317" y="128"/>
                    </a:lnTo>
                    <a:lnTo>
                      <a:pt x="319" y="121"/>
                    </a:lnTo>
                    <a:lnTo>
                      <a:pt x="319" y="121"/>
                    </a:lnTo>
                    <a:lnTo>
                      <a:pt x="315" y="119"/>
                    </a:lnTo>
                    <a:lnTo>
                      <a:pt x="312" y="118"/>
                    </a:lnTo>
                    <a:lnTo>
                      <a:pt x="312" y="118"/>
                    </a:lnTo>
                    <a:lnTo>
                      <a:pt x="306" y="118"/>
                    </a:lnTo>
                    <a:lnTo>
                      <a:pt x="299" y="115"/>
                    </a:lnTo>
                    <a:lnTo>
                      <a:pt x="289" y="111"/>
                    </a:lnTo>
                    <a:lnTo>
                      <a:pt x="289" y="111"/>
                    </a:lnTo>
                    <a:lnTo>
                      <a:pt x="288" y="109"/>
                    </a:lnTo>
                    <a:lnTo>
                      <a:pt x="286" y="106"/>
                    </a:lnTo>
                    <a:lnTo>
                      <a:pt x="285" y="101"/>
                    </a:lnTo>
                    <a:lnTo>
                      <a:pt x="285" y="101"/>
                    </a:lnTo>
                    <a:lnTo>
                      <a:pt x="283" y="98"/>
                    </a:lnTo>
                    <a:lnTo>
                      <a:pt x="283" y="94"/>
                    </a:lnTo>
                    <a:lnTo>
                      <a:pt x="282" y="91"/>
                    </a:lnTo>
                    <a:lnTo>
                      <a:pt x="280" y="88"/>
                    </a:lnTo>
                    <a:lnTo>
                      <a:pt x="280" y="88"/>
                    </a:lnTo>
                    <a:lnTo>
                      <a:pt x="273" y="81"/>
                    </a:lnTo>
                    <a:lnTo>
                      <a:pt x="269" y="74"/>
                    </a:lnTo>
                    <a:lnTo>
                      <a:pt x="266" y="67"/>
                    </a:lnTo>
                    <a:lnTo>
                      <a:pt x="266" y="67"/>
                    </a:lnTo>
                    <a:lnTo>
                      <a:pt x="263" y="64"/>
                    </a:lnTo>
                    <a:lnTo>
                      <a:pt x="261" y="59"/>
                    </a:lnTo>
                    <a:lnTo>
                      <a:pt x="253" y="55"/>
                    </a:lnTo>
                    <a:lnTo>
                      <a:pt x="244" y="52"/>
                    </a:lnTo>
                    <a:lnTo>
                      <a:pt x="238" y="51"/>
                    </a:lnTo>
                    <a:lnTo>
                      <a:pt x="238" y="51"/>
                    </a:lnTo>
                    <a:lnTo>
                      <a:pt x="235" y="51"/>
                    </a:lnTo>
                    <a:lnTo>
                      <a:pt x="232" y="52"/>
                    </a:lnTo>
                    <a:lnTo>
                      <a:pt x="229" y="58"/>
                    </a:lnTo>
                    <a:lnTo>
                      <a:pt x="226" y="62"/>
                    </a:lnTo>
                    <a:lnTo>
                      <a:pt x="225" y="65"/>
                    </a:lnTo>
                    <a:lnTo>
                      <a:pt x="225" y="65"/>
                    </a:lnTo>
                    <a:lnTo>
                      <a:pt x="222" y="64"/>
                    </a:lnTo>
                    <a:lnTo>
                      <a:pt x="216" y="61"/>
                    </a:lnTo>
                    <a:lnTo>
                      <a:pt x="207" y="55"/>
                    </a:lnTo>
                    <a:lnTo>
                      <a:pt x="207" y="55"/>
                    </a:lnTo>
                    <a:lnTo>
                      <a:pt x="204" y="54"/>
                    </a:lnTo>
                    <a:lnTo>
                      <a:pt x="202" y="51"/>
                    </a:lnTo>
                    <a:lnTo>
                      <a:pt x="201" y="45"/>
                    </a:lnTo>
                    <a:lnTo>
                      <a:pt x="201" y="45"/>
                    </a:lnTo>
                    <a:lnTo>
                      <a:pt x="199" y="42"/>
                    </a:lnTo>
                    <a:lnTo>
                      <a:pt x="197" y="38"/>
                    </a:lnTo>
                    <a:lnTo>
                      <a:pt x="189" y="32"/>
                    </a:lnTo>
                    <a:lnTo>
                      <a:pt x="189" y="32"/>
                    </a:lnTo>
                    <a:lnTo>
                      <a:pt x="179" y="24"/>
                    </a:lnTo>
                    <a:lnTo>
                      <a:pt x="172" y="17"/>
                    </a:lnTo>
                    <a:lnTo>
                      <a:pt x="147" y="17"/>
                    </a:lnTo>
                    <a:lnTo>
                      <a:pt x="141" y="24"/>
                    </a:lnTo>
                    <a:lnTo>
                      <a:pt x="96" y="24"/>
                    </a:lnTo>
                    <a:lnTo>
                      <a:pt x="96" y="24"/>
                    </a:lnTo>
                    <a:lnTo>
                      <a:pt x="77" y="17"/>
                    </a:lnTo>
                    <a:lnTo>
                      <a:pt x="54" y="10"/>
                    </a:lnTo>
                    <a:lnTo>
                      <a:pt x="54" y="10"/>
                    </a:lnTo>
                    <a:lnTo>
                      <a:pt x="49" y="7"/>
                    </a:lnTo>
                    <a:lnTo>
                      <a:pt x="43" y="4"/>
                    </a:lnTo>
                    <a:lnTo>
                      <a:pt x="37" y="0"/>
                    </a:lnTo>
                    <a:lnTo>
                      <a:pt x="0" y="5"/>
                    </a:lnTo>
                    <a:lnTo>
                      <a:pt x="0" y="5"/>
                    </a:lnTo>
                    <a:lnTo>
                      <a:pt x="3" y="11"/>
                    </a:lnTo>
                    <a:lnTo>
                      <a:pt x="9" y="18"/>
                    </a:lnTo>
                    <a:lnTo>
                      <a:pt x="9" y="18"/>
                    </a:lnTo>
                    <a:lnTo>
                      <a:pt x="13" y="27"/>
                    </a:lnTo>
                    <a:lnTo>
                      <a:pt x="17" y="35"/>
                    </a:lnTo>
                    <a:lnTo>
                      <a:pt x="20" y="44"/>
                    </a:lnTo>
                    <a:lnTo>
                      <a:pt x="22" y="49"/>
                    </a:lnTo>
                    <a:lnTo>
                      <a:pt x="22" y="49"/>
                    </a:lnTo>
                    <a:lnTo>
                      <a:pt x="24" y="54"/>
                    </a:lnTo>
                    <a:lnTo>
                      <a:pt x="29" y="58"/>
                    </a:lnTo>
                    <a:lnTo>
                      <a:pt x="42" y="65"/>
                    </a:lnTo>
                    <a:lnTo>
                      <a:pt x="42" y="65"/>
                    </a:lnTo>
                    <a:lnTo>
                      <a:pt x="44" y="68"/>
                    </a:lnTo>
                    <a:lnTo>
                      <a:pt x="47" y="71"/>
                    </a:lnTo>
                    <a:lnTo>
                      <a:pt x="49" y="77"/>
                    </a:lnTo>
                    <a:lnTo>
                      <a:pt x="50" y="82"/>
                    </a:lnTo>
                    <a:lnTo>
                      <a:pt x="50" y="86"/>
                    </a:lnTo>
                    <a:lnTo>
                      <a:pt x="50" y="86"/>
                    </a:lnTo>
                    <a:lnTo>
                      <a:pt x="49" y="88"/>
                    </a:lnTo>
                    <a:lnTo>
                      <a:pt x="47" y="88"/>
                    </a:lnTo>
                    <a:lnTo>
                      <a:pt x="43" y="88"/>
                    </a:lnTo>
                    <a:lnTo>
                      <a:pt x="39" y="86"/>
                    </a:lnTo>
                    <a:lnTo>
                      <a:pt x="37" y="86"/>
                    </a:lnTo>
                    <a:lnTo>
                      <a:pt x="37" y="88"/>
                    </a:lnTo>
                    <a:lnTo>
                      <a:pt x="37" y="88"/>
                    </a:lnTo>
                    <a:lnTo>
                      <a:pt x="39" y="92"/>
                    </a:lnTo>
                    <a:lnTo>
                      <a:pt x="44" y="96"/>
                    </a:lnTo>
                    <a:lnTo>
                      <a:pt x="51" y="101"/>
                    </a:lnTo>
                    <a:lnTo>
                      <a:pt x="57" y="102"/>
                    </a:lnTo>
                    <a:lnTo>
                      <a:pt x="57" y="102"/>
                    </a:lnTo>
                    <a:lnTo>
                      <a:pt x="60" y="104"/>
                    </a:lnTo>
                    <a:lnTo>
                      <a:pt x="64" y="105"/>
                    </a:lnTo>
                    <a:lnTo>
                      <a:pt x="74" y="114"/>
                    </a:lnTo>
                    <a:lnTo>
                      <a:pt x="74" y="114"/>
                    </a:lnTo>
                    <a:lnTo>
                      <a:pt x="78" y="119"/>
                    </a:lnTo>
                    <a:lnTo>
                      <a:pt x="81" y="125"/>
                    </a:lnTo>
                    <a:lnTo>
                      <a:pt x="81" y="131"/>
                    </a:lnTo>
                    <a:lnTo>
                      <a:pt x="78" y="133"/>
                    </a:lnTo>
                    <a:lnTo>
                      <a:pt x="78" y="133"/>
                    </a:lnTo>
                    <a:lnTo>
                      <a:pt x="78" y="135"/>
                    </a:lnTo>
                    <a:lnTo>
                      <a:pt x="78" y="136"/>
                    </a:lnTo>
                    <a:lnTo>
                      <a:pt x="83" y="139"/>
                    </a:lnTo>
                    <a:lnTo>
                      <a:pt x="97" y="149"/>
                    </a:lnTo>
                    <a:lnTo>
                      <a:pt x="97" y="149"/>
                    </a:lnTo>
                    <a:lnTo>
                      <a:pt x="104" y="156"/>
                    </a:lnTo>
                    <a:lnTo>
                      <a:pt x="110" y="162"/>
                    </a:lnTo>
                    <a:lnTo>
                      <a:pt x="113" y="166"/>
                    </a:lnTo>
                    <a:lnTo>
                      <a:pt x="114" y="170"/>
                    </a:lnTo>
                    <a:lnTo>
                      <a:pt x="114" y="170"/>
                    </a:lnTo>
                    <a:lnTo>
                      <a:pt x="115" y="172"/>
                    </a:lnTo>
                    <a:lnTo>
                      <a:pt x="118" y="172"/>
                    </a:lnTo>
                    <a:lnTo>
                      <a:pt x="120" y="169"/>
                    </a:lnTo>
                    <a:lnTo>
                      <a:pt x="123" y="165"/>
                    </a:lnTo>
                    <a:lnTo>
                      <a:pt x="123" y="165"/>
                    </a:lnTo>
                    <a:lnTo>
                      <a:pt x="123" y="162"/>
                    </a:lnTo>
                    <a:lnTo>
                      <a:pt x="121" y="159"/>
                    </a:lnTo>
                    <a:lnTo>
                      <a:pt x="120" y="156"/>
                    </a:lnTo>
                    <a:lnTo>
                      <a:pt x="118" y="152"/>
                    </a:lnTo>
                    <a:lnTo>
                      <a:pt x="118" y="152"/>
                    </a:lnTo>
                    <a:lnTo>
                      <a:pt x="118" y="150"/>
                    </a:lnTo>
                    <a:lnTo>
                      <a:pt x="117" y="149"/>
                    </a:lnTo>
                    <a:lnTo>
                      <a:pt x="113" y="148"/>
                    </a:lnTo>
                    <a:lnTo>
                      <a:pt x="106" y="146"/>
                    </a:lnTo>
                    <a:lnTo>
                      <a:pt x="106" y="146"/>
                    </a:lnTo>
                    <a:lnTo>
                      <a:pt x="104" y="146"/>
                    </a:lnTo>
                    <a:lnTo>
                      <a:pt x="103" y="145"/>
                    </a:lnTo>
                    <a:lnTo>
                      <a:pt x="103" y="141"/>
                    </a:lnTo>
                    <a:lnTo>
                      <a:pt x="103" y="136"/>
                    </a:lnTo>
                    <a:lnTo>
                      <a:pt x="101" y="132"/>
                    </a:lnTo>
                    <a:lnTo>
                      <a:pt x="101" y="132"/>
                    </a:lnTo>
                    <a:lnTo>
                      <a:pt x="98" y="128"/>
                    </a:lnTo>
                    <a:lnTo>
                      <a:pt x="96" y="122"/>
                    </a:lnTo>
                    <a:lnTo>
                      <a:pt x="91" y="109"/>
                    </a:lnTo>
                    <a:lnTo>
                      <a:pt x="91" y="109"/>
                    </a:lnTo>
                    <a:lnTo>
                      <a:pt x="87" y="104"/>
                    </a:lnTo>
                    <a:lnTo>
                      <a:pt x="83" y="98"/>
                    </a:lnTo>
                    <a:lnTo>
                      <a:pt x="77" y="92"/>
                    </a:lnTo>
                    <a:lnTo>
                      <a:pt x="73" y="85"/>
                    </a:lnTo>
                    <a:lnTo>
                      <a:pt x="73" y="85"/>
                    </a:lnTo>
                    <a:lnTo>
                      <a:pt x="66" y="75"/>
                    </a:lnTo>
                    <a:lnTo>
                      <a:pt x="60" y="68"/>
                    </a:lnTo>
                    <a:lnTo>
                      <a:pt x="60" y="68"/>
                    </a:lnTo>
                    <a:lnTo>
                      <a:pt x="60" y="67"/>
                    </a:lnTo>
                    <a:lnTo>
                      <a:pt x="61" y="64"/>
                    </a:lnTo>
                    <a:lnTo>
                      <a:pt x="63" y="62"/>
                    </a:lnTo>
                    <a:lnTo>
                      <a:pt x="61" y="59"/>
                    </a:lnTo>
                    <a:lnTo>
                      <a:pt x="61" y="59"/>
                    </a:lnTo>
                    <a:lnTo>
                      <a:pt x="60" y="58"/>
                    </a:lnTo>
                    <a:lnTo>
                      <a:pt x="57" y="57"/>
                    </a:lnTo>
                    <a:lnTo>
                      <a:pt x="50" y="54"/>
                    </a:lnTo>
                    <a:lnTo>
                      <a:pt x="50" y="54"/>
                    </a:lnTo>
                    <a:lnTo>
                      <a:pt x="46" y="52"/>
                    </a:lnTo>
                    <a:lnTo>
                      <a:pt x="43" y="49"/>
                    </a:lnTo>
                    <a:lnTo>
                      <a:pt x="42" y="45"/>
                    </a:lnTo>
                    <a:lnTo>
                      <a:pt x="40" y="42"/>
                    </a:lnTo>
                    <a:lnTo>
                      <a:pt x="40" y="42"/>
                    </a:lnTo>
                    <a:lnTo>
                      <a:pt x="39" y="30"/>
                    </a:lnTo>
                    <a:lnTo>
                      <a:pt x="36" y="18"/>
                    </a:lnTo>
                    <a:lnTo>
                      <a:pt x="36" y="18"/>
                    </a:lnTo>
                    <a:lnTo>
                      <a:pt x="36" y="15"/>
                    </a:lnTo>
                    <a:lnTo>
                      <a:pt x="37" y="15"/>
                    </a:lnTo>
                    <a:lnTo>
                      <a:pt x="39" y="15"/>
                    </a:lnTo>
                    <a:lnTo>
                      <a:pt x="42" y="17"/>
                    </a:lnTo>
                    <a:lnTo>
                      <a:pt x="42" y="17"/>
                    </a:lnTo>
                    <a:lnTo>
                      <a:pt x="43" y="20"/>
                    </a:lnTo>
                    <a:lnTo>
                      <a:pt x="44" y="20"/>
                    </a:lnTo>
                    <a:lnTo>
                      <a:pt x="47" y="20"/>
                    </a:lnTo>
                    <a:lnTo>
                      <a:pt x="47" y="20"/>
                    </a:lnTo>
                    <a:lnTo>
                      <a:pt x="49" y="18"/>
                    </a:lnTo>
                    <a:lnTo>
                      <a:pt x="51" y="20"/>
                    </a:lnTo>
                    <a:lnTo>
                      <a:pt x="53" y="20"/>
                    </a:lnTo>
                    <a:lnTo>
                      <a:pt x="56" y="22"/>
                    </a:lnTo>
                    <a:lnTo>
                      <a:pt x="56" y="22"/>
                    </a:lnTo>
                    <a:lnTo>
                      <a:pt x="57" y="24"/>
                    </a:lnTo>
                    <a:lnTo>
                      <a:pt x="60" y="24"/>
                    </a:lnTo>
                    <a:lnTo>
                      <a:pt x="63" y="24"/>
                    </a:lnTo>
                    <a:lnTo>
                      <a:pt x="66" y="25"/>
                    </a:lnTo>
                    <a:lnTo>
                      <a:pt x="66" y="25"/>
                    </a:lnTo>
                    <a:lnTo>
                      <a:pt x="66" y="25"/>
                    </a:lnTo>
                    <a:lnTo>
                      <a:pt x="66" y="27"/>
                    </a:lnTo>
                    <a:lnTo>
                      <a:pt x="64" y="30"/>
                    </a:lnTo>
                    <a:lnTo>
                      <a:pt x="64" y="35"/>
                    </a:lnTo>
                    <a:lnTo>
                      <a:pt x="66" y="40"/>
                    </a:lnTo>
                    <a:lnTo>
                      <a:pt x="69" y="45"/>
                    </a:lnTo>
                    <a:lnTo>
                      <a:pt x="69" y="45"/>
                    </a:lnTo>
                    <a:lnTo>
                      <a:pt x="73" y="54"/>
                    </a:lnTo>
                    <a:lnTo>
                      <a:pt x="74" y="57"/>
                    </a:lnTo>
                    <a:lnTo>
                      <a:pt x="73" y="58"/>
                    </a:lnTo>
                    <a:lnTo>
                      <a:pt x="71" y="64"/>
                    </a:lnTo>
                    <a:lnTo>
                      <a:pt x="71" y="64"/>
                    </a:lnTo>
                    <a:lnTo>
                      <a:pt x="73" y="69"/>
                    </a:lnTo>
                    <a:lnTo>
                      <a:pt x="73" y="69"/>
                    </a:lnTo>
                    <a:lnTo>
                      <a:pt x="74" y="71"/>
                    </a:lnTo>
                    <a:lnTo>
                      <a:pt x="77" y="69"/>
                    </a:lnTo>
                    <a:lnTo>
                      <a:pt x="78" y="68"/>
                    </a:lnTo>
                    <a:lnTo>
                      <a:pt x="78" y="68"/>
                    </a:lnTo>
                    <a:lnTo>
                      <a:pt x="81" y="68"/>
                    </a:lnTo>
                    <a:lnTo>
                      <a:pt x="84" y="69"/>
                    </a:lnTo>
                    <a:lnTo>
                      <a:pt x="90" y="77"/>
                    </a:lnTo>
                    <a:lnTo>
                      <a:pt x="90" y="77"/>
                    </a:lnTo>
                    <a:lnTo>
                      <a:pt x="94" y="81"/>
                    </a:lnTo>
                    <a:lnTo>
                      <a:pt x="98" y="82"/>
                    </a:lnTo>
                    <a:lnTo>
                      <a:pt x="103" y="84"/>
                    </a:lnTo>
                    <a:lnTo>
                      <a:pt x="104" y="86"/>
                    </a:lnTo>
                    <a:lnTo>
                      <a:pt x="104" y="86"/>
                    </a:lnTo>
                    <a:lnTo>
                      <a:pt x="104" y="89"/>
                    </a:lnTo>
                    <a:lnTo>
                      <a:pt x="106" y="92"/>
                    </a:lnTo>
                    <a:lnTo>
                      <a:pt x="108" y="95"/>
                    </a:lnTo>
                    <a:lnTo>
                      <a:pt x="111" y="96"/>
                    </a:lnTo>
                    <a:lnTo>
                      <a:pt x="111" y="96"/>
                    </a:lnTo>
                    <a:lnTo>
                      <a:pt x="115" y="98"/>
                    </a:lnTo>
                    <a:lnTo>
                      <a:pt x="118" y="101"/>
                    </a:lnTo>
                    <a:lnTo>
                      <a:pt x="120" y="104"/>
                    </a:lnTo>
                    <a:lnTo>
                      <a:pt x="123" y="105"/>
                    </a:lnTo>
                    <a:lnTo>
                      <a:pt x="123" y="105"/>
                    </a:lnTo>
                    <a:lnTo>
                      <a:pt x="125" y="106"/>
                    </a:lnTo>
                    <a:lnTo>
                      <a:pt x="127" y="109"/>
                    </a:lnTo>
                    <a:lnTo>
                      <a:pt x="127" y="112"/>
                    </a:lnTo>
                    <a:lnTo>
                      <a:pt x="125" y="115"/>
                    </a:lnTo>
                    <a:lnTo>
                      <a:pt x="125" y="115"/>
                    </a:lnTo>
                    <a:lnTo>
                      <a:pt x="124" y="118"/>
                    </a:lnTo>
                    <a:lnTo>
                      <a:pt x="125" y="121"/>
                    </a:lnTo>
                    <a:lnTo>
                      <a:pt x="130" y="125"/>
                    </a:lnTo>
                    <a:lnTo>
                      <a:pt x="135" y="128"/>
                    </a:lnTo>
                    <a:lnTo>
                      <a:pt x="135" y="128"/>
                    </a:lnTo>
                    <a:lnTo>
                      <a:pt x="140" y="129"/>
                    </a:lnTo>
                    <a:lnTo>
                      <a:pt x="143" y="132"/>
                    </a:lnTo>
                    <a:lnTo>
                      <a:pt x="144" y="135"/>
                    </a:lnTo>
                    <a:lnTo>
                      <a:pt x="148" y="139"/>
                    </a:lnTo>
                    <a:lnTo>
                      <a:pt x="148" y="139"/>
                    </a:lnTo>
                    <a:lnTo>
                      <a:pt x="167" y="159"/>
                    </a:lnTo>
                    <a:lnTo>
                      <a:pt x="182" y="178"/>
                    </a:lnTo>
                    <a:lnTo>
                      <a:pt x="182" y="178"/>
                    </a:lnTo>
                    <a:lnTo>
                      <a:pt x="188" y="187"/>
                    </a:lnTo>
                    <a:lnTo>
                      <a:pt x="191" y="195"/>
                    </a:lnTo>
                    <a:lnTo>
                      <a:pt x="191" y="195"/>
                    </a:lnTo>
                    <a:lnTo>
                      <a:pt x="191" y="199"/>
                    </a:lnTo>
                    <a:lnTo>
                      <a:pt x="189" y="202"/>
                    </a:lnTo>
                    <a:lnTo>
                      <a:pt x="189" y="205"/>
                    </a:lnTo>
                    <a:lnTo>
                      <a:pt x="189" y="207"/>
                    </a:lnTo>
                    <a:lnTo>
                      <a:pt x="189" y="207"/>
                    </a:lnTo>
                    <a:lnTo>
                      <a:pt x="191" y="209"/>
                    </a:lnTo>
                    <a:lnTo>
                      <a:pt x="188" y="210"/>
                    </a:lnTo>
                    <a:lnTo>
                      <a:pt x="187" y="212"/>
                    </a:lnTo>
                    <a:lnTo>
                      <a:pt x="185" y="213"/>
                    </a:lnTo>
                    <a:lnTo>
                      <a:pt x="185" y="213"/>
                    </a:lnTo>
                    <a:lnTo>
                      <a:pt x="187" y="217"/>
                    </a:lnTo>
                    <a:lnTo>
                      <a:pt x="188" y="223"/>
                    </a:lnTo>
                    <a:lnTo>
                      <a:pt x="192" y="230"/>
                    </a:lnTo>
                    <a:lnTo>
                      <a:pt x="195" y="232"/>
                    </a:lnTo>
                    <a:lnTo>
                      <a:pt x="198" y="233"/>
                    </a:lnTo>
                    <a:lnTo>
                      <a:pt x="198" y="233"/>
                    </a:lnTo>
                    <a:lnTo>
                      <a:pt x="204" y="234"/>
                    </a:lnTo>
                    <a:lnTo>
                      <a:pt x="209" y="239"/>
                    </a:lnTo>
                    <a:lnTo>
                      <a:pt x="221" y="249"/>
                    </a:lnTo>
                    <a:lnTo>
                      <a:pt x="221" y="249"/>
                    </a:lnTo>
                    <a:lnTo>
                      <a:pt x="226" y="251"/>
                    </a:lnTo>
                    <a:lnTo>
                      <a:pt x="232" y="253"/>
                    </a:lnTo>
                    <a:lnTo>
                      <a:pt x="239" y="254"/>
                    </a:lnTo>
                    <a:lnTo>
                      <a:pt x="246" y="256"/>
                    </a:lnTo>
                    <a:lnTo>
                      <a:pt x="246" y="256"/>
                    </a:lnTo>
                    <a:lnTo>
                      <a:pt x="253" y="260"/>
                    </a:lnTo>
                    <a:lnTo>
                      <a:pt x="261" y="264"/>
                    </a:lnTo>
                    <a:lnTo>
                      <a:pt x="269" y="269"/>
                    </a:lnTo>
                    <a:lnTo>
                      <a:pt x="278" y="271"/>
                    </a:lnTo>
                    <a:lnTo>
                      <a:pt x="278" y="271"/>
                    </a:lnTo>
                    <a:lnTo>
                      <a:pt x="298" y="279"/>
                    </a:lnTo>
                    <a:lnTo>
                      <a:pt x="315" y="287"/>
                    </a:lnTo>
                    <a:lnTo>
                      <a:pt x="315" y="287"/>
                    </a:lnTo>
                    <a:lnTo>
                      <a:pt x="322" y="290"/>
                    </a:lnTo>
                    <a:lnTo>
                      <a:pt x="329" y="291"/>
                    </a:lnTo>
                    <a:lnTo>
                      <a:pt x="337" y="288"/>
                    </a:lnTo>
                    <a:lnTo>
                      <a:pt x="347" y="286"/>
                    </a:lnTo>
                    <a:lnTo>
                      <a:pt x="347" y="286"/>
                    </a:lnTo>
                    <a:lnTo>
                      <a:pt x="352" y="284"/>
                    </a:lnTo>
                    <a:lnTo>
                      <a:pt x="356" y="284"/>
                    </a:lnTo>
                    <a:lnTo>
                      <a:pt x="363" y="286"/>
                    </a:lnTo>
                    <a:lnTo>
                      <a:pt x="370" y="287"/>
                    </a:lnTo>
                    <a:lnTo>
                      <a:pt x="376" y="290"/>
                    </a:lnTo>
                    <a:lnTo>
                      <a:pt x="376" y="290"/>
                    </a:lnTo>
                    <a:lnTo>
                      <a:pt x="383" y="296"/>
                    </a:lnTo>
                    <a:lnTo>
                      <a:pt x="393" y="304"/>
                    </a:lnTo>
                    <a:lnTo>
                      <a:pt x="393" y="304"/>
                    </a:lnTo>
                    <a:lnTo>
                      <a:pt x="406" y="286"/>
                    </a:lnTo>
                    <a:lnTo>
                      <a:pt x="406" y="28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44" name="Canada">
                <a:extLst>
                  <a:ext uri="{FF2B5EF4-FFF2-40B4-BE49-F238E27FC236}">
                    <a16:creationId xmlns:a16="http://schemas.microsoft.com/office/drawing/2014/main" id="{33CC979B-8C7C-7A46-BA2D-AB93FC99EA6B}"/>
                  </a:ext>
                </a:extLst>
              </p:cNvPr>
              <p:cNvSpPr>
                <a:spLocks noEditPoints="1"/>
              </p:cNvSpPr>
              <p:nvPr/>
            </p:nvSpPr>
            <p:spPr bwMode="auto">
              <a:xfrm>
                <a:off x="952449" y="1615054"/>
                <a:ext cx="2108693" cy="1620364"/>
              </a:xfrm>
              <a:custGeom>
                <a:avLst/>
                <a:gdLst/>
                <a:ahLst/>
                <a:cxnLst>
                  <a:cxn ang="0">
                    <a:pos x="294" y="420"/>
                  </a:cxn>
                  <a:cxn ang="0">
                    <a:pos x="249" y="381"/>
                  </a:cxn>
                  <a:cxn ang="0">
                    <a:pos x="532" y="360"/>
                  </a:cxn>
                  <a:cxn ang="0">
                    <a:pos x="364" y="377"/>
                  </a:cxn>
                  <a:cxn ang="0">
                    <a:pos x="485" y="491"/>
                  </a:cxn>
                  <a:cxn ang="0">
                    <a:pos x="313" y="265"/>
                  </a:cxn>
                  <a:cxn ang="0">
                    <a:pos x="356" y="221"/>
                  </a:cxn>
                  <a:cxn ang="0">
                    <a:pos x="461" y="299"/>
                  </a:cxn>
                  <a:cxn ang="0">
                    <a:pos x="509" y="279"/>
                  </a:cxn>
                  <a:cxn ang="0">
                    <a:pos x="502" y="199"/>
                  </a:cxn>
                  <a:cxn ang="0">
                    <a:pos x="670" y="175"/>
                  </a:cxn>
                  <a:cxn ang="0">
                    <a:pos x="593" y="280"/>
                  </a:cxn>
                  <a:cxn ang="0">
                    <a:pos x="660" y="296"/>
                  </a:cxn>
                  <a:cxn ang="0">
                    <a:pos x="764" y="307"/>
                  </a:cxn>
                  <a:cxn ang="0">
                    <a:pos x="697" y="322"/>
                  </a:cxn>
                  <a:cxn ang="0">
                    <a:pos x="898" y="312"/>
                  </a:cxn>
                  <a:cxn ang="0">
                    <a:pos x="777" y="255"/>
                  </a:cxn>
                  <a:cxn ang="0">
                    <a:pos x="858" y="172"/>
                  </a:cxn>
                  <a:cxn ang="0">
                    <a:pos x="752" y="91"/>
                  </a:cxn>
                  <a:cxn ang="0">
                    <a:pos x="927" y="98"/>
                  </a:cxn>
                  <a:cxn ang="0">
                    <a:pos x="865" y="176"/>
                  </a:cxn>
                  <a:cxn ang="0">
                    <a:pos x="952" y="246"/>
                  </a:cxn>
                  <a:cxn ang="0">
                    <a:pos x="1065" y="145"/>
                  </a:cxn>
                  <a:cxn ang="0">
                    <a:pos x="1198" y="17"/>
                  </a:cxn>
                  <a:cxn ang="0">
                    <a:pos x="929" y="36"/>
                  </a:cxn>
                  <a:cxn ang="0">
                    <a:pos x="952" y="643"/>
                  </a:cxn>
                  <a:cxn ang="0">
                    <a:pos x="972" y="623"/>
                  </a:cxn>
                  <a:cxn ang="0">
                    <a:pos x="1189" y="457"/>
                  </a:cxn>
                  <a:cxn ang="0">
                    <a:pos x="1020" y="370"/>
                  </a:cxn>
                  <a:cxn ang="0">
                    <a:pos x="882" y="357"/>
                  </a:cxn>
                  <a:cxn ang="0">
                    <a:pos x="997" y="441"/>
                  </a:cxn>
                  <a:cxn ang="0">
                    <a:pos x="1111" y="542"/>
                  </a:cxn>
                  <a:cxn ang="0">
                    <a:pos x="1208" y="666"/>
                  </a:cxn>
                  <a:cxn ang="0">
                    <a:pos x="1024" y="516"/>
                  </a:cxn>
                  <a:cxn ang="0">
                    <a:pos x="1414" y="972"/>
                  </a:cxn>
                  <a:cxn ang="0">
                    <a:pos x="1327" y="989"/>
                  </a:cxn>
                  <a:cxn ang="0">
                    <a:pos x="1302" y="1004"/>
                  </a:cxn>
                  <a:cxn ang="0">
                    <a:pos x="1149" y="977"/>
                  </a:cxn>
                  <a:cxn ang="0">
                    <a:pos x="1311" y="862"/>
                  </a:cxn>
                  <a:cxn ang="0">
                    <a:pos x="1260" y="747"/>
                  </a:cxn>
                  <a:cxn ang="0">
                    <a:pos x="1152" y="716"/>
                  </a:cxn>
                  <a:cxn ang="0">
                    <a:pos x="1017" y="687"/>
                  </a:cxn>
                  <a:cxn ang="0">
                    <a:pos x="989" y="911"/>
                  </a:cxn>
                  <a:cxn ang="0">
                    <a:pos x="775" y="751"/>
                  </a:cxn>
                  <a:cxn ang="0">
                    <a:pos x="832" y="609"/>
                  </a:cxn>
                  <a:cxn ang="0">
                    <a:pos x="944" y="541"/>
                  </a:cxn>
                  <a:cxn ang="0">
                    <a:pos x="886" y="505"/>
                  </a:cxn>
                  <a:cxn ang="0">
                    <a:pos x="819" y="467"/>
                  </a:cxn>
                  <a:cxn ang="0">
                    <a:pos x="798" y="329"/>
                  </a:cxn>
                  <a:cxn ang="0">
                    <a:pos x="755" y="475"/>
                  </a:cxn>
                  <a:cxn ang="0">
                    <a:pos x="727" y="467"/>
                  </a:cxn>
                  <a:cxn ang="0">
                    <a:pos x="582" y="495"/>
                  </a:cxn>
                  <a:cxn ang="0">
                    <a:pos x="498" y="508"/>
                  </a:cxn>
                  <a:cxn ang="0">
                    <a:pos x="232" y="454"/>
                  </a:cxn>
                  <a:cxn ang="0">
                    <a:pos x="129" y="465"/>
                  </a:cxn>
                  <a:cxn ang="0">
                    <a:pos x="75" y="730"/>
                  </a:cxn>
                  <a:cxn ang="0">
                    <a:pos x="210" y="896"/>
                  </a:cxn>
                  <a:cxn ang="0">
                    <a:pos x="851" y="960"/>
                  </a:cxn>
                  <a:cxn ang="0">
                    <a:pos x="996" y="1085"/>
                  </a:cxn>
                  <a:cxn ang="0">
                    <a:pos x="1235" y="1037"/>
                  </a:cxn>
                  <a:cxn ang="0">
                    <a:pos x="299" y="588"/>
                  </a:cxn>
                  <a:cxn ang="0">
                    <a:pos x="444" y="681"/>
                  </a:cxn>
                  <a:cxn ang="0">
                    <a:pos x="686" y="855"/>
                  </a:cxn>
                </a:cxnLst>
                <a:rect l="0" t="0" r="r" b="b"/>
                <a:pathLst>
                  <a:path w="1425" h="1095">
                    <a:moveTo>
                      <a:pt x="282" y="960"/>
                    </a:moveTo>
                    <a:lnTo>
                      <a:pt x="282" y="960"/>
                    </a:lnTo>
                    <a:lnTo>
                      <a:pt x="277" y="957"/>
                    </a:lnTo>
                    <a:lnTo>
                      <a:pt x="272" y="956"/>
                    </a:lnTo>
                    <a:lnTo>
                      <a:pt x="266" y="953"/>
                    </a:lnTo>
                    <a:lnTo>
                      <a:pt x="264" y="953"/>
                    </a:lnTo>
                    <a:lnTo>
                      <a:pt x="263" y="952"/>
                    </a:lnTo>
                    <a:lnTo>
                      <a:pt x="263" y="952"/>
                    </a:lnTo>
                    <a:lnTo>
                      <a:pt x="260" y="946"/>
                    </a:lnTo>
                    <a:lnTo>
                      <a:pt x="255" y="939"/>
                    </a:lnTo>
                    <a:lnTo>
                      <a:pt x="249" y="933"/>
                    </a:lnTo>
                    <a:lnTo>
                      <a:pt x="246" y="930"/>
                    </a:lnTo>
                    <a:lnTo>
                      <a:pt x="245" y="930"/>
                    </a:lnTo>
                    <a:lnTo>
                      <a:pt x="245" y="930"/>
                    </a:lnTo>
                    <a:lnTo>
                      <a:pt x="235" y="930"/>
                    </a:lnTo>
                    <a:lnTo>
                      <a:pt x="229" y="929"/>
                    </a:lnTo>
                    <a:lnTo>
                      <a:pt x="223" y="926"/>
                    </a:lnTo>
                    <a:lnTo>
                      <a:pt x="223" y="926"/>
                    </a:lnTo>
                    <a:lnTo>
                      <a:pt x="218" y="922"/>
                    </a:lnTo>
                    <a:lnTo>
                      <a:pt x="213" y="922"/>
                    </a:lnTo>
                    <a:lnTo>
                      <a:pt x="210" y="922"/>
                    </a:lnTo>
                    <a:lnTo>
                      <a:pt x="206" y="923"/>
                    </a:lnTo>
                    <a:lnTo>
                      <a:pt x="206" y="923"/>
                    </a:lnTo>
                    <a:lnTo>
                      <a:pt x="205" y="925"/>
                    </a:lnTo>
                    <a:lnTo>
                      <a:pt x="205" y="925"/>
                    </a:lnTo>
                    <a:lnTo>
                      <a:pt x="208" y="926"/>
                    </a:lnTo>
                    <a:lnTo>
                      <a:pt x="210" y="929"/>
                    </a:lnTo>
                    <a:lnTo>
                      <a:pt x="212" y="930"/>
                    </a:lnTo>
                    <a:lnTo>
                      <a:pt x="212" y="930"/>
                    </a:lnTo>
                    <a:lnTo>
                      <a:pt x="212" y="933"/>
                    </a:lnTo>
                    <a:lnTo>
                      <a:pt x="213" y="935"/>
                    </a:lnTo>
                    <a:lnTo>
                      <a:pt x="216" y="936"/>
                    </a:lnTo>
                    <a:lnTo>
                      <a:pt x="219" y="936"/>
                    </a:lnTo>
                    <a:lnTo>
                      <a:pt x="219" y="936"/>
                    </a:lnTo>
                    <a:lnTo>
                      <a:pt x="222" y="936"/>
                    </a:lnTo>
                    <a:lnTo>
                      <a:pt x="225" y="939"/>
                    </a:lnTo>
                    <a:lnTo>
                      <a:pt x="227" y="943"/>
                    </a:lnTo>
                    <a:lnTo>
                      <a:pt x="230" y="945"/>
                    </a:lnTo>
                    <a:lnTo>
                      <a:pt x="230" y="945"/>
                    </a:lnTo>
                    <a:lnTo>
                      <a:pt x="233" y="946"/>
                    </a:lnTo>
                    <a:lnTo>
                      <a:pt x="235" y="948"/>
                    </a:lnTo>
                    <a:lnTo>
                      <a:pt x="237" y="950"/>
                    </a:lnTo>
                    <a:lnTo>
                      <a:pt x="240" y="952"/>
                    </a:lnTo>
                    <a:lnTo>
                      <a:pt x="240" y="952"/>
                    </a:lnTo>
                    <a:lnTo>
                      <a:pt x="243" y="952"/>
                    </a:lnTo>
                    <a:lnTo>
                      <a:pt x="246" y="955"/>
                    </a:lnTo>
                    <a:lnTo>
                      <a:pt x="249" y="960"/>
                    </a:lnTo>
                    <a:lnTo>
                      <a:pt x="249" y="960"/>
                    </a:lnTo>
                    <a:lnTo>
                      <a:pt x="252" y="962"/>
                    </a:lnTo>
                    <a:lnTo>
                      <a:pt x="255" y="962"/>
                    </a:lnTo>
                    <a:lnTo>
                      <a:pt x="256" y="962"/>
                    </a:lnTo>
                    <a:lnTo>
                      <a:pt x="257" y="963"/>
                    </a:lnTo>
                    <a:lnTo>
                      <a:pt x="257" y="963"/>
                    </a:lnTo>
                    <a:lnTo>
                      <a:pt x="257" y="966"/>
                    </a:lnTo>
                    <a:lnTo>
                      <a:pt x="260" y="967"/>
                    </a:lnTo>
                    <a:lnTo>
                      <a:pt x="263" y="970"/>
                    </a:lnTo>
                    <a:lnTo>
                      <a:pt x="264" y="973"/>
                    </a:lnTo>
                    <a:lnTo>
                      <a:pt x="264" y="973"/>
                    </a:lnTo>
                    <a:lnTo>
                      <a:pt x="277" y="975"/>
                    </a:lnTo>
                    <a:lnTo>
                      <a:pt x="284" y="975"/>
                    </a:lnTo>
                    <a:lnTo>
                      <a:pt x="290" y="973"/>
                    </a:lnTo>
                    <a:lnTo>
                      <a:pt x="290" y="973"/>
                    </a:lnTo>
                    <a:lnTo>
                      <a:pt x="292" y="966"/>
                    </a:lnTo>
                    <a:lnTo>
                      <a:pt x="292" y="966"/>
                    </a:lnTo>
                    <a:lnTo>
                      <a:pt x="292" y="965"/>
                    </a:lnTo>
                    <a:lnTo>
                      <a:pt x="289" y="963"/>
                    </a:lnTo>
                    <a:lnTo>
                      <a:pt x="286" y="962"/>
                    </a:lnTo>
                    <a:lnTo>
                      <a:pt x="282" y="960"/>
                    </a:lnTo>
                    <a:lnTo>
                      <a:pt x="282" y="960"/>
                    </a:lnTo>
                    <a:close/>
                    <a:moveTo>
                      <a:pt x="269" y="394"/>
                    </a:moveTo>
                    <a:lnTo>
                      <a:pt x="269" y="394"/>
                    </a:lnTo>
                    <a:lnTo>
                      <a:pt x="273" y="397"/>
                    </a:lnTo>
                    <a:lnTo>
                      <a:pt x="277" y="400"/>
                    </a:lnTo>
                    <a:lnTo>
                      <a:pt x="282" y="408"/>
                    </a:lnTo>
                    <a:lnTo>
                      <a:pt x="287" y="417"/>
                    </a:lnTo>
                    <a:lnTo>
                      <a:pt x="289" y="420"/>
                    </a:lnTo>
                    <a:lnTo>
                      <a:pt x="292" y="420"/>
                    </a:lnTo>
                    <a:lnTo>
                      <a:pt x="292" y="420"/>
                    </a:lnTo>
                    <a:lnTo>
                      <a:pt x="294" y="420"/>
                    </a:lnTo>
                    <a:lnTo>
                      <a:pt x="296" y="417"/>
                    </a:lnTo>
                    <a:lnTo>
                      <a:pt x="297" y="414"/>
                    </a:lnTo>
                    <a:lnTo>
                      <a:pt x="303" y="413"/>
                    </a:lnTo>
                    <a:lnTo>
                      <a:pt x="303" y="413"/>
                    </a:lnTo>
                    <a:lnTo>
                      <a:pt x="307" y="413"/>
                    </a:lnTo>
                    <a:lnTo>
                      <a:pt x="311" y="411"/>
                    </a:lnTo>
                    <a:lnTo>
                      <a:pt x="314" y="410"/>
                    </a:lnTo>
                    <a:lnTo>
                      <a:pt x="319" y="408"/>
                    </a:lnTo>
                    <a:lnTo>
                      <a:pt x="319" y="408"/>
                    </a:lnTo>
                    <a:lnTo>
                      <a:pt x="324" y="408"/>
                    </a:lnTo>
                    <a:lnTo>
                      <a:pt x="330" y="407"/>
                    </a:lnTo>
                    <a:lnTo>
                      <a:pt x="333" y="403"/>
                    </a:lnTo>
                    <a:lnTo>
                      <a:pt x="334" y="397"/>
                    </a:lnTo>
                    <a:lnTo>
                      <a:pt x="334" y="397"/>
                    </a:lnTo>
                    <a:lnTo>
                      <a:pt x="336" y="390"/>
                    </a:lnTo>
                    <a:lnTo>
                      <a:pt x="338" y="386"/>
                    </a:lnTo>
                    <a:lnTo>
                      <a:pt x="343" y="383"/>
                    </a:lnTo>
                    <a:lnTo>
                      <a:pt x="348" y="381"/>
                    </a:lnTo>
                    <a:lnTo>
                      <a:pt x="348" y="381"/>
                    </a:lnTo>
                    <a:lnTo>
                      <a:pt x="351" y="380"/>
                    </a:lnTo>
                    <a:lnTo>
                      <a:pt x="353" y="378"/>
                    </a:lnTo>
                    <a:lnTo>
                      <a:pt x="354" y="374"/>
                    </a:lnTo>
                    <a:lnTo>
                      <a:pt x="356" y="369"/>
                    </a:lnTo>
                    <a:lnTo>
                      <a:pt x="358" y="367"/>
                    </a:lnTo>
                    <a:lnTo>
                      <a:pt x="361" y="366"/>
                    </a:lnTo>
                    <a:lnTo>
                      <a:pt x="361" y="366"/>
                    </a:lnTo>
                    <a:lnTo>
                      <a:pt x="374" y="361"/>
                    </a:lnTo>
                    <a:lnTo>
                      <a:pt x="390" y="356"/>
                    </a:lnTo>
                    <a:lnTo>
                      <a:pt x="404" y="349"/>
                    </a:lnTo>
                    <a:lnTo>
                      <a:pt x="412" y="344"/>
                    </a:lnTo>
                    <a:lnTo>
                      <a:pt x="412" y="344"/>
                    </a:lnTo>
                    <a:lnTo>
                      <a:pt x="414" y="343"/>
                    </a:lnTo>
                    <a:lnTo>
                      <a:pt x="414" y="340"/>
                    </a:lnTo>
                    <a:lnTo>
                      <a:pt x="410" y="337"/>
                    </a:lnTo>
                    <a:lnTo>
                      <a:pt x="393" y="326"/>
                    </a:lnTo>
                    <a:lnTo>
                      <a:pt x="393" y="326"/>
                    </a:lnTo>
                    <a:lnTo>
                      <a:pt x="384" y="322"/>
                    </a:lnTo>
                    <a:lnTo>
                      <a:pt x="375" y="319"/>
                    </a:lnTo>
                    <a:lnTo>
                      <a:pt x="368" y="320"/>
                    </a:lnTo>
                    <a:lnTo>
                      <a:pt x="360" y="323"/>
                    </a:lnTo>
                    <a:lnTo>
                      <a:pt x="360" y="323"/>
                    </a:lnTo>
                    <a:lnTo>
                      <a:pt x="357" y="324"/>
                    </a:lnTo>
                    <a:lnTo>
                      <a:pt x="356" y="324"/>
                    </a:lnTo>
                    <a:lnTo>
                      <a:pt x="356" y="323"/>
                    </a:lnTo>
                    <a:lnTo>
                      <a:pt x="354" y="322"/>
                    </a:lnTo>
                    <a:lnTo>
                      <a:pt x="354" y="319"/>
                    </a:lnTo>
                    <a:lnTo>
                      <a:pt x="353" y="319"/>
                    </a:lnTo>
                    <a:lnTo>
                      <a:pt x="350" y="319"/>
                    </a:lnTo>
                    <a:lnTo>
                      <a:pt x="350" y="319"/>
                    </a:lnTo>
                    <a:lnTo>
                      <a:pt x="347" y="320"/>
                    </a:lnTo>
                    <a:lnTo>
                      <a:pt x="343" y="320"/>
                    </a:lnTo>
                    <a:lnTo>
                      <a:pt x="333" y="317"/>
                    </a:lnTo>
                    <a:lnTo>
                      <a:pt x="323" y="313"/>
                    </a:lnTo>
                    <a:lnTo>
                      <a:pt x="319" y="310"/>
                    </a:lnTo>
                    <a:lnTo>
                      <a:pt x="319" y="310"/>
                    </a:lnTo>
                    <a:lnTo>
                      <a:pt x="316" y="309"/>
                    </a:lnTo>
                    <a:lnTo>
                      <a:pt x="310" y="310"/>
                    </a:lnTo>
                    <a:lnTo>
                      <a:pt x="296" y="313"/>
                    </a:lnTo>
                    <a:lnTo>
                      <a:pt x="279" y="316"/>
                    </a:lnTo>
                    <a:lnTo>
                      <a:pt x="267" y="317"/>
                    </a:lnTo>
                    <a:lnTo>
                      <a:pt x="267" y="317"/>
                    </a:lnTo>
                    <a:lnTo>
                      <a:pt x="266" y="319"/>
                    </a:lnTo>
                    <a:lnTo>
                      <a:pt x="264" y="320"/>
                    </a:lnTo>
                    <a:lnTo>
                      <a:pt x="264" y="322"/>
                    </a:lnTo>
                    <a:lnTo>
                      <a:pt x="266" y="323"/>
                    </a:lnTo>
                    <a:lnTo>
                      <a:pt x="270" y="329"/>
                    </a:lnTo>
                    <a:lnTo>
                      <a:pt x="274" y="333"/>
                    </a:lnTo>
                    <a:lnTo>
                      <a:pt x="274" y="333"/>
                    </a:lnTo>
                    <a:lnTo>
                      <a:pt x="276" y="336"/>
                    </a:lnTo>
                    <a:lnTo>
                      <a:pt x="276" y="339"/>
                    </a:lnTo>
                    <a:lnTo>
                      <a:pt x="270" y="346"/>
                    </a:lnTo>
                    <a:lnTo>
                      <a:pt x="264" y="353"/>
                    </a:lnTo>
                    <a:lnTo>
                      <a:pt x="263" y="356"/>
                    </a:lnTo>
                    <a:lnTo>
                      <a:pt x="263" y="357"/>
                    </a:lnTo>
                    <a:lnTo>
                      <a:pt x="263" y="357"/>
                    </a:lnTo>
                    <a:lnTo>
                      <a:pt x="264" y="359"/>
                    </a:lnTo>
                    <a:lnTo>
                      <a:pt x="264" y="360"/>
                    </a:lnTo>
                    <a:lnTo>
                      <a:pt x="262" y="366"/>
                    </a:lnTo>
                    <a:lnTo>
                      <a:pt x="249" y="381"/>
                    </a:lnTo>
                    <a:lnTo>
                      <a:pt x="249" y="381"/>
                    </a:lnTo>
                    <a:lnTo>
                      <a:pt x="247" y="386"/>
                    </a:lnTo>
                    <a:lnTo>
                      <a:pt x="246" y="387"/>
                    </a:lnTo>
                    <a:lnTo>
                      <a:pt x="247" y="390"/>
                    </a:lnTo>
                    <a:lnTo>
                      <a:pt x="250" y="391"/>
                    </a:lnTo>
                    <a:lnTo>
                      <a:pt x="259" y="393"/>
                    </a:lnTo>
                    <a:lnTo>
                      <a:pt x="269" y="394"/>
                    </a:lnTo>
                    <a:lnTo>
                      <a:pt x="269" y="394"/>
                    </a:lnTo>
                    <a:close/>
                    <a:moveTo>
                      <a:pt x="624" y="452"/>
                    </a:moveTo>
                    <a:lnTo>
                      <a:pt x="624" y="452"/>
                    </a:lnTo>
                    <a:lnTo>
                      <a:pt x="627" y="452"/>
                    </a:lnTo>
                    <a:lnTo>
                      <a:pt x="630" y="452"/>
                    </a:lnTo>
                    <a:lnTo>
                      <a:pt x="637" y="455"/>
                    </a:lnTo>
                    <a:lnTo>
                      <a:pt x="644" y="457"/>
                    </a:lnTo>
                    <a:lnTo>
                      <a:pt x="647" y="455"/>
                    </a:lnTo>
                    <a:lnTo>
                      <a:pt x="647" y="452"/>
                    </a:lnTo>
                    <a:lnTo>
                      <a:pt x="647" y="452"/>
                    </a:lnTo>
                    <a:lnTo>
                      <a:pt x="647" y="448"/>
                    </a:lnTo>
                    <a:lnTo>
                      <a:pt x="644" y="445"/>
                    </a:lnTo>
                    <a:lnTo>
                      <a:pt x="637" y="440"/>
                    </a:lnTo>
                    <a:lnTo>
                      <a:pt x="627" y="435"/>
                    </a:lnTo>
                    <a:lnTo>
                      <a:pt x="619" y="431"/>
                    </a:lnTo>
                    <a:lnTo>
                      <a:pt x="619" y="431"/>
                    </a:lnTo>
                    <a:lnTo>
                      <a:pt x="613" y="428"/>
                    </a:lnTo>
                    <a:lnTo>
                      <a:pt x="609" y="427"/>
                    </a:lnTo>
                    <a:lnTo>
                      <a:pt x="602" y="424"/>
                    </a:lnTo>
                    <a:lnTo>
                      <a:pt x="593" y="418"/>
                    </a:lnTo>
                    <a:lnTo>
                      <a:pt x="593" y="418"/>
                    </a:lnTo>
                    <a:lnTo>
                      <a:pt x="590" y="414"/>
                    </a:lnTo>
                    <a:lnTo>
                      <a:pt x="589" y="411"/>
                    </a:lnTo>
                    <a:lnTo>
                      <a:pt x="589" y="408"/>
                    </a:lnTo>
                    <a:lnTo>
                      <a:pt x="589" y="406"/>
                    </a:lnTo>
                    <a:lnTo>
                      <a:pt x="590" y="401"/>
                    </a:lnTo>
                    <a:lnTo>
                      <a:pt x="590" y="398"/>
                    </a:lnTo>
                    <a:lnTo>
                      <a:pt x="587" y="396"/>
                    </a:lnTo>
                    <a:lnTo>
                      <a:pt x="587" y="396"/>
                    </a:lnTo>
                    <a:lnTo>
                      <a:pt x="583" y="391"/>
                    </a:lnTo>
                    <a:lnTo>
                      <a:pt x="580" y="387"/>
                    </a:lnTo>
                    <a:lnTo>
                      <a:pt x="577" y="377"/>
                    </a:lnTo>
                    <a:lnTo>
                      <a:pt x="577" y="371"/>
                    </a:lnTo>
                    <a:lnTo>
                      <a:pt x="577" y="367"/>
                    </a:lnTo>
                    <a:lnTo>
                      <a:pt x="579" y="363"/>
                    </a:lnTo>
                    <a:lnTo>
                      <a:pt x="580" y="359"/>
                    </a:lnTo>
                    <a:lnTo>
                      <a:pt x="580" y="359"/>
                    </a:lnTo>
                    <a:lnTo>
                      <a:pt x="586" y="353"/>
                    </a:lnTo>
                    <a:lnTo>
                      <a:pt x="589" y="347"/>
                    </a:lnTo>
                    <a:lnTo>
                      <a:pt x="590" y="344"/>
                    </a:lnTo>
                    <a:lnTo>
                      <a:pt x="589" y="341"/>
                    </a:lnTo>
                    <a:lnTo>
                      <a:pt x="587" y="339"/>
                    </a:lnTo>
                    <a:lnTo>
                      <a:pt x="583" y="336"/>
                    </a:lnTo>
                    <a:lnTo>
                      <a:pt x="583" y="336"/>
                    </a:lnTo>
                    <a:lnTo>
                      <a:pt x="577" y="336"/>
                    </a:lnTo>
                    <a:lnTo>
                      <a:pt x="572" y="334"/>
                    </a:lnTo>
                    <a:lnTo>
                      <a:pt x="562" y="337"/>
                    </a:lnTo>
                    <a:lnTo>
                      <a:pt x="553" y="340"/>
                    </a:lnTo>
                    <a:lnTo>
                      <a:pt x="552" y="341"/>
                    </a:lnTo>
                    <a:lnTo>
                      <a:pt x="552" y="343"/>
                    </a:lnTo>
                    <a:lnTo>
                      <a:pt x="552" y="343"/>
                    </a:lnTo>
                    <a:lnTo>
                      <a:pt x="562" y="351"/>
                    </a:lnTo>
                    <a:lnTo>
                      <a:pt x="569" y="357"/>
                    </a:lnTo>
                    <a:lnTo>
                      <a:pt x="570" y="359"/>
                    </a:lnTo>
                    <a:lnTo>
                      <a:pt x="572" y="360"/>
                    </a:lnTo>
                    <a:lnTo>
                      <a:pt x="572" y="360"/>
                    </a:lnTo>
                    <a:lnTo>
                      <a:pt x="570" y="361"/>
                    </a:lnTo>
                    <a:lnTo>
                      <a:pt x="569" y="360"/>
                    </a:lnTo>
                    <a:lnTo>
                      <a:pt x="563" y="357"/>
                    </a:lnTo>
                    <a:lnTo>
                      <a:pt x="555" y="353"/>
                    </a:lnTo>
                    <a:lnTo>
                      <a:pt x="552" y="351"/>
                    </a:lnTo>
                    <a:lnTo>
                      <a:pt x="549" y="351"/>
                    </a:lnTo>
                    <a:lnTo>
                      <a:pt x="549" y="351"/>
                    </a:lnTo>
                    <a:lnTo>
                      <a:pt x="548" y="353"/>
                    </a:lnTo>
                    <a:lnTo>
                      <a:pt x="545" y="353"/>
                    </a:lnTo>
                    <a:lnTo>
                      <a:pt x="540" y="350"/>
                    </a:lnTo>
                    <a:lnTo>
                      <a:pt x="536" y="350"/>
                    </a:lnTo>
                    <a:lnTo>
                      <a:pt x="535" y="350"/>
                    </a:lnTo>
                    <a:lnTo>
                      <a:pt x="532" y="351"/>
                    </a:lnTo>
                    <a:lnTo>
                      <a:pt x="532" y="351"/>
                    </a:lnTo>
                    <a:lnTo>
                      <a:pt x="532" y="356"/>
                    </a:lnTo>
                    <a:lnTo>
                      <a:pt x="532" y="360"/>
                    </a:lnTo>
                    <a:lnTo>
                      <a:pt x="535" y="371"/>
                    </a:lnTo>
                    <a:lnTo>
                      <a:pt x="539" y="383"/>
                    </a:lnTo>
                    <a:lnTo>
                      <a:pt x="543" y="391"/>
                    </a:lnTo>
                    <a:lnTo>
                      <a:pt x="543" y="391"/>
                    </a:lnTo>
                    <a:lnTo>
                      <a:pt x="545" y="394"/>
                    </a:lnTo>
                    <a:lnTo>
                      <a:pt x="545" y="396"/>
                    </a:lnTo>
                    <a:lnTo>
                      <a:pt x="542" y="397"/>
                    </a:lnTo>
                    <a:lnTo>
                      <a:pt x="533" y="400"/>
                    </a:lnTo>
                    <a:lnTo>
                      <a:pt x="533" y="400"/>
                    </a:lnTo>
                    <a:lnTo>
                      <a:pt x="531" y="400"/>
                    </a:lnTo>
                    <a:lnTo>
                      <a:pt x="529" y="397"/>
                    </a:lnTo>
                    <a:lnTo>
                      <a:pt x="528" y="390"/>
                    </a:lnTo>
                    <a:lnTo>
                      <a:pt x="525" y="380"/>
                    </a:lnTo>
                    <a:lnTo>
                      <a:pt x="521" y="371"/>
                    </a:lnTo>
                    <a:lnTo>
                      <a:pt x="521" y="371"/>
                    </a:lnTo>
                    <a:lnTo>
                      <a:pt x="515" y="366"/>
                    </a:lnTo>
                    <a:lnTo>
                      <a:pt x="505" y="361"/>
                    </a:lnTo>
                    <a:lnTo>
                      <a:pt x="495" y="359"/>
                    </a:lnTo>
                    <a:lnTo>
                      <a:pt x="492" y="359"/>
                    </a:lnTo>
                    <a:lnTo>
                      <a:pt x="491" y="360"/>
                    </a:lnTo>
                    <a:lnTo>
                      <a:pt x="491" y="360"/>
                    </a:lnTo>
                    <a:lnTo>
                      <a:pt x="491" y="363"/>
                    </a:lnTo>
                    <a:lnTo>
                      <a:pt x="492" y="364"/>
                    </a:lnTo>
                    <a:lnTo>
                      <a:pt x="498" y="367"/>
                    </a:lnTo>
                    <a:lnTo>
                      <a:pt x="502" y="370"/>
                    </a:lnTo>
                    <a:lnTo>
                      <a:pt x="503" y="371"/>
                    </a:lnTo>
                    <a:lnTo>
                      <a:pt x="503" y="374"/>
                    </a:lnTo>
                    <a:lnTo>
                      <a:pt x="503" y="374"/>
                    </a:lnTo>
                    <a:lnTo>
                      <a:pt x="502" y="376"/>
                    </a:lnTo>
                    <a:lnTo>
                      <a:pt x="501" y="377"/>
                    </a:lnTo>
                    <a:lnTo>
                      <a:pt x="496" y="376"/>
                    </a:lnTo>
                    <a:lnTo>
                      <a:pt x="491" y="374"/>
                    </a:lnTo>
                    <a:lnTo>
                      <a:pt x="488" y="374"/>
                    </a:lnTo>
                    <a:lnTo>
                      <a:pt x="485" y="376"/>
                    </a:lnTo>
                    <a:lnTo>
                      <a:pt x="485" y="376"/>
                    </a:lnTo>
                    <a:lnTo>
                      <a:pt x="481" y="378"/>
                    </a:lnTo>
                    <a:lnTo>
                      <a:pt x="479" y="378"/>
                    </a:lnTo>
                    <a:lnTo>
                      <a:pt x="479" y="376"/>
                    </a:lnTo>
                    <a:lnTo>
                      <a:pt x="479" y="371"/>
                    </a:lnTo>
                    <a:lnTo>
                      <a:pt x="479" y="371"/>
                    </a:lnTo>
                    <a:lnTo>
                      <a:pt x="479" y="369"/>
                    </a:lnTo>
                    <a:lnTo>
                      <a:pt x="478" y="367"/>
                    </a:lnTo>
                    <a:lnTo>
                      <a:pt x="472" y="363"/>
                    </a:lnTo>
                    <a:lnTo>
                      <a:pt x="465" y="360"/>
                    </a:lnTo>
                    <a:lnTo>
                      <a:pt x="454" y="359"/>
                    </a:lnTo>
                    <a:lnTo>
                      <a:pt x="454" y="359"/>
                    </a:lnTo>
                    <a:lnTo>
                      <a:pt x="449" y="360"/>
                    </a:lnTo>
                    <a:lnTo>
                      <a:pt x="447" y="361"/>
                    </a:lnTo>
                    <a:lnTo>
                      <a:pt x="445" y="364"/>
                    </a:lnTo>
                    <a:lnTo>
                      <a:pt x="445" y="366"/>
                    </a:lnTo>
                    <a:lnTo>
                      <a:pt x="445" y="370"/>
                    </a:lnTo>
                    <a:lnTo>
                      <a:pt x="445" y="373"/>
                    </a:lnTo>
                    <a:lnTo>
                      <a:pt x="444" y="374"/>
                    </a:lnTo>
                    <a:lnTo>
                      <a:pt x="444" y="374"/>
                    </a:lnTo>
                    <a:lnTo>
                      <a:pt x="441" y="376"/>
                    </a:lnTo>
                    <a:lnTo>
                      <a:pt x="438" y="376"/>
                    </a:lnTo>
                    <a:lnTo>
                      <a:pt x="431" y="374"/>
                    </a:lnTo>
                    <a:lnTo>
                      <a:pt x="428" y="373"/>
                    </a:lnTo>
                    <a:lnTo>
                      <a:pt x="427" y="371"/>
                    </a:lnTo>
                    <a:lnTo>
                      <a:pt x="428" y="370"/>
                    </a:lnTo>
                    <a:lnTo>
                      <a:pt x="431" y="369"/>
                    </a:lnTo>
                    <a:lnTo>
                      <a:pt x="431" y="369"/>
                    </a:lnTo>
                    <a:lnTo>
                      <a:pt x="435" y="369"/>
                    </a:lnTo>
                    <a:lnTo>
                      <a:pt x="438" y="366"/>
                    </a:lnTo>
                    <a:lnTo>
                      <a:pt x="439" y="364"/>
                    </a:lnTo>
                    <a:lnTo>
                      <a:pt x="439" y="361"/>
                    </a:lnTo>
                    <a:lnTo>
                      <a:pt x="438" y="356"/>
                    </a:lnTo>
                    <a:lnTo>
                      <a:pt x="434" y="350"/>
                    </a:lnTo>
                    <a:lnTo>
                      <a:pt x="434" y="350"/>
                    </a:lnTo>
                    <a:lnTo>
                      <a:pt x="432" y="349"/>
                    </a:lnTo>
                    <a:lnTo>
                      <a:pt x="430" y="347"/>
                    </a:lnTo>
                    <a:lnTo>
                      <a:pt x="421" y="350"/>
                    </a:lnTo>
                    <a:lnTo>
                      <a:pt x="394" y="360"/>
                    </a:lnTo>
                    <a:lnTo>
                      <a:pt x="394" y="360"/>
                    </a:lnTo>
                    <a:lnTo>
                      <a:pt x="380" y="366"/>
                    </a:lnTo>
                    <a:lnTo>
                      <a:pt x="370" y="371"/>
                    </a:lnTo>
                    <a:lnTo>
                      <a:pt x="365" y="376"/>
                    </a:lnTo>
                    <a:lnTo>
                      <a:pt x="364" y="376"/>
                    </a:lnTo>
                    <a:lnTo>
                      <a:pt x="364" y="377"/>
                    </a:lnTo>
                    <a:lnTo>
                      <a:pt x="364" y="377"/>
                    </a:lnTo>
                    <a:lnTo>
                      <a:pt x="365" y="378"/>
                    </a:lnTo>
                    <a:lnTo>
                      <a:pt x="367" y="380"/>
                    </a:lnTo>
                    <a:lnTo>
                      <a:pt x="364" y="384"/>
                    </a:lnTo>
                    <a:lnTo>
                      <a:pt x="360" y="388"/>
                    </a:lnTo>
                    <a:lnTo>
                      <a:pt x="360" y="388"/>
                    </a:lnTo>
                    <a:lnTo>
                      <a:pt x="357" y="391"/>
                    </a:lnTo>
                    <a:lnTo>
                      <a:pt x="356" y="394"/>
                    </a:lnTo>
                    <a:lnTo>
                      <a:pt x="357" y="396"/>
                    </a:lnTo>
                    <a:lnTo>
                      <a:pt x="357" y="398"/>
                    </a:lnTo>
                    <a:lnTo>
                      <a:pt x="361" y="401"/>
                    </a:lnTo>
                    <a:lnTo>
                      <a:pt x="367" y="401"/>
                    </a:lnTo>
                    <a:lnTo>
                      <a:pt x="367" y="401"/>
                    </a:lnTo>
                    <a:lnTo>
                      <a:pt x="371" y="403"/>
                    </a:lnTo>
                    <a:lnTo>
                      <a:pt x="371" y="406"/>
                    </a:lnTo>
                    <a:lnTo>
                      <a:pt x="371" y="408"/>
                    </a:lnTo>
                    <a:lnTo>
                      <a:pt x="373" y="408"/>
                    </a:lnTo>
                    <a:lnTo>
                      <a:pt x="374" y="410"/>
                    </a:lnTo>
                    <a:lnTo>
                      <a:pt x="374" y="410"/>
                    </a:lnTo>
                    <a:lnTo>
                      <a:pt x="381" y="408"/>
                    </a:lnTo>
                    <a:lnTo>
                      <a:pt x="393" y="406"/>
                    </a:lnTo>
                    <a:lnTo>
                      <a:pt x="404" y="404"/>
                    </a:lnTo>
                    <a:lnTo>
                      <a:pt x="408" y="404"/>
                    </a:lnTo>
                    <a:lnTo>
                      <a:pt x="411" y="404"/>
                    </a:lnTo>
                    <a:lnTo>
                      <a:pt x="411" y="404"/>
                    </a:lnTo>
                    <a:lnTo>
                      <a:pt x="412" y="406"/>
                    </a:lnTo>
                    <a:lnTo>
                      <a:pt x="412" y="407"/>
                    </a:lnTo>
                    <a:lnTo>
                      <a:pt x="408" y="408"/>
                    </a:lnTo>
                    <a:lnTo>
                      <a:pt x="393" y="411"/>
                    </a:lnTo>
                    <a:lnTo>
                      <a:pt x="377" y="415"/>
                    </a:lnTo>
                    <a:lnTo>
                      <a:pt x="371" y="418"/>
                    </a:lnTo>
                    <a:lnTo>
                      <a:pt x="370" y="420"/>
                    </a:lnTo>
                    <a:lnTo>
                      <a:pt x="370" y="421"/>
                    </a:lnTo>
                    <a:lnTo>
                      <a:pt x="370" y="421"/>
                    </a:lnTo>
                    <a:lnTo>
                      <a:pt x="371" y="424"/>
                    </a:lnTo>
                    <a:lnTo>
                      <a:pt x="374" y="427"/>
                    </a:lnTo>
                    <a:lnTo>
                      <a:pt x="380" y="428"/>
                    </a:lnTo>
                    <a:lnTo>
                      <a:pt x="385" y="431"/>
                    </a:lnTo>
                    <a:lnTo>
                      <a:pt x="401" y="433"/>
                    </a:lnTo>
                    <a:lnTo>
                      <a:pt x="417" y="431"/>
                    </a:lnTo>
                    <a:lnTo>
                      <a:pt x="417" y="431"/>
                    </a:lnTo>
                    <a:lnTo>
                      <a:pt x="425" y="430"/>
                    </a:lnTo>
                    <a:lnTo>
                      <a:pt x="434" y="430"/>
                    </a:lnTo>
                    <a:lnTo>
                      <a:pt x="451" y="431"/>
                    </a:lnTo>
                    <a:lnTo>
                      <a:pt x="465" y="435"/>
                    </a:lnTo>
                    <a:lnTo>
                      <a:pt x="469" y="437"/>
                    </a:lnTo>
                    <a:lnTo>
                      <a:pt x="471" y="438"/>
                    </a:lnTo>
                    <a:lnTo>
                      <a:pt x="471" y="438"/>
                    </a:lnTo>
                    <a:lnTo>
                      <a:pt x="471" y="441"/>
                    </a:lnTo>
                    <a:lnTo>
                      <a:pt x="468" y="441"/>
                    </a:lnTo>
                    <a:lnTo>
                      <a:pt x="458" y="442"/>
                    </a:lnTo>
                    <a:lnTo>
                      <a:pt x="430" y="441"/>
                    </a:lnTo>
                    <a:lnTo>
                      <a:pt x="430" y="441"/>
                    </a:lnTo>
                    <a:lnTo>
                      <a:pt x="415" y="442"/>
                    </a:lnTo>
                    <a:lnTo>
                      <a:pt x="400" y="444"/>
                    </a:lnTo>
                    <a:lnTo>
                      <a:pt x="387" y="448"/>
                    </a:lnTo>
                    <a:lnTo>
                      <a:pt x="384" y="450"/>
                    </a:lnTo>
                    <a:lnTo>
                      <a:pt x="383" y="452"/>
                    </a:lnTo>
                    <a:lnTo>
                      <a:pt x="383" y="452"/>
                    </a:lnTo>
                    <a:lnTo>
                      <a:pt x="384" y="457"/>
                    </a:lnTo>
                    <a:lnTo>
                      <a:pt x="388" y="460"/>
                    </a:lnTo>
                    <a:lnTo>
                      <a:pt x="405" y="467"/>
                    </a:lnTo>
                    <a:lnTo>
                      <a:pt x="405" y="467"/>
                    </a:lnTo>
                    <a:lnTo>
                      <a:pt x="412" y="470"/>
                    </a:lnTo>
                    <a:lnTo>
                      <a:pt x="418" y="471"/>
                    </a:lnTo>
                    <a:lnTo>
                      <a:pt x="431" y="470"/>
                    </a:lnTo>
                    <a:lnTo>
                      <a:pt x="435" y="470"/>
                    </a:lnTo>
                    <a:lnTo>
                      <a:pt x="439" y="470"/>
                    </a:lnTo>
                    <a:lnTo>
                      <a:pt x="441" y="471"/>
                    </a:lnTo>
                    <a:lnTo>
                      <a:pt x="442" y="475"/>
                    </a:lnTo>
                    <a:lnTo>
                      <a:pt x="442" y="475"/>
                    </a:lnTo>
                    <a:lnTo>
                      <a:pt x="442" y="479"/>
                    </a:lnTo>
                    <a:lnTo>
                      <a:pt x="444" y="482"/>
                    </a:lnTo>
                    <a:lnTo>
                      <a:pt x="447" y="485"/>
                    </a:lnTo>
                    <a:lnTo>
                      <a:pt x="449" y="487"/>
                    </a:lnTo>
                    <a:lnTo>
                      <a:pt x="461" y="489"/>
                    </a:lnTo>
                    <a:lnTo>
                      <a:pt x="476" y="491"/>
                    </a:lnTo>
                    <a:lnTo>
                      <a:pt x="476" y="491"/>
                    </a:lnTo>
                    <a:lnTo>
                      <a:pt x="485" y="491"/>
                    </a:lnTo>
                    <a:lnTo>
                      <a:pt x="494" y="489"/>
                    </a:lnTo>
                    <a:lnTo>
                      <a:pt x="506" y="485"/>
                    </a:lnTo>
                    <a:lnTo>
                      <a:pt x="516" y="481"/>
                    </a:lnTo>
                    <a:lnTo>
                      <a:pt x="521" y="481"/>
                    </a:lnTo>
                    <a:lnTo>
                      <a:pt x="525" y="479"/>
                    </a:lnTo>
                    <a:lnTo>
                      <a:pt x="525" y="479"/>
                    </a:lnTo>
                    <a:lnTo>
                      <a:pt x="533" y="479"/>
                    </a:lnTo>
                    <a:lnTo>
                      <a:pt x="539" y="478"/>
                    </a:lnTo>
                    <a:lnTo>
                      <a:pt x="545" y="475"/>
                    </a:lnTo>
                    <a:lnTo>
                      <a:pt x="549" y="470"/>
                    </a:lnTo>
                    <a:lnTo>
                      <a:pt x="549" y="470"/>
                    </a:lnTo>
                    <a:lnTo>
                      <a:pt x="553" y="467"/>
                    </a:lnTo>
                    <a:lnTo>
                      <a:pt x="556" y="465"/>
                    </a:lnTo>
                    <a:lnTo>
                      <a:pt x="559" y="468"/>
                    </a:lnTo>
                    <a:lnTo>
                      <a:pt x="560" y="471"/>
                    </a:lnTo>
                    <a:lnTo>
                      <a:pt x="560" y="471"/>
                    </a:lnTo>
                    <a:lnTo>
                      <a:pt x="562" y="472"/>
                    </a:lnTo>
                    <a:lnTo>
                      <a:pt x="565" y="474"/>
                    </a:lnTo>
                    <a:lnTo>
                      <a:pt x="570" y="475"/>
                    </a:lnTo>
                    <a:lnTo>
                      <a:pt x="577" y="475"/>
                    </a:lnTo>
                    <a:lnTo>
                      <a:pt x="582" y="478"/>
                    </a:lnTo>
                    <a:lnTo>
                      <a:pt x="582" y="478"/>
                    </a:lnTo>
                    <a:lnTo>
                      <a:pt x="586" y="481"/>
                    </a:lnTo>
                    <a:lnTo>
                      <a:pt x="592" y="482"/>
                    </a:lnTo>
                    <a:lnTo>
                      <a:pt x="599" y="484"/>
                    </a:lnTo>
                    <a:lnTo>
                      <a:pt x="606" y="484"/>
                    </a:lnTo>
                    <a:lnTo>
                      <a:pt x="620" y="482"/>
                    </a:lnTo>
                    <a:lnTo>
                      <a:pt x="632" y="478"/>
                    </a:lnTo>
                    <a:lnTo>
                      <a:pt x="632" y="478"/>
                    </a:lnTo>
                    <a:lnTo>
                      <a:pt x="634" y="477"/>
                    </a:lnTo>
                    <a:lnTo>
                      <a:pt x="636" y="472"/>
                    </a:lnTo>
                    <a:lnTo>
                      <a:pt x="636" y="470"/>
                    </a:lnTo>
                    <a:lnTo>
                      <a:pt x="633" y="467"/>
                    </a:lnTo>
                    <a:lnTo>
                      <a:pt x="630" y="464"/>
                    </a:lnTo>
                    <a:lnTo>
                      <a:pt x="627" y="462"/>
                    </a:lnTo>
                    <a:lnTo>
                      <a:pt x="624" y="462"/>
                    </a:lnTo>
                    <a:lnTo>
                      <a:pt x="622" y="464"/>
                    </a:lnTo>
                    <a:lnTo>
                      <a:pt x="622" y="464"/>
                    </a:lnTo>
                    <a:lnTo>
                      <a:pt x="617" y="468"/>
                    </a:lnTo>
                    <a:lnTo>
                      <a:pt x="613" y="468"/>
                    </a:lnTo>
                    <a:lnTo>
                      <a:pt x="612" y="467"/>
                    </a:lnTo>
                    <a:lnTo>
                      <a:pt x="609" y="464"/>
                    </a:lnTo>
                    <a:lnTo>
                      <a:pt x="609" y="464"/>
                    </a:lnTo>
                    <a:lnTo>
                      <a:pt x="609" y="462"/>
                    </a:lnTo>
                    <a:lnTo>
                      <a:pt x="610" y="461"/>
                    </a:lnTo>
                    <a:lnTo>
                      <a:pt x="614" y="460"/>
                    </a:lnTo>
                    <a:lnTo>
                      <a:pt x="620" y="457"/>
                    </a:lnTo>
                    <a:lnTo>
                      <a:pt x="624" y="452"/>
                    </a:lnTo>
                    <a:lnTo>
                      <a:pt x="624" y="452"/>
                    </a:lnTo>
                    <a:close/>
                    <a:moveTo>
                      <a:pt x="354" y="277"/>
                    </a:moveTo>
                    <a:lnTo>
                      <a:pt x="354" y="277"/>
                    </a:lnTo>
                    <a:lnTo>
                      <a:pt x="360" y="277"/>
                    </a:lnTo>
                    <a:lnTo>
                      <a:pt x="364" y="277"/>
                    </a:lnTo>
                    <a:lnTo>
                      <a:pt x="373" y="273"/>
                    </a:lnTo>
                    <a:lnTo>
                      <a:pt x="378" y="268"/>
                    </a:lnTo>
                    <a:lnTo>
                      <a:pt x="380" y="265"/>
                    </a:lnTo>
                    <a:lnTo>
                      <a:pt x="380" y="262"/>
                    </a:lnTo>
                    <a:lnTo>
                      <a:pt x="380" y="262"/>
                    </a:lnTo>
                    <a:lnTo>
                      <a:pt x="380" y="260"/>
                    </a:lnTo>
                    <a:lnTo>
                      <a:pt x="378" y="260"/>
                    </a:lnTo>
                    <a:lnTo>
                      <a:pt x="374" y="262"/>
                    </a:lnTo>
                    <a:lnTo>
                      <a:pt x="364" y="268"/>
                    </a:lnTo>
                    <a:lnTo>
                      <a:pt x="356" y="275"/>
                    </a:lnTo>
                    <a:lnTo>
                      <a:pt x="354" y="277"/>
                    </a:lnTo>
                    <a:lnTo>
                      <a:pt x="354" y="277"/>
                    </a:lnTo>
                    <a:lnTo>
                      <a:pt x="354" y="277"/>
                    </a:lnTo>
                    <a:lnTo>
                      <a:pt x="354" y="277"/>
                    </a:lnTo>
                    <a:close/>
                    <a:moveTo>
                      <a:pt x="296" y="258"/>
                    </a:moveTo>
                    <a:lnTo>
                      <a:pt x="296" y="258"/>
                    </a:lnTo>
                    <a:lnTo>
                      <a:pt x="297" y="259"/>
                    </a:lnTo>
                    <a:lnTo>
                      <a:pt x="297" y="260"/>
                    </a:lnTo>
                    <a:lnTo>
                      <a:pt x="299" y="265"/>
                    </a:lnTo>
                    <a:lnTo>
                      <a:pt x="299" y="268"/>
                    </a:lnTo>
                    <a:lnTo>
                      <a:pt x="300" y="268"/>
                    </a:lnTo>
                    <a:lnTo>
                      <a:pt x="301" y="268"/>
                    </a:lnTo>
                    <a:lnTo>
                      <a:pt x="301" y="268"/>
                    </a:lnTo>
                    <a:lnTo>
                      <a:pt x="307" y="265"/>
                    </a:lnTo>
                    <a:lnTo>
                      <a:pt x="313" y="265"/>
                    </a:lnTo>
                    <a:lnTo>
                      <a:pt x="313" y="265"/>
                    </a:lnTo>
                    <a:lnTo>
                      <a:pt x="317" y="266"/>
                    </a:lnTo>
                    <a:lnTo>
                      <a:pt x="320" y="263"/>
                    </a:lnTo>
                    <a:lnTo>
                      <a:pt x="326" y="258"/>
                    </a:lnTo>
                    <a:lnTo>
                      <a:pt x="326" y="258"/>
                    </a:lnTo>
                    <a:lnTo>
                      <a:pt x="327" y="258"/>
                    </a:lnTo>
                    <a:lnTo>
                      <a:pt x="327" y="258"/>
                    </a:lnTo>
                    <a:lnTo>
                      <a:pt x="328" y="262"/>
                    </a:lnTo>
                    <a:lnTo>
                      <a:pt x="331" y="268"/>
                    </a:lnTo>
                    <a:lnTo>
                      <a:pt x="334" y="269"/>
                    </a:lnTo>
                    <a:lnTo>
                      <a:pt x="337" y="270"/>
                    </a:lnTo>
                    <a:lnTo>
                      <a:pt x="337" y="270"/>
                    </a:lnTo>
                    <a:lnTo>
                      <a:pt x="340" y="269"/>
                    </a:lnTo>
                    <a:lnTo>
                      <a:pt x="341" y="268"/>
                    </a:lnTo>
                    <a:lnTo>
                      <a:pt x="344" y="262"/>
                    </a:lnTo>
                    <a:lnTo>
                      <a:pt x="347" y="258"/>
                    </a:lnTo>
                    <a:lnTo>
                      <a:pt x="348" y="258"/>
                    </a:lnTo>
                    <a:lnTo>
                      <a:pt x="350" y="258"/>
                    </a:lnTo>
                    <a:lnTo>
                      <a:pt x="350" y="258"/>
                    </a:lnTo>
                    <a:lnTo>
                      <a:pt x="354" y="260"/>
                    </a:lnTo>
                    <a:lnTo>
                      <a:pt x="358" y="259"/>
                    </a:lnTo>
                    <a:lnTo>
                      <a:pt x="360" y="255"/>
                    </a:lnTo>
                    <a:lnTo>
                      <a:pt x="361" y="250"/>
                    </a:lnTo>
                    <a:lnTo>
                      <a:pt x="361" y="250"/>
                    </a:lnTo>
                    <a:lnTo>
                      <a:pt x="363" y="242"/>
                    </a:lnTo>
                    <a:lnTo>
                      <a:pt x="365" y="238"/>
                    </a:lnTo>
                    <a:lnTo>
                      <a:pt x="370" y="236"/>
                    </a:lnTo>
                    <a:lnTo>
                      <a:pt x="370" y="236"/>
                    </a:lnTo>
                    <a:lnTo>
                      <a:pt x="373" y="236"/>
                    </a:lnTo>
                    <a:lnTo>
                      <a:pt x="374" y="236"/>
                    </a:lnTo>
                    <a:lnTo>
                      <a:pt x="374" y="240"/>
                    </a:lnTo>
                    <a:lnTo>
                      <a:pt x="374" y="245"/>
                    </a:lnTo>
                    <a:lnTo>
                      <a:pt x="375" y="250"/>
                    </a:lnTo>
                    <a:lnTo>
                      <a:pt x="375" y="250"/>
                    </a:lnTo>
                    <a:lnTo>
                      <a:pt x="377" y="253"/>
                    </a:lnTo>
                    <a:lnTo>
                      <a:pt x="380" y="255"/>
                    </a:lnTo>
                    <a:lnTo>
                      <a:pt x="383" y="255"/>
                    </a:lnTo>
                    <a:lnTo>
                      <a:pt x="384" y="253"/>
                    </a:lnTo>
                    <a:lnTo>
                      <a:pt x="388" y="250"/>
                    </a:lnTo>
                    <a:lnTo>
                      <a:pt x="390" y="246"/>
                    </a:lnTo>
                    <a:lnTo>
                      <a:pt x="390" y="246"/>
                    </a:lnTo>
                    <a:lnTo>
                      <a:pt x="391" y="246"/>
                    </a:lnTo>
                    <a:lnTo>
                      <a:pt x="393" y="245"/>
                    </a:lnTo>
                    <a:lnTo>
                      <a:pt x="397" y="243"/>
                    </a:lnTo>
                    <a:lnTo>
                      <a:pt x="401" y="243"/>
                    </a:lnTo>
                    <a:lnTo>
                      <a:pt x="402" y="242"/>
                    </a:lnTo>
                    <a:lnTo>
                      <a:pt x="402" y="240"/>
                    </a:lnTo>
                    <a:lnTo>
                      <a:pt x="402" y="240"/>
                    </a:lnTo>
                    <a:lnTo>
                      <a:pt x="402" y="238"/>
                    </a:lnTo>
                    <a:lnTo>
                      <a:pt x="404" y="235"/>
                    </a:lnTo>
                    <a:lnTo>
                      <a:pt x="404" y="232"/>
                    </a:lnTo>
                    <a:lnTo>
                      <a:pt x="402" y="228"/>
                    </a:lnTo>
                    <a:lnTo>
                      <a:pt x="402" y="228"/>
                    </a:lnTo>
                    <a:lnTo>
                      <a:pt x="402" y="226"/>
                    </a:lnTo>
                    <a:lnTo>
                      <a:pt x="402" y="225"/>
                    </a:lnTo>
                    <a:lnTo>
                      <a:pt x="405" y="223"/>
                    </a:lnTo>
                    <a:lnTo>
                      <a:pt x="410" y="222"/>
                    </a:lnTo>
                    <a:lnTo>
                      <a:pt x="412" y="219"/>
                    </a:lnTo>
                    <a:lnTo>
                      <a:pt x="412" y="219"/>
                    </a:lnTo>
                    <a:lnTo>
                      <a:pt x="414" y="219"/>
                    </a:lnTo>
                    <a:lnTo>
                      <a:pt x="414" y="218"/>
                    </a:lnTo>
                    <a:lnTo>
                      <a:pt x="411" y="216"/>
                    </a:lnTo>
                    <a:lnTo>
                      <a:pt x="405" y="216"/>
                    </a:lnTo>
                    <a:lnTo>
                      <a:pt x="400" y="212"/>
                    </a:lnTo>
                    <a:lnTo>
                      <a:pt x="400" y="212"/>
                    </a:lnTo>
                    <a:lnTo>
                      <a:pt x="398" y="211"/>
                    </a:lnTo>
                    <a:lnTo>
                      <a:pt x="395" y="211"/>
                    </a:lnTo>
                    <a:lnTo>
                      <a:pt x="394" y="211"/>
                    </a:lnTo>
                    <a:lnTo>
                      <a:pt x="393" y="212"/>
                    </a:lnTo>
                    <a:lnTo>
                      <a:pt x="391" y="215"/>
                    </a:lnTo>
                    <a:lnTo>
                      <a:pt x="390" y="219"/>
                    </a:lnTo>
                    <a:lnTo>
                      <a:pt x="390" y="219"/>
                    </a:lnTo>
                    <a:lnTo>
                      <a:pt x="390" y="221"/>
                    </a:lnTo>
                    <a:lnTo>
                      <a:pt x="388" y="221"/>
                    </a:lnTo>
                    <a:lnTo>
                      <a:pt x="383" y="221"/>
                    </a:lnTo>
                    <a:lnTo>
                      <a:pt x="368" y="216"/>
                    </a:lnTo>
                    <a:lnTo>
                      <a:pt x="368" y="216"/>
                    </a:lnTo>
                    <a:lnTo>
                      <a:pt x="365" y="216"/>
                    </a:lnTo>
                    <a:lnTo>
                      <a:pt x="363" y="218"/>
                    </a:lnTo>
                    <a:lnTo>
                      <a:pt x="356" y="221"/>
                    </a:lnTo>
                    <a:lnTo>
                      <a:pt x="348" y="226"/>
                    </a:lnTo>
                    <a:lnTo>
                      <a:pt x="340" y="232"/>
                    </a:lnTo>
                    <a:lnTo>
                      <a:pt x="340" y="232"/>
                    </a:lnTo>
                    <a:lnTo>
                      <a:pt x="333" y="236"/>
                    </a:lnTo>
                    <a:lnTo>
                      <a:pt x="328" y="242"/>
                    </a:lnTo>
                    <a:lnTo>
                      <a:pt x="323" y="246"/>
                    </a:lnTo>
                    <a:lnTo>
                      <a:pt x="320" y="246"/>
                    </a:lnTo>
                    <a:lnTo>
                      <a:pt x="317" y="246"/>
                    </a:lnTo>
                    <a:lnTo>
                      <a:pt x="317" y="246"/>
                    </a:lnTo>
                    <a:lnTo>
                      <a:pt x="309" y="248"/>
                    </a:lnTo>
                    <a:lnTo>
                      <a:pt x="300" y="252"/>
                    </a:lnTo>
                    <a:lnTo>
                      <a:pt x="296" y="255"/>
                    </a:lnTo>
                    <a:lnTo>
                      <a:pt x="294" y="258"/>
                    </a:lnTo>
                    <a:lnTo>
                      <a:pt x="296" y="258"/>
                    </a:lnTo>
                    <a:lnTo>
                      <a:pt x="296" y="258"/>
                    </a:lnTo>
                    <a:close/>
                    <a:moveTo>
                      <a:pt x="407" y="255"/>
                    </a:moveTo>
                    <a:lnTo>
                      <a:pt x="407" y="255"/>
                    </a:lnTo>
                    <a:lnTo>
                      <a:pt x="404" y="255"/>
                    </a:lnTo>
                    <a:lnTo>
                      <a:pt x="401" y="256"/>
                    </a:lnTo>
                    <a:lnTo>
                      <a:pt x="400" y="259"/>
                    </a:lnTo>
                    <a:lnTo>
                      <a:pt x="400" y="260"/>
                    </a:lnTo>
                    <a:lnTo>
                      <a:pt x="401" y="262"/>
                    </a:lnTo>
                    <a:lnTo>
                      <a:pt x="402" y="263"/>
                    </a:lnTo>
                    <a:lnTo>
                      <a:pt x="405" y="265"/>
                    </a:lnTo>
                    <a:lnTo>
                      <a:pt x="408" y="265"/>
                    </a:lnTo>
                    <a:lnTo>
                      <a:pt x="408" y="265"/>
                    </a:lnTo>
                    <a:lnTo>
                      <a:pt x="415" y="266"/>
                    </a:lnTo>
                    <a:lnTo>
                      <a:pt x="418" y="268"/>
                    </a:lnTo>
                    <a:lnTo>
                      <a:pt x="415" y="268"/>
                    </a:lnTo>
                    <a:lnTo>
                      <a:pt x="407" y="268"/>
                    </a:lnTo>
                    <a:lnTo>
                      <a:pt x="407" y="268"/>
                    </a:lnTo>
                    <a:lnTo>
                      <a:pt x="401" y="269"/>
                    </a:lnTo>
                    <a:lnTo>
                      <a:pt x="397" y="270"/>
                    </a:lnTo>
                    <a:lnTo>
                      <a:pt x="393" y="272"/>
                    </a:lnTo>
                    <a:lnTo>
                      <a:pt x="391" y="275"/>
                    </a:lnTo>
                    <a:lnTo>
                      <a:pt x="390" y="276"/>
                    </a:lnTo>
                    <a:lnTo>
                      <a:pt x="390" y="279"/>
                    </a:lnTo>
                    <a:lnTo>
                      <a:pt x="391" y="279"/>
                    </a:lnTo>
                    <a:lnTo>
                      <a:pt x="395" y="279"/>
                    </a:lnTo>
                    <a:lnTo>
                      <a:pt x="395" y="279"/>
                    </a:lnTo>
                    <a:lnTo>
                      <a:pt x="404" y="277"/>
                    </a:lnTo>
                    <a:lnTo>
                      <a:pt x="411" y="276"/>
                    </a:lnTo>
                    <a:lnTo>
                      <a:pt x="414" y="277"/>
                    </a:lnTo>
                    <a:lnTo>
                      <a:pt x="411" y="279"/>
                    </a:lnTo>
                    <a:lnTo>
                      <a:pt x="411" y="279"/>
                    </a:lnTo>
                    <a:lnTo>
                      <a:pt x="393" y="283"/>
                    </a:lnTo>
                    <a:lnTo>
                      <a:pt x="385" y="285"/>
                    </a:lnTo>
                    <a:lnTo>
                      <a:pt x="383" y="286"/>
                    </a:lnTo>
                    <a:lnTo>
                      <a:pt x="383" y="287"/>
                    </a:lnTo>
                    <a:lnTo>
                      <a:pt x="383" y="287"/>
                    </a:lnTo>
                    <a:lnTo>
                      <a:pt x="385" y="290"/>
                    </a:lnTo>
                    <a:lnTo>
                      <a:pt x="391" y="290"/>
                    </a:lnTo>
                    <a:lnTo>
                      <a:pt x="397" y="292"/>
                    </a:lnTo>
                    <a:lnTo>
                      <a:pt x="404" y="293"/>
                    </a:lnTo>
                    <a:lnTo>
                      <a:pt x="404" y="293"/>
                    </a:lnTo>
                    <a:lnTo>
                      <a:pt x="410" y="296"/>
                    </a:lnTo>
                    <a:lnTo>
                      <a:pt x="415" y="297"/>
                    </a:lnTo>
                    <a:lnTo>
                      <a:pt x="421" y="296"/>
                    </a:lnTo>
                    <a:lnTo>
                      <a:pt x="425" y="292"/>
                    </a:lnTo>
                    <a:lnTo>
                      <a:pt x="425" y="292"/>
                    </a:lnTo>
                    <a:lnTo>
                      <a:pt x="431" y="286"/>
                    </a:lnTo>
                    <a:lnTo>
                      <a:pt x="437" y="282"/>
                    </a:lnTo>
                    <a:lnTo>
                      <a:pt x="438" y="282"/>
                    </a:lnTo>
                    <a:lnTo>
                      <a:pt x="439" y="282"/>
                    </a:lnTo>
                    <a:lnTo>
                      <a:pt x="439" y="283"/>
                    </a:lnTo>
                    <a:lnTo>
                      <a:pt x="438" y="286"/>
                    </a:lnTo>
                    <a:lnTo>
                      <a:pt x="438" y="286"/>
                    </a:lnTo>
                    <a:lnTo>
                      <a:pt x="438" y="290"/>
                    </a:lnTo>
                    <a:lnTo>
                      <a:pt x="439" y="292"/>
                    </a:lnTo>
                    <a:lnTo>
                      <a:pt x="441" y="292"/>
                    </a:lnTo>
                    <a:lnTo>
                      <a:pt x="445" y="292"/>
                    </a:lnTo>
                    <a:lnTo>
                      <a:pt x="455" y="290"/>
                    </a:lnTo>
                    <a:lnTo>
                      <a:pt x="469" y="289"/>
                    </a:lnTo>
                    <a:lnTo>
                      <a:pt x="469" y="289"/>
                    </a:lnTo>
                    <a:lnTo>
                      <a:pt x="475" y="289"/>
                    </a:lnTo>
                    <a:lnTo>
                      <a:pt x="476" y="290"/>
                    </a:lnTo>
                    <a:lnTo>
                      <a:pt x="475" y="292"/>
                    </a:lnTo>
                    <a:lnTo>
                      <a:pt x="472" y="295"/>
                    </a:lnTo>
                    <a:lnTo>
                      <a:pt x="461" y="299"/>
                    </a:lnTo>
                    <a:lnTo>
                      <a:pt x="445" y="302"/>
                    </a:lnTo>
                    <a:lnTo>
                      <a:pt x="445" y="302"/>
                    </a:lnTo>
                    <a:lnTo>
                      <a:pt x="439" y="303"/>
                    </a:lnTo>
                    <a:lnTo>
                      <a:pt x="435" y="305"/>
                    </a:lnTo>
                    <a:lnTo>
                      <a:pt x="432" y="306"/>
                    </a:lnTo>
                    <a:lnTo>
                      <a:pt x="432" y="309"/>
                    </a:lnTo>
                    <a:lnTo>
                      <a:pt x="432" y="310"/>
                    </a:lnTo>
                    <a:lnTo>
                      <a:pt x="435" y="313"/>
                    </a:lnTo>
                    <a:lnTo>
                      <a:pt x="439" y="314"/>
                    </a:lnTo>
                    <a:lnTo>
                      <a:pt x="445" y="316"/>
                    </a:lnTo>
                    <a:lnTo>
                      <a:pt x="445" y="316"/>
                    </a:lnTo>
                    <a:lnTo>
                      <a:pt x="451" y="317"/>
                    </a:lnTo>
                    <a:lnTo>
                      <a:pt x="459" y="316"/>
                    </a:lnTo>
                    <a:lnTo>
                      <a:pt x="476" y="312"/>
                    </a:lnTo>
                    <a:lnTo>
                      <a:pt x="492" y="306"/>
                    </a:lnTo>
                    <a:lnTo>
                      <a:pt x="502" y="299"/>
                    </a:lnTo>
                    <a:lnTo>
                      <a:pt x="502" y="299"/>
                    </a:lnTo>
                    <a:lnTo>
                      <a:pt x="505" y="296"/>
                    </a:lnTo>
                    <a:lnTo>
                      <a:pt x="508" y="296"/>
                    </a:lnTo>
                    <a:lnTo>
                      <a:pt x="513" y="297"/>
                    </a:lnTo>
                    <a:lnTo>
                      <a:pt x="519" y="299"/>
                    </a:lnTo>
                    <a:lnTo>
                      <a:pt x="522" y="299"/>
                    </a:lnTo>
                    <a:lnTo>
                      <a:pt x="525" y="297"/>
                    </a:lnTo>
                    <a:lnTo>
                      <a:pt x="525" y="297"/>
                    </a:lnTo>
                    <a:lnTo>
                      <a:pt x="528" y="296"/>
                    </a:lnTo>
                    <a:lnTo>
                      <a:pt x="532" y="295"/>
                    </a:lnTo>
                    <a:lnTo>
                      <a:pt x="540" y="295"/>
                    </a:lnTo>
                    <a:lnTo>
                      <a:pt x="550" y="296"/>
                    </a:lnTo>
                    <a:lnTo>
                      <a:pt x="560" y="295"/>
                    </a:lnTo>
                    <a:lnTo>
                      <a:pt x="560" y="295"/>
                    </a:lnTo>
                    <a:lnTo>
                      <a:pt x="566" y="293"/>
                    </a:lnTo>
                    <a:lnTo>
                      <a:pt x="569" y="289"/>
                    </a:lnTo>
                    <a:lnTo>
                      <a:pt x="572" y="285"/>
                    </a:lnTo>
                    <a:lnTo>
                      <a:pt x="573" y="279"/>
                    </a:lnTo>
                    <a:lnTo>
                      <a:pt x="573" y="273"/>
                    </a:lnTo>
                    <a:lnTo>
                      <a:pt x="572" y="269"/>
                    </a:lnTo>
                    <a:lnTo>
                      <a:pt x="570" y="265"/>
                    </a:lnTo>
                    <a:lnTo>
                      <a:pt x="566" y="262"/>
                    </a:lnTo>
                    <a:lnTo>
                      <a:pt x="566" y="262"/>
                    </a:lnTo>
                    <a:lnTo>
                      <a:pt x="563" y="262"/>
                    </a:lnTo>
                    <a:lnTo>
                      <a:pt x="560" y="262"/>
                    </a:lnTo>
                    <a:lnTo>
                      <a:pt x="558" y="263"/>
                    </a:lnTo>
                    <a:lnTo>
                      <a:pt x="553" y="266"/>
                    </a:lnTo>
                    <a:lnTo>
                      <a:pt x="549" y="269"/>
                    </a:lnTo>
                    <a:lnTo>
                      <a:pt x="549" y="269"/>
                    </a:lnTo>
                    <a:lnTo>
                      <a:pt x="546" y="269"/>
                    </a:lnTo>
                    <a:lnTo>
                      <a:pt x="543" y="268"/>
                    </a:lnTo>
                    <a:lnTo>
                      <a:pt x="539" y="265"/>
                    </a:lnTo>
                    <a:lnTo>
                      <a:pt x="531" y="253"/>
                    </a:lnTo>
                    <a:lnTo>
                      <a:pt x="531" y="253"/>
                    </a:lnTo>
                    <a:lnTo>
                      <a:pt x="528" y="252"/>
                    </a:lnTo>
                    <a:lnTo>
                      <a:pt x="528" y="248"/>
                    </a:lnTo>
                    <a:lnTo>
                      <a:pt x="526" y="242"/>
                    </a:lnTo>
                    <a:lnTo>
                      <a:pt x="523" y="238"/>
                    </a:lnTo>
                    <a:lnTo>
                      <a:pt x="522" y="236"/>
                    </a:lnTo>
                    <a:lnTo>
                      <a:pt x="519" y="236"/>
                    </a:lnTo>
                    <a:lnTo>
                      <a:pt x="519" y="236"/>
                    </a:lnTo>
                    <a:lnTo>
                      <a:pt x="511" y="240"/>
                    </a:lnTo>
                    <a:lnTo>
                      <a:pt x="502" y="246"/>
                    </a:lnTo>
                    <a:lnTo>
                      <a:pt x="499" y="249"/>
                    </a:lnTo>
                    <a:lnTo>
                      <a:pt x="498" y="252"/>
                    </a:lnTo>
                    <a:lnTo>
                      <a:pt x="499" y="253"/>
                    </a:lnTo>
                    <a:lnTo>
                      <a:pt x="502" y="255"/>
                    </a:lnTo>
                    <a:lnTo>
                      <a:pt x="502" y="255"/>
                    </a:lnTo>
                    <a:lnTo>
                      <a:pt x="508" y="256"/>
                    </a:lnTo>
                    <a:lnTo>
                      <a:pt x="509" y="258"/>
                    </a:lnTo>
                    <a:lnTo>
                      <a:pt x="509" y="259"/>
                    </a:lnTo>
                    <a:lnTo>
                      <a:pt x="508" y="263"/>
                    </a:lnTo>
                    <a:lnTo>
                      <a:pt x="503" y="265"/>
                    </a:lnTo>
                    <a:lnTo>
                      <a:pt x="503" y="265"/>
                    </a:lnTo>
                    <a:lnTo>
                      <a:pt x="502" y="266"/>
                    </a:lnTo>
                    <a:lnTo>
                      <a:pt x="503" y="268"/>
                    </a:lnTo>
                    <a:lnTo>
                      <a:pt x="508" y="270"/>
                    </a:lnTo>
                    <a:lnTo>
                      <a:pt x="513" y="275"/>
                    </a:lnTo>
                    <a:lnTo>
                      <a:pt x="515" y="276"/>
                    </a:lnTo>
                    <a:lnTo>
                      <a:pt x="515" y="277"/>
                    </a:lnTo>
                    <a:lnTo>
                      <a:pt x="515" y="277"/>
                    </a:lnTo>
                    <a:lnTo>
                      <a:pt x="513" y="279"/>
                    </a:lnTo>
                    <a:lnTo>
                      <a:pt x="509" y="279"/>
                    </a:lnTo>
                    <a:lnTo>
                      <a:pt x="496" y="279"/>
                    </a:lnTo>
                    <a:lnTo>
                      <a:pt x="485" y="276"/>
                    </a:lnTo>
                    <a:lnTo>
                      <a:pt x="481" y="273"/>
                    </a:lnTo>
                    <a:lnTo>
                      <a:pt x="478" y="270"/>
                    </a:lnTo>
                    <a:lnTo>
                      <a:pt x="478" y="270"/>
                    </a:lnTo>
                    <a:lnTo>
                      <a:pt x="476" y="268"/>
                    </a:lnTo>
                    <a:lnTo>
                      <a:pt x="474" y="265"/>
                    </a:lnTo>
                    <a:lnTo>
                      <a:pt x="464" y="259"/>
                    </a:lnTo>
                    <a:lnTo>
                      <a:pt x="451" y="255"/>
                    </a:lnTo>
                    <a:lnTo>
                      <a:pt x="445" y="253"/>
                    </a:lnTo>
                    <a:lnTo>
                      <a:pt x="441" y="253"/>
                    </a:lnTo>
                    <a:lnTo>
                      <a:pt x="441" y="253"/>
                    </a:lnTo>
                    <a:lnTo>
                      <a:pt x="437" y="255"/>
                    </a:lnTo>
                    <a:lnTo>
                      <a:pt x="435" y="253"/>
                    </a:lnTo>
                    <a:lnTo>
                      <a:pt x="432" y="250"/>
                    </a:lnTo>
                    <a:lnTo>
                      <a:pt x="430" y="246"/>
                    </a:lnTo>
                    <a:lnTo>
                      <a:pt x="427" y="245"/>
                    </a:lnTo>
                    <a:lnTo>
                      <a:pt x="424" y="245"/>
                    </a:lnTo>
                    <a:lnTo>
                      <a:pt x="424" y="245"/>
                    </a:lnTo>
                    <a:lnTo>
                      <a:pt x="420" y="245"/>
                    </a:lnTo>
                    <a:lnTo>
                      <a:pt x="418" y="246"/>
                    </a:lnTo>
                    <a:lnTo>
                      <a:pt x="415" y="249"/>
                    </a:lnTo>
                    <a:lnTo>
                      <a:pt x="412" y="253"/>
                    </a:lnTo>
                    <a:lnTo>
                      <a:pt x="410" y="253"/>
                    </a:lnTo>
                    <a:lnTo>
                      <a:pt x="407" y="255"/>
                    </a:lnTo>
                    <a:lnTo>
                      <a:pt x="407" y="255"/>
                    </a:lnTo>
                    <a:close/>
                    <a:moveTo>
                      <a:pt x="444" y="203"/>
                    </a:moveTo>
                    <a:lnTo>
                      <a:pt x="444" y="203"/>
                    </a:lnTo>
                    <a:lnTo>
                      <a:pt x="444" y="201"/>
                    </a:lnTo>
                    <a:lnTo>
                      <a:pt x="441" y="199"/>
                    </a:lnTo>
                    <a:lnTo>
                      <a:pt x="438" y="198"/>
                    </a:lnTo>
                    <a:lnTo>
                      <a:pt x="434" y="196"/>
                    </a:lnTo>
                    <a:lnTo>
                      <a:pt x="425" y="198"/>
                    </a:lnTo>
                    <a:lnTo>
                      <a:pt x="422" y="198"/>
                    </a:lnTo>
                    <a:lnTo>
                      <a:pt x="422" y="199"/>
                    </a:lnTo>
                    <a:lnTo>
                      <a:pt x="422" y="199"/>
                    </a:lnTo>
                    <a:lnTo>
                      <a:pt x="427" y="203"/>
                    </a:lnTo>
                    <a:lnTo>
                      <a:pt x="434" y="206"/>
                    </a:lnTo>
                    <a:lnTo>
                      <a:pt x="437" y="208"/>
                    </a:lnTo>
                    <a:lnTo>
                      <a:pt x="439" y="208"/>
                    </a:lnTo>
                    <a:lnTo>
                      <a:pt x="442" y="206"/>
                    </a:lnTo>
                    <a:lnTo>
                      <a:pt x="444" y="203"/>
                    </a:lnTo>
                    <a:lnTo>
                      <a:pt x="444" y="203"/>
                    </a:lnTo>
                    <a:close/>
                    <a:moveTo>
                      <a:pt x="502" y="199"/>
                    </a:moveTo>
                    <a:lnTo>
                      <a:pt x="502" y="199"/>
                    </a:lnTo>
                    <a:lnTo>
                      <a:pt x="505" y="199"/>
                    </a:lnTo>
                    <a:lnTo>
                      <a:pt x="506" y="198"/>
                    </a:lnTo>
                    <a:lnTo>
                      <a:pt x="508" y="196"/>
                    </a:lnTo>
                    <a:lnTo>
                      <a:pt x="506" y="195"/>
                    </a:lnTo>
                    <a:lnTo>
                      <a:pt x="502" y="194"/>
                    </a:lnTo>
                    <a:lnTo>
                      <a:pt x="492" y="194"/>
                    </a:lnTo>
                    <a:lnTo>
                      <a:pt x="492" y="194"/>
                    </a:lnTo>
                    <a:lnTo>
                      <a:pt x="479" y="195"/>
                    </a:lnTo>
                    <a:lnTo>
                      <a:pt x="466" y="196"/>
                    </a:lnTo>
                    <a:lnTo>
                      <a:pt x="461" y="198"/>
                    </a:lnTo>
                    <a:lnTo>
                      <a:pt x="457" y="201"/>
                    </a:lnTo>
                    <a:lnTo>
                      <a:pt x="454" y="202"/>
                    </a:lnTo>
                    <a:lnTo>
                      <a:pt x="452" y="206"/>
                    </a:lnTo>
                    <a:lnTo>
                      <a:pt x="452" y="206"/>
                    </a:lnTo>
                    <a:lnTo>
                      <a:pt x="454" y="212"/>
                    </a:lnTo>
                    <a:lnTo>
                      <a:pt x="457" y="216"/>
                    </a:lnTo>
                    <a:lnTo>
                      <a:pt x="464" y="219"/>
                    </a:lnTo>
                    <a:lnTo>
                      <a:pt x="474" y="221"/>
                    </a:lnTo>
                    <a:lnTo>
                      <a:pt x="474" y="221"/>
                    </a:lnTo>
                    <a:lnTo>
                      <a:pt x="479" y="221"/>
                    </a:lnTo>
                    <a:lnTo>
                      <a:pt x="485" y="219"/>
                    </a:lnTo>
                    <a:lnTo>
                      <a:pt x="489" y="216"/>
                    </a:lnTo>
                    <a:lnTo>
                      <a:pt x="494" y="213"/>
                    </a:lnTo>
                    <a:lnTo>
                      <a:pt x="496" y="211"/>
                    </a:lnTo>
                    <a:lnTo>
                      <a:pt x="498" y="209"/>
                    </a:lnTo>
                    <a:lnTo>
                      <a:pt x="498" y="206"/>
                    </a:lnTo>
                    <a:lnTo>
                      <a:pt x="496" y="206"/>
                    </a:lnTo>
                    <a:lnTo>
                      <a:pt x="496" y="206"/>
                    </a:lnTo>
                    <a:lnTo>
                      <a:pt x="492" y="205"/>
                    </a:lnTo>
                    <a:lnTo>
                      <a:pt x="492" y="205"/>
                    </a:lnTo>
                    <a:lnTo>
                      <a:pt x="494" y="203"/>
                    </a:lnTo>
                    <a:lnTo>
                      <a:pt x="496" y="202"/>
                    </a:lnTo>
                    <a:lnTo>
                      <a:pt x="502" y="199"/>
                    </a:lnTo>
                    <a:lnTo>
                      <a:pt x="502" y="199"/>
                    </a:lnTo>
                    <a:close/>
                    <a:moveTo>
                      <a:pt x="468" y="186"/>
                    </a:moveTo>
                    <a:lnTo>
                      <a:pt x="468" y="186"/>
                    </a:lnTo>
                    <a:lnTo>
                      <a:pt x="471" y="186"/>
                    </a:lnTo>
                    <a:lnTo>
                      <a:pt x="474" y="186"/>
                    </a:lnTo>
                    <a:lnTo>
                      <a:pt x="478" y="185"/>
                    </a:lnTo>
                    <a:lnTo>
                      <a:pt x="482" y="184"/>
                    </a:lnTo>
                    <a:lnTo>
                      <a:pt x="485" y="184"/>
                    </a:lnTo>
                    <a:lnTo>
                      <a:pt x="486" y="184"/>
                    </a:lnTo>
                    <a:lnTo>
                      <a:pt x="486" y="184"/>
                    </a:lnTo>
                    <a:lnTo>
                      <a:pt x="494" y="186"/>
                    </a:lnTo>
                    <a:lnTo>
                      <a:pt x="502" y="188"/>
                    </a:lnTo>
                    <a:lnTo>
                      <a:pt x="506" y="188"/>
                    </a:lnTo>
                    <a:lnTo>
                      <a:pt x="511" y="186"/>
                    </a:lnTo>
                    <a:lnTo>
                      <a:pt x="513" y="184"/>
                    </a:lnTo>
                    <a:lnTo>
                      <a:pt x="513" y="181"/>
                    </a:lnTo>
                    <a:lnTo>
                      <a:pt x="513" y="181"/>
                    </a:lnTo>
                    <a:lnTo>
                      <a:pt x="513" y="176"/>
                    </a:lnTo>
                    <a:lnTo>
                      <a:pt x="509" y="174"/>
                    </a:lnTo>
                    <a:lnTo>
                      <a:pt x="505" y="172"/>
                    </a:lnTo>
                    <a:lnTo>
                      <a:pt x="499" y="171"/>
                    </a:lnTo>
                    <a:lnTo>
                      <a:pt x="488" y="169"/>
                    </a:lnTo>
                    <a:lnTo>
                      <a:pt x="482" y="171"/>
                    </a:lnTo>
                    <a:lnTo>
                      <a:pt x="479" y="172"/>
                    </a:lnTo>
                    <a:lnTo>
                      <a:pt x="479" y="172"/>
                    </a:lnTo>
                    <a:lnTo>
                      <a:pt x="469" y="175"/>
                    </a:lnTo>
                    <a:lnTo>
                      <a:pt x="458" y="178"/>
                    </a:lnTo>
                    <a:lnTo>
                      <a:pt x="448" y="181"/>
                    </a:lnTo>
                    <a:lnTo>
                      <a:pt x="447" y="182"/>
                    </a:lnTo>
                    <a:lnTo>
                      <a:pt x="448" y="185"/>
                    </a:lnTo>
                    <a:lnTo>
                      <a:pt x="448" y="185"/>
                    </a:lnTo>
                    <a:lnTo>
                      <a:pt x="452" y="186"/>
                    </a:lnTo>
                    <a:lnTo>
                      <a:pt x="458" y="186"/>
                    </a:lnTo>
                    <a:lnTo>
                      <a:pt x="462" y="185"/>
                    </a:lnTo>
                    <a:lnTo>
                      <a:pt x="468" y="186"/>
                    </a:lnTo>
                    <a:lnTo>
                      <a:pt x="468" y="186"/>
                    </a:lnTo>
                    <a:close/>
                    <a:moveTo>
                      <a:pt x="586" y="164"/>
                    </a:moveTo>
                    <a:lnTo>
                      <a:pt x="586" y="164"/>
                    </a:lnTo>
                    <a:lnTo>
                      <a:pt x="590" y="162"/>
                    </a:lnTo>
                    <a:lnTo>
                      <a:pt x="595" y="162"/>
                    </a:lnTo>
                    <a:lnTo>
                      <a:pt x="602" y="165"/>
                    </a:lnTo>
                    <a:lnTo>
                      <a:pt x="607" y="169"/>
                    </a:lnTo>
                    <a:lnTo>
                      <a:pt x="609" y="172"/>
                    </a:lnTo>
                    <a:lnTo>
                      <a:pt x="607" y="174"/>
                    </a:lnTo>
                    <a:lnTo>
                      <a:pt x="607" y="174"/>
                    </a:lnTo>
                    <a:lnTo>
                      <a:pt x="606" y="176"/>
                    </a:lnTo>
                    <a:lnTo>
                      <a:pt x="603" y="176"/>
                    </a:lnTo>
                    <a:lnTo>
                      <a:pt x="593" y="176"/>
                    </a:lnTo>
                    <a:lnTo>
                      <a:pt x="585" y="176"/>
                    </a:lnTo>
                    <a:lnTo>
                      <a:pt x="583" y="176"/>
                    </a:lnTo>
                    <a:lnTo>
                      <a:pt x="582" y="178"/>
                    </a:lnTo>
                    <a:lnTo>
                      <a:pt x="582" y="178"/>
                    </a:lnTo>
                    <a:lnTo>
                      <a:pt x="583" y="181"/>
                    </a:lnTo>
                    <a:lnTo>
                      <a:pt x="586" y="184"/>
                    </a:lnTo>
                    <a:lnTo>
                      <a:pt x="589" y="185"/>
                    </a:lnTo>
                    <a:lnTo>
                      <a:pt x="593" y="185"/>
                    </a:lnTo>
                    <a:lnTo>
                      <a:pt x="597" y="185"/>
                    </a:lnTo>
                    <a:lnTo>
                      <a:pt x="603" y="184"/>
                    </a:lnTo>
                    <a:lnTo>
                      <a:pt x="603" y="184"/>
                    </a:lnTo>
                    <a:lnTo>
                      <a:pt x="614" y="182"/>
                    </a:lnTo>
                    <a:lnTo>
                      <a:pt x="626" y="182"/>
                    </a:lnTo>
                    <a:lnTo>
                      <a:pt x="636" y="186"/>
                    </a:lnTo>
                    <a:lnTo>
                      <a:pt x="646" y="192"/>
                    </a:lnTo>
                    <a:lnTo>
                      <a:pt x="646" y="192"/>
                    </a:lnTo>
                    <a:lnTo>
                      <a:pt x="654" y="198"/>
                    </a:lnTo>
                    <a:lnTo>
                      <a:pt x="661" y="201"/>
                    </a:lnTo>
                    <a:lnTo>
                      <a:pt x="666" y="201"/>
                    </a:lnTo>
                    <a:lnTo>
                      <a:pt x="668" y="201"/>
                    </a:lnTo>
                    <a:lnTo>
                      <a:pt x="673" y="198"/>
                    </a:lnTo>
                    <a:lnTo>
                      <a:pt x="676" y="195"/>
                    </a:lnTo>
                    <a:lnTo>
                      <a:pt x="676" y="195"/>
                    </a:lnTo>
                    <a:lnTo>
                      <a:pt x="677" y="192"/>
                    </a:lnTo>
                    <a:lnTo>
                      <a:pt x="677" y="189"/>
                    </a:lnTo>
                    <a:lnTo>
                      <a:pt x="676" y="188"/>
                    </a:lnTo>
                    <a:lnTo>
                      <a:pt x="674" y="186"/>
                    </a:lnTo>
                    <a:lnTo>
                      <a:pt x="670" y="182"/>
                    </a:lnTo>
                    <a:lnTo>
                      <a:pt x="668" y="181"/>
                    </a:lnTo>
                    <a:lnTo>
                      <a:pt x="668" y="178"/>
                    </a:lnTo>
                    <a:lnTo>
                      <a:pt x="668" y="178"/>
                    </a:lnTo>
                    <a:lnTo>
                      <a:pt x="670" y="175"/>
                    </a:lnTo>
                    <a:lnTo>
                      <a:pt x="668" y="174"/>
                    </a:lnTo>
                    <a:lnTo>
                      <a:pt x="664" y="169"/>
                    </a:lnTo>
                    <a:lnTo>
                      <a:pt x="657" y="167"/>
                    </a:lnTo>
                    <a:lnTo>
                      <a:pt x="650" y="167"/>
                    </a:lnTo>
                    <a:lnTo>
                      <a:pt x="650" y="167"/>
                    </a:lnTo>
                    <a:lnTo>
                      <a:pt x="647" y="165"/>
                    </a:lnTo>
                    <a:lnTo>
                      <a:pt x="644" y="164"/>
                    </a:lnTo>
                    <a:lnTo>
                      <a:pt x="640" y="159"/>
                    </a:lnTo>
                    <a:lnTo>
                      <a:pt x="637" y="155"/>
                    </a:lnTo>
                    <a:lnTo>
                      <a:pt x="634" y="155"/>
                    </a:lnTo>
                    <a:lnTo>
                      <a:pt x="633" y="155"/>
                    </a:lnTo>
                    <a:lnTo>
                      <a:pt x="633" y="155"/>
                    </a:lnTo>
                    <a:lnTo>
                      <a:pt x="624" y="159"/>
                    </a:lnTo>
                    <a:lnTo>
                      <a:pt x="624" y="159"/>
                    </a:lnTo>
                    <a:lnTo>
                      <a:pt x="623" y="158"/>
                    </a:lnTo>
                    <a:lnTo>
                      <a:pt x="622" y="154"/>
                    </a:lnTo>
                    <a:lnTo>
                      <a:pt x="622" y="154"/>
                    </a:lnTo>
                    <a:lnTo>
                      <a:pt x="620" y="151"/>
                    </a:lnTo>
                    <a:lnTo>
                      <a:pt x="616" y="148"/>
                    </a:lnTo>
                    <a:lnTo>
                      <a:pt x="610" y="147"/>
                    </a:lnTo>
                    <a:lnTo>
                      <a:pt x="603" y="145"/>
                    </a:lnTo>
                    <a:lnTo>
                      <a:pt x="587" y="145"/>
                    </a:lnTo>
                    <a:lnTo>
                      <a:pt x="576" y="147"/>
                    </a:lnTo>
                    <a:lnTo>
                      <a:pt x="576" y="147"/>
                    </a:lnTo>
                    <a:lnTo>
                      <a:pt x="573" y="149"/>
                    </a:lnTo>
                    <a:lnTo>
                      <a:pt x="572" y="152"/>
                    </a:lnTo>
                    <a:lnTo>
                      <a:pt x="573" y="155"/>
                    </a:lnTo>
                    <a:lnTo>
                      <a:pt x="575" y="159"/>
                    </a:lnTo>
                    <a:lnTo>
                      <a:pt x="577" y="162"/>
                    </a:lnTo>
                    <a:lnTo>
                      <a:pt x="580" y="165"/>
                    </a:lnTo>
                    <a:lnTo>
                      <a:pt x="583" y="165"/>
                    </a:lnTo>
                    <a:lnTo>
                      <a:pt x="586" y="164"/>
                    </a:lnTo>
                    <a:lnTo>
                      <a:pt x="586" y="164"/>
                    </a:lnTo>
                    <a:close/>
                    <a:moveTo>
                      <a:pt x="592" y="223"/>
                    </a:moveTo>
                    <a:lnTo>
                      <a:pt x="592" y="223"/>
                    </a:lnTo>
                    <a:lnTo>
                      <a:pt x="592" y="221"/>
                    </a:lnTo>
                    <a:lnTo>
                      <a:pt x="590" y="216"/>
                    </a:lnTo>
                    <a:lnTo>
                      <a:pt x="586" y="212"/>
                    </a:lnTo>
                    <a:lnTo>
                      <a:pt x="582" y="208"/>
                    </a:lnTo>
                    <a:lnTo>
                      <a:pt x="577" y="205"/>
                    </a:lnTo>
                    <a:lnTo>
                      <a:pt x="572" y="202"/>
                    </a:lnTo>
                    <a:lnTo>
                      <a:pt x="569" y="202"/>
                    </a:lnTo>
                    <a:lnTo>
                      <a:pt x="567" y="203"/>
                    </a:lnTo>
                    <a:lnTo>
                      <a:pt x="567" y="205"/>
                    </a:lnTo>
                    <a:lnTo>
                      <a:pt x="567" y="205"/>
                    </a:lnTo>
                    <a:lnTo>
                      <a:pt x="567" y="209"/>
                    </a:lnTo>
                    <a:lnTo>
                      <a:pt x="569" y="213"/>
                    </a:lnTo>
                    <a:lnTo>
                      <a:pt x="573" y="218"/>
                    </a:lnTo>
                    <a:lnTo>
                      <a:pt x="576" y="221"/>
                    </a:lnTo>
                    <a:lnTo>
                      <a:pt x="580" y="223"/>
                    </a:lnTo>
                    <a:lnTo>
                      <a:pt x="585" y="226"/>
                    </a:lnTo>
                    <a:lnTo>
                      <a:pt x="589" y="226"/>
                    </a:lnTo>
                    <a:lnTo>
                      <a:pt x="592" y="223"/>
                    </a:lnTo>
                    <a:lnTo>
                      <a:pt x="592" y="223"/>
                    </a:lnTo>
                    <a:close/>
                    <a:moveTo>
                      <a:pt x="684" y="131"/>
                    </a:moveTo>
                    <a:lnTo>
                      <a:pt x="684" y="131"/>
                    </a:lnTo>
                    <a:lnTo>
                      <a:pt x="684" y="128"/>
                    </a:lnTo>
                    <a:lnTo>
                      <a:pt x="681" y="125"/>
                    </a:lnTo>
                    <a:lnTo>
                      <a:pt x="677" y="122"/>
                    </a:lnTo>
                    <a:lnTo>
                      <a:pt x="671" y="121"/>
                    </a:lnTo>
                    <a:lnTo>
                      <a:pt x="663" y="120"/>
                    </a:lnTo>
                    <a:lnTo>
                      <a:pt x="661" y="121"/>
                    </a:lnTo>
                    <a:lnTo>
                      <a:pt x="663" y="122"/>
                    </a:lnTo>
                    <a:lnTo>
                      <a:pt x="663" y="122"/>
                    </a:lnTo>
                    <a:lnTo>
                      <a:pt x="667" y="127"/>
                    </a:lnTo>
                    <a:lnTo>
                      <a:pt x="673" y="132"/>
                    </a:lnTo>
                    <a:lnTo>
                      <a:pt x="676" y="134"/>
                    </a:lnTo>
                    <a:lnTo>
                      <a:pt x="680" y="134"/>
                    </a:lnTo>
                    <a:lnTo>
                      <a:pt x="681" y="134"/>
                    </a:lnTo>
                    <a:lnTo>
                      <a:pt x="684" y="131"/>
                    </a:lnTo>
                    <a:lnTo>
                      <a:pt x="684" y="131"/>
                    </a:lnTo>
                    <a:close/>
                    <a:moveTo>
                      <a:pt x="603" y="292"/>
                    </a:moveTo>
                    <a:lnTo>
                      <a:pt x="603" y="292"/>
                    </a:lnTo>
                    <a:lnTo>
                      <a:pt x="604" y="290"/>
                    </a:lnTo>
                    <a:lnTo>
                      <a:pt x="604" y="287"/>
                    </a:lnTo>
                    <a:lnTo>
                      <a:pt x="602" y="285"/>
                    </a:lnTo>
                    <a:lnTo>
                      <a:pt x="600" y="283"/>
                    </a:lnTo>
                    <a:lnTo>
                      <a:pt x="596" y="282"/>
                    </a:lnTo>
                    <a:lnTo>
                      <a:pt x="593" y="280"/>
                    </a:lnTo>
                    <a:lnTo>
                      <a:pt x="590" y="282"/>
                    </a:lnTo>
                    <a:lnTo>
                      <a:pt x="589" y="285"/>
                    </a:lnTo>
                    <a:lnTo>
                      <a:pt x="589" y="285"/>
                    </a:lnTo>
                    <a:lnTo>
                      <a:pt x="587" y="287"/>
                    </a:lnTo>
                    <a:lnTo>
                      <a:pt x="589" y="290"/>
                    </a:lnTo>
                    <a:lnTo>
                      <a:pt x="590" y="293"/>
                    </a:lnTo>
                    <a:lnTo>
                      <a:pt x="593" y="295"/>
                    </a:lnTo>
                    <a:lnTo>
                      <a:pt x="599" y="295"/>
                    </a:lnTo>
                    <a:lnTo>
                      <a:pt x="602" y="295"/>
                    </a:lnTo>
                    <a:lnTo>
                      <a:pt x="603" y="292"/>
                    </a:lnTo>
                    <a:lnTo>
                      <a:pt x="603" y="292"/>
                    </a:lnTo>
                    <a:close/>
                    <a:moveTo>
                      <a:pt x="684" y="242"/>
                    </a:moveTo>
                    <a:lnTo>
                      <a:pt x="684" y="242"/>
                    </a:lnTo>
                    <a:lnTo>
                      <a:pt x="683" y="245"/>
                    </a:lnTo>
                    <a:lnTo>
                      <a:pt x="681" y="245"/>
                    </a:lnTo>
                    <a:lnTo>
                      <a:pt x="674" y="243"/>
                    </a:lnTo>
                    <a:lnTo>
                      <a:pt x="654" y="236"/>
                    </a:lnTo>
                    <a:lnTo>
                      <a:pt x="654" y="236"/>
                    </a:lnTo>
                    <a:lnTo>
                      <a:pt x="650" y="235"/>
                    </a:lnTo>
                    <a:lnTo>
                      <a:pt x="649" y="236"/>
                    </a:lnTo>
                    <a:lnTo>
                      <a:pt x="647" y="238"/>
                    </a:lnTo>
                    <a:lnTo>
                      <a:pt x="649" y="240"/>
                    </a:lnTo>
                    <a:lnTo>
                      <a:pt x="653" y="248"/>
                    </a:lnTo>
                    <a:lnTo>
                      <a:pt x="659" y="255"/>
                    </a:lnTo>
                    <a:lnTo>
                      <a:pt x="659" y="255"/>
                    </a:lnTo>
                    <a:lnTo>
                      <a:pt x="661" y="258"/>
                    </a:lnTo>
                    <a:lnTo>
                      <a:pt x="663" y="259"/>
                    </a:lnTo>
                    <a:lnTo>
                      <a:pt x="661" y="259"/>
                    </a:lnTo>
                    <a:lnTo>
                      <a:pt x="659" y="259"/>
                    </a:lnTo>
                    <a:lnTo>
                      <a:pt x="650" y="256"/>
                    </a:lnTo>
                    <a:lnTo>
                      <a:pt x="640" y="249"/>
                    </a:lnTo>
                    <a:lnTo>
                      <a:pt x="640" y="249"/>
                    </a:lnTo>
                    <a:lnTo>
                      <a:pt x="636" y="248"/>
                    </a:lnTo>
                    <a:lnTo>
                      <a:pt x="633" y="246"/>
                    </a:lnTo>
                    <a:lnTo>
                      <a:pt x="632" y="248"/>
                    </a:lnTo>
                    <a:lnTo>
                      <a:pt x="630" y="250"/>
                    </a:lnTo>
                    <a:lnTo>
                      <a:pt x="632" y="256"/>
                    </a:lnTo>
                    <a:lnTo>
                      <a:pt x="633" y="259"/>
                    </a:lnTo>
                    <a:lnTo>
                      <a:pt x="634" y="260"/>
                    </a:lnTo>
                    <a:lnTo>
                      <a:pt x="634" y="260"/>
                    </a:lnTo>
                    <a:lnTo>
                      <a:pt x="637" y="263"/>
                    </a:lnTo>
                    <a:lnTo>
                      <a:pt x="637" y="265"/>
                    </a:lnTo>
                    <a:lnTo>
                      <a:pt x="637" y="266"/>
                    </a:lnTo>
                    <a:lnTo>
                      <a:pt x="636" y="268"/>
                    </a:lnTo>
                    <a:lnTo>
                      <a:pt x="633" y="268"/>
                    </a:lnTo>
                    <a:lnTo>
                      <a:pt x="632" y="268"/>
                    </a:lnTo>
                    <a:lnTo>
                      <a:pt x="629" y="265"/>
                    </a:lnTo>
                    <a:lnTo>
                      <a:pt x="624" y="262"/>
                    </a:lnTo>
                    <a:lnTo>
                      <a:pt x="624" y="262"/>
                    </a:lnTo>
                    <a:lnTo>
                      <a:pt x="613" y="246"/>
                    </a:lnTo>
                    <a:lnTo>
                      <a:pt x="607" y="240"/>
                    </a:lnTo>
                    <a:lnTo>
                      <a:pt x="603" y="238"/>
                    </a:lnTo>
                    <a:lnTo>
                      <a:pt x="599" y="238"/>
                    </a:lnTo>
                    <a:lnTo>
                      <a:pt x="599" y="238"/>
                    </a:lnTo>
                    <a:lnTo>
                      <a:pt x="595" y="238"/>
                    </a:lnTo>
                    <a:lnTo>
                      <a:pt x="592" y="239"/>
                    </a:lnTo>
                    <a:lnTo>
                      <a:pt x="590" y="242"/>
                    </a:lnTo>
                    <a:lnTo>
                      <a:pt x="590" y="245"/>
                    </a:lnTo>
                    <a:lnTo>
                      <a:pt x="593" y="252"/>
                    </a:lnTo>
                    <a:lnTo>
                      <a:pt x="596" y="258"/>
                    </a:lnTo>
                    <a:lnTo>
                      <a:pt x="596" y="258"/>
                    </a:lnTo>
                    <a:lnTo>
                      <a:pt x="602" y="263"/>
                    </a:lnTo>
                    <a:lnTo>
                      <a:pt x="607" y="268"/>
                    </a:lnTo>
                    <a:lnTo>
                      <a:pt x="622" y="275"/>
                    </a:lnTo>
                    <a:lnTo>
                      <a:pt x="622" y="275"/>
                    </a:lnTo>
                    <a:lnTo>
                      <a:pt x="627" y="277"/>
                    </a:lnTo>
                    <a:lnTo>
                      <a:pt x="632" y="277"/>
                    </a:lnTo>
                    <a:lnTo>
                      <a:pt x="643" y="276"/>
                    </a:lnTo>
                    <a:lnTo>
                      <a:pt x="653" y="275"/>
                    </a:lnTo>
                    <a:lnTo>
                      <a:pt x="660" y="275"/>
                    </a:lnTo>
                    <a:lnTo>
                      <a:pt x="660" y="275"/>
                    </a:lnTo>
                    <a:lnTo>
                      <a:pt x="663" y="276"/>
                    </a:lnTo>
                    <a:lnTo>
                      <a:pt x="663" y="277"/>
                    </a:lnTo>
                    <a:lnTo>
                      <a:pt x="660" y="283"/>
                    </a:lnTo>
                    <a:lnTo>
                      <a:pt x="656" y="289"/>
                    </a:lnTo>
                    <a:lnTo>
                      <a:pt x="656" y="292"/>
                    </a:lnTo>
                    <a:lnTo>
                      <a:pt x="657" y="295"/>
                    </a:lnTo>
                    <a:lnTo>
                      <a:pt x="657" y="295"/>
                    </a:lnTo>
                    <a:lnTo>
                      <a:pt x="660" y="296"/>
                    </a:lnTo>
                    <a:lnTo>
                      <a:pt x="663" y="297"/>
                    </a:lnTo>
                    <a:lnTo>
                      <a:pt x="671" y="297"/>
                    </a:lnTo>
                    <a:lnTo>
                      <a:pt x="690" y="296"/>
                    </a:lnTo>
                    <a:lnTo>
                      <a:pt x="690" y="296"/>
                    </a:lnTo>
                    <a:lnTo>
                      <a:pt x="694" y="296"/>
                    </a:lnTo>
                    <a:lnTo>
                      <a:pt x="697" y="295"/>
                    </a:lnTo>
                    <a:lnTo>
                      <a:pt x="698" y="292"/>
                    </a:lnTo>
                    <a:lnTo>
                      <a:pt x="700" y="287"/>
                    </a:lnTo>
                    <a:lnTo>
                      <a:pt x="704" y="283"/>
                    </a:lnTo>
                    <a:lnTo>
                      <a:pt x="704" y="283"/>
                    </a:lnTo>
                    <a:lnTo>
                      <a:pt x="705" y="282"/>
                    </a:lnTo>
                    <a:lnTo>
                      <a:pt x="705" y="280"/>
                    </a:lnTo>
                    <a:lnTo>
                      <a:pt x="704" y="277"/>
                    </a:lnTo>
                    <a:lnTo>
                      <a:pt x="701" y="273"/>
                    </a:lnTo>
                    <a:lnTo>
                      <a:pt x="701" y="270"/>
                    </a:lnTo>
                    <a:lnTo>
                      <a:pt x="703" y="266"/>
                    </a:lnTo>
                    <a:lnTo>
                      <a:pt x="703" y="266"/>
                    </a:lnTo>
                    <a:lnTo>
                      <a:pt x="703" y="262"/>
                    </a:lnTo>
                    <a:lnTo>
                      <a:pt x="703" y="256"/>
                    </a:lnTo>
                    <a:lnTo>
                      <a:pt x="700" y="252"/>
                    </a:lnTo>
                    <a:lnTo>
                      <a:pt x="696" y="248"/>
                    </a:lnTo>
                    <a:lnTo>
                      <a:pt x="691" y="243"/>
                    </a:lnTo>
                    <a:lnTo>
                      <a:pt x="688" y="242"/>
                    </a:lnTo>
                    <a:lnTo>
                      <a:pt x="686" y="240"/>
                    </a:lnTo>
                    <a:lnTo>
                      <a:pt x="684" y="242"/>
                    </a:lnTo>
                    <a:lnTo>
                      <a:pt x="684" y="242"/>
                    </a:lnTo>
                    <a:close/>
                    <a:moveTo>
                      <a:pt x="714" y="201"/>
                    </a:moveTo>
                    <a:lnTo>
                      <a:pt x="714" y="201"/>
                    </a:lnTo>
                    <a:lnTo>
                      <a:pt x="728" y="199"/>
                    </a:lnTo>
                    <a:lnTo>
                      <a:pt x="742" y="195"/>
                    </a:lnTo>
                    <a:lnTo>
                      <a:pt x="742" y="195"/>
                    </a:lnTo>
                    <a:lnTo>
                      <a:pt x="745" y="194"/>
                    </a:lnTo>
                    <a:lnTo>
                      <a:pt x="744" y="191"/>
                    </a:lnTo>
                    <a:lnTo>
                      <a:pt x="742" y="188"/>
                    </a:lnTo>
                    <a:lnTo>
                      <a:pt x="742" y="186"/>
                    </a:lnTo>
                    <a:lnTo>
                      <a:pt x="744" y="184"/>
                    </a:lnTo>
                    <a:lnTo>
                      <a:pt x="744" y="184"/>
                    </a:lnTo>
                    <a:lnTo>
                      <a:pt x="745" y="181"/>
                    </a:lnTo>
                    <a:lnTo>
                      <a:pt x="744" y="178"/>
                    </a:lnTo>
                    <a:lnTo>
                      <a:pt x="741" y="176"/>
                    </a:lnTo>
                    <a:lnTo>
                      <a:pt x="738" y="176"/>
                    </a:lnTo>
                    <a:lnTo>
                      <a:pt x="731" y="175"/>
                    </a:lnTo>
                    <a:lnTo>
                      <a:pt x="727" y="176"/>
                    </a:lnTo>
                    <a:lnTo>
                      <a:pt x="727" y="176"/>
                    </a:lnTo>
                    <a:lnTo>
                      <a:pt x="725" y="176"/>
                    </a:lnTo>
                    <a:lnTo>
                      <a:pt x="721" y="175"/>
                    </a:lnTo>
                    <a:lnTo>
                      <a:pt x="711" y="171"/>
                    </a:lnTo>
                    <a:lnTo>
                      <a:pt x="700" y="165"/>
                    </a:lnTo>
                    <a:lnTo>
                      <a:pt x="696" y="165"/>
                    </a:lnTo>
                    <a:lnTo>
                      <a:pt x="693" y="167"/>
                    </a:lnTo>
                    <a:lnTo>
                      <a:pt x="693" y="167"/>
                    </a:lnTo>
                    <a:lnTo>
                      <a:pt x="693" y="169"/>
                    </a:lnTo>
                    <a:lnTo>
                      <a:pt x="693" y="175"/>
                    </a:lnTo>
                    <a:lnTo>
                      <a:pt x="698" y="186"/>
                    </a:lnTo>
                    <a:lnTo>
                      <a:pt x="701" y="192"/>
                    </a:lnTo>
                    <a:lnTo>
                      <a:pt x="705" y="196"/>
                    </a:lnTo>
                    <a:lnTo>
                      <a:pt x="710" y="199"/>
                    </a:lnTo>
                    <a:lnTo>
                      <a:pt x="714" y="201"/>
                    </a:lnTo>
                    <a:lnTo>
                      <a:pt x="714" y="201"/>
                    </a:lnTo>
                    <a:close/>
                    <a:moveTo>
                      <a:pt x="771" y="203"/>
                    </a:moveTo>
                    <a:lnTo>
                      <a:pt x="771" y="203"/>
                    </a:lnTo>
                    <a:lnTo>
                      <a:pt x="768" y="203"/>
                    </a:lnTo>
                    <a:lnTo>
                      <a:pt x="762" y="202"/>
                    </a:lnTo>
                    <a:lnTo>
                      <a:pt x="744" y="205"/>
                    </a:lnTo>
                    <a:lnTo>
                      <a:pt x="728" y="208"/>
                    </a:lnTo>
                    <a:lnTo>
                      <a:pt x="724" y="211"/>
                    </a:lnTo>
                    <a:lnTo>
                      <a:pt x="724" y="212"/>
                    </a:lnTo>
                    <a:lnTo>
                      <a:pt x="724" y="212"/>
                    </a:lnTo>
                    <a:lnTo>
                      <a:pt x="724" y="212"/>
                    </a:lnTo>
                    <a:lnTo>
                      <a:pt x="731" y="215"/>
                    </a:lnTo>
                    <a:lnTo>
                      <a:pt x="738" y="216"/>
                    </a:lnTo>
                    <a:lnTo>
                      <a:pt x="745" y="216"/>
                    </a:lnTo>
                    <a:lnTo>
                      <a:pt x="754" y="213"/>
                    </a:lnTo>
                    <a:lnTo>
                      <a:pt x="767" y="209"/>
                    </a:lnTo>
                    <a:lnTo>
                      <a:pt x="771" y="206"/>
                    </a:lnTo>
                    <a:lnTo>
                      <a:pt x="771" y="203"/>
                    </a:lnTo>
                    <a:lnTo>
                      <a:pt x="771" y="203"/>
                    </a:lnTo>
                    <a:close/>
                    <a:moveTo>
                      <a:pt x="764" y="307"/>
                    </a:moveTo>
                    <a:lnTo>
                      <a:pt x="764" y="307"/>
                    </a:lnTo>
                    <a:lnTo>
                      <a:pt x="768" y="307"/>
                    </a:lnTo>
                    <a:lnTo>
                      <a:pt x="769" y="305"/>
                    </a:lnTo>
                    <a:lnTo>
                      <a:pt x="771" y="302"/>
                    </a:lnTo>
                    <a:lnTo>
                      <a:pt x="769" y="299"/>
                    </a:lnTo>
                    <a:lnTo>
                      <a:pt x="768" y="295"/>
                    </a:lnTo>
                    <a:lnTo>
                      <a:pt x="765" y="289"/>
                    </a:lnTo>
                    <a:lnTo>
                      <a:pt x="755" y="280"/>
                    </a:lnTo>
                    <a:lnTo>
                      <a:pt x="755" y="280"/>
                    </a:lnTo>
                    <a:lnTo>
                      <a:pt x="750" y="279"/>
                    </a:lnTo>
                    <a:lnTo>
                      <a:pt x="742" y="279"/>
                    </a:lnTo>
                    <a:lnTo>
                      <a:pt x="735" y="280"/>
                    </a:lnTo>
                    <a:lnTo>
                      <a:pt x="728" y="283"/>
                    </a:lnTo>
                    <a:lnTo>
                      <a:pt x="721" y="287"/>
                    </a:lnTo>
                    <a:lnTo>
                      <a:pt x="717" y="290"/>
                    </a:lnTo>
                    <a:lnTo>
                      <a:pt x="715" y="295"/>
                    </a:lnTo>
                    <a:lnTo>
                      <a:pt x="714" y="296"/>
                    </a:lnTo>
                    <a:lnTo>
                      <a:pt x="715" y="296"/>
                    </a:lnTo>
                    <a:lnTo>
                      <a:pt x="715" y="296"/>
                    </a:lnTo>
                    <a:lnTo>
                      <a:pt x="724" y="300"/>
                    </a:lnTo>
                    <a:lnTo>
                      <a:pt x="737" y="305"/>
                    </a:lnTo>
                    <a:lnTo>
                      <a:pt x="751" y="307"/>
                    </a:lnTo>
                    <a:lnTo>
                      <a:pt x="764" y="307"/>
                    </a:lnTo>
                    <a:lnTo>
                      <a:pt x="764" y="307"/>
                    </a:lnTo>
                    <a:close/>
                    <a:moveTo>
                      <a:pt x="673" y="407"/>
                    </a:moveTo>
                    <a:lnTo>
                      <a:pt x="673" y="407"/>
                    </a:lnTo>
                    <a:lnTo>
                      <a:pt x="677" y="410"/>
                    </a:lnTo>
                    <a:lnTo>
                      <a:pt x="681" y="411"/>
                    </a:lnTo>
                    <a:lnTo>
                      <a:pt x="684" y="410"/>
                    </a:lnTo>
                    <a:lnTo>
                      <a:pt x="686" y="407"/>
                    </a:lnTo>
                    <a:lnTo>
                      <a:pt x="691" y="403"/>
                    </a:lnTo>
                    <a:lnTo>
                      <a:pt x="696" y="400"/>
                    </a:lnTo>
                    <a:lnTo>
                      <a:pt x="701" y="400"/>
                    </a:lnTo>
                    <a:lnTo>
                      <a:pt x="701" y="400"/>
                    </a:lnTo>
                    <a:lnTo>
                      <a:pt x="707" y="398"/>
                    </a:lnTo>
                    <a:lnTo>
                      <a:pt x="711" y="396"/>
                    </a:lnTo>
                    <a:lnTo>
                      <a:pt x="715" y="390"/>
                    </a:lnTo>
                    <a:lnTo>
                      <a:pt x="717" y="384"/>
                    </a:lnTo>
                    <a:lnTo>
                      <a:pt x="720" y="371"/>
                    </a:lnTo>
                    <a:lnTo>
                      <a:pt x="723" y="360"/>
                    </a:lnTo>
                    <a:lnTo>
                      <a:pt x="723" y="360"/>
                    </a:lnTo>
                    <a:lnTo>
                      <a:pt x="723" y="357"/>
                    </a:lnTo>
                    <a:lnTo>
                      <a:pt x="721" y="354"/>
                    </a:lnTo>
                    <a:lnTo>
                      <a:pt x="720" y="353"/>
                    </a:lnTo>
                    <a:lnTo>
                      <a:pt x="717" y="353"/>
                    </a:lnTo>
                    <a:lnTo>
                      <a:pt x="714" y="353"/>
                    </a:lnTo>
                    <a:lnTo>
                      <a:pt x="713" y="354"/>
                    </a:lnTo>
                    <a:lnTo>
                      <a:pt x="711" y="356"/>
                    </a:lnTo>
                    <a:lnTo>
                      <a:pt x="713" y="359"/>
                    </a:lnTo>
                    <a:lnTo>
                      <a:pt x="713" y="359"/>
                    </a:lnTo>
                    <a:lnTo>
                      <a:pt x="714" y="364"/>
                    </a:lnTo>
                    <a:lnTo>
                      <a:pt x="714" y="369"/>
                    </a:lnTo>
                    <a:lnTo>
                      <a:pt x="713" y="369"/>
                    </a:lnTo>
                    <a:lnTo>
                      <a:pt x="711" y="369"/>
                    </a:lnTo>
                    <a:lnTo>
                      <a:pt x="710" y="364"/>
                    </a:lnTo>
                    <a:lnTo>
                      <a:pt x="710" y="364"/>
                    </a:lnTo>
                    <a:lnTo>
                      <a:pt x="710" y="363"/>
                    </a:lnTo>
                    <a:lnTo>
                      <a:pt x="707" y="361"/>
                    </a:lnTo>
                    <a:lnTo>
                      <a:pt x="701" y="360"/>
                    </a:lnTo>
                    <a:lnTo>
                      <a:pt x="696" y="360"/>
                    </a:lnTo>
                    <a:lnTo>
                      <a:pt x="693" y="359"/>
                    </a:lnTo>
                    <a:lnTo>
                      <a:pt x="690" y="357"/>
                    </a:lnTo>
                    <a:lnTo>
                      <a:pt x="690" y="357"/>
                    </a:lnTo>
                    <a:lnTo>
                      <a:pt x="690" y="354"/>
                    </a:lnTo>
                    <a:lnTo>
                      <a:pt x="691" y="353"/>
                    </a:lnTo>
                    <a:lnTo>
                      <a:pt x="697" y="349"/>
                    </a:lnTo>
                    <a:lnTo>
                      <a:pt x="705" y="346"/>
                    </a:lnTo>
                    <a:lnTo>
                      <a:pt x="708" y="343"/>
                    </a:lnTo>
                    <a:lnTo>
                      <a:pt x="711" y="340"/>
                    </a:lnTo>
                    <a:lnTo>
                      <a:pt x="711" y="340"/>
                    </a:lnTo>
                    <a:lnTo>
                      <a:pt x="711" y="337"/>
                    </a:lnTo>
                    <a:lnTo>
                      <a:pt x="711" y="334"/>
                    </a:lnTo>
                    <a:lnTo>
                      <a:pt x="705" y="332"/>
                    </a:lnTo>
                    <a:lnTo>
                      <a:pt x="700" y="329"/>
                    </a:lnTo>
                    <a:lnTo>
                      <a:pt x="698" y="327"/>
                    </a:lnTo>
                    <a:lnTo>
                      <a:pt x="700" y="324"/>
                    </a:lnTo>
                    <a:lnTo>
                      <a:pt x="700" y="324"/>
                    </a:lnTo>
                    <a:lnTo>
                      <a:pt x="700" y="324"/>
                    </a:lnTo>
                    <a:lnTo>
                      <a:pt x="700" y="323"/>
                    </a:lnTo>
                    <a:lnTo>
                      <a:pt x="697" y="322"/>
                    </a:lnTo>
                    <a:lnTo>
                      <a:pt x="687" y="323"/>
                    </a:lnTo>
                    <a:lnTo>
                      <a:pt x="678" y="326"/>
                    </a:lnTo>
                    <a:lnTo>
                      <a:pt x="677" y="329"/>
                    </a:lnTo>
                    <a:lnTo>
                      <a:pt x="678" y="330"/>
                    </a:lnTo>
                    <a:lnTo>
                      <a:pt x="678" y="330"/>
                    </a:lnTo>
                    <a:lnTo>
                      <a:pt x="683" y="332"/>
                    </a:lnTo>
                    <a:lnTo>
                      <a:pt x="683" y="333"/>
                    </a:lnTo>
                    <a:lnTo>
                      <a:pt x="683" y="334"/>
                    </a:lnTo>
                    <a:lnTo>
                      <a:pt x="683" y="336"/>
                    </a:lnTo>
                    <a:lnTo>
                      <a:pt x="677" y="336"/>
                    </a:lnTo>
                    <a:lnTo>
                      <a:pt x="673" y="334"/>
                    </a:lnTo>
                    <a:lnTo>
                      <a:pt x="670" y="333"/>
                    </a:lnTo>
                    <a:lnTo>
                      <a:pt x="670" y="333"/>
                    </a:lnTo>
                    <a:lnTo>
                      <a:pt x="666" y="332"/>
                    </a:lnTo>
                    <a:lnTo>
                      <a:pt x="660" y="330"/>
                    </a:lnTo>
                    <a:lnTo>
                      <a:pt x="654" y="332"/>
                    </a:lnTo>
                    <a:lnTo>
                      <a:pt x="649" y="333"/>
                    </a:lnTo>
                    <a:lnTo>
                      <a:pt x="644" y="336"/>
                    </a:lnTo>
                    <a:lnTo>
                      <a:pt x="641" y="339"/>
                    </a:lnTo>
                    <a:lnTo>
                      <a:pt x="640" y="343"/>
                    </a:lnTo>
                    <a:lnTo>
                      <a:pt x="641" y="346"/>
                    </a:lnTo>
                    <a:lnTo>
                      <a:pt x="641" y="346"/>
                    </a:lnTo>
                    <a:lnTo>
                      <a:pt x="646" y="347"/>
                    </a:lnTo>
                    <a:lnTo>
                      <a:pt x="650" y="349"/>
                    </a:lnTo>
                    <a:lnTo>
                      <a:pt x="659" y="349"/>
                    </a:lnTo>
                    <a:lnTo>
                      <a:pt x="663" y="349"/>
                    </a:lnTo>
                    <a:lnTo>
                      <a:pt x="664" y="350"/>
                    </a:lnTo>
                    <a:lnTo>
                      <a:pt x="663" y="354"/>
                    </a:lnTo>
                    <a:lnTo>
                      <a:pt x="660" y="360"/>
                    </a:lnTo>
                    <a:lnTo>
                      <a:pt x="660" y="360"/>
                    </a:lnTo>
                    <a:lnTo>
                      <a:pt x="656" y="364"/>
                    </a:lnTo>
                    <a:lnTo>
                      <a:pt x="651" y="367"/>
                    </a:lnTo>
                    <a:lnTo>
                      <a:pt x="647" y="367"/>
                    </a:lnTo>
                    <a:lnTo>
                      <a:pt x="643" y="364"/>
                    </a:lnTo>
                    <a:lnTo>
                      <a:pt x="636" y="359"/>
                    </a:lnTo>
                    <a:lnTo>
                      <a:pt x="633" y="357"/>
                    </a:lnTo>
                    <a:lnTo>
                      <a:pt x="627" y="357"/>
                    </a:lnTo>
                    <a:lnTo>
                      <a:pt x="627" y="357"/>
                    </a:lnTo>
                    <a:lnTo>
                      <a:pt x="624" y="359"/>
                    </a:lnTo>
                    <a:lnTo>
                      <a:pt x="622" y="361"/>
                    </a:lnTo>
                    <a:lnTo>
                      <a:pt x="622" y="364"/>
                    </a:lnTo>
                    <a:lnTo>
                      <a:pt x="622" y="367"/>
                    </a:lnTo>
                    <a:lnTo>
                      <a:pt x="624" y="371"/>
                    </a:lnTo>
                    <a:lnTo>
                      <a:pt x="629" y="374"/>
                    </a:lnTo>
                    <a:lnTo>
                      <a:pt x="633" y="378"/>
                    </a:lnTo>
                    <a:lnTo>
                      <a:pt x="640" y="380"/>
                    </a:lnTo>
                    <a:lnTo>
                      <a:pt x="640" y="380"/>
                    </a:lnTo>
                    <a:lnTo>
                      <a:pt x="646" y="383"/>
                    </a:lnTo>
                    <a:lnTo>
                      <a:pt x="651" y="386"/>
                    </a:lnTo>
                    <a:lnTo>
                      <a:pt x="657" y="393"/>
                    </a:lnTo>
                    <a:lnTo>
                      <a:pt x="664" y="400"/>
                    </a:lnTo>
                    <a:lnTo>
                      <a:pt x="667" y="404"/>
                    </a:lnTo>
                    <a:lnTo>
                      <a:pt x="673" y="407"/>
                    </a:lnTo>
                    <a:lnTo>
                      <a:pt x="673" y="407"/>
                    </a:lnTo>
                    <a:close/>
                    <a:moveTo>
                      <a:pt x="788" y="293"/>
                    </a:moveTo>
                    <a:lnTo>
                      <a:pt x="788" y="293"/>
                    </a:lnTo>
                    <a:lnTo>
                      <a:pt x="791" y="297"/>
                    </a:lnTo>
                    <a:lnTo>
                      <a:pt x="792" y="300"/>
                    </a:lnTo>
                    <a:lnTo>
                      <a:pt x="795" y="302"/>
                    </a:lnTo>
                    <a:lnTo>
                      <a:pt x="797" y="302"/>
                    </a:lnTo>
                    <a:lnTo>
                      <a:pt x="801" y="302"/>
                    </a:lnTo>
                    <a:lnTo>
                      <a:pt x="804" y="302"/>
                    </a:lnTo>
                    <a:lnTo>
                      <a:pt x="806" y="303"/>
                    </a:lnTo>
                    <a:lnTo>
                      <a:pt x="806" y="303"/>
                    </a:lnTo>
                    <a:lnTo>
                      <a:pt x="814" y="307"/>
                    </a:lnTo>
                    <a:lnTo>
                      <a:pt x="821" y="310"/>
                    </a:lnTo>
                    <a:lnTo>
                      <a:pt x="828" y="310"/>
                    </a:lnTo>
                    <a:lnTo>
                      <a:pt x="831" y="309"/>
                    </a:lnTo>
                    <a:lnTo>
                      <a:pt x="834" y="307"/>
                    </a:lnTo>
                    <a:lnTo>
                      <a:pt x="834" y="307"/>
                    </a:lnTo>
                    <a:lnTo>
                      <a:pt x="841" y="300"/>
                    </a:lnTo>
                    <a:lnTo>
                      <a:pt x="843" y="300"/>
                    </a:lnTo>
                    <a:lnTo>
                      <a:pt x="845" y="302"/>
                    </a:lnTo>
                    <a:lnTo>
                      <a:pt x="845" y="302"/>
                    </a:lnTo>
                    <a:lnTo>
                      <a:pt x="846" y="305"/>
                    </a:lnTo>
                    <a:lnTo>
                      <a:pt x="849" y="307"/>
                    </a:lnTo>
                    <a:lnTo>
                      <a:pt x="861" y="310"/>
                    </a:lnTo>
                    <a:lnTo>
                      <a:pt x="876" y="312"/>
                    </a:lnTo>
                    <a:lnTo>
                      <a:pt x="898" y="312"/>
                    </a:lnTo>
                    <a:lnTo>
                      <a:pt x="898" y="312"/>
                    </a:lnTo>
                    <a:lnTo>
                      <a:pt x="909" y="312"/>
                    </a:lnTo>
                    <a:lnTo>
                      <a:pt x="916" y="310"/>
                    </a:lnTo>
                    <a:lnTo>
                      <a:pt x="922" y="309"/>
                    </a:lnTo>
                    <a:lnTo>
                      <a:pt x="925" y="306"/>
                    </a:lnTo>
                    <a:lnTo>
                      <a:pt x="929" y="303"/>
                    </a:lnTo>
                    <a:lnTo>
                      <a:pt x="930" y="303"/>
                    </a:lnTo>
                    <a:lnTo>
                      <a:pt x="933" y="303"/>
                    </a:lnTo>
                    <a:lnTo>
                      <a:pt x="933" y="303"/>
                    </a:lnTo>
                    <a:lnTo>
                      <a:pt x="943" y="307"/>
                    </a:lnTo>
                    <a:lnTo>
                      <a:pt x="954" y="309"/>
                    </a:lnTo>
                    <a:lnTo>
                      <a:pt x="967" y="309"/>
                    </a:lnTo>
                    <a:lnTo>
                      <a:pt x="976" y="307"/>
                    </a:lnTo>
                    <a:lnTo>
                      <a:pt x="976" y="307"/>
                    </a:lnTo>
                    <a:lnTo>
                      <a:pt x="980" y="306"/>
                    </a:lnTo>
                    <a:lnTo>
                      <a:pt x="983" y="303"/>
                    </a:lnTo>
                    <a:lnTo>
                      <a:pt x="987" y="296"/>
                    </a:lnTo>
                    <a:lnTo>
                      <a:pt x="990" y="289"/>
                    </a:lnTo>
                    <a:lnTo>
                      <a:pt x="990" y="282"/>
                    </a:lnTo>
                    <a:lnTo>
                      <a:pt x="990" y="282"/>
                    </a:lnTo>
                    <a:lnTo>
                      <a:pt x="990" y="280"/>
                    </a:lnTo>
                    <a:lnTo>
                      <a:pt x="987" y="279"/>
                    </a:lnTo>
                    <a:lnTo>
                      <a:pt x="979" y="276"/>
                    </a:lnTo>
                    <a:lnTo>
                      <a:pt x="966" y="275"/>
                    </a:lnTo>
                    <a:lnTo>
                      <a:pt x="950" y="273"/>
                    </a:lnTo>
                    <a:lnTo>
                      <a:pt x="935" y="272"/>
                    </a:lnTo>
                    <a:lnTo>
                      <a:pt x="920" y="272"/>
                    </a:lnTo>
                    <a:lnTo>
                      <a:pt x="907" y="273"/>
                    </a:lnTo>
                    <a:lnTo>
                      <a:pt x="900" y="275"/>
                    </a:lnTo>
                    <a:lnTo>
                      <a:pt x="900" y="275"/>
                    </a:lnTo>
                    <a:lnTo>
                      <a:pt x="895" y="277"/>
                    </a:lnTo>
                    <a:lnTo>
                      <a:pt x="889" y="277"/>
                    </a:lnTo>
                    <a:lnTo>
                      <a:pt x="876" y="277"/>
                    </a:lnTo>
                    <a:lnTo>
                      <a:pt x="865" y="276"/>
                    </a:lnTo>
                    <a:lnTo>
                      <a:pt x="859" y="276"/>
                    </a:lnTo>
                    <a:lnTo>
                      <a:pt x="855" y="277"/>
                    </a:lnTo>
                    <a:lnTo>
                      <a:pt x="855" y="277"/>
                    </a:lnTo>
                    <a:lnTo>
                      <a:pt x="851" y="279"/>
                    </a:lnTo>
                    <a:lnTo>
                      <a:pt x="849" y="279"/>
                    </a:lnTo>
                    <a:lnTo>
                      <a:pt x="845" y="276"/>
                    </a:lnTo>
                    <a:lnTo>
                      <a:pt x="839" y="272"/>
                    </a:lnTo>
                    <a:lnTo>
                      <a:pt x="835" y="270"/>
                    </a:lnTo>
                    <a:lnTo>
                      <a:pt x="828" y="269"/>
                    </a:lnTo>
                    <a:lnTo>
                      <a:pt x="828" y="269"/>
                    </a:lnTo>
                    <a:lnTo>
                      <a:pt x="824" y="269"/>
                    </a:lnTo>
                    <a:lnTo>
                      <a:pt x="821" y="268"/>
                    </a:lnTo>
                    <a:lnTo>
                      <a:pt x="821" y="266"/>
                    </a:lnTo>
                    <a:lnTo>
                      <a:pt x="822" y="263"/>
                    </a:lnTo>
                    <a:lnTo>
                      <a:pt x="834" y="255"/>
                    </a:lnTo>
                    <a:lnTo>
                      <a:pt x="834" y="255"/>
                    </a:lnTo>
                    <a:lnTo>
                      <a:pt x="834" y="253"/>
                    </a:lnTo>
                    <a:lnTo>
                      <a:pt x="831" y="250"/>
                    </a:lnTo>
                    <a:lnTo>
                      <a:pt x="818" y="246"/>
                    </a:lnTo>
                    <a:lnTo>
                      <a:pt x="804" y="242"/>
                    </a:lnTo>
                    <a:lnTo>
                      <a:pt x="797" y="242"/>
                    </a:lnTo>
                    <a:lnTo>
                      <a:pt x="791" y="242"/>
                    </a:lnTo>
                    <a:lnTo>
                      <a:pt x="791" y="242"/>
                    </a:lnTo>
                    <a:lnTo>
                      <a:pt x="781" y="242"/>
                    </a:lnTo>
                    <a:lnTo>
                      <a:pt x="774" y="240"/>
                    </a:lnTo>
                    <a:lnTo>
                      <a:pt x="757" y="232"/>
                    </a:lnTo>
                    <a:lnTo>
                      <a:pt x="757" y="232"/>
                    </a:lnTo>
                    <a:lnTo>
                      <a:pt x="751" y="231"/>
                    </a:lnTo>
                    <a:lnTo>
                      <a:pt x="744" y="229"/>
                    </a:lnTo>
                    <a:lnTo>
                      <a:pt x="728" y="229"/>
                    </a:lnTo>
                    <a:lnTo>
                      <a:pt x="723" y="229"/>
                    </a:lnTo>
                    <a:lnTo>
                      <a:pt x="717" y="232"/>
                    </a:lnTo>
                    <a:lnTo>
                      <a:pt x="715" y="235"/>
                    </a:lnTo>
                    <a:lnTo>
                      <a:pt x="715" y="238"/>
                    </a:lnTo>
                    <a:lnTo>
                      <a:pt x="715" y="238"/>
                    </a:lnTo>
                    <a:lnTo>
                      <a:pt x="720" y="240"/>
                    </a:lnTo>
                    <a:lnTo>
                      <a:pt x="725" y="243"/>
                    </a:lnTo>
                    <a:lnTo>
                      <a:pt x="741" y="250"/>
                    </a:lnTo>
                    <a:lnTo>
                      <a:pt x="758" y="255"/>
                    </a:lnTo>
                    <a:lnTo>
                      <a:pt x="764" y="255"/>
                    </a:lnTo>
                    <a:lnTo>
                      <a:pt x="767" y="252"/>
                    </a:lnTo>
                    <a:lnTo>
                      <a:pt x="767" y="252"/>
                    </a:lnTo>
                    <a:lnTo>
                      <a:pt x="768" y="250"/>
                    </a:lnTo>
                    <a:lnTo>
                      <a:pt x="771" y="250"/>
                    </a:lnTo>
                    <a:lnTo>
                      <a:pt x="777" y="255"/>
                    </a:lnTo>
                    <a:lnTo>
                      <a:pt x="788" y="269"/>
                    </a:lnTo>
                    <a:lnTo>
                      <a:pt x="788" y="269"/>
                    </a:lnTo>
                    <a:lnTo>
                      <a:pt x="789" y="272"/>
                    </a:lnTo>
                    <a:lnTo>
                      <a:pt x="789" y="275"/>
                    </a:lnTo>
                    <a:lnTo>
                      <a:pt x="788" y="279"/>
                    </a:lnTo>
                    <a:lnTo>
                      <a:pt x="787" y="285"/>
                    </a:lnTo>
                    <a:lnTo>
                      <a:pt x="788" y="289"/>
                    </a:lnTo>
                    <a:lnTo>
                      <a:pt x="788" y="293"/>
                    </a:lnTo>
                    <a:lnTo>
                      <a:pt x="788" y="293"/>
                    </a:lnTo>
                    <a:close/>
                    <a:moveTo>
                      <a:pt x="825" y="209"/>
                    </a:moveTo>
                    <a:lnTo>
                      <a:pt x="825" y="209"/>
                    </a:lnTo>
                    <a:lnTo>
                      <a:pt x="819" y="208"/>
                    </a:lnTo>
                    <a:lnTo>
                      <a:pt x="815" y="208"/>
                    </a:lnTo>
                    <a:lnTo>
                      <a:pt x="811" y="209"/>
                    </a:lnTo>
                    <a:lnTo>
                      <a:pt x="806" y="212"/>
                    </a:lnTo>
                    <a:lnTo>
                      <a:pt x="805" y="215"/>
                    </a:lnTo>
                    <a:lnTo>
                      <a:pt x="804" y="216"/>
                    </a:lnTo>
                    <a:lnTo>
                      <a:pt x="805" y="219"/>
                    </a:lnTo>
                    <a:lnTo>
                      <a:pt x="809" y="222"/>
                    </a:lnTo>
                    <a:lnTo>
                      <a:pt x="809" y="222"/>
                    </a:lnTo>
                    <a:lnTo>
                      <a:pt x="814" y="223"/>
                    </a:lnTo>
                    <a:lnTo>
                      <a:pt x="818" y="222"/>
                    </a:lnTo>
                    <a:lnTo>
                      <a:pt x="822" y="222"/>
                    </a:lnTo>
                    <a:lnTo>
                      <a:pt x="826" y="219"/>
                    </a:lnTo>
                    <a:lnTo>
                      <a:pt x="828" y="218"/>
                    </a:lnTo>
                    <a:lnTo>
                      <a:pt x="829" y="215"/>
                    </a:lnTo>
                    <a:lnTo>
                      <a:pt x="828" y="212"/>
                    </a:lnTo>
                    <a:lnTo>
                      <a:pt x="825" y="209"/>
                    </a:lnTo>
                    <a:lnTo>
                      <a:pt x="825" y="209"/>
                    </a:lnTo>
                    <a:close/>
                    <a:moveTo>
                      <a:pt x="723" y="130"/>
                    </a:moveTo>
                    <a:lnTo>
                      <a:pt x="723" y="130"/>
                    </a:lnTo>
                    <a:lnTo>
                      <a:pt x="725" y="132"/>
                    </a:lnTo>
                    <a:lnTo>
                      <a:pt x="728" y="134"/>
                    </a:lnTo>
                    <a:lnTo>
                      <a:pt x="730" y="138"/>
                    </a:lnTo>
                    <a:lnTo>
                      <a:pt x="733" y="144"/>
                    </a:lnTo>
                    <a:lnTo>
                      <a:pt x="734" y="145"/>
                    </a:lnTo>
                    <a:lnTo>
                      <a:pt x="738" y="147"/>
                    </a:lnTo>
                    <a:lnTo>
                      <a:pt x="738" y="147"/>
                    </a:lnTo>
                    <a:lnTo>
                      <a:pt x="742" y="148"/>
                    </a:lnTo>
                    <a:lnTo>
                      <a:pt x="750" y="148"/>
                    </a:lnTo>
                    <a:lnTo>
                      <a:pt x="765" y="147"/>
                    </a:lnTo>
                    <a:lnTo>
                      <a:pt x="778" y="145"/>
                    </a:lnTo>
                    <a:lnTo>
                      <a:pt x="782" y="147"/>
                    </a:lnTo>
                    <a:lnTo>
                      <a:pt x="785" y="148"/>
                    </a:lnTo>
                    <a:lnTo>
                      <a:pt x="785" y="148"/>
                    </a:lnTo>
                    <a:lnTo>
                      <a:pt x="784" y="151"/>
                    </a:lnTo>
                    <a:lnTo>
                      <a:pt x="781" y="154"/>
                    </a:lnTo>
                    <a:lnTo>
                      <a:pt x="769" y="157"/>
                    </a:lnTo>
                    <a:lnTo>
                      <a:pt x="760" y="159"/>
                    </a:lnTo>
                    <a:lnTo>
                      <a:pt x="757" y="161"/>
                    </a:lnTo>
                    <a:lnTo>
                      <a:pt x="757" y="161"/>
                    </a:lnTo>
                    <a:lnTo>
                      <a:pt x="757" y="162"/>
                    </a:lnTo>
                    <a:lnTo>
                      <a:pt x="757" y="162"/>
                    </a:lnTo>
                    <a:lnTo>
                      <a:pt x="762" y="167"/>
                    </a:lnTo>
                    <a:lnTo>
                      <a:pt x="771" y="171"/>
                    </a:lnTo>
                    <a:lnTo>
                      <a:pt x="778" y="175"/>
                    </a:lnTo>
                    <a:lnTo>
                      <a:pt x="779" y="178"/>
                    </a:lnTo>
                    <a:lnTo>
                      <a:pt x="779" y="179"/>
                    </a:lnTo>
                    <a:lnTo>
                      <a:pt x="779" y="179"/>
                    </a:lnTo>
                    <a:lnTo>
                      <a:pt x="779" y="181"/>
                    </a:lnTo>
                    <a:lnTo>
                      <a:pt x="784" y="184"/>
                    </a:lnTo>
                    <a:lnTo>
                      <a:pt x="795" y="188"/>
                    </a:lnTo>
                    <a:lnTo>
                      <a:pt x="809" y="191"/>
                    </a:lnTo>
                    <a:lnTo>
                      <a:pt x="814" y="191"/>
                    </a:lnTo>
                    <a:lnTo>
                      <a:pt x="816" y="189"/>
                    </a:lnTo>
                    <a:lnTo>
                      <a:pt x="816" y="189"/>
                    </a:lnTo>
                    <a:lnTo>
                      <a:pt x="821" y="186"/>
                    </a:lnTo>
                    <a:lnTo>
                      <a:pt x="826" y="186"/>
                    </a:lnTo>
                    <a:lnTo>
                      <a:pt x="832" y="186"/>
                    </a:lnTo>
                    <a:lnTo>
                      <a:pt x="839" y="189"/>
                    </a:lnTo>
                    <a:lnTo>
                      <a:pt x="839" y="189"/>
                    </a:lnTo>
                    <a:lnTo>
                      <a:pt x="843" y="189"/>
                    </a:lnTo>
                    <a:lnTo>
                      <a:pt x="845" y="188"/>
                    </a:lnTo>
                    <a:lnTo>
                      <a:pt x="849" y="179"/>
                    </a:lnTo>
                    <a:lnTo>
                      <a:pt x="852" y="172"/>
                    </a:lnTo>
                    <a:lnTo>
                      <a:pt x="853" y="171"/>
                    </a:lnTo>
                    <a:lnTo>
                      <a:pt x="856" y="171"/>
                    </a:lnTo>
                    <a:lnTo>
                      <a:pt x="856" y="171"/>
                    </a:lnTo>
                    <a:lnTo>
                      <a:pt x="858" y="172"/>
                    </a:lnTo>
                    <a:lnTo>
                      <a:pt x="859" y="172"/>
                    </a:lnTo>
                    <a:lnTo>
                      <a:pt x="862" y="168"/>
                    </a:lnTo>
                    <a:lnTo>
                      <a:pt x="866" y="162"/>
                    </a:lnTo>
                    <a:lnTo>
                      <a:pt x="869" y="159"/>
                    </a:lnTo>
                    <a:lnTo>
                      <a:pt x="872" y="158"/>
                    </a:lnTo>
                    <a:lnTo>
                      <a:pt x="872" y="158"/>
                    </a:lnTo>
                    <a:lnTo>
                      <a:pt x="880" y="155"/>
                    </a:lnTo>
                    <a:lnTo>
                      <a:pt x="889" y="154"/>
                    </a:lnTo>
                    <a:lnTo>
                      <a:pt x="896" y="151"/>
                    </a:lnTo>
                    <a:lnTo>
                      <a:pt x="899" y="151"/>
                    </a:lnTo>
                    <a:lnTo>
                      <a:pt x="899" y="148"/>
                    </a:lnTo>
                    <a:lnTo>
                      <a:pt x="899" y="148"/>
                    </a:lnTo>
                    <a:lnTo>
                      <a:pt x="899" y="145"/>
                    </a:lnTo>
                    <a:lnTo>
                      <a:pt x="896" y="144"/>
                    </a:lnTo>
                    <a:lnTo>
                      <a:pt x="892" y="141"/>
                    </a:lnTo>
                    <a:lnTo>
                      <a:pt x="883" y="141"/>
                    </a:lnTo>
                    <a:lnTo>
                      <a:pt x="883" y="141"/>
                    </a:lnTo>
                    <a:lnTo>
                      <a:pt x="875" y="141"/>
                    </a:lnTo>
                    <a:lnTo>
                      <a:pt x="869" y="139"/>
                    </a:lnTo>
                    <a:lnTo>
                      <a:pt x="868" y="138"/>
                    </a:lnTo>
                    <a:lnTo>
                      <a:pt x="866" y="135"/>
                    </a:lnTo>
                    <a:lnTo>
                      <a:pt x="866" y="134"/>
                    </a:lnTo>
                    <a:lnTo>
                      <a:pt x="868" y="131"/>
                    </a:lnTo>
                    <a:lnTo>
                      <a:pt x="868" y="131"/>
                    </a:lnTo>
                    <a:lnTo>
                      <a:pt x="869" y="128"/>
                    </a:lnTo>
                    <a:lnTo>
                      <a:pt x="869" y="127"/>
                    </a:lnTo>
                    <a:lnTo>
                      <a:pt x="863" y="122"/>
                    </a:lnTo>
                    <a:lnTo>
                      <a:pt x="861" y="120"/>
                    </a:lnTo>
                    <a:lnTo>
                      <a:pt x="859" y="118"/>
                    </a:lnTo>
                    <a:lnTo>
                      <a:pt x="861" y="115"/>
                    </a:lnTo>
                    <a:lnTo>
                      <a:pt x="861" y="115"/>
                    </a:lnTo>
                    <a:lnTo>
                      <a:pt x="862" y="114"/>
                    </a:lnTo>
                    <a:lnTo>
                      <a:pt x="862" y="112"/>
                    </a:lnTo>
                    <a:lnTo>
                      <a:pt x="861" y="110"/>
                    </a:lnTo>
                    <a:lnTo>
                      <a:pt x="858" y="110"/>
                    </a:lnTo>
                    <a:lnTo>
                      <a:pt x="855" y="108"/>
                    </a:lnTo>
                    <a:lnTo>
                      <a:pt x="852" y="110"/>
                    </a:lnTo>
                    <a:lnTo>
                      <a:pt x="849" y="111"/>
                    </a:lnTo>
                    <a:lnTo>
                      <a:pt x="849" y="112"/>
                    </a:lnTo>
                    <a:lnTo>
                      <a:pt x="849" y="112"/>
                    </a:lnTo>
                    <a:lnTo>
                      <a:pt x="849" y="115"/>
                    </a:lnTo>
                    <a:lnTo>
                      <a:pt x="849" y="117"/>
                    </a:lnTo>
                    <a:lnTo>
                      <a:pt x="846" y="117"/>
                    </a:lnTo>
                    <a:lnTo>
                      <a:pt x="843" y="115"/>
                    </a:lnTo>
                    <a:lnTo>
                      <a:pt x="838" y="111"/>
                    </a:lnTo>
                    <a:lnTo>
                      <a:pt x="836" y="108"/>
                    </a:lnTo>
                    <a:lnTo>
                      <a:pt x="835" y="105"/>
                    </a:lnTo>
                    <a:lnTo>
                      <a:pt x="835" y="105"/>
                    </a:lnTo>
                    <a:lnTo>
                      <a:pt x="832" y="102"/>
                    </a:lnTo>
                    <a:lnTo>
                      <a:pt x="829" y="101"/>
                    </a:lnTo>
                    <a:lnTo>
                      <a:pt x="816" y="95"/>
                    </a:lnTo>
                    <a:lnTo>
                      <a:pt x="799" y="88"/>
                    </a:lnTo>
                    <a:lnTo>
                      <a:pt x="792" y="84"/>
                    </a:lnTo>
                    <a:lnTo>
                      <a:pt x="784" y="78"/>
                    </a:lnTo>
                    <a:lnTo>
                      <a:pt x="784" y="78"/>
                    </a:lnTo>
                    <a:lnTo>
                      <a:pt x="777" y="73"/>
                    </a:lnTo>
                    <a:lnTo>
                      <a:pt x="769" y="70"/>
                    </a:lnTo>
                    <a:lnTo>
                      <a:pt x="764" y="68"/>
                    </a:lnTo>
                    <a:lnTo>
                      <a:pt x="760" y="70"/>
                    </a:lnTo>
                    <a:lnTo>
                      <a:pt x="755" y="70"/>
                    </a:lnTo>
                    <a:lnTo>
                      <a:pt x="754" y="71"/>
                    </a:lnTo>
                    <a:lnTo>
                      <a:pt x="754" y="74"/>
                    </a:lnTo>
                    <a:lnTo>
                      <a:pt x="757" y="74"/>
                    </a:lnTo>
                    <a:lnTo>
                      <a:pt x="757" y="74"/>
                    </a:lnTo>
                    <a:lnTo>
                      <a:pt x="762" y="77"/>
                    </a:lnTo>
                    <a:lnTo>
                      <a:pt x="765" y="80"/>
                    </a:lnTo>
                    <a:lnTo>
                      <a:pt x="764" y="80"/>
                    </a:lnTo>
                    <a:lnTo>
                      <a:pt x="764" y="81"/>
                    </a:lnTo>
                    <a:lnTo>
                      <a:pt x="758" y="81"/>
                    </a:lnTo>
                    <a:lnTo>
                      <a:pt x="758" y="81"/>
                    </a:lnTo>
                    <a:lnTo>
                      <a:pt x="750" y="81"/>
                    </a:lnTo>
                    <a:lnTo>
                      <a:pt x="744" y="83"/>
                    </a:lnTo>
                    <a:lnTo>
                      <a:pt x="741" y="84"/>
                    </a:lnTo>
                    <a:lnTo>
                      <a:pt x="741" y="84"/>
                    </a:lnTo>
                    <a:lnTo>
                      <a:pt x="742" y="87"/>
                    </a:lnTo>
                    <a:lnTo>
                      <a:pt x="747" y="88"/>
                    </a:lnTo>
                    <a:lnTo>
                      <a:pt x="747" y="88"/>
                    </a:lnTo>
                    <a:lnTo>
                      <a:pt x="751" y="90"/>
                    </a:lnTo>
                    <a:lnTo>
                      <a:pt x="752" y="91"/>
                    </a:lnTo>
                    <a:lnTo>
                      <a:pt x="752" y="93"/>
                    </a:lnTo>
                    <a:lnTo>
                      <a:pt x="751" y="94"/>
                    </a:lnTo>
                    <a:lnTo>
                      <a:pt x="742" y="95"/>
                    </a:lnTo>
                    <a:lnTo>
                      <a:pt x="734" y="95"/>
                    </a:lnTo>
                    <a:lnTo>
                      <a:pt x="734" y="95"/>
                    </a:lnTo>
                    <a:lnTo>
                      <a:pt x="730" y="97"/>
                    </a:lnTo>
                    <a:lnTo>
                      <a:pt x="727" y="98"/>
                    </a:lnTo>
                    <a:lnTo>
                      <a:pt x="725" y="101"/>
                    </a:lnTo>
                    <a:lnTo>
                      <a:pt x="725" y="104"/>
                    </a:lnTo>
                    <a:lnTo>
                      <a:pt x="725" y="107"/>
                    </a:lnTo>
                    <a:lnTo>
                      <a:pt x="728" y="110"/>
                    </a:lnTo>
                    <a:lnTo>
                      <a:pt x="731" y="112"/>
                    </a:lnTo>
                    <a:lnTo>
                      <a:pt x="737" y="114"/>
                    </a:lnTo>
                    <a:lnTo>
                      <a:pt x="737" y="114"/>
                    </a:lnTo>
                    <a:lnTo>
                      <a:pt x="741" y="115"/>
                    </a:lnTo>
                    <a:lnTo>
                      <a:pt x="744" y="117"/>
                    </a:lnTo>
                    <a:lnTo>
                      <a:pt x="744" y="118"/>
                    </a:lnTo>
                    <a:lnTo>
                      <a:pt x="742" y="120"/>
                    </a:lnTo>
                    <a:lnTo>
                      <a:pt x="741" y="121"/>
                    </a:lnTo>
                    <a:lnTo>
                      <a:pt x="737" y="122"/>
                    </a:lnTo>
                    <a:lnTo>
                      <a:pt x="733" y="122"/>
                    </a:lnTo>
                    <a:lnTo>
                      <a:pt x="728" y="121"/>
                    </a:lnTo>
                    <a:lnTo>
                      <a:pt x="728" y="121"/>
                    </a:lnTo>
                    <a:lnTo>
                      <a:pt x="720" y="121"/>
                    </a:lnTo>
                    <a:lnTo>
                      <a:pt x="718" y="121"/>
                    </a:lnTo>
                    <a:lnTo>
                      <a:pt x="715" y="122"/>
                    </a:lnTo>
                    <a:lnTo>
                      <a:pt x="715" y="124"/>
                    </a:lnTo>
                    <a:lnTo>
                      <a:pt x="717" y="125"/>
                    </a:lnTo>
                    <a:lnTo>
                      <a:pt x="723" y="130"/>
                    </a:lnTo>
                    <a:lnTo>
                      <a:pt x="723" y="130"/>
                    </a:lnTo>
                    <a:close/>
                    <a:moveTo>
                      <a:pt x="808" y="60"/>
                    </a:moveTo>
                    <a:lnTo>
                      <a:pt x="808" y="60"/>
                    </a:lnTo>
                    <a:lnTo>
                      <a:pt x="815" y="57"/>
                    </a:lnTo>
                    <a:lnTo>
                      <a:pt x="819" y="57"/>
                    </a:lnTo>
                    <a:lnTo>
                      <a:pt x="821" y="57"/>
                    </a:lnTo>
                    <a:lnTo>
                      <a:pt x="821" y="58"/>
                    </a:lnTo>
                    <a:lnTo>
                      <a:pt x="821" y="60"/>
                    </a:lnTo>
                    <a:lnTo>
                      <a:pt x="818" y="61"/>
                    </a:lnTo>
                    <a:lnTo>
                      <a:pt x="818" y="61"/>
                    </a:lnTo>
                    <a:lnTo>
                      <a:pt x="814" y="64"/>
                    </a:lnTo>
                    <a:lnTo>
                      <a:pt x="812" y="66"/>
                    </a:lnTo>
                    <a:lnTo>
                      <a:pt x="814" y="67"/>
                    </a:lnTo>
                    <a:lnTo>
                      <a:pt x="816" y="68"/>
                    </a:lnTo>
                    <a:lnTo>
                      <a:pt x="824" y="68"/>
                    </a:lnTo>
                    <a:lnTo>
                      <a:pt x="824" y="68"/>
                    </a:lnTo>
                    <a:lnTo>
                      <a:pt x="828" y="68"/>
                    </a:lnTo>
                    <a:lnTo>
                      <a:pt x="826" y="71"/>
                    </a:lnTo>
                    <a:lnTo>
                      <a:pt x="822" y="74"/>
                    </a:lnTo>
                    <a:lnTo>
                      <a:pt x="819" y="77"/>
                    </a:lnTo>
                    <a:lnTo>
                      <a:pt x="819" y="78"/>
                    </a:lnTo>
                    <a:lnTo>
                      <a:pt x="819" y="78"/>
                    </a:lnTo>
                    <a:lnTo>
                      <a:pt x="819" y="81"/>
                    </a:lnTo>
                    <a:lnTo>
                      <a:pt x="821" y="83"/>
                    </a:lnTo>
                    <a:lnTo>
                      <a:pt x="826" y="84"/>
                    </a:lnTo>
                    <a:lnTo>
                      <a:pt x="831" y="85"/>
                    </a:lnTo>
                    <a:lnTo>
                      <a:pt x="834" y="87"/>
                    </a:lnTo>
                    <a:lnTo>
                      <a:pt x="834" y="88"/>
                    </a:lnTo>
                    <a:lnTo>
                      <a:pt x="834" y="88"/>
                    </a:lnTo>
                    <a:lnTo>
                      <a:pt x="835" y="91"/>
                    </a:lnTo>
                    <a:lnTo>
                      <a:pt x="839" y="94"/>
                    </a:lnTo>
                    <a:lnTo>
                      <a:pt x="851" y="95"/>
                    </a:lnTo>
                    <a:lnTo>
                      <a:pt x="858" y="95"/>
                    </a:lnTo>
                    <a:lnTo>
                      <a:pt x="865" y="94"/>
                    </a:lnTo>
                    <a:lnTo>
                      <a:pt x="870" y="93"/>
                    </a:lnTo>
                    <a:lnTo>
                      <a:pt x="875" y="90"/>
                    </a:lnTo>
                    <a:lnTo>
                      <a:pt x="875" y="90"/>
                    </a:lnTo>
                    <a:lnTo>
                      <a:pt x="879" y="87"/>
                    </a:lnTo>
                    <a:lnTo>
                      <a:pt x="880" y="87"/>
                    </a:lnTo>
                    <a:lnTo>
                      <a:pt x="880" y="88"/>
                    </a:lnTo>
                    <a:lnTo>
                      <a:pt x="879" y="98"/>
                    </a:lnTo>
                    <a:lnTo>
                      <a:pt x="879" y="98"/>
                    </a:lnTo>
                    <a:lnTo>
                      <a:pt x="882" y="100"/>
                    </a:lnTo>
                    <a:lnTo>
                      <a:pt x="886" y="102"/>
                    </a:lnTo>
                    <a:lnTo>
                      <a:pt x="902" y="105"/>
                    </a:lnTo>
                    <a:lnTo>
                      <a:pt x="917" y="105"/>
                    </a:lnTo>
                    <a:lnTo>
                      <a:pt x="923" y="104"/>
                    </a:lnTo>
                    <a:lnTo>
                      <a:pt x="925" y="101"/>
                    </a:lnTo>
                    <a:lnTo>
                      <a:pt x="925" y="101"/>
                    </a:lnTo>
                    <a:lnTo>
                      <a:pt x="927" y="98"/>
                    </a:lnTo>
                    <a:lnTo>
                      <a:pt x="932" y="97"/>
                    </a:lnTo>
                    <a:lnTo>
                      <a:pt x="942" y="100"/>
                    </a:lnTo>
                    <a:lnTo>
                      <a:pt x="942" y="100"/>
                    </a:lnTo>
                    <a:lnTo>
                      <a:pt x="947" y="100"/>
                    </a:lnTo>
                    <a:lnTo>
                      <a:pt x="953" y="100"/>
                    </a:lnTo>
                    <a:lnTo>
                      <a:pt x="970" y="95"/>
                    </a:lnTo>
                    <a:lnTo>
                      <a:pt x="986" y="90"/>
                    </a:lnTo>
                    <a:lnTo>
                      <a:pt x="991" y="87"/>
                    </a:lnTo>
                    <a:lnTo>
                      <a:pt x="993" y="83"/>
                    </a:lnTo>
                    <a:lnTo>
                      <a:pt x="993" y="83"/>
                    </a:lnTo>
                    <a:lnTo>
                      <a:pt x="994" y="81"/>
                    </a:lnTo>
                    <a:lnTo>
                      <a:pt x="996" y="80"/>
                    </a:lnTo>
                    <a:lnTo>
                      <a:pt x="997" y="81"/>
                    </a:lnTo>
                    <a:lnTo>
                      <a:pt x="999" y="83"/>
                    </a:lnTo>
                    <a:lnTo>
                      <a:pt x="1000" y="85"/>
                    </a:lnTo>
                    <a:lnTo>
                      <a:pt x="999" y="90"/>
                    </a:lnTo>
                    <a:lnTo>
                      <a:pt x="997" y="93"/>
                    </a:lnTo>
                    <a:lnTo>
                      <a:pt x="993" y="97"/>
                    </a:lnTo>
                    <a:lnTo>
                      <a:pt x="993" y="97"/>
                    </a:lnTo>
                    <a:lnTo>
                      <a:pt x="987" y="100"/>
                    </a:lnTo>
                    <a:lnTo>
                      <a:pt x="981" y="102"/>
                    </a:lnTo>
                    <a:lnTo>
                      <a:pt x="966" y="104"/>
                    </a:lnTo>
                    <a:lnTo>
                      <a:pt x="952" y="107"/>
                    </a:lnTo>
                    <a:lnTo>
                      <a:pt x="940" y="108"/>
                    </a:lnTo>
                    <a:lnTo>
                      <a:pt x="940" y="108"/>
                    </a:lnTo>
                    <a:lnTo>
                      <a:pt x="937" y="110"/>
                    </a:lnTo>
                    <a:lnTo>
                      <a:pt x="937" y="111"/>
                    </a:lnTo>
                    <a:lnTo>
                      <a:pt x="939" y="114"/>
                    </a:lnTo>
                    <a:lnTo>
                      <a:pt x="942" y="117"/>
                    </a:lnTo>
                    <a:lnTo>
                      <a:pt x="960" y="130"/>
                    </a:lnTo>
                    <a:lnTo>
                      <a:pt x="960" y="130"/>
                    </a:lnTo>
                    <a:lnTo>
                      <a:pt x="963" y="132"/>
                    </a:lnTo>
                    <a:lnTo>
                      <a:pt x="963" y="134"/>
                    </a:lnTo>
                    <a:lnTo>
                      <a:pt x="960" y="134"/>
                    </a:lnTo>
                    <a:lnTo>
                      <a:pt x="956" y="134"/>
                    </a:lnTo>
                    <a:lnTo>
                      <a:pt x="944" y="130"/>
                    </a:lnTo>
                    <a:lnTo>
                      <a:pt x="939" y="125"/>
                    </a:lnTo>
                    <a:lnTo>
                      <a:pt x="933" y="121"/>
                    </a:lnTo>
                    <a:lnTo>
                      <a:pt x="933" y="121"/>
                    </a:lnTo>
                    <a:lnTo>
                      <a:pt x="929" y="118"/>
                    </a:lnTo>
                    <a:lnTo>
                      <a:pt x="923" y="115"/>
                    </a:lnTo>
                    <a:lnTo>
                      <a:pt x="916" y="112"/>
                    </a:lnTo>
                    <a:lnTo>
                      <a:pt x="909" y="111"/>
                    </a:lnTo>
                    <a:lnTo>
                      <a:pt x="895" y="110"/>
                    </a:lnTo>
                    <a:lnTo>
                      <a:pt x="883" y="110"/>
                    </a:lnTo>
                    <a:lnTo>
                      <a:pt x="883" y="110"/>
                    </a:lnTo>
                    <a:lnTo>
                      <a:pt x="879" y="111"/>
                    </a:lnTo>
                    <a:lnTo>
                      <a:pt x="876" y="114"/>
                    </a:lnTo>
                    <a:lnTo>
                      <a:pt x="875" y="118"/>
                    </a:lnTo>
                    <a:lnTo>
                      <a:pt x="875" y="124"/>
                    </a:lnTo>
                    <a:lnTo>
                      <a:pt x="876" y="128"/>
                    </a:lnTo>
                    <a:lnTo>
                      <a:pt x="878" y="132"/>
                    </a:lnTo>
                    <a:lnTo>
                      <a:pt x="880" y="135"/>
                    </a:lnTo>
                    <a:lnTo>
                      <a:pt x="883" y="135"/>
                    </a:lnTo>
                    <a:lnTo>
                      <a:pt x="883" y="135"/>
                    </a:lnTo>
                    <a:lnTo>
                      <a:pt x="892" y="137"/>
                    </a:lnTo>
                    <a:lnTo>
                      <a:pt x="899" y="139"/>
                    </a:lnTo>
                    <a:lnTo>
                      <a:pt x="906" y="145"/>
                    </a:lnTo>
                    <a:lnTo>
                      <a:pt x="913" y="155"/>
                    </a:lnTo>
                    <a:lnTo>
                      <a:pt x="913" y="155"/>
                    </a:lnTo>
                    <a:lnTo>
                      <a:pt x="917" y="159"/>
                    </a:lnTo>
                    <a:lnTo>
                      <a:pt x="923" y="164"/>
                    </a:lnTo>
                    <a:lnTo>
                      <a:pt x="933" y="168"/>
                    </a:lnTo>
                    <a:lnTo>
                      <a:pt x="942" y="171"/>
                    </a:lnTo>
                    <a:lnTo>
                      <a:pt x="944" y="172"/>
                    </a:lnTo>
                    <a:lnTo>
                      <a:pt x="944" y="174"/>
                    </a:lnTo>
                    <a:lnTo>
                      <a:pt x="944" y="174"/>
                    </a:lnTo>
                    <a:lnTo>
                      <a:pt x="943" y="176"/>
                    </a:lnTo>
                    <a:lnTo>
                      <a:pt x="940" y="176"/>
                    </a:lnTo>
                    <a:lnTo>
                      <a:pt x="929" y="174"/>
                    </a:lnTo>
                    <a:lnTo>
                      <a:pt x="915" y="169"/>
                    </a:lnTo>
                    <a:lnTo>
                      <a:pt x="902" y="165"/>
                    </a:lnTo>
                    <a:lnTo>
                      <a:pt x="902" y="165"/>
                    </a:lnTo>
                    <a:lnTo>
                      <a:pt x="895" y="165"/>
                    </a:lnTo>
                    <a:lnTo>
                      <a:pt x="889" y="165"/>
                    </a:lnTo>
                    <a:lnTo>
                      <a:pt x="882" y="168"/>
                    </a:lnTo>
                    <a:lnTo>
                      <a:pt x="875" y="169"/>
                    </a:lnTo>
                    <a:lnTo>
                      <a:pt x="869" y="172"/>
                    </a:lnTo>
                    <a:lnTo>
                      <a:pt x="865" y="176"/>
                    </a:lnTo>
                    <a:lnTo>
                      <a:pt x="862" y="179"/>
                    </a:lnTo>
                    <a:lnTo>
                      <a:pt x="861" y="184"/>
                    </a:lnTo>
                    <a:lnTo>
                      <a:pt x="861" y="184"/>
                    </a:lnTo>
                    <a:lnTo>
                      <a:pt x="861" y="188"/>
                    </a:lnTo>
                    <a:lnTo>
                      <a:pt x="863" y="191"/>
                    </a:lnTo>
                    <a:lnTo>
                      <a:pt x="868" y="192"/>
                    </a:lnTo>
                    <a:lnTo>
                      <a:pt x="873" y="192"/>
                    </a:lnTo>
                    <a:lnTo>
                      <a:pt x="886" y="191"/>
                    </a:lnTo>
                    <a:lnTo>
                      <a:pt x="893" y="188"/>
                    </a:lnTo>
                    <a:lnTo>
                      <a:pt x="899" y="185"/>
                    </a:lnTo>
                    <a:lnTo>
                      <a:pt x="899" y="185"/>
                    </a:lnTo>
                    <a:lnTo>
                      <a:pt x="906" y="182"/>
                    </a:lnTo>
                    <a:lnTo>
                      <a:pt x="906" y="182"/>
                    </a:lnTo>
                    <a:lnTo>
                      <a:pt x="906" y="184"/>
                    </a:lnTo>
                    <a:lnTo>
                      <a:pt x="895" y="195"/>
                    </a:lnTo>
                    <a:lnTo>
                      <a:pt x="895" y="195"/>
                    </a:lnTo>
                    <a:lnTo>
                      <a:pt x="893" y="198"/>
                    </a:lnTo>
                    <a:lnTo>
                      <a:pt x="895" y="201"/>
                    </a:lnTo>
                    <a:lnTo>
                      <a:pt x="902" y="205"/>
                    </a:lnTo>
                    <a:lnTo>
                      <a:pt x="910" y="211"/>
                    </a:lnTo>
                    <a:lnTo>
                      <a:pt x="913" y="213"/>
                    </a:lnTo>
                    <a:lnTo>
                      <a:pt x="913" y="216"/>
                    </a:lnTo>
                    <a:lnTo>
                      <a:pt x="913" y="216"/>
                    </a:lnTo>
                    <a:lnTo>
                      <a:pt x="913" y="219"/>
                    </a:lnTo>
                    <a:lnTo>
                      <a:pt x="910" y="221"/>
                    </a:lnTo>
                    <a:lnTo>
                      <a:pt x="907" y="222"/>
                    </a:lnTo>
                    <a:lnTo>
                      <a:pt x="903" y="221"/>
                    </a:lnTo>
                    <a:lnTo>
                      <a:pt x="896" y="219"/>
                    </a:lnTo>
                    <a:lnTo>
                      <a:pt x="893" y="216"/>
                    </a:lnTo>
                    <a:lnTo>
                      <a:pt x="892" y="213"/>
                    </a:lnTo>
                    <a:lnTo>
                      <a:pt x="892" y="213"/>
                    </a:lnTo>
                    <a:lnTo>
                      <a:pt x="889" y="208"/>
                    </a:lnTo>
                    <a:lnTo>
                      <a:pt x="885" y="203"/>
                    </a:lnTo>
                    <a:lnTo>
                      <a:pt x="876" y="201"/>
                    </a:lnTo>
                    <a:lnTo>
                      <a:pt x="865" y="199"/>
                    </a:lnTo>
                    <a:lnTo>
                      <a:pt x="865" y="199"/>
                    </a:lnTo>
                    <a:lnTo>
                      <a:pt x="859" y="201"/>
                    </a:lnTo>
                    <a:lnTo>
                      <a:pt x="855" y="202"/>
                    </a:lnTo>
                    <a:lnTo>
                      <a:pt x="853" y="205"/>
                    </a:lnTo>
                    <a:lnTo>
                      <a:pt x="852" y="208"/>
                    </a:lnTo>
                    <a:lnTo>
                      <a:pt x="853" y="211"/>
                    </a:lnTo>
                    <a:lnTo>
                      <a:pt x="855" y="212"/>
                    </a:lnTo>
                    <a:lnTo>
                      <a:pt x="859" y="215"/>
                    </a:lnTo>
                    <a:lnTo>
                      <a:pt x="862" y="215"/>
                    </a:lnTo>
                    <a:lnTo>
                      <a:pt x="862" y="215"/>
                    </a:lnTo>
                    <a:lnTo>
                      <a:pt x="869" y="218"/>
                    </a:lnTo>
                    <a:lnTo>
                      <a:pt x="870" y="219"/>
                    </a:lnTo>
                    <a:lnTo>
                      <a:pt x="870" y="221"/>
                    </a:lnTo>
                    <a:lnTo>
                      <a:pt x="870" y="222"/>
                    </a:lnTo>
                    <a:lnTo>
                      <a:pt x="869" y="223"/>
                    </a:lnTo>
                    <a:lnTo>
                      <a:pt x="866" y="225"/>
                    </a:lnTo>
                    <a:lnTo>
                      <a:pt x="862" y="225"/>
                    </a:lnTo>
                    <a:lnTo>
                      <a:pt x="862" y="225"/>
                    </a:lnTo>
                    <a:lnTo>
                      <a:pt x="851" y="226"/>
                    </a:lnTo>
                    <a:lnTo>
                      <a:pt x="838" y="231"/>
                    </a:lnTo>
                    <a:lnTo>
                      <a:pt x="832" y="233"/>
                    </a:lnTo>
                    <a:lnTo>
                      <a:pt x="829" y="236"/>
                    </a:lnTo>
                    <a:lnTo>
                      <a:pt x="828" y="239"/>
                    </a:lnTo>
                    <a:lnTo>
                      <a:pt x="829" y="242"/>
                    </a:lnTo>
                    <a:lnTo>
                      <a:pt x="829" y="242"/>
                    </a:lnTo>
                    <a:lnTo>
                      <a:pt x="834" y="245"/>
                    </a:lnTo>
                    <a:lnTo>
                      <a:pt x="841" y="246"/>
                    </a:lnTo>
                    <a:lnTo>
                      <a:pt x="856" y="246"/>
                    </a:lnTo>
                    <a:lnTo>
                      <a:pt x="872" y="246"/>
                    </a:lnTo>
                    <a:lnTo>
                      <a:pt x="878" y="246"/>
                    </a:lnTo>
                    <a:lnTo>
                      <a:pt x="882" y="248"/>
                    </a:lnTo>
                    <a:lnTo>
                      <a:pt x="882" y="248"/>
                    </a:lnTo>
                    <a:lnTo>
                      <a:pt x="888" y="250"/>
                    </a:lnTo>
                    <a:lnTo>
                      <a:pt x="896" y="253"/>
                    </a:lnTo>
                    <a:lnTo>
                      <a:pt x="905" y="252"/>
                    </a:lnTo>
                    <a:lnTo>
                      <a:pt x="907" y="250"/>
                    </a:lnTo>
                    <a:lnTo>
                      <a:pt x="910" y="249"/>
                    </a:lnTo>
                    <a:lnTo>
                      <a:pt x="910" y="249"/>
                    </a:lnTo>
                    <a:lnTo>
                      <a:pt x="912" y="248"/>
                    </a:lnTo>
                    <a:lnTo>
                      <a:pt x="915" y="246"/>
                    </a:lnTo>
                    <a:lnTo>
                      <a:pt x="923" y="245"/>
                    </a:lnTo>
                    <a:lnTo>
                      <a:pt x="943" y="245"/>
                    </a:lnTo>
                    <a:lnTo>
                      <a:pt x="943" y="245"/>
                    </a:lnTo>
                    <a:lnTo>
                      <a:pt x="952" y="246"/>
                    </a:lnTo>
                    <a:lnTo>
                      <a:pt x="957" y="248"/>
                    </a:lnTo>
                    <a:lnTo>
                      <a:pt x="963" y="249"/>
                    </a:lnTo>
                    <a:lnTo>
                      <a:pt x="967" y="253"/>
                    </a:lnTo>
                    <a:lnTo>
                      <a:pt x="967" y="253"/>
                    </a:lnTo>
                    <a:lnTo>
                      <a:pt x="973" y="256"/>
                    </a:lnTo>
                    <a:lnTo>
                      <a:pt x="979" y="256"/>
                    </a:lnTo>
                    <a:lnTo>
                      <a:pt x="986" y="255"/>
                    </a:lnTo>
                    <a:lnTo>
                      <a:pt x="993" y="250"/>
                    </a:lnTo>
                    <a:lnTo>
                      <a:pt x="993" y="250"/>
                    </a:lnTo>
                    <a:lnTo>
                      <a:pt x="1001" y="246"/>
                    </a:lnTo>
                    <a:lnTo>
                      <a:pt x="1010" y="245"/>
                    </a:lnTo>
                    <a:lnTo>
                      <a:pt x="1010" y="245"/>
                    </a:lnTo>
                    <a:lnTo>
                      <a:pt x="1017" y="245"/>
                    </a:lnTo>
                    <a:lnTo>
                      <a:pt x="1020" y="240"/>
                    </a:lnTo>
                    <a:lnTo>
                      <a:pt x="1020" y="236"/>
                    </a:lnTo>
                    <a:lnTo>
                      <a:pt x="1017" y="231"/>
                    </a:lnTo>
                    <a:lnTo>
                      <a:pt x="1017" y="231"/>
                    </a:lnTo>
                    <a:lnTo>
                      <a:pt x="1016" y="229"/>
                    </a:lnTo>
                    <a:lnTo>
                      <a:pt x="1013" y="229"/>
                    </a:lnTo>
                    <a:lnTo>
                      <a:pt x="1007" y="231"/>
                    </a:lnTo>
                    <a:lnTo>
                      <a:pt x="1001" y="232"/>
                    </a:lnTo>
                    <a:lnTo>
                      <a:pt x="1000" y="232"/>
                    </a:lnTo>
                    <a:lnTo>
                      <a:pt x="999" y="231"/>
                    </a:lnTo>
                    <a:lnTo>
                      <a:pt x="999" y="231"/>
                    </a:lnTo>
                    <a:lnTo>
                      <a:pt x="997" y="229"/>
                    </a:lnTo>
                    <a:lnTo>
                      <a:pt x="996" y="226"/>
                    </a:lnTo>
                    <a:lnTo>
                      <a:pt x="989" y="225"/>
                    </a:lnTo>
                    <a:lnTo>
                      <a:pt x="979" y="223"/>
                    </a:lnTo>
                    <a:lnTo>
                      <a:pt x="964" y="225"/>
                    </a:lnTo>
                    <a:lnTo>
                      <a:pt x="964" y="225"/>
                    </a:lnTo>
                    <a:lnTo>
                      <a:pt x="959" y="225"/>
                    </a:lnTo>
                    <a:lnTo>
                      <a:pt x="954" y="223"/>
                    </a:lnTo>
                    <a:lnTo>
                      <a:pt x="953" y="222"/>
                    </a:lnTo>
                    <a:lnTo>
                      <a:pt x="953" y="219"/>
                    </a:lnTo>
                    <a:lnTo>
                      <a:pt x="954" y="218"/>
                    </a:lnTo>
                    <a:lnTo>
                      <a:pt x="957" y="216"/>
                    </a:lnTo>
                    <a:lnTo>
                      <a:pt x="962" y="215"/>
                    </a:lnTo>
                    <a:lnTo>
                      <a:pt x="966" y="215"/>
                    </a:lnTo>
                    <a:lnTo>
                      <a:pt x="966" y="215"/>
                    </a:lnTo>
                    <a:lnTo>
                      <a:pt x="976" y="218"/>
                    </a:lnTo>
                    <a:lnTo>
                      <a:pt x="986" y="218"/>
                    </a:lnTo>
                    <a:lnTo>
                      <a:pt x="997" y="216"/>
                    </a:lnTo>
                    <a:lnTo>
                      <a:pt x="1007" y="213"/>
                    </a:lnTo>
                    <a:lnTo>
                      <a:pt x="1007" y="213"/>
                    </a:lnTo>
                    <a:lnTo>
                      <a:pt x="1011" y="212"/>
                    </a:lnTo>
                    <a:lnTo>
                      <a:pt x="1014" y="211"/>
                    </a:lnTo>
                    <a:lnTo>
                      <a:pt x="1014" y="209"/>
                    </a:lnTo>
                    <a:lnTo>
                      <a:pt x="1014" y="206"/>
                    </a:lnTo>
                    <a:lnTo>
                      <a:pt x="1011" y="202"/>
                    </a:lnTo>
                    <a:lnTo>
                      <a:pt x="1010" y="198"/>
                    </a:lnTo>
                    <a:lnTo>
                      <a:pt x="1010" y="198"/>
                    </a:lnTo>
                    <a:lnTo>
                      <a:pt x="1011" y="196"/>
                    </a:lnTo>
                    <a:lnTo>
                      <a:pt x="1013" y="195"/>
                    </a:lnTo>
                    <a:lnTo>
                      <a:pt x="1020" y="195"/>
                    </a:lnTo>
                    <a:lnTo>
                      <a:pt x="1040" y="196"/>
                    </a:lnTo>
                    <a:lnTo>
                      <a:pt x="1040" y="196"/>
                    </a:lnTo>
                    <a:lnTo>
                      <a:pt x="1045" y="195"/>
                    </a:lnTo>
                    <a:lnTo>
                      <a:pt x="1051" y="194"/>
                    </a:lnTo>
                    <a:lnTo>
                      <a:pt x="1055" y="189"/>
                    </a:lnTo>
                    <a:lnTo>
                      <a:pt x="1061" y="185"/>
                    </a:lnTo>
                    <a:lnTo>
                      <a:pt x="1068" y="174"/>
                    </a:lnTo>
                    <a:lnTo>
                      <a:pt x="1071" y="168"/>
                    </a:lnTo>
                    <a:lnTo>
                      <a:pt x="1073" y="164"/>
                    </a:lnTo>
                    <a:lnTo>
                      <a:pt x="1073" y="164"/>
                    </a:lnTo>
                    <a:lnTo>
                      <a:pt x="1071" y="159"/>
                    </a:lnTo>
                    <a:lnTo>
                      <a:pt x="1068" y="157"/>
                    </a:lnTo>
                    <a:lnTo>
                      <a:pt x="1063" y="155"/>
                    </a:lnTo>
                    <a:lnTo>
                      <a:pt x="1057" y="154"/>
                    </a:lnTo>
                    <a:lnTo>
                      <a:pt x="1043" y="154"/>
                    </a:lnTo>
                    <a:lnTo>
                      <a:pt x="1030" y="154"/>
                    </a:lnTo>
                    <a:lnTo>
                      <a:pt x="1030" y="154"/>
                    </a:lnTo>
                    <a:lnTo>
                      <a:pt x="1026" y="154"/>
                    </a:lnTo>
                    <a:lnTo>
                      <a:pt x="1026" y="152"/>
                    </a:lnTo>
                    <a:lnTo>
                      <a:pt x="1028" y="151"/>
                    </a:lnTo>
                    <a:lnTo>
                      <a:pt x="1033" y="149"/>
                    </a:lnTo>
                    <a:lnTo>
                      <a:pt x="1047" y="147"/>
                    </a:lnTo>
                    <a:lnTo>
                      <a:pt x="1055" y="145"/>
                    </a:lnTo>
                    <a:lnTo>
                      <a:pt x="1065" y="145"/>
                    </a:lnTo>
                    <a:lnTo>
                      <a:pt x="1065" y="145"/>
                    </a:lnTo>
                    <a:lnTo>
                      <a:pt x="1074" y="145"/>
                    </a:lnTo>
                    <a:lnTo>
                      <a:pt x="1080" y="144"/>
                    </a:lnTo>
                    <a:lnTo>
                      <a:pt x="1082" y="142"/>
                    </a:lnTo>
                    <a:lnTo>
                      <a:pt x="1084" y="139"/>
                    </a:lnTo>
                    <a:lnTo>
                      <a:pt x="1084" y="134"/>
                    </a:lnTo>
                    <a:lnTo>
                      <a:pt x="1085" y="132"/>
                    </a:lnTo>
                    <a:lnTo>
                      <a:pt x="1085" y="130"/>
                    </a:lnTo>
                    <a:lnTo>
                      <a:pt x="1085" y="130"/>
                    </a:lnTo>
                    <a:lnTo>
                      <a:pt x="1088" y="130"/>
                    </a:lnTo>
                    <a:lnTo>
                      <a:pt x="1091" y="130"/>
                    </a:lnTo>
                    <a:lnTo>
                      <a:pt x="1098" y="131"/>
                    </a:lnTo>
                    <a:lnTo>
                      <a:pt x="1107" y="132"/>
                    </a:lnTo>
                    <a:lnTo>
                      <a:pt x="1112" y="132"/>
                    </a:lnTo>
                    <a:lnTo>
                      <a:pt x="1117" y="132"/>
                    </a:lnTo>
                    <a:lnTo>
                      <a:pt x="1117" y="132"/>
                    </a:lnTo>
                    <a:lnTo>
                      <a:pt x="1121" y="131"/>
                    </a:lnTo>
                    <a:lnTo>
                      <a:pt x="1124" y="130"/>
                    </a:lnTo>
                    <a:lnTo>
                      <a:pt x="1125" y="124"/>
                    </a:lnTo>
                    <a:lnTo>
                      <a:pt x="1127" y="120"/>
                    </a:lnTo>
                    <a:lnTo>
                      <a:pt x="1128" y="118"/>
                    </a:lnTo>
                    <a:lnTo>
                      <a:pt x="1131" y="118"/>
                    </a:lnTo>
                    <a:lnTo>
                      <a:pt x="1131" y="118"/>
                    </a:lnTo>
                    <a:lnTo>
                      <a:pt x="1137" y="117"/>
                    </a:lnTo>
                    <a:lnTo>
                      <a:pt x="1148" y="111"/>
                    </a:lnTo>
                    <a:lnTo>
                      <a:pt x="1181" y="91"/>
                    </a:lnTo>
                    <a:lnTo>
                      <a:pt x="1181" y="91"/>
                    </a:lnTo>
                    <a:lnTo>
                      <a:pt x="1192" y="87"/>
                    </a:lnTo>
                    <a:lnTo>
                      <a:pt x="1202" y="83"/>
                    </a:lnTo>
                    <a:lnTo>
                      <a:pt x="1218" y="78"/>
                    </a:lnTo>
                    <a:lnTo>
                      <a:pt x="1229" y="74"/>
                    </a:lnTo>
                    <a:lnTo>
                      <a:pt x="1233" y="71"/>
                    </a:lnTo>
                    <a:lnTo>
                      <a:pt x="1235" y="68"/>
                    </a:lnTo>
                    <a:lnTo>
                      <a:pt x="1235" y="68"/>
                    </a:lnTo>
                    <a:lnTo>
                      <a:pt x="1235" y="67"/>
                    </a:lnTo>
                    <a:lnTo>
                      <a:pt x="1233" y="67"/>
                    </a:lnTo>
                    <a:lnTo>
                      <a:pt x="1229" y="66"/>
                    </a:lnTo>
                    <a:lnTo>
                      <a:pt x="1213" y="66"/>
                    </a:lnTo>
                    <a:lnTo>
                      <a:pt x="1198" y="67"/>
                    </a:lnTo>
                    <a:lnTo>
                      <a:pt x="1191" y="67"/>
                    </a:lnTo>
                    <a:lnTo>
                      <a:pt x="1186" y="66"/>
                    </a:lnTo>
                    <a:lnTo>
                      <a:pt x="1186" y="66"/>
                    </a:lnTo>
                    <a:lnTo>
                      <a:pt x="1186" y="66"/>
                    </a:lnTo>
                    <a:lnTo>
                      <a:pt x="1186" y="66"/>
                    </a:lnTo>
                    <a:lnTo>
                      <a:pt x="1189" y="63"/>
                    </a:lnTo>
                    <a:lnTo>
                      <a:pt x="1199" y="60"/>
                    </a:lnTo>
                    <a:lnTo>
                      <a:pt x="1213" y="57"/>
                    </a:lnTo>
                    <a:lnTo>
                      <a:pt x="1225" y="57"/>
                    </a:lnTo>
                    <a:lnTo>
                      <a:pt x="1225" y="57"/>
                    </a:lnTo>
                    <a:lnTo>
                      <a:pt x="1232" y="58"/>
                    </a:lnTo>
                    <a:lnTo>
                      <a:pt x="1242" y="57"/>
                    </a:lnTo>
                    <a:lnTo>
                      <a:pt x="1255" y="51"/>
                    </a:lnTo>
                    <a:lnTo>
                      <a:pt x="1273" y="43"/>
                    </a:lnTo>
                    <a:lnTo>
                      <a:pt x="1273" y="43"/>
                    </a:lnTo>
                    <a:lnTo>
                      <a:pt x="1283" y="38"/>
                    </a:lnTo>
                    <a:lnTo>
                      <a:pt x="1289" y="34"/>
                    </a:lnTo>
                    <a:lnTo>
                      <a:pt x="1292" y="31"/>
                    </a:lnTo>
                    <a:lnTo>
                      <a:pt x="1292" y="30"/>
                    </a:lnTo>
                    <a:lnTo>
                      <a:pt x="1290" y="29"/>
                    </a:lnTo>
                    <a:lnTo>
                      <a:pt x="1286" y="27"/>
                    </a:lnTo>
                    <a:lnTo>
                      <a:pt x="1277" y="27"/>
                    </a:lnTo>
                    <a:lnTo>
                      <a:pt x="1277" y="27"/>
                    </a:lnTo>
                    <a:lnTo>
                      <a:pt x="1269" y="29"/>
                    </a:lnTo>
                    <a:lnTo>
                      <a:pt x="1260" y="27"/>
                    </a:lnTo>
                    <a:lnTo>
                      <a:pt x="1255" y="23"/>
                    </a:lnTo>
                    <a:lnTo>
                      <a:pt x="1253" y="20"/>
                    </a:lnTo>
                    <a:lnTo>
                      <a:pt x="1253" y="17"/>
                    </a:lnTo>
                    <a:lnTo>
                      <a:pt x="1253" y="17"/>
                    </a:lnTo>
                    <a:lnTo>
                      <a:pt x="1252" y="16"/>
                    </a:lnTo>
                    <a:lnTo>
                      <a:pt x="1250" y="14"/>
                    </a:lnTo>
                    <a:lnTo>
                      <a:pt x="1245" y="14"/>
                    </a:lnTo>
                    <a:lnTo>
                      <a:pt x="1238" y="14"/>
                    </a:lnTo>
                    <a:lnTo>
                      <a:pt x="1236" y="14"/>
                    </a:lnTo>
                    <a:lnTo>
                      <a:pt x="1235" y="13"/>
                    </a:lnTo>
                    <a:lnTo>
                      <a:pt x="1235" y="13"/>
                    </a:lnTo>
                    <a:lnTo>
                      <a:pt x="1233" y="11"/>
                    </a:lnTo>
                    <a:lnTo>
                      <a:pt x="1230" y="10"/>
                    </a:lnTo>
                    <a:lnTo>
                      <a:pt x="1223" y="11"/>
                    </a:lnTo>
                    <a:lnTo>
                      <a:pt x="1212" y="13"/>
                    </a:lnTo>
                    <a:lnTo>
                      <a:pt x="1198" y="17"/>
                    </a:lnTo>
                    <a:lnTo>
                      <a:pt x="1198" y="17"/>
                    </a:lnTo>
                    <a:lnTo>
                      <a:pt x="1193" y="20"/>
                    </a:lnTo>
                    <a:lnTo>
                      <a:pt x="1191" y="20"/>
                    </a:lnTo>
                    <a:lnTo>
                      <a:pt x="1191" y="19"/>
                    </a:lnTo>
                    <a:lnTo>
                      <a:pt x="1192" y="17"/>
                    </a:lnTo>
                    <a:lnTo>
                      <a:pt x="1198" y="11"/>
                    </a:lnTo>
                    <a:lnTo>
                      <a:pt x="1205" y="7"/>
                    </a:lnTo>
                    <a:lnTo>
                      <a:pt x="1205" y="7"/>
                    </a:lnTo>
                    <a:lnTo>
                      <a:pt x="1205" y="7"/>
                    </a:lnTo>
                    <a:lnTo>
                      <a:pt x="1205" y="7"/>
                    </a:lnTo>
                    <a:lnTo>
                      <a:pt x="1201" y="6"/>
                    </a:lnTo>
                    <a:lnTo>
                      <a:pt x="1183" y="6"/>
                    </a:lnTo>
                    <a:lnTo>
                      <a:pt x="1162" y="4"/>
                    </a:lnTo>
                    <a:lnTo>
                      <a:pt x="1154" y="3"/>
                    </a:lnTo>
                    <a:lnTo>
                      <a:pt x="1148" y="1"/>
                    </a:lnTo>
                    <a:lnTo>
                      <a:pt x="1148" y="1"/>
                    </a:lnTo>
                    <a:lnTo>
                      <a:pt x="1145" y="0"/>
                    </a:lnTo>
                    <a:lnTo>
                      <a:pt x="1141" y="0"/>
                    </a:lnTo>
                    <a:lnTo>
                      <a:pt x="1134" y="3"/>
                    </a:lnTo>
                    <a:lnTo>
                      <a:pt x="1127" y="6"/>
                    </a:lnTo>
                    <a:lnTo>
                      <a:pt x="1124" y="6"/>
                    </a:lnTo>
                    <a:lnTo>
                      <a:pt x="1119" y="3"/>
                    </a:lnTo>
                    <a:lnTo>
                      <a:pt x="1119" y="3"/>
                    </a:lnTo>
                    <a:lnTo>
                      <a:pt x="1117" y="1"/>
                    </a:lnTo>
                    <a:lnTo>
                      <a:pt x="1111" y="0"/>
                    </a:lnTo>
                    <a:lnTo>
                      <a:pt x="1107" y="0"/>
                    </a:lnTo>
                    <a:lnTo>
                      <a:pt x="1102" y="0"/>
                    </a:lnTo>
                    <a:lnTo>
                      <a:pt x="1098" y="1"/>
                    </a:lnTo>
                    <a:lnTo>
                      <a:pt x="1094" y="4"/>
                    </a:lnTo>
                    <a:lnTo>
                      <a:pt x="1092" y="6"/>
                    </a:lnTo>
                    <a:lnTo>
                      <a:pt x="1092" y="9"/>
                    </a:lnTo>
                    <a:lnTo>
                      <a:pt x="1092" y="9"/>
                    </a:lnTo>
                    <a:lnTo>
                      <a:pt x="1092" y="11"/>
                    </a:lnTo>
                    <a:lnTo>
                      <a:pt x="1091" y="13"/>
                    </a:lnTo>
                    <a:lnTo>
                      <a:pt x="1085" y="11"/>
                    </a:lnTo>
                    <a:lnTo>
                      <a:pt x="1080" y="7"/>
                    </a:lnTo>
                    <a:lnTo>
                      <a:pt x="1080" y="7"/>
                    </a:lnTo>
                    <a:lnTo>
                      <a:pt x="1077" y="6"/>
                    </a:lnTo>
                    <a:lnTo>
                      <a:pt x="1073" y="4"/>
                    </a:lnTo>
                    <a:lnTo>
                      <a:pt x="1063" y="6"/>
                    </a:lnTo>
                    <a:lnTo>
                      <a:pt x="1051" y="6"/>
                    </a:lnTo>
                    <a:lnTo>
                      <a:pt x="1040" y="6"/>
                    </a:lnTo>
                    <a:lnTo>
                      <a:pt x="1040" y="6"/>
                    </a:lnTo>
                    <a:lnTo>
                      <a:pt x="1036" y="6"/>
                    </a:lnTo>
                    <a:lnTo>
                      <a:pt x="1033" y="7"/>
                    </a:lnTo>
                    <a:lnTo>
                      <a:pt x="1028" y="10"/>
                    </a:lnTo>
                    <a:lnTo>
                      <a:pt x="1027" y="13"/>
                    </a:lnTo>
                    <a:lnTo>
                      <a:pt x="1024" y="13"/>
                    </a:lnTo>
                    <a:lnTo>
                      <a:pt x="1020" y="13"/>
                    </a:lnTo>
                    <a:lnTo>
                      <a:pt x="1016" y="11"/>
                    </a:lnTo>
                    <a:lnTo>
                      <a:pt x="1016" y="11"/>
                    </a:lnTo>
                    <a:lnTo>
                      <a:pt x="1010" y="9"/>
                    </a:lnTo>
                    <a:lnTo>
                      <a:pt x="1003" y="7"/>
                    </a:lnTo>
                    <a:lnTo>
                      <a:pt x="993" y="7"/>
                    </a:lnTo>
                    <a:lnTo>
                      <a:pt x="986" y="9"/>
                    </a:lnTo>
                    <a:lnTo>
                      <a:pt x="986" y="9"/>
                    </a:lnTo>
                    <a:lnTo>
                      <a:pt x="986" y="10"/>
                    </a:lnTo>
                    <a:lnTo>
                      <a:pt x="986" y="10"/>
                    </a:lnTo>
                    <a:lnTo>
                      <a:pt x="989" y="11"/>
                    </a:lnTo>
                    <a:lnTo>
                      <a:pt x="987" y="14"/>
                    </a:lnTo>
                    <a:lnTo>
                      <a:pt x="983" y="14"/>
                    </a:lnTo>
                    <a:lnTo>
                      <a:pt x="977" y="14"/>
                    </a:lnTo>
                    <a:lnTo>
                      <a:pt x="977" y="14"/>
                    </a:lnTo>
                    <a:lnTo>
                      <a:pt x="973" y="13"/>
                    </a:lnTo>
                    <a:lnTo>
                      <a:pt x="969" y="14"/>
                    </a:lnTo>
                    <a:lnTo>
                      <a:pt x="967" y="17"/>
                    </a:lnTo>
                    <a:lnTo>
                      <a:pt x="967" y="21"/>
                    </a:lnTo>
                    <a:lnTo>
                      <a:pt x="967" y="21"/>
                    </a:lnTo>
                    <a:lnTo>
                      <a:pt x="967" y="24"/>
                    </a:lnTo>
                    <a:lnTo>
                      <a:pt x="966" y="24"/>
                    </a:lnTo>
                    <a:lnTo>
                      <a:pt x="956" y="24"/>
                    </a:lnTo>
                    <a:lnTo>
                      <a:pt x="946" y="24"/>
                    </a:lnTo>
                    <a:lnTo>
                      <a:pt x="943" y="26"/>
                    </a:lnTo>
                    <a:lnTo>
                      <a:pt x="942" y="27"/>
                    </a:lnTo>
                    <a:lnTo>
                      <a:pt x="942" y="27"/>
                    </a:lnTo>
                    <a:lnTo>
                      <a:pt x="942" y="30"/>
                    </a:lnTo>
                    <a:lnTo>
                      <a:pt x="940" y="33"/>
                    </a:lnTo>
                    <a:lnTo>
                      <a:pt x="935" y="36"/>
                    </a:lnTo>
                    <a:lnTo>
                      <a:pt x="929" y="36"/>
                    </a:lnTo>
                    <a:lnTo>
                      <a:pt x="926" y="34"/>
                    </a:lnTo>
                    <a:lnTo>
                      <a:pt x="922" y="33"/>
                    </a:lnTo>
                    <a:lnTo>
                      <a:pt x="922" y="33"/>
                    </a:lnTo>
                    <a:lnTo>
                      <a:pt x="919" y="30"/>
                    </a:lnTo>
                    <a:lnTo>
                      <a:pt x="913" y="29"/>
                    </a:lnTo>
                    <a:lnTo>
                      <a:pt x="902" y="26"/>
                    </a:lnTo>
                    <a:lnTo>
                      <a:pt x="895" y="27"/>
                    </a:lnTo>
                    <a:lnTo>
                      <a:pt x="893" y="29"/>
                    </a:lnTo>
                    <a:lnTo>
                      <a:pt x="895" y="30"/>
                    </a:lnTo>
                    <a:lnTo>
                      <a:pt x="895" y="30"/>
                    </a:lnTo>
                    <a:lnTo>
                      <a:pt x="896" y="31"/>
                    </a:lnTo>
                    <a:lnTo>
                      <a:pt x="895" y="33"/>
                    </a:lnTo>
                    <a:lnTo>
                      <a:pt x="886" y="34"/>
                    </a:lnTo>
                    <a:lnTo>
                      <a:pt x="879" y="36"/>
                    </a:lnTo>
                    <a:lnTo>
                      <a:pt x="878" y="37"/>
                    </a:lnTo>
                    <a:lnTo>
                      <a:pt x="879" y="38"/>
                    </a:lnTo>
                    <a:lnTo>
                      <a:pt x="879" y="38"/>
                    </a:lnTo>
                    <a:lnTo>
                      <a:pt x="880" y="41"/>
                    </a:lnTo>
                    <a:lnTo>
                      <a:pt x="880" y="44"/>
                    </a:lnTo>
                    <a:lnTo>
                      <a:pt x="879" y="46"/>
                    </a:lnTo>
                    <a:lnTo>
                      <a:pt x="876" y="47"/>
                    </a:lnTo>
                    <a:lnTo>
                      <a:pt x="870" y="48"/>
                    </a:lnTo>
                    <a:lnTo>
                      <a:pt x="869" y="48"/>
                    </a:lnTo>
                    <a:lnTo>
                      <a:pt x="868" y="47"/>
                    </a:lnTo>
                    <a:lnTo>
                      <a:pt x="868" y="47"/>
                    </a:lnTo>
                    <a:lnTo>
                      <a:pt x="868" y="46"/>
                    </a:lnTo>
                    <a:lnTo>
                      <a:pt x="865" y="44"/>
                    </a:lnTo>
                    <a:lnTo>
                      <a:pt x="858" y="41"/>
                    </a:lnTo>
                    <a:lnTo>
                      <a:pt x="851" y="41"/>
                    </a:lnTo>
                    <a:lnTo>
                      <a:pt x="846" y="41"/>
                    </a:lnTo>
                    <a:lnTo>
                      <a:pt x="843" y="43"/>
                    </a:lnTo>
                    <a:lnTo>
                      <a:pt x="843" y="43"/>
                    </a:lnTo>
                    <a:lnTo>
                      <a:pt x="839" y="48"/>
                    </a:lnTo>
                    <a:lnTo>
                      <a:pt x="835" y="53"/>
                    </a:lnTo>
                    <a:lnTo>
                      <a:pt x="834" y="54"/>
                    </a:lnTo>
                    <a:lnTo>
                      <a:pt x="832" y="54"/>
                    </a:lnTo>
                    <a:lnTo>
                      <a:pt x="831" y="53"/>
                    </a:lnTo>
                    <a:lnTo>
                      <a:pt x="831" y="53"/>
                    </a:lnTo>
                    <a:lnTo>
                      <a:pt x="829" y="51"/>
                    </a:lnTo>
                    <a:lnTo>
                      <a:pt x="826" y="51"/>
                    </a:lnTo>
                    <a:lnTo>
                      <a:pt x="818" y="51"/>
                    </a:lnTo>
                    <a:lnTo>
                      <a:pt x="808" y="53"/>
                    </a:lnTo>
                    <a:lnTo>
                      <a:pt x="797" y="56"/>
                    </a:lnTo>
                    <a:lnTo>
                      <a:pt x="797" y="56"/>
                    </a:lnTo>
                    <a:lnTo>
                      <a:pt x="792" y="58"/>
                    </a:lnTo>
                    <a:lnTo>
                      <a:pt x="791" y="60"/>
                    </a:lnTo>
                    <a:lnTo>
                      <a:pt x="791" y="61"/>
                    </a:lnTo>
                    <a:lnTo>
                      <a:pt x="794" y="63"/>
                    </a:lnTo>
                    <a:lnTo>
                      <a:pt x="801" y="63"/>
                    </a:lnTo>
                    <a:lnTo>
                      <a:pt x="805" y="61"/>
                    </a:lnTo>
                    <a:lnTo>
                      <a:pt x="808" y="60"/>
                    </a:lnTo>
                    <a:lnTo>
                      <a:pt x="808" y="60"/>
                    </a:lnTo>
                    <a:close/>
                    <a:moveTo>
                      <a:pt x="987" y="673"/>
                    </a:moveTo>
                    <a:lnTo>
                      <a:pt x="987" y="673"/>
                    </a:lnTo>
                    <a:lnTo>
                      <a:pt x="990" y="673"/>
                    </a:lnTo>
                    <a:lnTo>
                      <a:pt x="991" y="670"/>
                    </a:lnTo>
                    <a:lnTo>
                      <a:pt x="996" y="664"/>
                    </a:lnTo>
                    <a:lnTo>
                      <a:pt x="996" y="662"/>
                    </a:lnTo>
                    <a:lnTo>
                      <a:pt x="996" y="659"/>
                    </a:lnTo>
                    <a:lnTo>
                      <a:pt x="994" y="656"/>
                    </a:lnTo>
                    <a:lnTo>
                      <a:pt x="990" y="656"/>
                    </a:lnTo>
                    <a:lnTo>
                      <a:pt x="990" y="656"/>
                    </a:lnTo>
                    <a:lnTo>
                      <a:pt x="986" y="657"/>
                    </a:lnTo>
                    <a:lnTo>
                      <a:pt x="983" y="659"/>
                    </a:lnTo>
                    <a:lnTo>
                      <a:pt x="981" y="662"/>
                    </a:lnTo>
                    <a:lnTo>
                      <a:pt x="981" y="666"/>
                    </a:lnTo>
                    <a:lnTo>
                      <a:pt x="981" y="669"/>
                    </a:lnTo>
                    <a:lnTo>
                      <a:pt x="983" y="672"/>
                    </a:lnTo>
                    <a:lnTo>
                      <a:pt x="984" y="673"/>
                    </a:lnTo>
                    <a:lnTo>
                      <a:pt x="987" y="673"/>
                    </a:lnTo>
                    <a:lnTo>
                      <a:pt x="987" y="673"/>
                    </a:lnTo>
                    <a:close/>
                    <a:moveTo>
                      <a:pt x="925" y="657"/>
                    </a:moveTo>
                    <a:lnTo>
                      <a:pt x="925" y="657"/>
                    </a:lnTo>
                    <a:lnTo>
                      <a:pt x="930" y="659"/>
                    </a:lnTo>
                    <a:lnTo>
                      <a:pt x="935" y="659"/>
                    </a:lnTo>
                    <a:lnTo>
                      <a:pt x="939" y="657"/>
                    </a:lnTo>
                    <a:lnTo>
                      <a:pt x="943" y="654"/>
                    </a:lnTo>
                    <a:lnTo>
                      <a:pt x="950" y="646"/>
                    </a:lnTo>
                    <a:lnTo>
                      <a:pt x="952" y="643"/>
                    </a:lnTo>
                    <a:lnTo>
                      <a:pt x="952" y="640"/>
                    </a:lnTo>
                    <a:lnTo>
                      <a:pt x="952" y="640"/>
                    </a:lnTo>
                    <a:lnTo>
                      <a:pt x="950" y="639"/>
                    </a:lnTo>
                    <a:lnTo>
                      <a:pt x="946" y="639"/>
                    </a:lnTo>
                    <a:lnTo>
                      <a:pt x="933" y="643"/>
                    </a:lnTo>
                    <a:lnTo>
                      <a:pt x="927" y="647"/>
                    </a:lnTo>
                    <a:lnTo>
                      <a:pt x="923" y="650"/>
                    </a:lnTo>
                    <a:lnTo>
                      <a:pt x="922" y="654"/>
                    </a:lnTo>
                    <a:lnTo>
                      <a:pt x="923" y="656"/>
                    </a:lnTo>
                    <a:lnTo>
                      <a:pt x="925" y="657"/>
                    </a:lnTo>
                    <a:lnTo>
                      <a:pt x="925" y="657"/>
                    </a:lnTo>
                    <a:close/>
                    <a:moveTo>
                      <a:pt x="976" y="619"/>
                    </a:moveTo>
                    <a:lnTo>
                      <a:pt x="976" y="619"/>
                    </a:lnTo>
                    <a:lnTo>
                      <a:pt x="976" y="616"/>
                    </a:lnTo>
                    <a:lnTo>
                      <a:pt x="973" y="615"/>
                    </a:lnTo>
                    <a:lnTo>
                      <a:pt x="966" y="610"/>
                    </a:lnTo>
                    <a:lnTo>
                      <a:pt x="957" y="606"/>
                    </a:lnTo>
                    <a:lnTo>
                      <a:pt x="954" y="603"/>
                    </a:lnTo>
                    <a:lnTo>
                      <a:pt x="954" y="600"/>
                    </a:lnTo>
                    <a:lnTo>
                      <a:pt x="954" y="600"/>
                    </a:lnTo>
                    <a:lnTo>
                      <a:pt x="953" y="598"/>
                    </a:lnTo>
                    <a:lnTo>
                      <a:pt x="952" y="595"/>
                    </a:lnTo>
                    <a:lnTo>
                      <a:pt x="942" y="590"/>
                    </a:lnTo>
                    <a:lnTo>
                      <a:pt x="923" y="582"/>
                    </a:lnTo>
                    <a:lnTo>
                      <a:pt x="923" y="582"/>
                    </a:lnTo>
                    <a:lnTo>
                      <a:pt x="910" y="576"/>
                    </a:lnTo>
                    <a:lnTo>
                      <a:pt x="905" y="573"/>
                    </a:lnTo>
                    <a:lnTo>
                      <a:pt x="903" y="571"/>
                    </a:lnTo>
                    <a:lnTo>
                      <a:pt x="903" y="568"/>
                    </a:lnTo>
                    <a:lnTo>
                      <a:pt x="903" y="568"/>
                    </a:lnTo>
                    <a:lnTo>
                      <a:pt x="902" y="565"/>
                    </a:lnTo>
                    <a:lnTo>
                      <a:pt x="900" y="563"/>
                    </a:lnTo>
                    <a:lnTo>
                      <a:pt x="898" y="563"/>
                    </a:lnTo>
                    <a:lnTo>
                      <a:pt x="895" y="565"/>
                    </a:lnTo>
                    <a:lnTo>
                      <a:pt x="892" y="568"/>
                    </a:lnTo>
                    <a:lnTo>
                      <a:pt x="889" y="571"/>
                    </a:lnTo>
                    <a:lnTo>
                      <a:pt x="886" y="573"/>
                    </a:lnTo>
                    <a:lnTo>
                      <a:pt x="885" y="578"/>
                    </a:lnTo>
                    <a:lnTo>
                      <a:pt x="885" y="578"/>
                    </a:lnTo>
                    <a:lnTo>
                      <a:pt x="883" y="585"/>
                    </a:lnTo>
                    <a:lnTo>
                      <a:pt x="882" y="589"/>
                    </a:lnTo>
                    <a:lnTo>
                      <a:pt x="880" y="593"/>
                    </a:lnTo>
                    <a:lnTo>
                      <a:pt x="880" y="600"/>
                    </a:lnTo>
                    <a:lnTo>
                      <a:pt x="880" y="600"/>
                    </a:lnTo>
                    <a:lnTo>
                      <a:pt x="882" y="605"/>
                    </a:lnTo>
                    <a:lnTo>
                      <a:pt x="880" y="608"/>
                    </a:lnTo>
                    <a:lnTo>
                      <a:pt x="878" y="610"/>
                    </a:lnTo>
                    <a:lnTo>
                      <a:pt x="875" y="613"/>
                    </a:lnTo>
                    <a:lnTo>
                      <a:pt x="869" y="617"/>
                    </a:lnTo>
                    <a:lnTo>
                      <a:pt x="868" y="619"/>
                    </a:lnTo>
                    <a:lnTo>
                      <a:pt x="868" y="622"/>
                    </a:lnTo>
                    <a:lnTo>
                      <a:pt x="868" y="622"/>
                    </a:lnTo>
                    <a:lnTo>
                      <a:pt x="869" y="623"/>
                    </a:lnTo>
                    <a:lnTo>
                      <a:pt x="870" y="625"/>
                    </a:lnTo>
                    <a:lnTo>
                      <a:pt x="875" y="623"/>
                    </a:lnTo>
                    <a:lnTo>
                      <a:pt x="880" y="622"/>
                    </a:lnTo>
                    <a:lnTo>
                      <a:pt x="888" y="620"/>
                    </a:lnTo>
                    <a:lnTo>
                      <a:pt x="888" y="620"/>
                    </a:lnTo>
                    <a:lnTo>
                      <a:pt x="890" y="622"/>
                    </a:lnTo>
                    <a:lnTo>
                      <a:pt x="890" y="623"/>
                    </a:lnTo>
                    <a:lnTo>
                      <a:pt x="890" y="627"/>
                    </a:lnTo>
                    <a:lnTo>
                      <a:pt x="892" y="632"/>
                    </a:lnTo>
                    <a:lnTo>
                      <a:pt x="893" y="633"/>
                    </a:lnTo>
                    <a:lnTo>
                      <a:pt x="896" y="633"/>
                    </a:lnTo>
                    <a:lnTo>
                      <a:pt x="896" y="633"/>
                    </a:lnTo>
                    <a:lnTo>
                      <a:pt x="903" y="633"/>
                    </a:lnTo>
                    <a:lnTo>
                      <a:pt x="912" y="629"/>
                    </a:lnTo>
                    <a:lnTo>
                      <a:pt x="919" y="623"/>
                    </a:lnTo>
                    <a:lnTo>
                      <a:pt x="923" y="619"/>
                    </a:lnTo>
                    <a:lnTo>
                      <a:pt x="923" y="619"/>
                    </a:lnTo>
                    <a:lnTo>
                      <a:pt x="926" y="615"/>
                    </a:lnTo>
                    <a:lnTo>
                      <a:pt x="930" y="613"/>
                    </a:lnTo>
                    <a:lnTo>
                      <a:pt x="936" y="615"/>
                    </a:lnTo>
                    <a:lnTo>
                      <a:pt x="943" y="617"/>
                    </a:lnTo>
                    <a:lnTo>
                      <a:pt x="943" y="617"/>
                    </a:lnTo>
                    <a:lnTo>
                      <a:pt x="947" y="620"/>
                    </a:lnTo>
                    <a:lnTo>
                      <a:pt x="953" y="622"/>
                    </a:lnTo>
                    <a:lnTo>
                      <a:pt x="963" y="623"/>
                    </a:lnTo>
                    <a:lnTo>
                      <a:pt x="972" y="623"/>
                    </a:lnTo>
                    <a:lnTo>
                      <a:pt x="974" y="622"/>
                    </a:lnTo>
                    <a:lnTo>
                      <a:pt x="976" y="619"/>
                    </a:lnTo>
                    <a:lnTo>
                      <a:pt x="976" y="619"/>
                    </a:lnTo>
                    <a:close/>
                    <a:moveTo>
                      <a:pt x="1209" y="556"/>
                    </a:moveTo>
                    <a:lnTo>
                      <a:pt x="1209" y="556"/>
                    </a:lnTo>
                    <a:lnTo>
                      <a:pt x="1212" y="556"/>
                    </a:lnTo>
                    <a:lnTo>
                      <a:pt x="1215" y="558"/>
                    </a:lnTo>
                    <a:lnTo>
                      <a:pt x="1219" y="563"/>
                    </a:lnTo>
                    <a:lnTo>
                      <a:pt x="1225" y="571"/>
                    </a:lnTo>
                    <a:lnTo>
                      <a:pt x="1232" y="579"/>
                    </a:lnTo>
                    <a:lnTo>
                      <a:pt x="1232" y="579"/>
                    </a:lnTo>
                    <a:lnTo>
                      <a:pt x="1240" y="585"/>
                    </a:lnTo>
                    <a:lnTo>
                      <a:pt x="1243" y="585"/>
                    </a:lnTo>
                    <a:lnTo>
                      <a:pt x="1245" y="583"/>
                    </a:lnTo>
                    <a:lnTo>
                      <a:pt x="1247" y="580"/>
                    </a:lnTo>
                    <a:lnTo>
                      <a:pt x="1249" y="575"/>
                    </a:lnTo>
                    <a:lnTo>
                      <a:pt x="1249" y="575"/>
                    </a:lnTo>
                    <a:lnTo>
                      <a:pt x="1250" y="572"/>
                    </a:lnTo>
                    <a:lnTo>
                      <a:pt x="1253" y="571"/>
                    </a:lnTo>
                    <a:lnTo>
                      <a:pt x="1259" y="571"/>
                    </a:lnTo>
                    <a:lnTo>
                      <a:pt x="1263" y="569"/>
                    </a:lnTo>
                    <a:lnTo>
                      <a:pt x="1266" y="568"/>
                    </a:lnTo>
                    <a:lnTo>
                      <a:pt x="1266" y="565"/>
                    </a:lnTo>
                    <a:lnTo>
                      <a:pt x="1266" y="565"/>
                    </a:lnTo>
                    <a:lnTo>
                      <a:pt x="1266" y="562"/>
                    </a:lnTo>
                    <a:lnTo>
                      <a:pt x="1267" y="559"/>
                    </a:lnTo>
                    <a:lnTo>
                      <a:pt x="1273" y="553"/>
                    </a:lnTo>
                    <a:lnTo>
                      <a:pt x="1279" y="548"/>
                    </a:lnTo>
                    <a:lnTo>
                      <a:pt x="1286" y="545"/>
                    </a:lnTo>
                    <a:lnTo>
                      <a:pt x="1286" y="545"/>
                    </a:lnTo>
                    <a:lnTo>
                      <a:pt x="1289" y="543"/>
                    </a:lnTo>
                    <a:lnTo>
                      <a:pt x="1289" y="542"/>
                    </a:lnTo>
                    <a:lnTo>
                      <a:pt x="1287" y="539"/>
                    </a:lnTo>
                    <a:lnTo>
                      <a:pt x="1284" y="538"/>
                    </a:lnTo>
                    <a:lnTo>
                      <a:pt x="1277" y="535"/>
                    </a:lnTo>
                    <a:lnTo>
                      <a:pt x="1267" y="534"/>
                    </a:lnTo>
                    <a:lnTo>
                      <a:pt x="1267" y="534"/>
                    </a:lnTo>
                    <a:lnTo>
                      <a:pt x="1260" y="532"/>
                    </a:lnTo>
                    <a:lnTo>
                      <a:pt x="1257" y="529"/>
                    </a:lnTo>
                    <a:lnTo>
                      <a:pt x="1255" y="525"/>
                    </a:lnTo>
                    <a:lnTo>
                      <a:pt x="1255" y="521"/>
                    </a:lnTo>
                    <a:lnTo>
                      <a:pt x="1255" y="521"/>
                    </a:lnTo>
                    <a:lnTo>
                      <a:pt x="1253" y="519"/>
                    </a:lnTo>
                    <a:lnTo>
                      <a:pt x="1250" y="516"/>
                    </a:lnTo>
                    <a:lnTo>
                      <a:pt x="1243" y="511"/>
                    </a:lnTo>
                    <a:lnTo>
                      <a:pt x="1233" y="507"/>
                    </a:lnTo>
                    <a:lnTo>
                      <a:pt x="1229" y="507"/>
                    </a:lnTo>
                    <a:lnTo>
                      <a:pt x="1226" y="507"/>
                    </a:lnTo>
                    <a:lnTo>
                      <a:pt x="1226" y="507"/>
                    </a:lnTo>
                    <a:lnTo>
                      <a:pt x="1223" y="507"/>
                    </a:lnTo>
                    <a:lnTo>
                      <a:pt x="1220" y="507"/>
                    </a:lnTo>
                    <a:lnTo>
                      <a:pt x="1212" y="502"/>
                    </a:lnTo>
                    <a:lnTo>
                      <a:pt x="1205" y="498"/>
                    </a:lnTo>
                    <a:lnTo>
                      <a:pt x="1198" y="497"/>
                    </a:lnTo>
                    <a:lnTo>
                      <a:pt x="1198" y="497"/>
                    </a:lnTo>
                    <a:lnTo>
                      <a:pt x="1191" y="495"/>
                    </a:lnTo>
                    <a:lnTo>
                      <a:pt x="1183" y="491"/>
                    </a:lnTo>
                    <a:lnTo>
                      <a:pt x="1178" y="485"/>
                    </a:lnTo>
                    <a:lnTo>
                      <a:pt x="1176" y="482"/>
                    </a:lnTo>
                    <a:lnTo>
                      <a:pt x="1176" y="478"/>
                    </a:lnTo>
                    <a:lnTo>
                      <a:pt x="1176" y="478"/>
                    </a:lnTo>
                    <a:lnTo>
                      <a:pt x="1178" y="475"/>
                    </a:lnTo>
                    <a:lnTo>
                      <a:pt x="1179" y="475"/>
                    </a:lnTo>
                    <a:lnTo>
                      <a:pt x="1186" y="475"/>
                    </a:lnTo>
                    <a:lnTo>
                      <a:pt x="1193" y="477"/>
                    </a:lnTo>
                    <a:lnTo>
                      <a:pt x="1196" y="475"/>
                    </a:lnTo>
                    <a:lnTo>
                      <a:pt x="1198" y="474"/>
                    </a:lnTo>
                    <a:lnTo>
                      <a:pt x="1198" y="474"/>
                    </a:lnTo>
                    <a:lnTo>
                      <a:pt x="1199" y="471"/>
                    </a:lnTo>
                    <a:lnTo>
                      <a:pt x="1196" y="470"/>
                    </a:lnTo>
                    <a:lnTo>
                      <a:pt x="1191" y="468"/>
                    </a:lnTo>
                    <a:lnTo>
                      <a:pt x="1183" y="467"/>
                    </a:lnTo>
                    <a:lnTo>
                      <a:pt x="1181" y="467"/>
                    </a:lnTo>
                    <a:lnTo>
                      <a:pt x="1179" y="464"/>
                    </a:lnTo>
                    <a:lnTo>
                      <a:pt x="1179" y="464"/>
                    </a:lnTo>
                    <a:lnTo>
                      <a:pt x="1181" y="461"/>
                    </a:lnTo>
                    <a:lnTo>
                      <a:pt x="1182" y="460"/>
                    </a:lnTo>
                    <a:lnTo>
                      <a:pt x="1185" y="460"/>
                    </a:lnTo>
                    <a:lnTo>
                      <a:pt x="1189" y="457"/>
                    </a:lnTo>
                    <a:lnTo>
                      <a:pt x="1189" y="457"/>
                    </a:lnTo>
                    <a:lnTo>
                      <a:pt x="1191" y="455"/>
                    </a:lnTo>
                    <a:lnTo>
                      <a:pt x="1191" y="454"/>
                    </a:lnTo>
                    <a:lnTo>
                      <a:pt x="1188" y="450"/>
                    </a:lnTo>
                    <a:lnTo>
                      <a:pt x="1185" y="447"/>
                    </a:lnTo>
                    <a:lnTo>
                      <a:pt x="1181" y="444"/>
                    </a:lnTo>
                    <a:lnTo>
                      <a:pt x="1181" y="444"/>
                    </a:lnTo>
                    <a:lnTo>
                      <a:pt x="1179" y="444"/>
                    </a:lnTo>
                    <a:lnTo>
                      <a:pt x="1178" y="444"/>
                    </a:lnTo>
                    <a:lnTo>
                      <a:pt x="1175" y="445"/>
                    </a:lnTo>
                    <a:lnTo>
                      <a:pt x="1172" y="448"/>
                    </a:lnTo>
                    <a:lnTo>
                      <a:pt x="1169" y="450"/>
                    </a:lnTo>
                    <a:lnTo>
                      <a:pt x="1169" y="450"/>
                    </a:lnTo>
                    <a:lnTo>
                      <a:pt x="1168" y="450"/>
                    </a:lnTo>
                    <a:lnTo>
                      <a:pt x="1166" y="448"/>
                    </a:lnTo>
                    <a:lnTo>
                      <a:pt x="1168" y="445"/>
                    </a:lnTo>
                    <a:lnTo>
                      <a:pt x="1172" y="437"/>
                    </a:lnTo>
                    <a:lnTo>
                      <a:pt x="1172" y="437"/>
                    </a:lnTo>
                    <a:lnTo>
                      <a:pt x="1172" y="435"/>
                    </a:lnTo>
                    <a:lnTo>
                      <a:pt x="1171" y="433"/>
                    </a:lnTo>
                    <a:lnTo>
                      <a:pt x="1164" y="430"/>
                    </a:lnTo>
                    <a:lnTo>
                      <a:pt x="1155" y="428"/>
                    </a:lnTo>
                    <a:lnTo>
                      <a:pt x="1146" y="428"/>
                    </a:lnTo>
                    <a:lnTo>
                      <a:pt x="1146" y="428"/>
                    </a:lnTo>
                    <a:lnTo>
                      <a:pt x="1142" y="430"/>
                    </a:lnTo>
                    <a:lnTo>
                      <a:pt x="1138" y="428"/>
                    </a:lnTo>
                    <a:lnTo>
                      <a:pt x="1137" y="425"/>
                    </a:lnTo>
                    <a:lnTo>
                      <a:pt x="1135" y="421"/>
                    </a:lnTo>
                    <a:lnTo>
                      <a:pt x="1135" y="421"/>
                    </a:lnTo>
                    <a:lnTo>
                      <a:pt x="1135" y="420"/>
                    </a:lnTo>
                    <a:lnTo>
                      <a:pt x="1134" y="418"/>
                    </a:lnTo>
                    <a:lnTo>
                      <a:pt x="1128" y="420"/>
                    </a:lnTo>
                    <a:lnTo>
                      <a:pt x="1121" y="423"/>
                    </a:lnTo>
                    <a:lnTo>
                      <a:pt x="1115" y="425"/>
                    </a:lnTo>
                    <a:lnTo>
                      <a:pt x="1115" y="425"/>
                    </a:lnTo>
                    <a:lnTo>
                      <a:pt x="1112" y="427"/>
                    </a:lnTo>
                    <a:lnTo>
                      <a:pt x="1111" y="427"/>
                    </a:lnTo>
                    <a:lnTo>
                      <a:pt x="1107" y="424"/>
                    </a:lnTo>
                    <a:lnTo>
                      <a:pt x="1107" y="423"/>
                    </a:lnTo>
                    <a:lnTo>
                      <a:pt x="1107" y="421"/>
                    </a:lnTo>
                    <a:lnTo>
                      <a:pt x="1109" y="420"/>
                    </a:lnTo>
                    <a:lnTo>
                      <a:pt x="1109" y="420"/>
                    </a:lnTo>
                    <a:lnTo>
                      <a:pt x="1115" y="418"/>
                    </a:lnTo>
                    <a:lnTo>
                      <a:pt x="1119" y="415"/>
                    </a:lnTo>
                    <a:lnTo>
                      <a:pt x="1122" y="413"/>
                    </a:lnTo>
                    <a:lnTo>
                      <a:pt x="1124" y="410"/>
                    </a:lnTo>
                    <a:lnTo>
                      <a:pt x="1122" y="407"/>
                    </a:lnTo>
                    <a:lnTo>
                      <a:pt x="1122" y="407"/>
                    </a:lnTo>
                    <a:lnTo>
                      <a:pt x="1121" y="406"/>
                    </a:lnTo>
                    <a:lnTo>
                      <a:pt x="1118" y="404"/>
                    </a:lnTo>
                    <a:lnTo>
                      <a:pt x="1111" y="403"/>
                    </a:lnTo>
                    <a:lnTo>
                      <a:pt x="1104" y="404"/>
                    </a:lnTo>
                    <a:lnTo>
                      <a:pt x="1101" y="406"/>
                    </a:lnTo>
                    <a:lnTo>
                      <a:pt x="1098" y="408"/>
                    </a:lnTo>
                    <a:lnTo>
                      <a:pt x="1098" y="408"/>
                    </a:lnTo>
                    <a:lnTo>
                      <a:pt x="1097" y="410"/>
                    </a:lnTo>
                    <a:lnTo>
                      <a:pt x="1094" y="410"/>
                    </a:lnTo>
                    <a:lnTo>
                      <a:pt x="1091" y="408"/>
                    </a:lnTo>
                    <a:lnTo>
                      <a:pt x="1088" y="406"/>
                    </a:lnTo>
                    <a:lnTo>
                      <a:pt x="1082" y="400"/>
                    </a:lnTo>
                    <a:lnTo>
                      <a:pt x="1081" y="396"/>
                    </a:lnTo>
                    <a:lnTo>
                      <a:pt x="1080" y="393"/>
                    </a:lnTo>
                    <a:lnTo>
                      <a:pt x="1080" y="393"/>
                    </a:lnTo>
                    <a:lnTo>
                      <a:pt x="1080" y="391"/>
                    </a:lnTo>
                    <a:lnTo>
                      <a:pt x="1077" y="390"/>
                    </a:lnTo>
                    <a:lnTo>
                      <a:pt x="1070" y="390"/>
                    </a:lnTo>
                    <a:lnTo>
                      <a:pt x="1065" y="388"/>
                    </a:lnTo>
                    <a:lnTo>
                      <a:pt x="1063" y="387"/>
                    </a:lnTo>
                    <a:lnTo>
                      <a:pt x="1060" y="386"/>
                    </a:lnTo>
                    <a:lnTo>
                      <a:pt x="1060" y="381"/>
                    </a:lnTo>
                    <a:lnTo>
                      <a:pt x="1060" y="381"/>
                    </a:lnTo>
                    <a:lnTo>
                      <a:pt x="1060" y="378"/>
                    </a:lnTo>
                    <a:lnTo>
                      <a:pt x="1057" y="376"/>
                    </a:lnTo>
                    <a:lnTo>
                      <a:pt x="1053" y="373"/>
                    </a:lnTo>
                    <a:lnTo>
                      <a:pt x="1047" y="371"/>
                    </a:lnTo>
                    <a:lnTo>
                      <a:pt x="1036" y="369"/>
                    </a:lnTo>
                    <a:lnTo>
                      <a:pt x="1026" y="369"/>
                    </a:lnTo>
                    <a:lnTo>
                      <a:pt x="1026" y="369"/>
                    </a:lnTo>
                    <a:lnTo>
                      <a:pt x="1020" y="370"/>
                    </a:lnTo>
                    <a:lnTo>
                      <a:pt x="1014" y="373"/>
                    </a:lnTo>
                    <a:lnTo>
                      <a:pt x="1010" y="377"/>
                    </a:lnTo>
                    <a:lnTo>
                      <a:pt x="1008" y="380"/>
                    </a:lnTo>
                    <a:lnTo>
                      <a:pt x="1008" y="381"/>
                    </a:lnTo>
                    <a:lnTo>
                      <a:pt x="1008" y="381"/>
                    </a:lnTo>
                    <a:lnTo>
                      <a:pt x="1008" y="384"/>
                    </a:lnTo>
                    <a:lnTo>
                      <a:pt x="1007" y="386"/>
                    </a:lnTo>
                    <a:lnTo>
                      <a:pt x="1004" y="386"/>
                    </a:lnTo>
                    <a:lnTo>
                      <a:pt x="1001" y="383"/>
                    </a:lnTo>
                    <a:lnTo>
                      <a:pt x="999" y="378"/>
                    </a:lnTo>
                    <a:lnTo>
                      <a:pt x="999" y="378"/>
                    </a:lnTo>
                    <a:lnTo>
                      <a:pt x="997" y="377"/>
                    </a:lnTo>
                    <a:lnTo>
                      <a:pt x="994" y="377"/>
                    </a:lnTo>
                    <a:lnTo>
                      <a:pt x="987" y="380"/>
                    </a:lnTo>
                    <a:lnTo>
                      <a:pt x="979" y="384"/>
                    </a:lnTo>
                    <a:lnTo>
                      <a:pt x="972" y="387"/>
                    </a:lnTo>
                    <a:lnTo>
                      <a:pt x="972" y="387"/>
                    </a:lnTo>
                    <a:lnTo>
                      <a:pt x="970" y="386"/>
                    </a:lnTo>
                    <a:lnTo>
                      <a:pt x="970" y="384"/>
                    </a:lnTo>
                    <a:lnTo>
                      <a:pt x="972" y="376"/>
                    </a:lnTo>
                    <a:lnTo>
                      <a:pt x="973" y="367"/>
                    </a:lnTo>
                    <a:lnTo>
                      <a:pt x="973" y="363"/>
                    </a:lnTo>
                    <a:lnTo>
                      <a:pt x="973" y="360"/>
                    </a:lnTo>
                    <a:lnTo>
                      <a:pt x="973" y="360"/>
                    </a:lnTo>
                    <a:lnTo>
                      <a:pt x="967" y="351"/>
                    </a:lnTo>
                    <a:lnTo>
                      <a:pt x="964" y="347"/>
                    </a:lnTo>
                    <a:lnTo>
                      <a:pt x="962" y="340"/>
                    </a:lnTo>
                    <a:lnTo>
                      <a:pt x="962" y="340"/>
                    </a:lnTo>
                    <a:lnTo>
                      <a:pt x="959" y="337"/>
                    </a:lnTo>
                    <a:lnTo>
                      <a:pt x="956" y="336"/>
                    </a:lnTo>
                    <a:lnTo>
                      <a:pt x="952" y="334"/>
                    </a:lnTo>
                    <a:lnTo>
                      <a:pt x="946" y="334"/>
                    </a:lnTo>
                    <a:lnTo>
                      <a:pt x="937" y="336"/>
                    </a:lnTo>
                    <a:lnTo>
                      <a:pt x="933" y="339"/>
                    </a:lnTo>
                    <a:lnTo>
                      <a:pt x="930" y="340"/>
                    </a:lnTo>
                    <a:lnTo>
                      <a:pt x="930" y="340"/>
                    </a:lnTo>
                    <a:lnTo>
                      <a:pt x="927" y="343"/>
                    </a:lnTo>
                    <a:lnTo>
                      <a:pt x="923" y="344"/>
                    </a:lnTo>
                    <a:lnTo>
                      <a:pt x="915" y="346"/>
                    </a:lnTo>
                    <a:lnTo>
                      <a:pt x="905" y="349"/>
                    </a:lnTo>
                    <a:lnTo>
                      <a:pt x="900" y="351"/>
                    </a:lnTo>
                    <a:lnTo>
                      <a:pt x="896" y="354"/>
                    </a:lnTo>
                    <a:lnTo>
                      <a:pt x="896" y="354"/>
                    </a:lnTo>
                    <a:lnTo>
                      <a:pt x="893" y="359"/>
                    </a:lnTo>
                    <a:lnTo>
                      <a:pt x="892" y="361"/>
                    </a:lnTo>
                    <a:lnTo>
                      <a:pt x="892" y="366"/>
                    </a:lnTo>
                    <a:lnTo>
                      <a:pt x="893" y="369"/>
                    </a:lnTo>
                    <a:lnTo>
                      <a:pt x="898" y="374"/>
                    </a:lnTo>
                    <a:lnTo>
                      <a:pt x="900" y="377"/>
                    </a:lnTo>
                    <a:lnTo>
                      <a:pt x="900" y="377"/>
                    </a:lnTo>
                    <a:lnTo>
                      <a:pt x="902" y="378"/>
                    </a:lnTo>
                    <a:lnTo>
                      <a:pt x="900" y="381"/>
                    </a:lnTo>
                    <a:lnTo>
                      <a:pt x="896" y="384"/>
                    </a:lnTo>
                    <a:lnTo>
                      <a:pt x="892" y="388"/>
                    </a:lnTo>
                    <a:lnTo>
                      <a:pt x="890" y="390"/>
                    </a:lnTo>
                    <a:lnTo>
                      <a:pt x="892" y="393"/>
                    </a:lnTo>
                    <a:lnTo>
                      <a:pt x="892" y="393"/>
                    </a:lnTo>
                    <a:lnTo>
                      <a:pt x="898" y="396"/>
                    </a:lnTo>
                    <a:lnTo>
                      <a:pt x="903" y="397"/>
                    </a:lnTo>
                    <a:lnTo>
                      <a:pt x="907" y="400"/>
                    </a:lnTo>
                    <a:lnTo>
                      <a:pt x="909" y="401"/>
                    </a:lnTo>
                    <a:lnTo>
                      <a:pt x="909" y="404"/>
                    </a:lnTo>
                    <a:lnTo>
                      <a:pt x="909" y="404"/>
                    </a:lnTo>
                    <a:lnTo>
                      <a:pt x="909" y="407"/>
                    </a:lnTo>
                    <a:lnTo>
                      <a:pt x="906" y="408"/>
                    </a:lnTo>
                    <a:lnTo>
                      <a:pt x="902" y="407"/>
                    </a:lnTo>
                    <a:lnTo>
                      <a:pt x="898" y="406"/>
                    </a:lnTo>
                    <a:lnTo>
                      <a:pt x="888" y="400"/>
                    </a:lnTo>
                    <a:lnTo>
                      <a:pt x="885" y="397"/>
                    </a:lnTo>
                    <a:lnTo>
                      <a:pt x="882" y="394"/>
                    </a:lnTo>
                    <a:lnTo>
                      <a:pt x="882" y="394"/>
                    </a:lnTo>
                    <a:lnTo>
                      <a:pt x="880" y="388"/>
                    </a:lnTo>
                    <a:lnTo>
                      <a:pt x="880" y="383"/>
                    </a:lnTo>
                    <a:lnTo>
                      <a:pt x="880" y="378"/>
                    </a:lnTo>
                    <a:lnTo>
                      <a:pt x="879" y="373"/>
                    </a:lnTo>
                    <a:lnTo>
                      <a:pt x="879" y="373"/>
                    </a:lnTo>
                    <a:lnTo>
                      <a:pt x="876" y="369"/>
                    </a:lnTo>
                    <a:lnTo>
                      <a:pt x="878" y="364"/>
                    </a:lnTo>
                    <a:lnTo>
                      <a:pt x="882" y="357"/>
                    </a:lnTo>
                    <a:lnTo>
                      <a:pt x="888" y="350"/>
                    </a:lnTo>
                    <a:lnTo>
                      <a:pt x="888" y="350"/>
                    </a:lnTo>
                    <a:lnTo>
                      <a:pt x="893" y="344"/>
                    </a:lnTo>
                    <a:lnTo>
                      <a:pt x="899" y="341"/>
                    </a:lnTo>
                    <a:lnTo>
                      <a:pt x="902" y="340"/>
                    </a:lnTo>
                    <a:lnTo>
                      <a:pt x="903" y="336"/>
                    </a:lnTo>
                    <a:lnTo>
                      <a:pt x="903" y="336"/>
                    </a:lnTo>
                    <a:lnTo>
                      <a:pt x="902" y="334"/>
                    </a:lnTo>
                    <a:lnTo>
                      <a:pt x="898" y="333"/>
                    </a:lnTo>
                    <a:lnTo>
                      <a:pt x="890" y="333"/>
                    </a:lnTo>
                    <a:lnTo>
                      <a:pt x="880" y="334"/>
                    </a:lnTo>
                    <a:lnTo>
                      <a:pt x="870" y="336"/>
                    </a:lnTo>
                    <a:lnTo>
                      <a:pt x="861" y="340"/>
                    </a:lnTo>
                    <a:lnTo>
                      <a:pt x="849" y="344"/>
                    </a:lnTo>
                    <a:lnTo>
                      <a:pt x="841" y="351"/>
                    </a:lnTo>
                    <a:lnTo>
                      <a:pt x="841" y="351"/>
                    </a:lnTo>
                    <a:lnTo>
                      <a:pt x="834" y="360"/>
                    </a:lnTo>
                    <a:lnTo>
                      <a:pt x="828" y="369"/>
                    </a:lnTo>
                    <a:lnTo>
                      <a:pt x="825" y="377"/>
                    </a:lnTo>
                    <a:lnTo>
                      <a:pt x="824" y="386"/>
                    </a:lnTo>
                    <a:lnTo>
                      <a:pt x="824" y="393"/>
                    </a:lnTo>
                    <a:lnTo>
                      <a:pt x="824" y="400"/>
                    </a:lnTo>
                    <a:lnTo>
                      <a:pt x="825" y="407"/>
                    </a:lnTo>
                    <a:lnTo>
                      <a:pt x="825" y="407"/>
                    </a:lnTo>
                    <a:lnTo>
                      <a:pt x="826" y="410"/>
                    </a:lnTo>
                    <a:lnTo>
                      <a:pt x="829" y="410"/>
                    </a:lnTo>
                    <a:lnTo>
                      <a:pt x="839" y="411"/>
                    </a:lnTo>
                    <a:lnTo>
                      <a:pt x="849" y="413"/>
                    </a:lnTo>
                    <a:lnTo>
                      <a:pt x="859" y="414"/>
                    </a:lnTo>
                    <a:lnTo>
                      <a:pt x="859" y="414"/>
                    </a:lnTo>
                    <a:lnTo>
                      <a:pt x="865" y="417"/>
                    </a:lnTo>
                    <a:lnTo>
                      <a:pt x="866" y="418"/>
                    </a:lnTo>
                    <a:lnTo>
                      <a:pt x="866" y="420"/>
                    </a:lnTo>
                    <a:lnTo>
                      <a:pt x="862" y="421"/>
                    </a:lnTo>
                    <a:lnTo>
                      <a:pt x="856" y="421"/>
                    </a:lnTo>
                    <a:lnTo>
                      <a:pt x="856" y="421"/>
                    </a:lnTo>
                    <a:lnTo>
                      <a:pt x="841" y="420"/>
                    </a:lnTo>
                    <a:lnTo>
                      <a:pt x="834" y="420"/>
                    </a:lnTo>
                    <a:lnTo>
                      <a:pt x="832" y="421"/>
                    </a:lnTo>
                    <a:lnTo>
                      <a:pt x="832" y="423"/>
                    </a:lnTo>
                    <a:lnTo>
                      <a:pt x="832" y="423"/>
                    </a:lnTo>
                    <a:lnTo>
                      <a:pt x="834" y="425"/>
                    </a:lnTo>
                    <a:lnTo>
                      <a:pt x="835" y="428"/>
                    </a:lnTo>
                    <a:lnTo>
                      <a:pt x="843" y="434"/>
                    </a:lnTo>
                    <a:lnTo>
                      <a:pt x="853" y="438"/>
                    </a:lnTo>
                    <a:lnTo>
                      <a:pt x="859" y="440"/>
                    </a:lnTo>
                    <a:lnTo>
                      <a:pt x="863" y="438"/>
                    </a:lnTo>
                    <a:lnTo>
                      <a:pt x="863" y="438"/>
                    </a:lnTo>
                    <a:lnTo>
                      <a:pt x="870" y="437"/>
                    </a:lnTo>
                    <a:lnTo>
                      <a:pt x="873" y="437"/>
                    </a:lnTo>
                    <a:lnTo>
                      <a:pt x="876" y="438"/>
                    </a:lnTo>
                    <a:lnTo>
                      <a:pt x="879" y="442"/>
                    </a:lnTo>
                    <a:lnTo>
                      <a:pt x="879" y="442"/>
                    </a:lnTo>
                    <a:lnTo>
                      <a:pt x="882" y="444"/>
                    </a:lnTo>
                    <a:lnTo>
                      <a:pt x="885" y="445"/>
                    </a:lnTo>
                    <a:lnTo>
                      <a:pt x="892" y="447"/>
                    </a:lnTo>
                    <a:lnTo>
                      <a:pt x="912" y="447"/>
                    </a:lnTo>
                    <a:lnTo>
                      <a:pt x="912" y="447"/>
                    </a:lnTo>
                    <a:lnTo>
                      <a:pt x="922" y="448"/>
                    </a:lnTo>
                    <a:lnTo>
                      <a:pt x="932" y="451"/>
                    </a:lnTo>
                    <a:lnTo>
                      <a:pt x="947" y="454"/>
                    </a:lnTo>
                    <a:lnTo>
                      <a:pt x="947" y="454"/>
                    </a:lnTo>
                    <a:lnTo>
                      <a:pt x="952" y="454"/>
                    </a:lnTo>
                    <a:lnTo>
                      <a:pt x="957" y="452"/>
                    </a:lnTo>
                    <a:lnTo>
                      <a:pt x="962" y="450"/>
                    </a:lnTo>
                    <a:lnTo>
                      <a:pt x="963" y="447"/>
                    </a:lnTo>
                    <a:lnTo>
                      <a:pt x="963" y="447"/>
                    </a:lnTo>
                    <a:lnTo>
                      <a:pt x="966" y="445"/>
                    </a:lnTo>
                    <a:lnTo>
                      <a:pt x="969" y="445"/>
                    </a:lnTo>
                    <a:lnTo>
                      <a:pt x="980" y="448"/>
                    </a:lnTo>
                    <a:lnTo>
                      <a:pt x="991" y="451"/>
                    </a:lnTo>
                    <a:lnTo>
                      <a:pt x="1000" y="451"/>
                    </a:lnTo>
                    <a:lnTo>
                      <a:pt x="1000" y="451"/>
                    </a:lnTo>
                    <a:lnTo>
                      <a:pt x="1003" y="451"/>
                    </a:lnTo>
                    <a:lnTo>
                      <a:pt x="1003" y="450"/>
                    </a:lnTo>
                    <a:lnTo>
                      <a:pt x="1003" y="447"/>
                    </a:lnTo>
                    <a:lnTo>
                      <a:pt x="1001" y="444"/>
                    </a:lnTo>
                    <a:lnTo>
                      <a:pt x="997" y="441"/>
                    </a:lnTo>
                    <a:lnTo>
                      <a:pt x="997" y="441"/>
                    </a:lnTo>
                    <a:lnTo>
                      <a:pt x="996" y="440"/>
                    </a:lnTo>
                    <a:lnTo>
                      <a:pt x="996" y="435"/>
                    </a:lnTo>
                    <a:lnTo>
                      <a:pt x="997" y="434"/>
                    </a:lnTo>
                    <a:lnTo>
                      <a:pt x="999" y="433"/>
                    </a:lnTo>
                    <a:lnTo>
                      <a:pt x="1001" y="434"/>
                    </a:lnTo>
                    <a:lnTo>
                      <a:pt x="1001" y="434"/>
                    </a:lnTo>
                    <a:lnTo>
                      <a:pt x="1013" y="438"/>
                    </a:lnTo>
                    <a:lnTo>
                      <a:pt x="1017" y="442"/>
                    </a:lnTo>
                    <a:lnTo>
                      <a:pt x="1020" y="445"/>
                    </a:lnTo>
                    <a:lnTo>
                      <a:pt x="1020" y="445"/>
                    </a:lnTo>
                    <a:lnTo>
                      <a:pt x="1023" y="448"/>
                    </a:lnTo>
                    <a:lnTo>
                      <a:pt x="1026" y="450"/>
                    </a:lnTo>
                    <a:lnTo>
                      <a:pt x="1027" y="451"/>
                    </a:lnTo>
                    <a:lnTo>
                      <a:pt x="1028" y="454"/>
                    </a:lnTo>
                    <a:lnTo>
                      <a:pt x="1028" y="454"/>
                    </a:lnTo>
                    <a:lnTo>
                      <a:pt x="1030" y="455"/>
                    </a:lnTo>
                    <a:lnTo>
                      <a:pt x="1033" y="458"/>
                    </a:lnTo>
                    <a:lnTo>
                      <a:pt x="1041" y="461"/>
                    </a:lnTo>
                    <a:lnTo>
                      <a:pt x="1050" y="465"/>
                    </a:lnTo>
                    <a:lnTo>
                      <a:pt x="1051" y="468"/>
                    </a:lnTo>
                    <a:lnTo>
                      <a:pt x="1053" y="470"/>
                    </a:lnTo>
                    <a:lnTo>
                      <a:pt x="1053" y="470"/>
                    </a:lnTo>
                    <a:lnTo>
                      <a:pt x="1053" y="472"/>
                    </a:lnTo>
                    <a:lnTo>
                      <a:pt x="1050" y="474"/>
                    </a:lnTo>
                    <a:lnTo>
                      <a:pt x="1043" y="477"/>
                    </a:lnTo>
                    <a:lnTo>
                      <a:pt x="1037" y="481"/>
                    </a:lnTo>
                    <a:lnTo>
                      <a:pt x="1037" y="482"/>
                    </a:lnTo>
                    <a:lnTo>
                      <a:pt x="1037" y="484"/>
                    </a:lnTo>
                    <a:lnTo>
                      <a:pt x="1037" y="484"/>
                    </a:lnTo>
                    <a:lnTo>
                      <a:pt x="1040" y="485"/>
                    </a:lnTo>
                    <a:lnTo>
                      <a:pt x="1043" y="485"/>
                    </a:lnTo>
                    <a:lnTo>
                      <a:pt x="1050" y="482"/>
                    </a:lnTo>
                    <a:lnTo>
                      <a:pt x="1055" y="478"/>
                    </a:lnTo>
                    <a:lnTo>
                      <a:pt x="1063" y="477"/>
                    </a:lnTo>
                    <a:lnTo>
                      <a:pt x="1063" y="477"/>
                    </a:lnTo>
                    <a:lnTo>
                      <a:pt x="1065" y="477"/>
                    </a:lnTo>
                    <a:lnTo>
                      <a:pt x="1067" y="479"/>
                    </a:lnTo>
                    <a:lnTo>
                      <a:pt x="1071" y="485"/>
                    </a:lnTo>
                    <a:lnTo>
                      <a:pt x="1074" y="491"/>
                    </a:lnTo>
                    <a:lnTo>
                      <a:pt x="1075" y="492"/>
                    </a:lnTo>
                    <a:lnTo>
                      <a:pt x="1077" y="492"/>
                    </a:lnTo>
                    <a:lnTo>
                      <a:pt x="1077" y="492"/>
                    </a:lnTo>
                    <a:lnTo>
                      <a:pt x="1081" y="491"/>
                    </a:lnTo>
                    <a:lnTo>
                      <a:pt x="1084" y="491"/>
                    </a:lnTo>
                    <a:lnTo>
                      <a:pt x="1090" y="494"/>
                    </a:lnTo>
                    <a:lnTo>
                      <a:pt x="1095" y="499"/>
                    </a:lnTo>
                    <a:lnTo>
                      <a:pt x="1101" y="508"/>
                    </a:lnTo>
                    <a:lnTo>
                      <a:pt x="1101" y="508"/>
                    </a:lnTo>
                    <a:lnTo>
                      <a:pt x="1104" y="512"/>
                    </a:lnTo>
                    <a:lnTo>
                      <a:pt x="1105" y="516"/>
                    </a:lnTo>
                    <a:lnTo>
                      <a:pt x="1104" y="525"/>
                    </a:lnTo>
                    <a:lnTo>
                      <a:pt x="1102" y="531"/>
                    </a:lnTo>
                    <a:lnTo>
                      <a:pt x="1101" y="535"/>
                    </a:lnTo>
                    <a:lnTo>
                      <a:pt x="1101" y="535"/>
                    </a:lnTo>
                    <a:lnTo>
                      <a:pt x="1102" y="536"/>
                    </a:lnTo>
                    <a:lnTo>
                      <a:pt x="1105" y="538"/>
                    </a:lnTo>
                    <a:lnTo>
                      <a:pt x="1111" y="538"/>
                    </a:lnTo>
                    <a:lnTo>
                      <a:pt x="1119" y="536"/>
                    </a:lnTo>
                    <a:lnTo>
                      <a:pt x="1128" y="534"/>
                    </a:lnTo>
                    <a:lnTo>
                      <a:pt x="1128" y="534"/>
                    </a:lnTo>
                    <a:lnTo>
                      <a:pt x="1131" y="532"/>
                    </a:lnTo>
                    <a:lnTo>
                      <a:pt x="1135" y="532"/>
                    </a:lnTo>
                    <a:lnTo>
                      <a:pt x="1141" y="535"/>
                    </a:lnTo>
                    <a:lnTo>
                      <a:pt x="1146" y="541"/>
                    </a:lnTo>
                    <a:lnTo>
                      <a:pt x="1152" y="545"/>
                    </a:lnTo>
                    <a:lnTo>
                      <a:pt x="1152" y="545"/>
                    </a:lnTo>
                    <a:lnTo>
                      <a:pt x="1154" y="548"/>
                    </a:lnTo>
                    <a:lnTo>
                      <a:pt x="1152" y="551"/>
                    </a:lnTo>
                    <a:lnTo>
                      <a:pt x="1148" y="553"/>
                    </a:lnTo>
                    <a:lnTo>
                      <a:pt x="1142" y="556"/>
                    </a:lnTo>
                    <a:lnTo>
                      <a:pt x="1132" y="558"/>
                    </a:lnTo>
                    <a:lnTo>
                      <a:pt x="1129" y="558"/>
                    </a:lnTo>
                    <a:lnTo>
                      <a:pt x="1129" y="556"/>
                    </a:lnTo>
                    <a:lnTo>
                      <a:pt x="1129" y="556"/>
                    </a:lnTo>
                    <a:lnTo>
                      <a:pt x="1129" y="555"/>
                    </a:lnTo>
                    <a:lnTo>
                      <a:pt x="1127" y="551"/>
                    </a:lnTo>
                    <a:lnTo>
                      <a:pt x="1124" y="548"/>
                    </a:lnTo>
                    <a:lnTo>
                      <a:pt x="1118" y="545"/>
                    </a:lnTo>
                    <a:lnTo>
                      <a:pt x="1111" y="542"/>
                    </a:lnTo>
                    <a:lnTo>
                      <a:pt x="1104" y="541"/>
                    </a:lnTo>
                    <a:lnTo>
                      <a:pt x="1097" y="541"/>
                    </a:lnTo>
                    <a:lnTo>
                      <a:pt x="1088" y="542"/>
                    </a:lnTo>
                    <a:lnTo>
                      <a:pt x="1088" y="542"/>
                    </a:lnTo>
                    <a:lnTo>
                      <a:pt x="1082" y="545"/>
                    </a:lnTo>
                    <a:lnTo>
                      <a:pt x="1080" y="548"/>
                    </a:lnTo>
                    <a:lnTo>
                      <a:pt x="1078" y="552"/>
                    </a:lnTo>
                    <a:lnTo>
                      <a:pt x="1078" y="556"/>
                    </a:lnTo>
                    <a:lnTo>
                      <a:pt x="1081" y="563"/>
                    </a:lnTo>
                    <a:lnTo>
                      <a:pt x="1084" y="569"/>
                    </a:lnTo>
                    <a:lnTo>
                      <a:pt x="1084" y="569"/>
                    </a:lnTo>
                    <a:lnTo>
                      <a:pt x="1084" y="572"/>
                    </a:lnTo>
                    <a:lnTo>
                      <a:pt x="1082" y="575"/>
                    </a:lnTo>
                    <a:lnTo>
                      <a:pt x="1078" y="576"/>
                    </a:lnTo>
                    <a:lnTo>
                      <a:pt x="1074" y="578"/>
                    </a:lnTo>
                    <a:lnTo>
                      <a:pt x="1068" y="579"/>
                    </a:lnTo>
                    <a:lnTo>
                      <a:pt x="1061" y="579"/>
                    </a:lnTo>
                    <a:lnTo>
                      <a:pt x="1054" y="579"/>
                    </a:lnTo>
                    <a:lnTo>
                      <a:pt x="1047" y="576"/>
                    </a:lnTo>
                    <a:lnTo>
                      <a:pt x="1047" y="576"/>
                    </a:lnTo>
                    <a:lnTo>
                      <a:pt x="1041" y="575"/>
                    </a:lnTo>
                    <a:lnTo>
                      <a:pt x="1037" y="575"/>
                    </a:lnTo>
                    <a:lnTo>
                      <a:pt x="1034" y="575"/>
                    </a:lnTo>
                    <a:lnTo>
                      <a:pt x="1031" y="576"/>
                    </a:lnTo>
                    <a:lnTo>
                      <a:pt x="1030" y="579"/>
                    </a:lnTo>
                    <a:lnTo>
                      <a:pt x="1028" y="580"/>
                    </a:lnTo>
                    <a:lnTo>
                      <a:pt x="1026" y="580"/>
                    </a:lnTo>
                    <a:lnTo>
                      <a:pt x="1026" y="580"/>
                    </a:lnTo>
                    <a:lnTo>
                      <a:pt x="1023" y="582"/>
                    </a:lnTo>
                    <a:lnTo>
                      <a:pt x="1020" y="583"/>
                    </a:lnTo>
                    <a:lnTo>
                      <a:pt x="1016" y="588"/>
                    </a:lnTo>
                    <a:lnTo>
                      <a:pt x="1014" y="592"/>
                    </a:lnTo>
                    <a:lnTo>
                      <a:pt x="1013" y="595"/>
                    </a:lnTo>
                    <a:lnTo>
                      <a:pt x="1014" y="598"/>
                    </a:lnTo>
                    <a:lnTo>
                      <a:pt x="1016" y="600"/>
                    </a:lnTo>
                    <a:lnTo>
                      <a:pt x="1016" y="600"/>
                    </a:lnTo>
                    <a:lnTo>
                      <a:pt x="1018" y="603"/>
                    </a:lnTo>
                    <a:lnTo>
                      <a:pt x="1023" y="605"/>
                    </a:lnTo>
                    <a:lnTo>
                      <a:pt x="1031" y="605"/>
                    </a:lnTo>
                    <a:lnTo>
                      <a:pt x="1041" y="603"/>
                    </a:lnTo>
                    <a:lnTo>
                      <a:pt x="1051" y="602"/>
                    </a:lnTo>
                    <a:lnTo>
                      <a:pt x="1051" y="602"/>
                    </a:lnTo>
                    <a:lnTo>
                      <a:pt x="1064" y="603"/>
                    </a:lnTo>
                    <a:lnTo>
                      <a:pt x="1065" y="603"/>
                    </a:lnTo>
                    <a:lnTo>
                      <a:pt x="1067" y="599"/>
                    </a:lnTo>
                    <a:lnTo>
                      <a:pt x="1067" y="599"/>
                    </a:lnTo>
                    <a:lnTo>
                      <a:pt x="1068" y="598"/>
                    </a:lnTo>
                    <a:lnTo>
                      <a:pt x="1071" y="596"/>
                    </a:lnTo>
                    <a:lnTo>
                      <a:pt x="1077" y="595"/>
                    </a:lnTo>
                    <a:lnTo>
                      <a:pt x="1084" y="596"/>
                    </a:lnTo>
                    <a:lnTo>
                      <a:pt x="1091" y="598"/>
                    </a:lnTo>
                    <a:lnTo>
                      <a:pt x="1091" y="598"/>
                    </a:lnTo>
                    <a:lnTo>
                      <a:pt x="1094" y="599"/>
                    </a:lnTo>
                    <a:lnTo>
                      <a:pt x="1097" y="602"/>
                    </a:lnTo>
                    <a:lnTo>
                      <a:pt x="1100" y="606"/>
                    </a:lnTo>
                    <a:lnTo>
                      <a:pt x="1104" y="612"/>
                    </a:lnTo>
                    <a:lnTo>
                      <a:pt x="1107" y="613"/>
                    </a:lnTo>
                    <a:lnTo>
                      <a:pt x="1109" y="615"/>
                    </a:lnTo>
                    <a:lnTo>
                      <a:pt x="1109" y="615"/>
                    </a:lnTo>
                    <a:lnTo>
                      <a:pt x="1114" y="616"/>
                    </a:lnTo>
                    <a:lnTo>
                      <a:pt x="1115" y="617"/>
                    </a:lnTo>
                    <a:lnTo>
                      <a:pt x="1117" y="619"/>
                    </a:lnTo>
                    <a:lnTo>
                      <a:pt x="1117" y="622"/>
                    </a:lnTo>
                    <a:lnTo>
                      <a:pt x="1117" y="629"/>
                    </a:lnTo>
                    <a:lnTo>
                      <a:pt x="1117" y="632"/>
                    </a:lnTo>
                    <a:lnTo>
                      <a:pt x="1119" y="635"/>
                    </a:lnTo>
                    <a:lnTo>
                      <a:pt x="1119" y="635"/>
                    </a:lnTo>
                    <a:lnTo>
                      <a:pt x="1122" y="637"/>
                    </a:lnTo>
                    <a:lnTo>
                      <a:pt x="1127" y="639"/>
                    </a:lnTo>
                    <a:lnTo>
                      <a:pt x="1138" y="640"/>
                    </a:lnTo>
                    <a:lnTo>
                      <a:pt x="1149" y="643"/>
                    </a:lnTo>
                    <a:lnTo>
                      <a:pt x="1154" y="644"/>
                    </a:lnTo>
                    <a:lnTo>
                      <a:pt x="1158" y="647"/>
                    </a:lnTo>
                    <a:lnTo>
                      <a:pt x="1158" y="647"/>
                    </a:lnTo>
                    <a:lnTo>
                      <a:pt x="1168" y="654"/>
                    </a:lnTo>
                    <a:lnTo>
                      <a:pt x="1183" y="663"/>
                    </a:lnTo>
                    <a:lnTo>
                      <a:pt x="1199" y="667"/>
                    </a:lnTo>
                    <a:lnTo>
                      <a:pt x="1205" y="667"/>
                    </a:lnTo>
                    <a:lnTo>
                      <a:pt x="1208" y="666"/>
                    </a:lnTo>
                    <a:lnTo>
                      <a:pt x="1208" y="666"/>
                    </a:lnTo>
                    <a:lnTo>
                      <a:pt x="1208" y="664"/>
                    </a:lnTo>
                    <a:lnTo>
                      <a:pt x="1208" y="663"/>
                    </a:lnTo>
                    <a:lnTo>
                      <a:pt x="1205" y="657"/>
                    </a:lnTo>
                    <a:lnTo>
                      <a:pt x="1199" y="650"/>
                    </a:lnTo>
                    <a:lnTo>
                      <a:pt x="1192" y="643"/>
                    </a:lnTo>
                    <a:lnTo>
                      <a:pt x="1178" y="630"/>
                    </a:lnTo>
                    <a:lnTo>
                      <a:pt x="1171" y="626"/>
                    </a:lnTo>
                    <a:lnTo>
                      <a:pt x="1165" y="623"/>
                    </a:lnTo>
                    <a:lnTo>
                      <a:pt x="1165" y="623"/>
                    </a:lnTo>
                    <a:lnTo>
                      <a:pt x="1164" y="623"/>
                    </a:lnTo>
                    <a:lnTo>
                      <a:pt x="1164" y="622"/>
                    </a:lnTo>
                    <a:lnTo>
                      <a:pt x="1168" y="620"/>
                    </a:lnTo>
                    <a:lnTo>
                      <a:pt x="1179" y="622"/>
                    </a:lnTo>
                    <a:lnTo>
                      <a:pt x="1185" y="625"/>
                    </a:lnTo>
                    <a:lnTo>
                      <a:pt x="1189" y="627"/>
                    </a:lnTo>
                    <a:lnTo>
                      <a:pt x="1189" y="627"/>
                    </a:lnTo>
                    <a:lnTo>
                      <a:pt x="1201" y="635"/>
                    </a:lnTo>
                    <a:lnTo>
                      <a:pt x="1206" y="637"/>
                    </a:lnTo>
                    <a:lnTo>
                      <a:pt x="1213" y="639"/>
                    </a:lnTo>
                    <a:lnTo>
                      <a:pt x="1219" y="639"/>
                    </a:lnTo>
                    <a:lnTo>
                      <a:pt x="1223" y="637"/>
                    </a:lnTo>
                    <a:lnTo>
                      <a:pt x="1229" y="635"/>
                    </a:lnTo>
                    <a:lnTo>
                      <a:pt x="1233" y="630"/>
                    </a:lnTo>
                    <a:lnTo>
                      <a:pt x="1233" y="630"/>
                    </a:lnTo>
                    <a:lnTo>
                      <a:pt x="1236" y="627"/>
                    </a:lnTo>
                    <a:lnTo>
                      <a:pt x="1236" y="623"/>
                    </a:lnTo>
                    <a:lnTo>
                      <a:pt x="1235" y="622"/>
                    </a:lnTo>
                    <a:lnTo>
                      <a:pt x="1232" y="620"/>
                    </a:lnTo>
                    <a:lnTo>
                      <a:pt x="1228" y="617"/>
                    </a:lnTo>
                    <a:lnTo>
                      <a:pt x="1225" y="615"/>
                    </a:lnTo>
                    <a:lnTo>
                      <a:pt x="1225" y="612"/>
                    </a:lnTo>
                    <a:lnTo>
                      <a:pt x="1225" y="612"/>
                    </a:lnTo>
                    <a:lnTo>
                      <a:pt x="1223" y="605"/>
                    </a:lnTo>
                    <a:lnTo>
                      <a:pt x="1220" y="598"/>
                    </a:lnTo>
                    <a:lnTo>
                      <a:pt x="1215" y="592"/>
                    </a:lnTo>
                    <a:lnTo>
                      <a:pt x="1212" y="590"/>
                    </a:lnTo>
                    <a:lnTo>
                      <a:pt x="1208" y="590"/>
                    </a:lnTo>
                    <a:lnTo>
                      <a:pt x="1208" y="590"/>
                    </a:lnTo>
                    <a:lnTo>
                      <a:pt x="1203" y="589"/>
                    </a:lnTo>
                    <a:lnTo>
                      <a:pt x="1199" y="588"/>
                    </a:lnTo>
                    <a:lnTo>
                      <a:pt x="1188" y="580"/>
                    </a:lnTo>
                    <a:lnTo>
                      <a:pt x="1183" y="576"/>
                    </a:lnTo>
                    <a:lnTo>
                      <a:pt x="1181" y="572"/>
                    </a:lnTo>
                    <a:lnTo>
                      <a:pt x="1179" y="569"/>
                    </a:lnTo>
                    <a:lnTo>
                      <a:pt x="1182" y="566"/>
                    </a:lnTo>
                    <a:lnTo>
                      <a:pt x="1182" y="566"/>
                    </a:lnTo>
                    <a:lnTo>
                      <a:pt x="1185" y="565"/>
                    </a:lnTo>
                    <a:lnTo>
                      <a:pt x="1185" y="562"/>
                    </a:lnTo>
                    <a:lnTo>
                      <a:pt x="1185" y="559"/>
                    </a:lnTo>
                    <a:lnTo>
                      <a:pt x="1183" y="553"/>
                    </a:lnTo>
                    <a:lnTo>
                      <a:pt x="1185" y="551"/>
                    </a:lnTo>
                    <a:lnTo>
                      <a:pt x="1186" y="548"/>
                    </a:lnTo>
                    <a:lnTo>
                      <a:pt x="1186" y="548"/>
                    </a:lnTo>
                    <a:lnTo>
                      <a:pt x="1189" y="546"/>
                    </a:lnTo>
                    <a:lnTo>
                      <a:pt x="1192" y="546"/>
                    </a:lnTo>
                    <a:lnTo>
                      <a:pt x="1196" y="549"/>
                    </a:lnTo>
                    <a:lnTo>
                      <a:pt x="1203" y="553"/>
                    </a:lnTo>
                    <a:lnTo>
                      <a:pt x="1206" y="555"/>
                    </a:lnTo>
                    <a:lnTo>
                      <a:pt x="1209" y="556"/>
                    </a:lnTo>
                    <a:lnTo>
                      <a:pt x="1209" y="556"/>
                    </a:lnTo>
                    <a:close/>
                    <a:moveTo>
                      <a:pt x="1058" y="522"/>
                    </a:moveTo>
                    <a:lnTo>
                      <a:pt x="1058" y="522"/>
                    </a:lnTo>
                    <a:lnTo>
                      <a:pt x="1061" y="521"/>
                    </a:lnTo>
                    <a:lnTo>
                      <a:pt x="1064" y="519"/>
                    </a:lnTo>
                    <a:lnTo>
                      <a:pt x="1065" y="514"/>
                    </a:lnTo>
                    <a:lnTo>
                      <a:pt x="1064" y="507"/>
                    </a:lnTo>
                    <a:lnTo>
                      <a:pt x="1061" y="501"/>
                    </a:lnTo>
                    <a:lnTo>
                      <a:pt x="1061" y="501"/>
                    </a:lnTo>
                    <a:lnTo>
                      <a:pt x="1057" y="498"/>
                    </a:lnTo>
                    <a:lnTo>
                      <a:pt x="1053" y="497"/>
                    </a:lnTo>
                    <a:lnTo>
                      <a:pt x="1047" y="495"/>
                    </a:lnTo>
                    <a:lnTo>
                      <a:pt x="1040" y="495"/>
                    </a:lnTo>
                    <a:lnTo>
                      <a:pt x="1040" y="495"/>
                    </a:lnTo>
                    <a:lnTo>
                      <a:pt x="1034" y="498"/>
                    </a:lnTo>
                    <a:lnTo>
                      <a:pt x="1027" y="504"/>
                    </a:lnTo>
                    <a:lnTo>
                      <a:pt x="1026" y="508"/>
                    </a:lnTo>
                    <a:lnTo>
                      <a:pt x="1024" y="512"/>
                    </a:lnTo>
                    <a:lnTo>
                      <a:pt x="1024" y="516"/>
                    </a:lnTo>
                    <a:lnTo>
                      <a:pt x="1026" y="521"/>
                    </a:lnTo>
                    <a:lnTo>
                      <a:pt x="1026" y="521"/>
                    </a:lnTo>
                    <a:lnTo>
                      <a:pt x="1030" y="524"/>
                    </a:lnTo>
                    <a:lnTo>
                      <a:pt x="1033" y="526"/>
                    </a:lnTo>
                    <a:lnTo>
                      <a:pt x="1037" y="526"/>
                    </a:lnTo>
                    <a:lnTo>
                      <a:pt x="1041" y="526"/>
                    </a:lnTo>
                    <a:lnTo>
                      <a:pt x="1051" y="524"/>
                    </a:lnTo>
                    <a:lnTo>
                      <a:pt x="1058" y="522"/>
                    </a:lnTo>
                    <a:lnTo>
                      <a:pt x="1058" y="522"/>
                    </a:lnTo>
                    <a:close/>
                    <a:moveTo>
                      <a:pt x="970" y="337"/>
                    </a:moveTo>
                    <a:lnTo>
                      <a:pt x="970" y="337"/>
                    </a:lnTo>
                    <a:lnTo>
                      <a:pt x="969" y="340"/>
                    </a:lnTo>
                    <a:lnTo>
                      <a:pt x="970" y="343"/>
                    </a:lnTo>
                    <a:lnTo>
                      <a:pt x="973" y="347"/>
                    </a:lnTo>
                    <a:lnTo>
                      <a:pt x="977" y="350"/>
                    </a:lnTo>
                    <a:lnTo>
                      <a:pt x="979" y="353"/>
                    </a:lnTo>
                    <a:lnTo>
                      <a:pt x="980" y="357"/>
                    </a:lnTo>
                    <a:lnTo>
                      <a:pt x="980" y="357"/>
                    </a:lnTo>
                    <a:lnTo>
                      <a:pt x="980" y="360"/>
                    </a:lnTo>
                    <a:lnTo>
                      <a:pt x="983" y="364"/>
                    </a:lnTo>
                    <a:lnTo>
                      <a:pt x="986" y="366"/>
                    </a:lnTo>
                    <a:lnTo>
                      <a:pt x="989" y="367"/>
                    </a:lnTo>
                    <a:lnTo>
                      <a:pt x="993" y="369"/>
                    </a:lnTo>
                    <a:lnTo>
                      <a:pt x="996" y="369"/>
                    </a:lnTo>
                    <a:lnTo>
                      <a:pt x="1000" y="367"/>
                    </a:lnTo>
                    <a:lnTo>
                      <a:pt x="1004" y="364"/>
                    </a:lnTo>
                    <a:lnTo>
                      <a:pt x="1004" y="364"/>
                    </a:lnTo>
                    <a:lnTo>
                      <a:pt x="1008" y="363"/>
                    </a:lnTo>
                    <a:lnTo>
                      <a:pt x="1014" y="363"/>
                    </a:lnTo>
                    <a:lnTo>
                      <a:pt x="1027" y="363"/>
                    </a:lnTo>
                    <a:lnTo>
                      <a:pt x="1038" y="361"/>
                    </a:lnTo>
                    <a:lnTo>
                      <a:pt x="1041" y="361"/>
                    </a:lnTo>
                    <a:lnTo>
                      <a:pt x="1043" y="359"/>
                    </a:lnTo>
                    <a:lnTo>
                      <a:pt x="1043" y="359"/>
                    </a:lnTo>
                    <a:lnTo>
                      <a:pt x="1041" y="356"/>
                    </a:lnTo>
                    <a:lnTo>
                      <a:pt x="1037" y="351"/>
                    </a:lnTo>
                    <a:lnTo>
                      <a:pt x="1026" y="344"/>
                    </a:lnTo>
                    <a:lnTo>
                      <a:pt x="1013" y="340"/>
                    </a:lnTo>
                    <a:lnTo>
                      <a:pt x="1007" y="339"/>
                    </a:lnTo>
                    <a:lnTo>
                      <a:pt x="1001" y="339"/>
                    </a:lnTo>
                    <a:lnTo>
                      <a:pt x="1001" y="339"/>
                    </a:lnTo>
                    <a:lnTo>
                      <a:pt x="997" y="339"/>
                    </a:lnTo>
                    <a:lnTo>
                      <a:pt x="993" y="337"/>
                    </a:lnTo>
                    <a:lnTo>
                      <a:pt x="983" y="336"/>
                    </a:lnTo>
                    <a:lnTo>
                      <a:pt x="976" y="334"/>
                    </a:lnTo>
                    <a:lnTo>
                      <a:pt x="972" y="334"/>
                    </a:lnTo>
                    <a:lnTo>
                      <a:pt x="970" y="337"/>
                    </a:lnTo>
                    <a:lnTo>
                      <a:pt x="970" y="337"/>
                    </a:lnTo>
                    <a:close/>
                    <a:moveTo>
                      <a:pt x="1236" y="942"/>
                    </a:moveTo>
                    <a:lnTo>
                      <a:pt x="1236" y="942"/>
                    </a:lnTo>
                    <a:lnTo>
                      <a:pt x="1239" y="945"/>
                    </a:lnTo>
                    <a:lnTo>
                      <a:pt x="1243" y="949"/>
                    </a:lnTo>
                    <a:lnTo>
                      <a:pt x="1259" y="955"/>
                    </a:lnTo>
                    <a:lnTo>
                      <a:pt x="1273" y="959"/>
                    </a:lnTo>
                    <a:lnTo>
                      <a:pt x="1279" y="959"/>
                    </a:lnTo>
                    <a:lnTo>
                      <a:pt x="1280" y="959"/>
                    </a:lnTo>
                    <a:lnTo>
                      <a:pt x="1280" y="957"/>
                    </a:lnTo>
                    <a:lnTo>
                      <a:pt x="1280" y="957"/>
                    </a:lnTo>
                    <a:lnTo>
                      <a:pt x="1280" y="956"/>
                    </a:lnTo>
                    <a:lnTo>
                      <a:pt x="1279" y="955"/>
                    </a:lnTo>
                    <a:lnTo>
                      <a:pt x="1275" y="950"/>
                    </a:lnTo>
                    <a:lnTo>
                      <a:pt x="1259" y="945"/>
                    </a:lnTo>
                    <a:lnTo>
                      <a:pt x="1243" y="942"/>
                    </a:lnTo>
                    <a:lnTo>
                      <a:pt x="1238" y="942"/>
                    </a:lnTo>
                    <a:lnTo>
                      <a:pt x="1238" y="942"/>
                    </a:lnTo>
                    <a:lnTo>
                      <a:pt x="1236" y="942"/>
                    </a:lnTo>
                    <a:lnTo>
                      <a:pt x="1236" y="942"/>
                    </a:lnTo>
                    <a:close/>
                    <a:moveTo>
                      <a:pt x="1417" y="984"/>
                    </a:moveTo>
                    <a:lnTo>
                      <a:pt x="1417" y="984"/>
                    </a:lnTo>
                    <a:lnTo>
                      <a:pt x="1415" y="986"/>
                    </a:lnTo>
                    <a:lnTo>
                      <a:pt x="1415" y="986"/>
                    </a:lnTo>
                    <a:lnTo>
                      <a:pt x="1413" y="984"/>
                    </a:lnTo>
                    <a:lnTo>
                      <a:pt x="1414" y="980"/>
                    </a:lnTo>
                    <a:lnTo>
                      <a:pt x="1414" y="979"/>
                    </a:lnTo>
                    <a:lnTo>
                      <a:pt x="1417" y="976"/>
                    </a:lnTo>
                    <a:lnTo>
                      <a:pt x="1417" y="976"/>
                    </a:lnTo>
                    <a:lnTo>
                      <a:pt x="1418" y="973"/>
                    </a:lnTo>
                    <a:lnTo>
                      <a:pt x="1417" y="972"/>
                    </a:lnTo>
                    <a:lnTo>
                      <a:pt x="1414" y="972"/>
                    </a:lnTo>
                    <a:lnTo>
                      <a:pt x="1410" y="973"/>
                    </a:lnTo>
                    <a:lnTo>
                      <a:pt x="1410" y="973"/>
                    </a:lnTo>
                    <a:lnTo>
                      <a:pt x="1408" y="973"/>
                    </a:lnTo>
                    <a:lnTo>
                      <a:pt x="1407" y="972"/>
                    </a:lnTo>
                    <a:lnTo>
                      <a:pt x="1405" y="967"/>
                    </a:lnTo>
                    <a:lnTo>
                      <a:pt x="1407" y="960"/>
                    </a:lnTo>
                    <a:lnTo>
                      <a:pt x="1408" y="959"/>
                    </a:lnTo>
                    <a:lnTo>
                      <a:pt x="1411" y="957"/>
                    </a:lnTo>
                    <a:lnTo>
                      <a:pt x="1411" y="957"/>
                    </a:lnTo>
                    <a:lnTo>
                      <a:pt x="1411" y="956"/>
                    </a:lnTo>
                    <a:lnTo>
                      <a:pt x="1411" y="955"/>
                    </a:lnTo>
                    <a:lnTo>
                      <a:pt x="1405" y="952"/>
                    </a:lnTo>
                    <a:lnTo>
                      <a:pt x="1400" y="952"/>
                    </a:lnTo>
                    <a:lnTo>
                      <a:pt x="1398" y="952"/>
                    </a:lnTo>
                    <a:lnTo>
                      <a:pt x="1398" y="953"/>
                    </a:lnTo>
                    <a:lnTo>
                      <a:pt x="1398" y="953"/>
                    </a:lnTo>
                    <a:lnTo>
                      <a:pt x="1397" y="955"/>
                    </a:lnTo>
                    <a:lnTo>
                      <a:pt x="1395" y="956"/>
                    </a:lnTo>
                    <a:lnTo>
                      <a:pt x="1391" y="956"/>
                    </a:lnTo>
                    <a:lnTo>
                      <a:pt x="1387" y="953"/>
                    </a:lnTo>
                    <a:lnTo>
                      <a:pt x="1384" y="950"/>
                    </a:lnTo>
                    <a:lnTo>
                      <a:pt x="1384" y="950"/>
                    </a:lnTo>
                    <a:lnTo>
                      <a:pt x="1381" y="948"/>
                    </a:lnTo>
                    <a:lnTo>
                      <a:pt x="1378" y="946"/>
                    </a:lnTo>
                    <a:lnTo>
                      <a:pt x="1376" y="943"/>
                    </a:lnTo>
                    <a:lnTo>
                      <a:pt x="1376" y="942"/>
                    </a:lnTo>
                    <a:lnTo>
                      <a:pt x="1377" y="942"/>
                    </a:lnTo>
                    <a:lnTo>
                      <a:pt x="1377" y="942"/>
                    </a:lnTo>
                    <a:lnTo>
                      <a:pt x="1377" y="940"/>
                    </a:lnTo>
                    <a:lnTo>
                      <a:pt x="1376" y="939"/>
                    </a:lnTo>
                    <a:lnTo>
                      <a:pt x="1371" y="938"/>
                    </a:lnTo>
                    <a:lnTo>
                      <a:pt x="1367" y="939"/>
                    </a:lnTo>
                    <a:lnTo>
                      <a:pt x="1366" y="940"/>
                    </a:lnTo>
                    <a:lnTo>
                      <a:pt x="1364" y="942"/>
                    </a:lnTo>
                    <a:lnTo>
                      <a:pt x="1364" y="942"/>
                    </a:lnTo>
                    <a:lnTo>
                      <a:pt x="1363" y="943"/>
                    </a:lnTo>
                    <a:lnTo>
                      <a:pt x="1363" y="943"/>
                    </a:lnTo>
                    <a:lnTo>
                      <a:pt x="1361" y="940"/>
                    </a:lnTo>
                    <a:lnTo>
                      <a:pt x="1361" y="936"/>
                    </a:lnTo>
                    <a:lnTo>
                      <a:pt x="1366" y="930"/>
                    </a:lnTo>
                    <a:lnTo>
                      <a:pt x="1366" y="930"/>
                    </a:lnTo>
                    <a:lnTo>
                      <a:pt x="1370" y="925"/>
                    </a:lnTo>
                    <a:lnTo>
                      <a:pt x="1371" y="920"/>
                    </a:lnTo>
                    <a:lnTo>
                      <a:pt x="1373" y="916"/>
                    </a:lnTo>
                    <a:lnTo>
                      <a:pt x="1377" y="912"/>
                    </a:lnTo>
                    <a:lnTo>
                      <a:pt x="1377" y="912"/>
                    </a:lnTo>
                    <a:lnTo>
                      <a:pt x="1378" y="911"/>
                    </a:lnTo>
                    <a:lnTo>
                      <a:pt x="1380" y="909"/>
                    </a:lnTo>
                    <a:lnTo>
                      <a:pt x="1378" y="908"/>
                    </a:lnTo>
                    <a:lnTo>
                      <a:pt x="1374" y="906"/>
                    </a:lnTo>
                    <a:lnTo>
                      <a:pt x="1370" y="908"/>
                    </a:lnTo>
                    <a:lnTo>
                      <a:pt x="1370" y="908"/>
                    </a:lnTo>
                    <a:lnTo>
                      <a:pt x="1366" y="909"/>
                    </a:lnTo>
                    <a:lnTo>
                      <a:pt x="1363" y="913"/>
                    </a:lnTo>
                    <a:lnTo>
                      <a:pt x="1353" y="923"/>
                    </a:lnTo>
                    <a:lnTo>
                      <a:pt x="1346" y="935"/>
                    </a:lnTo>
                    <a:lnTo>
                      <a:pt x="1344" y="939"/>
                    </a:lnTo>
                    <a:lnTo>
                      <a:pt x="1343" y="943"/>
                    </a:lnTo>
                    <a:lnTo>
                      <a:pt x="1343" y="943"/>
                    </a:lnTo>
                    <a:lnTo>
                      <a:pt x="1343" y="949"/>
                    </a:lnTo>
                    <a:lnTo>
                      <a:pt x="1341" y="953"/>
                    </a:lnTo>
                    <a:lnTo>
                      <a:pt x="1340" y="957"/>
                    </a:lnTo>
                    <a:lnTo>
                      <a:pt x="1339" y="957"/>
                    </a:lnTo>
                    <a:lnTo>
                      <a:pt x="1336" y="959"/>
                    </a:lnTo>
                    <a:lnTo>
                      <a:pt x="1336" y="959"/>
                    </a:lnTo>
                    <a:lnTo>
                      <a:pt x="1331" y="959"/>
                    </a:lnTo>
                    <a:lnTo>
                      <a:pt x="1327" y="962"/>
                    </a:lnTo>
                    <a:lnTo>
                      <a:pt x="1326" y="965"/>
                    </a:lnTo>
                    <a:lnTo>
                      <a:pt x="1326" y="966"/>
                    </a:lnTo>
                    <a:lnTo>
                      <a:pt x="1327" y="967"/>
                    </a:lnTo>
                    <a:lnTo>
                      <a:pt x="1327" y="967"/>
                    </a:lnTo>
                    <a:lnTo>
                      <a:pt x="1327" y="969"/>
                    </a:lnTo>
                    <a:lnTo>
                      <a:pt x="1327" y="972"/>
                    </a:lnTo>
                    <a:lnTo>
                      <a:pt x="1323" y="977"/>
                    </a:lnTo>
                    <a:lnTo>
                      <a:pt x="1320" y="983"/>
                    </a:lnTo>
                    <a:lnTo>
                      <a:pt x="1320" y="984"/>
                    </a:lnTo>
                    <a:lnTo>
                      <a:pt x="1323" y="987"/>
                    </a:lnTo>
                    <a:lnTo>
                      <a:pt x="1323" y="987"/>
                    </a:lnTo>
                    <a:lnTo>
                      <a:pt x="1327" y="989"/>
                    </a:lnTo>
                    <a:lnTo>
                      <a:pt x="1334" y="987"/>
                    </a:lnTo>
                    <a:lnTo>
                      <a:pt x="1340" y="987"/>
                    </a:lnTo>
                    <a:lnTo>
                      <a:pt x="1347" y="987"/>
                    </a:lnTo>
                    <a:lnTo>
                      <a:pt x="1347" y="987"/>
                    </a:lnTo>
                    <a:lnTo>
                      <a:pt x="1358" y="987"/>
                    </a:lnTo>
                    <a:lnTo>
                      <a:pt x="1364" y="986"/>
                    </a:lnTo>
                    <a:lnTo>
                      <a:pt x="1370" y="983"/>
                    </a:lnTo>
                    <a:lnTo>
                      <a:pt x="1370" y="983"/>
                    </a:lnTo>
                    <a:lnTo>
                      <a:pt x="1373" y="982"/>
                    </a:lnTo>
                    <a:lnTo>
                      <a:pt x="1374" y="982"/>
                    </a:lnTo>
                    <a:lnTo>
                      <a:pt x="1377" y="983"/>
                    </a:lnTo>
                    <a:lnTo>
                      <a:pt x="1380" y="986"/>
                    </a:lnTo>
                    <a:lnTo>
                      <a:pt x="1381" y="987"/>
                    </a:lnTo>
                    <a:lnTo>
                      <a:pt x="1384" y="987"/>
                    </a:lnTo>
                    <a:lnTo>
                      <a:pt x="1384" y="987"/>
                    </a:lnTo>
                    <a:lnTo>
                      <a:pt x="1387" y="987"/>
                    </a:lnTo>
                    <a:lnTo>
                      <a:pt x="1387" y="987"/>
                    </a:lnTo>
                    <a:lnTo>
                      <a:pt x="1385" y="990"/>
                    </a:lnTo>
                    <a:lnTo>
                      <a:pt x="1383" y="994"/>
                    </a:lnTo>
                    <a:lnTo>
                      <a:pt x="1381" y="999"/>
                    </a:lnTo>
                    <a:lnTo>
                      <a:pt x="1381" y="999"/>
                    </a:lnTo>
                    <a:lnTo>
                      <a:pt x="1381" y="1000"/>
                    </a:lnTo>
                    <a:lnTo>
                      <a:pt x="1383" y="1000"/>
                    </a:lnTo>
                    <a:lnTo>
                      <a:pt x="1385" y="999"/>
                    </a:lnTo>
                    <a:lnTo>
                      <a:pt x="1394" y="993"/>
                    </a:lnTo>
                    <a:lnTo>
                      <a:pt x="1394" y="993"/>
                    </a:lnTo>
                    <a:lnTo>
                      <a:pt x="1398" y="992"/>
                    </a:lnTo>
                    <a:lnTo>
                      <a:pt x="1403" y="992"/>
                    </a:lnTo>
                    <a:lnTo>
                      <a:pt x="1404" y="994"/>
                    </a:lnTo>
                    <a:lnTo>
                      <a:pt x="1404" y="997"/>
                    </a:lnTo>
                    <a:lnTo>
                      <a:pt x="1404" y="997"/>
                    </a:lnTo>
                    <a:lnTo>
                      <a:pt x="1404" y="999"/>
                    </a:lnTo>
                    <a:lnTo>
                      <a:pt x="1405" y="1000"/>
                    </a:lnTo>
                    <a:lnTo>
                      <a:pt x="1411" y="1003"/>
                    </a:lnTo>
                    <a:lnTo>
                      <a:pt x="1418" y="1003"/>
                    </a:lnTo>
                    <a:lnTo>
                      <a:pt x="1422" y="1002"/>
                    </a:lnTo>
                    <a:lnTo>
                      <a:pt x="1424" y="999"/>
                    </a:lnTo>
                    <a:lnTo>
                      <a:pt x="1424" y="999"/>
                    </a:lnTo>
                    <a:lnTo>
                      <a:pt x="1425" y="996"/>
                    </a:lnTo>
                    <a:lnTo>
                      <a:pt x="1425" y="993"/>
                    </a:lnTo>
                    <a:lnTo>
                      <a:pt x="1424" y="987"/>
                    </a:lnTo>
                    <a:lnTo>
                      <a:pt x="1420" y="984"/>
                    </a:lnTo>
                    <a:lnTo>
                      <a:pt x="1418" y="983"/>
                    </a:lnTo>
                    <a:lnTo>
                      <a:pt x="1417" y="984"/>
                    </a:lnTo>
                    <a:lnTo>
                      <a:pt x="1417" y="984"/>
                    </a:lnTo>
                    <a:close/>
                    <a:moveTo>
                      <a:pt x="131" y="854"/>
                    </a:moveTo>
                    <a:lnTo>
                      <a:pt x="131" y="854"/>
                    </a:lnTo>
                    <a:lnTo>
                      <a:pt x="129" y="855"/>
                    </a:lnTo>
                    <a:lnTo>
                      <a:pt x="128" y="858"/>
                    </a:lnTo>
                    <a:lnTo>
                      <a:pt x="129" y="864"/>
                    </a:lnTo>
                    <a:lnTo>
                      <a:pt x="132" y="869"/>
                    </a:lnTo>
                    <a:lnTo>
                      <a:pt x="136" y="876"/>
                    </a:lnTo>
                    <a:lnTo>
                      <a:pt x="142" y="882"/>
                    </a:lnTo>
                    <a:lnTo>
                      <a:pt x="148" y="886"/>
                    </a:lnTo>
                    <a:lnTo>
                      <a:pt x="152" y="889"/>
                    </a:lnTo>
                    <a:lnTo>
                      <a:pt x="156" y="889"/>
                    </a:lnTo>
                    <a:lnTo>
                      <a:pt x="156" y="889"/>
                    </a:lnTo>
                    <a:lnTo>
                      <a:pt x="156" y="888"/>
                    </a:lnTo>
                    <a:lnTo>
                      <a:pt x="156" y="885"/>
                    </a:lnTo>
                    <a:lnTo>
                      <a:pt x="154" y="879"/>
                    </a:lnTo>
                    <a:lnTo>
                      <a:pt x="151" y="872"/>
                    </a:lnTo>
                    <a:lnTo>
                      <a:pt x="148" y="865"/>
                    </a:lnTo>
                    <a:lnTo>
                      <a:pt x="148" y="865"/>
                    </a:lnTo>
                    <a:lnTo>
                      <a:pt x="148" y="858"/>
                    </a:lnTo>
                    <a:lnTo>
                      <a:pt x="145" y="854"/>
                    </a:lnTo>
                    <a:lnTo>
                      <a:pt x="142" y="852"/>
                    </a:lnTo>
                    <a:lnTo>
                      <a:pt x="139" y="852"/>
                    </a:lnTo>
                    <a:lnTo>
                      <a:pt x="136" y="852"/>
                    </a:lnTo>
                    <a:lnTo>
                      <a:pt x="131" y="854"/>
                    </a:lnTo>
                    <a:lnTo>
                      <a:pt x="131" y="854"/>
                    </a:lnTo>
                    <a:close/>
                    <a:moveTo>
                      <a:pt x="1303" y="1016"/>
                    </a:moveTo>
                    <a:lnTo>
                      <a:pt x="1303" y="1016"/>
                    </a:lnTo>
                    <a:lnTo>
                      <a:pt x="1302" y="1016"/>
                    </a:lnTo>
                    <a:lnTo>
                      <a:pt x="1302" y="1016"/>
                    </a:lnTo>
                    <a:lnTo>
                      <a:pt x="1302" y="1013"/>
                    </a:lnTo>
                    <a:lnTo>
                      <a:pt x="1303" y="1006"/>
                    </a:lnTo>
                    <a:lnTo>
                      <a:pt x="1303" y="1006"/>
                    </a:lnTo>
                    <a:lnTo>
                      <a:pt x="1303" y="1004"/>
                    </a:lnTo>
                    <a:lnTo>
                      <a:pt x="1302" y="1004"/>
                    </a:lnTo>
                    <a:lnTo>
                      <a:pt x="1299" y="1006"/>
                    </a:lnTo>
                    <a:lnTo>
                      <a:pt x="1294" y="1009"/>
                    </a:lnTo>
                    <a:lnTo>
                      <a:pt x="1292" y="1012"/>
                    </a:lnTo>
                    <a:lnTo>
                      <a:pt x="1292" y="1012"/>
                    </a:lnTo>
                    <a:lnTo>
                      <a:pt x="1290" y="1014"/>
                    </a:lnTo>
                    <a:lnTo>
                      <a:pt x="1287" y="1017"/>
                    </a:lnTo>
                    <a:lnTo>
                      <a:pt x="1284" y="1019"/>
                    </a:lnTo>
                    <a:lnTo>
                      <a:pt x="1284" y="1021"/>
                    </a:lnTo>
                    <a:lnTo>
                      <a:pt x="1284" y="1021"/>
                    </a:lnTo>
                    <a:lnTo>
                      <a:pt x="1283" y="1026"/>
                    </a:lnTo>
                    <a:lnTo>
                      <a:pt x="1283" y="1026"/>
                    </a:lnTo>
                    <a:lnTo>
                      <a:pt x="1280" y="1027"/>
                    </a:lnTo>
                    <a:lnTo>
                      <a:pt x="1277" y="1027"/>
                    </a:lnTo>
                    <a:lnTo>
                      <a:pt x="1277" y="1027"/>
                    </a:lnTo>
                    <a:lnTo>
                      <a:pt x="1270" y="1029"/>
                    </a:lnTo>
                    <a:lnTo>
                      <a:pt x="1262" y="1029"/>
                    </a:lnTo>
                    <a:lnTo>
                      <a:pt x="1253" y="1026"/>
                    </a:lnTo>
                    <a:lnTo>
                      <a:pt x="1250" y="1024"/>
                    </a:lnTo>
                    <a:lnTo>
                      <a:pt x="1249" y="1023"/>
                    </a:lnTo>
                    <a:lnTo>
                      <a:pt x="1249" y="1023"/>
                    </a:lnTo>
                    <a:lnTo>
                      <a:pt x="1247" y="1021"/>
                    </a:lnTo>
                    <a:lnTo>
                      <a:pt x="1246" y="1020"/>
                    </a:lnTo>
                    <a:lnTo>
                      <a:pt x="1240" y="1016"/>
                    </a:lnTo>
                    <a:lnTo>
                      <a:pt x="1235" y="1013"/>
                    </a:lnTo>
                    <a:lnTo>
                      <a:pt x="1232" y="1012"/>
                    </a:lnTo>
                    <a:lnTo>
                      <a:pt x="1232" y="1009"/>
                    </a:lnTo>
                    <a:lnTo>
                      <a:pt x="1232" y="1009"/>
                    </a:lnTo>
                    <a:lnTo>
                      <a:pt x="1230" y="1004"/>
                    </a:lnTo>
                    <a:lnTo>
                      <a:pt x="1228" y="1000"/>
                    </a:lnTo>
                    <a:lnTo>
                      <a:pt x="1226" y="997"/>
                    </a:lnTo>
                    <a:lnTo>
                      <a:pt x="1229" y="992"/>
                    </a:lnTo>
                    <a:lnTo>
                      <a:pt x="1229" y="992"/>
                    </a:lnTo>
                    <a:lnTo>
                      <a:pt x="1230" y="990"/>
                    </a:lnTo>
                    <a:lnTo>
                      <a:pt x="1232" y="987"/>
                    </a:lnTo>
                    <a:lnTo>
                      <a:pt x="1232" y="986"/>
                    </a:lnTo>
                    <a:lnTo>
                      <a:pt x="1230" y="984"/>
                    </a:lnTo>
                    <a:lnTo>
                      <a:pt x="1226" y="984"/>
                    </a:lnTo>
                    <a:lnTo>
                      <a:pt x="1222" y="987"/>
                    </a:lnTo>
                    <a:lnTo>
                      <a:pt x="1222" y="987"/>
                    </a:lnTo>
                    <a:lnTo>
                      <a:pt x="1220" y="989"/>
                    </a:lnTo>
                    <a:lnTo>
                      <a:pt x="1218" y="989"/>
                    </a:lnTo>
                    <a:lnTo>
                      <a:pt x="1216" y="989"/>
                    </a:lnTo>
                    <a:lnTo>
                      <a:pt x="1216" y="987"/>
                    </a:lnTo>
                    <a:lnTo>
                      <a:pt x="1216" y="983"/>
                    </a:lnTo>
                    <a:lnTo>
                      <a:pt x="1218" y="982"/>
                    </a:lnTo>
                    <a:lnTo>
                      <a:pt x="1220" y="980"/>
                    </a:lnTo>
                    <a:lnTo>
                      <a:pt x="1220" y="980"/>
                    </a:lnTo>
                    <a:lnTo>
                      <a:pt x="1228" y="977"/>
                    </a:lnTo>
                    <a:lnTo>
                      <a:pt x="1235" y="975"/>
                    </a:lnTo>
                    <a:lnTo>
                      <a:pt x="1238" y="972"/>
                    </a:lnTo>
                    <a:lnTo>
                      <a:pt x="1239" y="969"/>
                    </a:lnTo>
                    <a:lnTo>
                      <a:pt x="1238" y="965"/>
                    </a:lnTo>
                    <a:lnTo>
                      <a:pt x="1236" y="960"/>
                    </a:lnTo>
                    <a:lnTo>
                      <a:pt x="1236" y="960"/>
                    </a:lnTo>
                    <a:lnTo>
                      <a:pt x="1235" y="957"/>
                    </a:lnTo>
                    <a:lnTo>
                      <a:pt x="1232" y="956"/>
                    </a:lnTo>
                    <a:lnTo>
                      <a:pt x="1223" y="955"/>
                    </a:lnTo>
                    <a:lnTo>
                      <a:pt x="1215" y="955"/>
                    </a:lnTo>
                    <a:lnTo>
                      <a:pt x="1203" y="957"/>
                    </a:lnTo>
                    <a:lnTo>
                      <a:pt x="1182" y="965"/>
                    </a:lnTo>
                    <a:lnTo>
                      <a:pt x="1166" y="972"/>
                    </a:lnTo>
                    <a:lnTo>
                      <a:pt x="1166" y="972"/>
                    </a:lnTo>
                    <a:lnTo>
                      <a:pt x="1156" y="979"/>
                    </a:lnTo>
                    <a:lnTo>
                      <a:pt x="1148" y="989"/>
                    </a:lnTo>
                    <a:lnTo>
                      <a:pt x="1138" y="997"/>
                    </a:lnTo>
                    <a:lnTo>
                      <a:pt x="1135" y="1000"/>
                    </a:lnTo>
                    <a:lnTo>
                      <a:pt x="1132" y="1002"/>
                    </a:lnTo>
                    <a:lnTo>
                      <a:pt x="1132" y="1002"/>
                    </a:lnTo>
                    <a:lnTo>
                      <a:pt x="1131" y="1000"/>
                    </a:lnTo>
                    <a:lnTo>
                      <a:pt x="1131" y="999"/>
                    </a:lnTo>
                    <a:lnTo>
                      <a:pt x="1135" y="994"/>
                    </a:lnTo>
                    <a:lnTo>
                      <a:pt x="1142" y="989"/>
                    </a:lnTo>
                    <a:lnTo>
                      <a:pt x="1146" y="984"/>
                    </a:lnTo>
                    <a:lnTo>
                      <a:pt x="1146" y="984"/>
                    </a:lnTo>
                    <a:lnTo>
                      <a:pt x="1148" y="982"/>
                    </a:lnTo>
                    <a:lnTo>
                      <a:pt x="1148" y="979"/>
                    </a:lnTo>
                    <a:lnTo>
                      <a:pt x="1148" y="977"/>
                    </a:lnTo>
                    <a:lnTo>
                      <a:pt x="1149" y="977"/>
                    </a:lnTo>
                    <a:lnTo>
                      <a:pt x="1149" y="977"/>
                    </a:lnTo>
                    <a:lnTo>
                      <a:pt x="1152" y="977"/>
                    </a:lnTo>
                    <a:lnTo>
                      <a:pt x="1154" y="975"/>
                    </a:lnTo>
                    <a:lnTo>
                      <a:pt x="1159" y="969"/>
                    </a:lnTo>
                    <a:lnTo>
                      <a:pt x="1166" y="962"/>
                    </a:lnTo>
                    <a:lnTo>
                      <a:pt x="1172" y="956"/>
                    </a:lnTo>
                    <a:lnTo>
                      <a:pt x="1172" y="956"/>
                    </a:lnTo>
                    <a:lnTo>
                      <a:pt x="1178" y="953"/>
                    </a:lnTo>
                    <a:lnTo>
                      <a:pt x="1183" y="953"/>
                    </a:lnTo>
                    <a:lnTo>
                      <a:pt x="1186" y="953"/>
                    </a:lnTo>
                    <a:lnTo>
                      <a:pt x="1188" y="952"/>
                    </a:lnTo>
                    <a:lnTo>
                      <a:pt x="1189" y="950"/>
                    </a:lnTo>
                    <a:lnTo>
                      <a:pt x="1189" y="950"/>
                    </a:lnTo>
                    <a:lnTo>
                      <a:pt x="1191" y="948"/>
                    </a:lnTo>
                    <a:lnTo>
                      <a:pt x="1192" y="945"/>
                    </a:lnTo>
                    <a:lnTo>
                      <a:pt x="1201" y="936"/>
                    </a:lnTo>
                    <a:lnTo>
                      <a:pt x="1201" y="936"/>
                    </a:lnTo>
                    <a:lnTo>
                      <a:pt x="1206" y="935"/>
                    </a:lnTo>
                    <a:lnTo>
                      <a:pt x="1218" y="933"/>
                    </a:lnTo>
                    <a:lnTo>
                      <a:pt x="1250" y="932"/>
                    </a:lnTo>
                    <a:lnTo>
                      <a:pt x="1302" y="932"/>
                    </a:lnTo>
                    <a:lnTo>
                      <a:pt x="1302" y="932"/>
                    </a:lnTo>
                    <a:lnTo>
                      <a:pt x="1309" y="930"/>
                    </a:lnTo>
                    <a:lnTo>
                      <a:pt x="1317" y="926"/>
                    </a:lnTo>
                    <a:lnTo>
                      <a:pt x="1324" y="920"/>
                    </a:lnTo>
                    <a:lnTo>
                      <a:pt x="1330" y="913"/>
                    </a:lnTo>
                    <a:lnTo>
                      <a:pt x="1330" y="913"/>
                    </a:lnTo>
                    <a:lnTo>
                      <a:pt x="1334" y="911"/>
                    </a:lnTo>
                    <a:lnTo>
                      <a:pt x="1339" y="908"/>
                    </a:lnTo>
                    <a:lnTo>
                      <a:pt x="1344" y="908"/>
                    </a:lnTo>
                    <a:lnTo>
                      <a:pt x="1351" y="908"/>
                    </a:lnTo>
                    <a:lnTo>
                      <a:pt x="1351" y="908"/>
                    </a:lnTo>
                    <a:lnTo>
                      <a:pt x="1356" y="908"/>
                    </a:lnTo>
                    <a:lnTo>
                      <a:pt x="1360" y="906"/>
                    </a:lnTo>
                    <a:lnTo>
                      <a:pt x="1366" y="902"/>
                    </a:lnTo>
                    <a:lnTo>
                      <a:pt x="1374" y="893"/>
                    </a:lnTo>
                    <a:lnTo>
                      <a:pt x="1374" y="893"/>
                    </a:lnTo>
                    <a:lnTo>
                      <a:pt x="1377" y="892"/>
                    </a:lnTo>
                    <a:lnTo>
                      <a:pt x="1377" y="889"/>
                    </a:lnTo>
                    <a:lnTo>
                      <a:pt x="1376" y="888"/>
                    </a:lnTo>
                    <a:lnTo>
                      <a:pt x="1373" y="888"/>
                    </a:lnTo>
                    <a:lnTo>
                      <a:pt x="1373" y="888"/>
                    </a:lnTo>
                    <a:lnTo>
                      <a:pt x="1367" y="885"/>
                    </a:lnTo>
                    <a:lnTo>
                      <a:pt x="1366" y="883"/>
                    </a:lnTo>
                    <a:lnTo>
                      <a:pt x="1368" y="882"/>
                    </a:lnTo>
                    <a:lnTo>
                      <a:pt x="1368" y="882"/>
                    </a:lnTo>
                    <a:lnTo>
                      <a:pt x="1371" y="882"/>
                    </a:lnTo>
                    <a:lnTo>
                      <a:pt x="1374" y="881"/>
                    </a:lnTo>
                    <a:lnTo>
                      <a:pt x="1376" y="878"/>
                    </a:lnTo>
                    <a:lnTo>
                      <a:pt x="1378" y="874"/>
                    </a:lnTo>
                    <a:lnTo>
                      <a:pt x="1378" y="874"/>
                    </a:lnTo>
                    <a:lnTo>
                      <a:pt x="1378" y="869"/>
                    </a:lnTo>
                    <a:lnTo>
                      <a:pt x="1377" y="868"/>
                    </a:lnTo>
                    <a:lnTo>
                      <a:pt x="1374" y="865"/>
                    </a:lnTo>
                    <a:lnTo>
                      <a:pt x="1370" y="861"/>
                    </a:lnTo>
                    <a:lnTo>
                      <a:pt x="1370" y="861"/>
                    </a:lnTo>
                    <a:lnTo>
                      <a:pt x="1367" y="858"/>
                    </a:lnTo>
                    <a:lnTo>
                      <a:pt x="1364" y="858"/>
                    </a:lnTo>
                    <a:lnTo>
                      <a:pt x="1363" y="858"/>
                    </a:lnTo>
                    <a:lnTo>
                      <a:pt x="1361" y="859"/>
                    </a:lnTo>
                    <a:lnTo>
                      <a:pt x="1357" y="862"/>
                    </a:lnTo>
                    <a:lnTo>
                      <a:pt x="1354" y="862"/>
                    </a:lnTo>
                    <a:lnTo>
                      <a:pt x="1353" y="862"/>
                    </a:lnTo>
                    <a:lnTo>
                      <a:pt x="1353" y="862"/>
                    </a:lnTo>
                    <a:lnTo>
                      <a:pt x="1350" y="862"/>
                    </a:lnTo>
                    <a:lnTo>
                      <a:pt x="1350" y="861"/>
                    </a:lnTo>
                    <a:lnTo>
                      <a:pt x="1351" y="858"/>
                    </a:lnTo>
                    <a:lnTo>
                      <a:pt x="1353" y="854"/>
                    </a:lnTo>
                    <a:lnTo>
                      <a:pt x="1353" y="852"/>
                    </a:lnTo>
                    <a:lnTo>
                      <a:pt x="1351" y="849"/>
                    </a:lnTo>
                    <a:lnTo>
                      <a:pt x="1351" y="849"/>
                    </a:lnTo>
                    <a:lnTo>
                      <a:pt x="1346" y="848"/>
                    </a:lnTo>
                    <a:lnTo>
                      <a:pt x="1340" y="849"/>
                    </a:lnTo>
                    <a:lnTo>
                      <a:pt x="1333" y="852"/>
                    </a:lnTo>
                    <a:lnTo>
                      <a:pt x="1326" y="856"/>
                    </a:lnTo>
                    <a:lnTo>
                      <a:pt x="1326" y="856"/>
                    </a:lnTo>
                    <a:lnTo>
                      <a:pt x="1321" y="859"/>
                    </a:lnTo>
                    <a:lnTo>
                      <a:pt x="1319" y="859"/>
                    </a:lnTo>
                    <a:lnTo>
                      <a:pt x="1316" y="859"/>
                    </a:lnTo>
                    <a:lnTo>
                      <a:pt x="1311" y="862"/>
                    </a:lnTo>
                    <a:lnTo>
                      <a:pt x="1311" y="862"/>
                    </a:lnTo>
                    <a:lnTo>
                      <a:pt x="1309" y="865"/>
                    </a:lnTo>
                    <a:lnTo>
                      <a:pt x="1307" y="865"/>
                    </a:lnTo>
                    <a:lnTo>
                      <a:pt x="1306" y="865"/>
                    </a:lnTo>
                    <a:lnTo>
                      <a:pt x="1304" y="864"/>
                    </a:lnTo>
                    <a:lnTo>
                      <a:pt x="1304" y="859"/>
                    </a:lnTo>
                    <a:lnTo>
                      <a:pt x="1307" y="856"/>
                    </a:lnTo>
                    <a:lnTo>
                      <a:pt x="1307" y="856"/>
                    </a:lnTo>
                    <a:lnTo>
                      <a:pt x="1310" y="855"/>
                    </a:lnTo>
                    <a:lnTo>
                      <a:pt x="1311" y="855"/>
                    </a:lnTo>
                    <a:lnTo>
                      <a:pt x="1314" y="855"/>
                    </a:lnTo>
                    <a:lnTo>
                      <a:pt x="1316" y="852"/>
                    </a:lnTo>
                    <a:lnTo>
                      <a:pt x="1316" y="852"/>
                    </a:lnTo>
                    <a:lnTo>
                      <a:pt x="1319" y="851"/>
                    </a:lnTo>
                    <a:lnTo>
                      <a:pt x="1321" y="851"/>
                    </a:lnTo>
                    <a:lnTo>
                      <a:pt x="1326" y="849"/>
                    </a:lnTo>
                    <a:lnTo>
                      <a:pt x="1331" y="847"/>
                    </a:lnTo>
                    <a:lnTo>
                      <a:pt x="1331" y="847"/>
                    </a:lnTo>
                    <a:lnTo>
                      <a:pt x="1337" y="844"/>
                    </a:lnTo>
                    <a:lnTo>
                      <a:pt x="1341" y="844"/>
                    </a:lnTo>
                    <a:lnTo>
                      <a:pt x="1346" y="842"/>
                    </a:lnTo>
                    <a:lnTo>
                      <a:pt x="1348" y="841"/>
                    </a:lnTo>
                    <a:lnTo>
                      <a:pt x="1348" y="841"/>
                    </a:lnTo>
                    <a:lnTo>
                      <a:pt x="1348" y="838"/>
                    </a:lnTo>
                    <a:lnTo>
                      <a:pt x="1347" y="835"/>
                    </a:lnTo>
                    <a:lnTo>
                      <a:pt x="1343" y="832"/>
                    </a:lnTo>
                    <a:lnTo>
                      <a:pt x="1337" y="832"/>
                    </a:lnTo>
                    <a:lnTo>
                      <a:pt x="1337" y="832"/>
                    </a:lnTo>
                    <a:lnTo>
                      <a:pt x="1334" y="832"/>
                    </a:lnTo>
                    <a:lnTo>
                      <a:pt x="1331" y="832"/>
                    </a:lnTo>
                    <a:lnTo>
                      <a:pt x="1327" y="828"/>
                    </a:lnTo>
                    <a:lnTo>
                      <a:pt x="1323" y="825"/>
                    </a:lnTo>
                    <a:lnTo>
                      <a:pt x="1320" y="825"/>
                    </a:lnTo>
                    <a:lnTo>
                      <a:pt x="1319" y="825"/>
                    </a:lnTo>
                    <a:lnTo>
                      <a:pt x="1319" y="825"/>
                    </a:lnTo>
                    <a:lnTo>
                      <a:pt x="1316" y="827"/>
                    </a:lnTo>
                    <a:lnTo>
                      <a:pt x="1314" y="825"/>
                    </a:lnTo>
                    <a:lnTo>
                      <a:pt x="1313" y="824"/>
                    </a:lnTo>
                    <a:lnTo>
                      <a:pt x="1309" y="824"/>
                    </a:lnTo>
                    <a:lnTo>
                      <a:pt x="1309" y="824"/>
                    </a:lnTo>
                    <a:lnTo>
                      <a:pt x="1306" y="825"/>
                    </a:lnTo>
                    <a:lnTo>
                      <a:pt x="1303" y="824"/>
                    </a:lnTo>
                    <a:lnTo>
                      <a:pt x="1300" y="821"/>
                    </a:lnTo>
                    <a:lnTo>
                      <a:pt x="1297" y="817"/>
                    </a:lnTo>
                    <a:lnTo>
                      <a:pt x="1297" y="817"/>
                    </a:lnTo>
                    <a:lnTo>
                      <a:pt x="1294" y="811"/>
                    </a:lnTo>
                    <a:lnTo>
                      <a:pt x="1287" y="804"/>
                    </a:lnTo>
                    <a:lnTo>
                      <a:pt x="1279" y="800"/>
                    </a:lnTo>
                    <a:lnTo>
                      <a:pt x="1270" y="795"/>
                    </a:lnTo>
                    <a:lnTo>
                      <a:pt x="1270" y="795"/>
                    </a:lnTo>
                    <a:lnTo>
                      <a:pt x="1266" y="794"/>
                    </a:lnTo>
                    <a:lnTo>
                      <a:pt x="1266" y="792"/>
                    </a:lnTo>
                    <a:lnTo>
                      <a:pt x="1266" y="791"/>
                    </a:lnTo>
                    <a:lnTo>
                      <a:pt x="1269" y="790"/>
                    </a:lnTo>
                    <a:lnTo>
                      <a:pt x="1273" y="791"/>
                    </a:lnTo>
                    <a:lnTo>
                      <a:pt x="1273" y="791"/>
                    </a:lnTo>
                    <a:lnTo>
                      <a:pt x="1275" y="792"/>
                    </a:lnTo>
                    <a:lnTo>
                      <a:pt x="1276" y="792"/>
                    </a:lnTo>
                    <a:lnTo>
                      <a:pt x="1280" y="791"/>
                    </a:lnTo>
                    <a:lnTo>
                      <a:pt x="1283" y="787"/>
                    </a:lnTo>
                    <a:lnTo>
                      <a:pt x="1286" y="784"/>
                    </a:lnTo>
                    <a:lnTo>
                      <a:pt x="1286" y="784"/>
                    </a:lnTo>
                    <a:lnTo>
                      <a:pt x="1286" y="781"/>
                    </a:lnTo>
                    <a:lnTo>
                      <a:pt x="1284" y="780"/>
                    </a:lnTo>
                    <a:lnTo>
                      <a:pt x="1279" y="777"/>
                    </a:lnTo>
                    <a:lnTo>
                      <a:pt x="1279" y="777"/>
                    </a:lnTo>
                    <a:lnTo>
                      <a:pt x="1277" y="775"/>
                    </a:lnTo>
                    <a:lnTo>
                      <a:pt x="1276" y="774"/>
                    </a:lnTo>
                    <a:lnTo>
                      <a:pt x="1277" y="768"/>
                    </a:lnTo>
                    <a:lnTo>
                      <a:pt x="1277" y="768"/>
                    </a:lnTo>
                    <a:lnTo>
                      <a:pt x="1276" y="765"/>
                    </a:lnTo>
                    <a:lnTo>
                      <a:pt x="1272" y="763"/>
                    </a:lnTo>
                    <a:lnTo>
                      <a:pt x="1269" y="760"/>
                    </a:lnTo>
                    <a:lnTo>
                      <a:pt x="1266" y="757"/>
                    </a:lnTo>
                    <a:lnTo>
                      <a:pt x="1266" y="757"/>
                    </a:lnTo>
                    <a:lnTo>
                      <a:pt x="1266" y="754"/>
                    </a:lnTo>
                    <a:lnTo>
                      <a:pt x="1263" y="753"/>
                    </a:lnTo>
                    <a:lnTo>
                      <a:pt x="1262" y="750"/>
                    </a:lnTo>
                    <a:lnTo>
                      <a:pt x="1260" y="747"/>
                    </a:lnTo>
                    <a:lnTo>
                      <a:pt x="1260" y="747"/>
                    </a:lnTo>
                    <a:lnTo>
                      <a:pt x="1260" y="746"/>
                    </a:lnTo>
                    <a:lnTo>
                      <a:pt x="1257" y="741"/>
                    </a:lnTo>
                    <a:lnTo>
                      <a:pt x="1256" y="738"/>
                    </a:lnTo>
                    <a:lnTo>
                      <a:pt x="1255" y="736"/>
                    </a:lnTo>
                    <a:lnTo>
                      <a:pt x="1255" y="736"/>
                    </a:lnTo>
                    <a:lnTo>
                      <a:pt x="1253" y="731"/>
                    </a:lnTo>
                    <a:lnTo>
                      <a:pt x="1249" y="727"/>
                    </a:lnTo>
                    <a:lnTo>
                      <a:pt x="1245" y="721"/>
                    </a:lnTo>
                    <a:lnTo>
                      <a:pt x="1243" y="717"/>
                    </a:lnTo>
                    <a:lnTo>
                      <a:pt x="1243" y="717"/>
                    </a:lnTo>
                    <a:lnTo>
                      <a:pt x="1242" y="714"/>
                    </a:lnTo>
                    <a:lnTo>
                      <a:pt x="1240" y="711"/>
                    </a:lnTo>
                    <a:lnTo>
                      <a:pt x="1238" y="707"/>
                    </a:lnTo>
                    <a:lnTo>
                      <a:pt x="1235" y="703"/>
                    </a:lnTo>
                    <a:lnTo>
                      <a:pt x="1235" y="703"/>
                    </a:lnTo>
                    <a:lnTo>
                      <a:pt x="1233" y="700"/>
                    </a:lnTo>
                    <a:lnTo>
                      <a:pt x="1232" y="700"/>
                    </a:lnTo>
                    <a:lnTo>
                      <a:pt x="1230" y="703"/>
                    </a:lnTo>
                    <a:lnTo>
                      <a:pt x="1228" y="709"/>
                    </a:lnTo>
                    <a:lnTo>
                      <a:pt x="1228" y="709"/>
                    </a:lnTo>
                    <a:lnTo>
                      <a:pt x="1226" y="713"/>
                    </a:lnTo>
                    <a:lnTo>
                      <a:pt x="1223" y="716"/>
                    </a:lnTo>
                    <a:lnTo>
                      <a:pt x="1220" y="717"/>
                    </a:lnTo>
                    <a:lnTo>
                      <a:pt x="1220" y="720"/>
                    </a:lnTo>
                    <a:lnTo>
                      <a:pt x="1220" y="720"/>
                    </a:lnTo>
                    <a:lnTo>
                      <a:pt x="1222" y="723"/>
                    </a:lnTo>
                    <a:lnTo>
                      <a:pt x="1222" y="726"/>
                    </a:lnTo>
                    <a:lnTo>
                      <a:pt x="1219" y="728"/>
                    </a:lnTo>
                    <a:lnTo>
                      <a:pt x="1219" y="728"/>
                    </a:lnTo>
                    <a:lnTo>
                      <a:pt x="1218" y="731"/>
                    </a:lnTo>
                    <a:lnTo>
                      <a:pt x="1218" y="734"/>
                    </a:lnTo>
                    <a:lnTo>
                      <a:pt x="1218" y="737"/>
                    </a:lnTo>
                    <a:lnTo>
                      <a:pt x="1215" y="738"/>
                    </a:lnTo>
                    <a:lnTo>
                      <a:pt x="1215" y="738"/>
                    </a:lnTo>
                    <a:lnTo>
                      <a:pt x="1213" y="738"/>
                    </a:lnTo>
                    <a:lnTo>
                      <a:pt x="1212" y="740"/>
                    </a:lnTo>
                    <a:lnTo>
                      <a:pt x="1212" y="743"/>
                    </a:lnTo>
                    <a:lnTo>
                      <a:pt x="1210" y="746"/>
                    </a:lnTo>
                    <a:lnTo>
                      <a:pt x="1209" y="744"/>
                    </a:lnTo>
                    <a:lnTo>
                      <a:pt x="1209" y="744"/>
                    </a:lnTo>
                    <a:lnTo>
                      <a:pt x="1206" y="741"/>
                    </a:lnTo>
                    <a:lnTo>
                      <a:pt x="1203" y="741"/>
                    </a:lnTo>
                    <a:lnTo>
                      <a:pt x="1201" y="743"/>
                    </a:lnTo>
                    <a:lnTo>
                      <a:pt x="1201" y="746"/>
                    </a:lnTo>
                    <a:lnTo>
                      <a:pt x="1201" y="746"/>
                    </a:lnTo>
                    <a:lnTo>
                      <a:pt x="1199" y="747"/>
                    </a:lnTo>
                    <a:lnTo>
                      <a:pt x="1198" y="748"/>
                    </a:lnTo>
                    <a:lnTo>
                      <a:pt x="1193" y="753"/>
                    </a:lnTo>
                    <a:lnTo>
                      <a:pt x="1188" y="754"/>
                    </a:lnTo>
                    <a:lnTo>
                      <a:pt x="1183" y="754"/>
                    </a:lnTo>
                    <a:lnTo>
                      <a:pt x="1183" y="754"/>
                    </a:lnTo>
                    <a:lnTo>
                      <a:pt x="1181" y="753"/>
                    </a:lnTo>
                    <a:lnTo>
                      <a:pt x="1179" y="750"/>
                    </a:lnTo>
                    <a:lnTo>
                      <a:pt x="1178" y="747"/>
                    </a:lnTo>
                    <a:lnTo>
                      <a:pt x="1176" y="747"/>
                    </a:lnTo>
                    <a:lnTo>
                      <a:pt x="1175" y="747"/>
                    </a:lnTo>
                    <a:lnTo>
                      <a:pt x="1175" y="747"/>
                    </a:lnTo>
                    <a:lnTo>
                      <a:pt x="1174" y="748"/>
                    </a:lnTo>
                    <a:lnTo>
                      <a:pt x="1174" y="747"/>
                    </a:lnTo>
                    <a:lnTo>
                      <a:pt x="1172" y="744"/>
                    </a:lnTo>
                    <a:lnTo>
                      <a:pt x="1169" y="741"/>
                    </a:lnTo>
                    <a:lnTo>
                      <a:pt x="1168" y="740"/>
                    </a:lnTo>
                    <a:lnTo>
                      <a:pt x="1166" y="740"/>
                    </a:lnTo>
                    <a:lnTo>
                      <a:pt x="1166" y="740"/>
                    </a:lnTo>
                    <a:lnTo>
                      <a:pt x="1162" y="740"/>
                    </a:lnTo>
                    <a:lnTo>
                      <a:pt x="1159" y="738"/>
                    </a:lnTo>
                    <a:lnTo>
                      <a:pt x="1158" y="737"/>
                    </a:lnTo>
                    <a:lnTo>
                      <a:pt x="1158" y="734"/>
                    </a:lnTo>
                    <a:lnTo>
                      <a:pt x="1158" y="734"/>
                    </a:lnTo>
                    <a:lnTo>
                      <a:pt x="1158" y="733"/>
                    </a:lnTo>
                    <a:lnTo>
                      <a:pt x="1156" y="730"/>
                    </a:lnTo>
                    <a:lnTo>
                      <a:pt x="1154" y="727"/>
                    </a:lnTo>
                    <a:lnTo>
                      <a:pt x="1151" y="726"/>
                    </a:lnTo>
                    <a:lnTo>
                      <a:pt x="1151" y="724"/>
                    </a:lnTo>
                    <a:lnTo>
                      <a:pt x="1151" y="723"/>
                    </a:lnTo>
                    <a:lnTo>
                      <a:pt x="1151" y="723"/>
                    </a:lnTo>
                    <a:lnTo>
                      <a:pt x="1152" y="720"/>
                    </a:lnTo>
                    <a:lnTo>
                      <a:pt x="1152" y="716"/>
                    </a:lnTo>
                    <a:lnTo>
                      <a:pt x="1151" y="711"/>
                    </a:lnTo>
                    <a:lnTo>
                      <a:pt x="1149" y="704"/>
                    </a:lnTo>
                    <a:lnTo>
                      <a:pt x="1149" y="704"/>
                    </a:lnTo>
                    <a:lnTo>
                      <a:pt x="1149" y="700"/>
                    </a:lnTo>
                    <a:lnTo>
                      <a:pt x="1152" y="696"/>
                    </a:lnTo>
                    <a:lnTo>
                      <a:pt x="1154" y="694"/>
                    </a:lnTo>
                    <a:lnTo>
                      <a:pt x="1155" y="691"/>
                    </a:lnTo>
                    <a:lnTo>
                      <a:pt x="1155" y="691"/>
                    </a:lnTo>
                    <a:lnTo>
                      <a:pt x="1154" y="689"/>
                    </a:lnTo>
                    <a:lnTo>
                      <a:pt x="1152" y="689"/>
                    </a:lnTo>
                    <a:lnTo>
                      <a:pt x="1149" y="689"/>
                    </a:lnTo>
                    <a:lnTo>
                      <a:pt x="1146" y="690"/>
                    </a:lnTo>
                    <a:lnTo>
                      <a:pt x="1146" y="690"/>
                    </a:lnTo>
                    <a:lnTo>
                      <a:pt x="1144" y="691"/>
                    </a:lnTo>
                    <a:lnTo>
                      <a:pt x="1142" y="690"/>
                    </a:lnTo>
                    <a:lnTo>
                      <a:pt x="1141" y="687"/>
                    </a:lnTo>
                    <a:lnTo>
                      <a:pt x="1138" y="687"/>
                    </a:lnTo>
                    <a:lnTo>
                      <a:pt x="1138" y="687"/>
                    </a:lnTo>
                    <a:lnTo>
                      <a:pt x="1132" y="687"/>
                    </a:lnTo>
                    <a:lnTo>
                      <a:pt x="1127" y="686"/>
                    </a:lnTo>
                    <a:lnTo>
                      <a:pt x="1121" y="684"/>
                    </a:lnTo>
                    <a:lnTo>
                      <a:pt x="1119" y="683"/>
                    </a:lnTo>
                    <a:lnTo>
                      <a:pt x="1118" y="680"/>
                    </a:lnTo>
                    <a:lnTo>
                      <a:pt x="1118" y="680"/>
                    </a:lnTo>
                    <a:lnTo>
                      <a:pt x="1117" y="677"/>
                    </a:lnTo>
                    <a:lnTo>
                      <a:pt x="1115" y="676"/>
                    </a:lnTo>
                    <a:lnTo>
                      <a:pt x="1112" y="674"/>
                    </a:lnTo>
                    <a:lnTo>
                      <a:pt x="1111" y="672"/>
                    </a:lnTo>
                    <a:lnTo>
                      <a:pt x="1111" y="672"/>
                    </a:lnTo>
                    <a:lnTo>
                      <a:pt x="1108" y="669"/>
                    </a:lnTo>
                    <a:lnTo>
                      <a:pt x="1107" y="667"/>
                    </a:lnTo>
                    <a:lnTo>
                      <a:pt x="1104" y="667"/>
                    </a:lnTo>
                    <a:lnTo>
                      <a:pt x="1102" y="666"/>
                    </a:lnTo>
                    <a:lnTo>
                      <a:pt x="1102" y="666"/>
                    </a:lnTo>
                    <a:lnTo>
                      <a:pt x="1102" y="663"/>
                    </a:lnTo>
                    <a:lnTo>
                      <a:pt x="1101" y="660"/>
                    </a:lnTo>
                    <a:lnTo>
                      <a:pt x="1100" y="660"/>
                    </a:lnTo>
                    <a:lnTo>
                      <a:pt x="1097" y="659"/>
                    </a:lnTo>
                    <a:lnTo>
                      <a:pt x="1097" y="659"/>
                    </a:lnTo>
                    <a:lnTo>
                      <a:pt x="1094" y="659"/>
                    </a:lnTo>
                    <a:lnTo>
                      <a:pt x="1091" y="656"/>
                    </a:lnTo>
                    <a:lnTo>
                      <a:pt x="1088" y="654"/>
                    </a:lnTo>
                    <a:lnTo>
                      <a:pt x="1085" y="653"/>
                    </a:lnTo>
                    <a:lnTo>
                      <a:pt x="1085" y="653"/>
                    </a:lnTo>
                    <a:lnTo>
                      <a:pt x="1080" y="653"/>
                    </a:lnTo>
                    <a:lnTo>
                      <a:pt x="1075" y="654"/>
                    </a:lnTo>
                    <a:lnTo>
                      <a:pt x="1068" y="659"/>
                    </a:lnTo>
                    <a:lnTo>
                      <a:pt x="1068" y="659"/>
                    </a:lnTo>
                    <a:lnTo>
                      <a:pt x="1065" y="659"/>
                    </a:lnTo>
                    <a:lnTo>
                      <a:pt x="1061" y="657"/>
                    </a:lnTo>
                    <a:lnTo>
                      <a:pt x="1057" y="656"/>
                    </a:lnTo>
                    <a:lnTo>
                      <a:pt x="1054" y="656"/>
                    </a:lnTo>
                    <a:lnTo>
                      <a:pt x="1054" y="656"/>
                    </a:lnTo>
                    <a:lnTo>
                      <a:pt x="1053" y="657"/>
                    </a:lnTo>
                    <a:lnTo>
                      <a:pt x="1050" y="656"/>
                    </a:lnTo>
                    <a:lnTo>
                      <a:pt x="1047" y="654"/>
                    </a:lnTo>
                    <a:lnTo>
                      <a:pt x="1041" y="652"/>
                    </a:lnTo>
                    <a:lnTo>
                      <a:pt x="1041" y="652"/>
                    </a:lnTo>
                    <a:lnTo>
                      <a:pt x="1027" y="650"/>
                    </a:lnTo>
                    <a:lnTo>
                      <a:pt x="1023" y="650"/>
                    </a:lnTo>
                    <a:lnTo>
                      <a:pt x="1020" y="652"/>
                    </a:lnTo>
                    <a:lnTo>
                      <a:pt x="1020" y="652"/>
                    </a:lnTo>
                    <a:lnTo>
                      <a:pt x="1018" y="654"/>
                    </a:lnTo>
                    <a:lnTo>
                      <a:pt x="1016" y="656"/>
                    </a:lnTo>
                    <a:lnTo>
                      <a:pt x="1014" y="659"/>
                    </a:lnTo>
                    <a:lnTo>
                      <a:pt x="1013" y="663"/>
                    </a:lnTo>
                    <a:lnTo>
                      <a:pt x="1013" y="663"/>
                    </a:lnTo>
                    <a:lnTo>
                      <a:pt x="1016" y="667"/>
                    </a:lnTo>
                    <a:lnTo>
                      <a:pt x="1018" y="670"/>
                    </a:lnTo>
                    <a:lnTo>
                      <a:pt x="1021" y="672"/>
                    </a:lnTo>
                    <a:lnTo>
                      <a:pt x="1024" y="674"/>
                    </a:lnTo>
                    <a:lnTo>
                      <a:pt x="1024" y="674"/>
                    </a:lnTo>
                    <a:lnTo>
                      <a:pt x="1024" y="677"/>
                    </a:lnTo>
                    <a:lnTo>
                      <a:pt x="1023" y="679"/>
                    </a:lnTo>
                    <a:lnTo>
                      <a:pt x="1021" y="680"/>
                    </a:lnTo>
                    <a:lnTo>
                      <a:pt x="1020" y="683"/>
                    </a:lnTo>
                    <a:lnTo>
                      <a:pt x="1020" y="683"/>
                    </a:lnTo>
                    <a:lnTo>
                      <a:pt x="1018" y="686"/>
                    </a:lnTo>
                    <a:lnTo>
                      <a:pt x="1017" y="687"/>
                    </a:lnTo>
                    <a:lnTo>
                      <a:pt x="1016" y="689"/>
                    </a:lnTo>
                    <a:lnTo>
                      <a:pt x="1014" y="690"/>
                    </a:lnTo>
                    <a:lnTo>
                      <a:pt x="1014" y="690"/>
                    </a:lnTo>
                    <a:lnTo>
                      <a:pt x="1016" y="691"/>
                    </a:lnTo>
                    <a:lnTo>
                      <a:pt x="1017" y="693"/>
                    </a:lnTo>
                    <a:lnTo>
                      <a:pt x="1018" y="696"/>
                    </a:lnTo>
                    <a:lnTo>
                      <a:pt x="1020" y="699"/>
                    </a:lnTo>
                    <a:lnTo>
                      <a:pt x="1020" y="699"/>
                    </a:lnTo>
                    <a:lnTo>
                      <a:pt x="1021" y="703"/>
                    </a:lnTo>
                    <a:lnTo>
                      <a:pt x="1023" y="706"/>
                    </a:lnTo>
                    <a:lnTo>
                      <a:pt x="1026" y="709"/>
                    </a:lnTo>
                    <a:lnTo>
                      <a:pt x="1026" y="713"/>
                    </a:lnTo>
                    <a:lnTo>
                      <a:pt x="1026" y="713"/>
                    </a:lnTo>
                    <a:lnTo>
                      <a:pt x="1026" y="718"/>
                    </a:lnTo>
                    <a:lnTo>
                      <a:pt x="1024" y="720"/>
                    </a:lnTo>
                    <a:lnTo>
                      <a:pt x="1020" y="721"/>
                    </a:lnTo>
                    <a:lnTo>
                      <a:pt x="1020" y="721"/>
                    </a:lnTo>
                    <a:lnTo>
                      <a:pt x="1018" y="723"/>
                    </a:lnTo>
                    <a:lnTo>
                      <a:pt x="1018" y="726"/>
                    </a:lnTo>
                    <a:lnTo>
                      <a:pt x="1017" y="728"/>
                    </a:lnTo>
                    <a:lnTo>
                      <a:pt x="1016" y="733"/>
                    </a:lnTo>
                    <a:lnTo>
                      <a:pt x="1016" y="733"/>
                    </a:lnTo>
                    <a:lnTo>
                      <a:pt x="1008" y="741"/>
                    </a:lnTo>
                    <a:lnTo>
                      <a:pt x="1008" y="744"/>
                    </a:lnTo>
                    <a:lnTo>
                      <a:pt x="1010" y="747"/>
                    </a:lnTo>
                    <a:lnTo>
                      <a:pt x="1010" y="747"/>
                    </a:lnTo>
                    <a:lnTo>
                      <a:pt x="1021" y="755"/>
                    </a:lnTo>
                    <a:lnTo>
                      <a:pt x="1028" y="760"/>
                    </a:lnTo>
                    <a:lnTo>
                      <a:pt x="1034" y="767"/>
                    </a:lnTo>
                    <a:lnTo>
                      <a:pt x="1034" y="767"/>
                    </a:lnTo>
                    <a:lnTo>
                      <a:pt x="1037" y="775"/>
                    </a:lnTo>
                    <a:lnTo>
                      <a:pt x="1038" y="784"/>
                    </a:lnTo>
                    <a:lnTo>
                      <a:pt x="1038" y="794"/>
                    </a:lnTo>
                    <a:lnTo>
                      <a:pt x="1037" y="802"/>
                    </a:lnTo>
                    <a:lnTo>
                      <a:pt x="1037" y="802"/>
                    </a:lnTo>
                    <a:lnTo>
                      <a:pt x="1037" y="805"/>
                    </a:lnTo>
                    <a:lnTo>
                      <a:pt x="1034" y="808"/>
                    </a:lnTo>
                    <a:lnTo>
                      <a:pt x="1028" y="814"/>
                    </a:lnTo>
                    <a:lnTo>
                      <a:pt x="1021" y="818"/>
                    </a:lnTo>
                    <a:lnTo>
                      <a:pt x="1014" y="824"/>
                    </a:lnTo>
                    <a:lnTo>
                      <a:pt x="1014" y="824"/>
                    </a:lnTo>
                    <a:lnTo>
                      <a:pt x="1008" y="829"/>
                    </a:lnTo>
                    <a:lnTo>
                      <a:pt x="1001" y="832"/>
                    </a:lnTo>
                    <a:lnTo>
                      <a:pt x="993" y="832"/>
                    </a:lnTo>
                    <a:lnTo>
                      <a:pt x="993" y="832"/>
                    </a:lnTo>
                    <a:lnTo>
                      <a:pt x="991" y="834"/>
                    </a:lnTo>
                    <a:lnTo>
                      <a:pt x="990" y="834"/>
                    </a:lnTo>
                    <a:lnTo>
                      <a:pt x="990" y="838"/>
                    </a:lnTo>
                    <a:lnTo>
                      <a:pt x="993" y="842"/>
                    </a:lnTo>
                    <a:lnTo>
                      <a:pt x="997" y="848"/>
                    </a:lnTo>
                    <a:lnTo>
                      <a:pt x="997" y="848"/>
                    </a:lnTo>
                    <a:lnTo>
                      <a:pt x="1000" y="852"/>
                    </a:lnTo>
                    <a:lnTo>
                      <a:pt x="1000" y="856"/>
                    </a:lnTo>
                    <a:lnTo>
                      <a:pt x="1000" y="859"/>
                    </a:lnTo>
                    <a:lnTo>
                      <a:pt x="1001" y="864"/>
                    </a:lnTo>
                    <a:lnTo>
                      <a:pt x="1001" y="864"/>
                    </a:lnTo>
                    <a:lnTo>
                      <a:pt x="1003" y="869"/>
                    </a:lnTo>
                    <a:lnTo>
                      <a:pt x="1003" y="874"/>
                    </a:lnTo>
                    <a:lnTo>
                      <a:pt x="1003" y="879"/>
                    </a:lnTo>
                    <a:lnTo>
                      <a:pt x="1006" y="883"/>
                    </a:lnTo>
                    <a:lnTo>
                      <a:pt x="1006" y="883"/>
                    </a:lnTo>
                    <a:lnTo>
                      <a:pt x="1007" y="888"/>
                    </a:lnTo>
                    <a:lnTo>
                      <a:pt x="1007" y="891"/>
                    </a:lnTo>
                    <a:lnTo>
                      <a:pt x="1006" y="893"/>
                    </a:lnTo>
                    <a:lnTo>
                      <a:pt x="1001" y="896"/>
                    </a:lnTo>
                    <a:lnTo>
                      <a:pt x="1001" y="896"/>
                    </a:lnTo>
                    <a:lnTo>
                      <a:pt x="1000" y="899"/>
                    </a:lnTo>
                    <a:lnTo>
                      <a:pt x="1001" y="901"/>
                    </a:lnTo>
                    <a:lnTo>
                      <a:pt x="1003" y="902"/>
                    </a:lnTo>
                    <a:lnTo>
                      <a:pt x="1004" y="905"/>
                    </a:lnTo>
                    <a:lnTo>
                      <a:pt x="1004" y="905"/>
                    </a:lnTo>
                    <a:lnTo>
                      <a:pt x="1004" y="908"/>
                    </a:lnTo>
                    <a:lnTo>
                      <a:pt x="1003" y="908"/>
                    </a:lnTo>
                    <a:lnTo>
                      <a:pt x="997" y="905"/>
                    </a:lnTo>
                    <a:lnTo>
                      <a:pt x="997" y="905"/>
                    </a:lnTo>
                    <a:lnTo>
                      <a:pt x="996" y="903"/>
                    </a:lnTo>
                    <a:lnTo>
                      <a:pt x="994" y="903"/>
                    </a:lnTo>
                    <a:lnTo>
                      <a:pt x="991" y="906"/>
                    </a:lnTo>
                    <a:lnTo>
                      <a:pt x="989" y="911"/>
                    </a:lnTo>
                    <a:lnTo>
                      <a:pt x="989" y="915"/>
                    </a:lnTo>
                    <a:lnTo>
                      <a:pt x="989" y="915"/>
                    </a:lnTo>
                    <a:lnTo>
                      <a:pt x="989" y="915"/>
                    </a:lnTo>
                    <a:lnTo>
                      <a:pt x="987" y="915"/>
                    </a:lnTo>
                    <a:lnTo>
                      <a:pt x="983" y="913"/>
                    </a:lnTo>
                    <a:lnTo>
                      <a:pt x="979" y="911"/>
                    </a:lnTo>
                    <a:lnTo>
                      <a:pt x="974" y="909"/>
                    </a:lnTo>
                    <a:lnTo>
                      <a:pt x="974" y="909"/>
                    </a:lnTo>
                    <a:lnTo>
                      <a:pt x="974" y="909"/>
                    </a:lnTo>
                    <a:lnTo>
                      <a:pt x="973" y="906"/>
                    </a:lnTo>
                    <a:lnTo>
                      <a:pt x="973" y="902"/>
                    </a:lnTo>
                    <a:lnTo>
                      <a:pt x="969" y="898"/>
                    </a:lnTo>
                    <a:lnTo>
                      <a:pt x="969" y="898"/>
                    </a:lnTo>
                    <a:lnTo>
                      <a:pt x="962" y="893"/>
                    </a:lnTo>
                    <a:lnTo>
                      <a:pt x="959" y="891"/>
                    </a:lnTo>
                    <a:lnTo>
                      <a:pt x="957" y="888"/>
                    </a:lnTo>
                    <a:lnTo>
                      <a:pt x="957" y="888"/>
                    </a:lnTo>
                    <a:lnTo>
                      <a:pt x="956" y="883"/>
                    </a:lnTo>
                    <a:lnTo>
                      <a:pt x="952" y="881"/>
                    </a:lnTo>
                    <a:lnTo>
                      <a:pt x="949" y="876"/>
                    </a:lnTo>
                    <a:lnTo>
                      <a:pt x="947" y="875"/>
                    </a:lnTo>
                    <a:lnTo>
                      <a:pt x="947" y="874"/>
                    </a:lnTo>
                    <a:lnTo>
                      <a:pt x="947" y="874"/>
                    </a:lnTo>
                    <a:lnTo>
                      <a:pt x="947" y="861"/>
                    </a:lnTo>
                    <a:lnTo>
                      <a:pt x="947" y="854"/>
                    </a:lnTo>
                    <a:lnTo>
                      <a:pt x="946" y="848"/>
                    </a:lnTo>
                    <a:lnTo>
                      <a:pt x="946" y="848"/>
                    </a:lnTo>
                    <a:lnTo>
                      <a:pt x="944" y="845"/>
                    </a:lnTo>
                    <a:lnTo>
                      <a:pt x="944" y="842"/>
                    </a:lnTo>
                    <a:lnTo>
                      <a:pt x="947" y="835"/>
                    </a:lnTo>
                    <a:lnTo>
                      <a:pt x="947" y="835"/>
                    </a:lnTo>
                    <a:lnTo>
                      <a:pt x="947" y="832"/>
                    </a:lnTo>
                    <a:lnTo>
                      <a:pt x="946" y="829"/>
                    </a:lnTo>
                    <a:lnTo>
                      <a:pt x="943" y="827"/>
                    </a:lnTo>
                    <a:lnTo>
                      <a:pt x="939" y="825"/>
                    </a:lnTo>
                    <a:lnTo>
                      <a:pt x="939" y="825"/>
                    </a:lnTo>
                    <a:lnTo>
                      <a:pt x="927" y="825"/>
                    </a:lnTo>
                    <a:lnTo>
                      <a:pt x="915" y="824"/>
                    </a:lnTo>
                    <a:lnTo>
                      <a:pt x="915" y="824"/>
                    </a:lnTo>
                    <a:lnTo>
                      <a:pt x="903" y="824"/>
                    </a:lnTo>
                    <a:lnTo>
                      <a:pt x="900" y="822"/>
                    </a:lnTo>
                    <a:lnTo>
                      <a:pt x="898" y="821"/>
                    </a:lnTo>
                    <a:lnTo>
                      <a:pt x="898" y="821"/>
                    </a:lnTo>
                    <a:lnTo>
                      <a:pt x="890" y="817"/>
                    </a:lnTo>
                    <a:lnTo>
                      <a:pt x="883" y="812"/>
                    </a:lnTo>
                    <a:lnTo>
                      <a:pt x="876" y="811"/>
                    </a:lnTo>
                    <a:lnTo>
                      <a:pt x="876" y="811"/>
                    </a:lnTo>
                    <a:lnTo>
                      <a:pt x="869" y="808"/>
                    </a:lnTo>
                    <a:lnTo>
                      <a:pt x="863" y="805"/>
                    </a:lnTo>
                    <a:lnTo>
                      <a:pt x="861" y="801"/>
                    </a:lnTo>
                    <a:lnTo>
                      <a:pt x="859" y="798"/>
                    </a:lnTo>
                    <a:lnTo>
                      <a:pt x="859" y="798"/>
                    </a:lnTo>
                    <a:lnTo>
                      <a:pt x="856" y="797"/>
                    </a:lnTo>
                    <a:lnTo>
                      <a:pt x="852" y="794"/>
                    </a:lnTo>
                    <a:lnTo>
                      <a:pt x="848" y="792"/>
                    </a:lnTo>
                    <a:lnTo>
                      <a:pt x="843" y="790"/>
                    </a:lnTo>
                    <a:lnTo>
                      <a:pt x="843" y="790"/>
                    </a:lnTo>
                    <a:lnTo>
                      <a:pt x="841" y="788"/>
                    </a:lnTo>
                    <a:lnTo>
                      <a:pt x="836" y="787"/>
                    </a:lnTo>
                    <a:lnTo>
                      <a:pt x="826" y="785"/>
                    </a:lnTo>
                    <a:lnTo>
                      <a:pt x="826" y="785"/>
                    </a:lnTo>
                    <a:lnTo>
                      <a:pt x="822" y="784"/>
                    </a:lnTo>
                    <a:lnTo>
                      <a:pt x="816" y="781"/>
                    </a:lnTo>
                    <a:lnTo>
                      <a:pt x="811" y="778"/>
                    </a:lnTo>
                    <a:lnTo>
                      <a:pt x="805" y="777"/>
                    </a:lnTo>
                    <a:lnTo>
                      <a:pt x="805" y="777"/>
                    </a:lnTo>
                    <a:lnTo>
                      <a:pt x="799" y="778"/>
                    </a:lnTo>
                    <a:lnTo>
                      <a:pt x="792" y="781"/>
                    </a:lnTo>
                    <a:lnTo>
                      <a:pt x="781" y="784"/>
                    </a:lnTo>
                    <a:lnTo>
                      <a:pt x="781" y="784"/>
                    </a:lnTo>
                    <a:lnTo>
                      <a:pt x="781" y="784"/>
                    </a:lnTo>
                    <a:lnTo>
                      <a:pt x="781" y="781"/>
                    </a:lnTo>
                    <a:lnTo>
                      <a:pt x="784" y="777"/>
                    </a:lnTo>
                    <a:lnTo>
                      <a:pt x="784" y="777"/>
                    </a:lnTo>
                    <a:lnTo>
                      <a:pt x="784" y="773"/>
                    </a:lnTo>
                    <a:lnTo>
                      <a:pt x="781" y="768"/>
                    </a:lnTo>
                    <a:lnTo>
                      <a:pt x="777" y="755"/>
                    </a:lnTo>
                    <a:lnTo>
                      <a:pt x="777" y="755"/>
                    </a:lnTo>
                    <a:lnTo>
                      <a:pt x="775" y="751"/>
                    </a:lnTo>
                    <a:lnTo>
                      <a:pt x="772" y="746"/>
                    </a:lnTo>
                    <a:lnTo>
                      <a:pt x="769" y="743"/>
                    </a:lnTo>
                    <a:lnTo>
                      <a:pt x="765" y="743"/>
                    </a:lnTo>
                    <a:lnTo>
                      <a:pt x="765" y="743"/>
                    </a:lnTo>
                    <a:lnTo>
                      <a:pt x="760" y="743"/>
                    </a:lnTo>
                    <a:lnTo>
                      <a:pt x="754" y="741"/>
                    </a:lnTo>
                    <a:lnTo>
                      <a:pt x="747" y="738"/>
                    </a:lnTo>
                    <a:lnTo>
                      <a:pt x="747" y="738"/>
                    </a:lnTo>
                    <a:lnTo>
                      <a:pt x="745" y="734"/>
                    </a:lnTo>
                    <a:lnTo>
                      <a:pt x="745" y="726"/>
                    </a:lnTo>
                    <a:lnTo>
                      <a:pt x="745" y="716"/>
                    </a:lnTo>
                    <a:lnTo>
                      <a:pt x="747" y="707"/>
                    </a:lnTo>
                    <a:lnTo>
                      <a:pt x="747" y="707"/>
                    </a:lnTo>
                    <a:lnTo>
                      <a:pt x="748" y="700"/>
                    </a:lnTo>
                    <a:lnTo>
                      <a:pt x="752" y="693"/>
                    </a:lnTo>
                    <a:lnTo>
                      <a:pt x="755" y="686"/>
                    </a:lnTo>
                    <a:lnTo>
                      <a:pt x="757" y="681"/>
                    </a:lnTo>
                    <a:lnTo>
                      <a:pt x="757" y="681"/>
                    </a:lnTo>
                    <a:lnTo>
                      <a:pt x="758" y="677"/>
                    </a:lnTo>
                    <a:lnTo>
                      <a:pt x="761" y="674"/>
                    </a:lnTo>
                    <a:lnTo>
                      <a:pt x="768" y="672"/>
                    </a:lnTo>
                    <a:lnTo>
                      <a:pt x="768" y="672"/>
                    </a:lnTo>
                    <a:lnTo>
                      <a:pt x="769" y="672"/>
                    </a:lnTo>
                    <a:lnTo>
                      <a:pt x="771" y="669"/>
                    </a:lnTo>
                    <a:lnTo>
                      <a:pt x="772" y="666"/>
                    </a:lnTo>
                    <a:lnTo>
                      <a:pt x="772" y="662"/>
                    </a:lnTo>
                    <a:lnTo>
                      <a:pt x="774" y="660"/>
                    </a:lnTo>
                    <a:lnTo>
                      <a:pt x="775" y="659"/>
                    </a:lnTo>
                    <a:lnTo>
                      <a:pt x="775" y="659"/>
                    </a:lnTo>
                    <a:lnTo>
                      <a:pt x="778" y="659"/>
                    </a:lnTo>
                    <a:lnTo>
                      <a:pt x="779" y="657"/>
                    </a:lnTo>
                    <a:lnTo>
                      <a:pt x="782" y="652"/>
                    </a:lnTo>
                    <a:lnTo>
                      <a:pt x="782" y="652"/>
                    </a:lnTo>
                    <a:lnTo>
                      <a:pt x="784" y="650"/>
                    </a:lnTo>
                    <a:lnTo>
                      <a:pt x="785" y="649"/>
                    </a:lnTo>
                    <a:lnTo>
                      <a:pt x="787" y="649"/>
                    </a:lnTo>
                    <a:lnTo>
                      <a:pt x="785" y="647"/>
                    </a:lnTo>
                    <a:lnTo>
                      <a:pt x="785" y="647"/>
                    </a:lnTo>
                    <a:lnTo>
                      <a:pt x="784" y="644"/>
                    </a:lnTo>
                    <a:lnTo>
                      <a:pt x="785" y="643"/>
                    </a:lnTo>
                    <a:lnTo>
                      <a:pt x="794" y="643"/>
                    </a:lnTo>
                    <a:lnTo>
                      <a:pt x="794" y="643"/>
                    </a:lnTo>
                    <a:lnTo>
                      <a:pt x="799" y="642"/>
                    </a:lnTo>
                    <a:lnTo>
                      <a:pt x="806" y="640"/>
                    </a:lnTo>
                    <a:lnTo>
                      <a:pt x="811" y="637"/>
                    </a:lnTo>
                    <a:lnTo>
                      <a:pt x="812" y="635"/>
                    </a:lnTo>
                    <a:lnTo>
                      <a:pt x="812" y="632"/>
                    </a:lnTo>
                    <a:lnTo>
                      <a:pt x="812" y="632"/>
                    </a:lnTo>
                    <a:lnTo>
                      <a:pt x="811" y="629"/>
                    </a:lnTo>
                    <a:lnTo>
                      <a:pt x="808" y="627"/>
                    </a:lnTo>
                    <a:lnTo>
                      <a:pt x="799" y="626"/>
                    </a:lnTo>
                    <a:lnTo>
                      <a:pt x="792" y="626"/>
                    </a:lnTo>
                    <a:lnTo>
                      <a:pt x="789" y="625"/>
                    </a:lnTo>
                    <a:lnTo>
                      <a:pt x="788" y="623"/>
                    </a:lnTo>
                    <a:lnTo>
                      <a:pt x="788" y="623"/>
                    </a:lnTo>
                    <a:lnTo>
                      <a:pt x="788" y="620"/>
                    </a:lnTo>
                    <a:lnTo>
                      <a:pt x="784" y="619"/>
                    </a:lnTo>
                    <a:lnTo>
                      <a:pt x="775" y="616"/>
                    </a:lnTo>
                    <a:lnTo>
                      <a:pt x="767" y="615"/>
                    </a:lnTo>
                    <a:lnTo>
                      <a:pt x="764" y="613"/>
                    </a:lnTo>
                    <a:lnTo>
                      <a:pt x="764" y="612"/>
                    </a:lnTo>
                    <a:lnTo>
                      <a:pt x="764" y="612"/>
                    </a:lnTo>
                    <a:lnTo>
                      <a:pt x="765" y="610"/>
                    </a:lnTo>
                    <a:lnTo>
                      <a:pt x="768" y="610"/>
                    </a:lnTo>
                    <a:lnTo>
                      <a:pt x="778" y="612"/>
                    </a:lnTo>
                    <a:lnTo>
                      <a:pt x="799" y="617"/>
                    </a:lnTo>
                    <a:lnTo>
                      <a:pt x="799" y="617"/>
                    </a:lnTo>
                    <a:lnTo>
                      <a:pt x="809" y="620"/>
                    </a:lnTo>
                    <a:lnTo>
                      <a:pt x="819" y="620"/>
                    </a:lnTo>
                    <a:lnTo>
                      <a:pt x="819" y="620"/>
                    </a:lnTo>
                    <a:lnTo>
                      <a:pt x="821" y="620"/>
                    </a:lnTo>
                    <a:lnTo>
                      <a:pt x="822" y="619"/>
                    </a:lnTo>
                    <a:lnTo>
                      <a:pt x="824" y="615"/>
                    </a:lnTo>
                    <a:lnTo>
                      <a:pt x="822" y="610"/>
                    </a:lnTo>
                    <a:lnTo>
                      <a:pt x="822" y="608"/>
                    </a:lnTo>
                    <a:lnTo>
                      <a:pt x="822" y="608"/>
                    </a:lnTo>
                    <a:lnTo>
                      <a:pt x="824" y="606"/>
                    </a:lnTo>
                    <a:lnTo>
                      <a:pt x="826" y="606"/>
                    </a:lnTo>
                    <a:lnTo>
                      <a:pt x="832" y="609"/>
                    </a:lnTo>
                    <a:lnTo>
                      <a:pt x="839" y="610"/>
                    </a:lnTo>
                    <a:lnTo>
                      <a:pt x="843" y="612"/>
                    </a:lnTo>
                    <a:lnTo>
                      <a:pt x="846" y="610"/>
                    </a:lnTo>
                    <a:lnTo>
                      <a:pt x="846" y="610"/>
                    </a:lnTo>
                    <a:lnTo>
                      <a:pt x="849" y="609"/>
                    </a:lnTo>
                    <a:lnTo>
                      <a:pt x="852" y="608"/>
                    </a:lnTo>
                    <a:lnTo>
                      <a:pt x="858" y="600"/>
                    </a:lnTo>
                    <a:lnTo>
                      <a:pt x="863" y="593"/>
                    </a:lnTo>
                    <a:lnTo>
                      <a:pt x="869" y="588"/>
                    </a:lnTo>
                    <a:lnTo>
                      <a:pt x="869" y="588"/>
                    </a:lnTo>
                    <a:lnTo>
                      <a:pt x="872" y="585"/>
                    </a:lnTo>
                    <a:lnTo>
                      <a:pt x="872" y="583"/>
                    </a:lnTo>
                    <a:lnTo>
                      <a:pt x="870" y="582"/>
                    </a:lnTo>
                    <a:lnTo>
                      <a:pt x="865" y="579"/>
                    </a:lnTo>
                    <a:lnTo>
                      <a:pt x="856" y="579"/>
                    </a:lnTo>
                    <a:lnTo>
                      <a:pt x="856" y="579"/>
                    </a:lnTo>
                    <a:lnTo>
                      <a:pt x="848" y="579"/>
                    </a:lnTo>
                    <a:lnTo>
                      <a:pt x="841" y="578"/>
                    </a:lnTo>
                    <a:lnTo>
                      <a:pt x="835" y="575"/>
                    </a:lnTo>
                    <a:lnTo>
                      <a:pt x="829" y="571"/>
                    </a:lnTo>
                    <a:lnTo>
                      <a:pt x="829" y="571"/>
                    </a:lnTo>
                    <a:lnTo>
                      <a:pt x="825" y="566"/>
                    </a:lnTo>
                    <a:lnTo>
                      <a:pt x="824" y="563"/>
                    </a:lnTo>
                    <a:lnTo>
                      <a:pt x="826" y="562"/>
                    </a:lnTo>
                    <a:lnTo>
                      <a:pt x="831" y="562"/>
                    </a:lnTo>
                    <a:lnTo>
                      <a:pt x="831" y="562"/>
                    </a:lnTo>
                    <a:lnTo>
                      <a:pt x="838" y="565"/>
                    </a:lnTo>
                    <a:lnTo>
                      <a:pt x="846" y="569"/>
                    </a:lnTo>
                    <a:lnTo>
                      <a:pt x="855" y="575"/>
                    </a:lnTo>
                    <a:lnTo>
                      <a:pt x="862" y="578"/>
                    </a:lnTo>
                    <a:lnTo>
                      <a:pt x="862" y="578"/>
                    </a:lnTo>
                    <a:lnTo>
                      <a:pt x="865" y="576"/>
                    </a:lnTo>
                    <a:lnTo>
                      <a:pt x="868" y="575"/>
                    </a:lnTo>
                    <a:lnTo>
                      <a:pt x="875" y="571"/>
                    </a:lnTo>
                    <a:lnTo>
                      <a:pt x="886" y="559"/>
                    </a:lnTo>
                    <a:lnTo>
                      <a:pt x="886" y="559"/>
                    </a:lnTo>
                    <a:lnTo>
                      <a:pt x="888" y="558"/>
                    </a:lnTo>
                    <a:lnTo>
                      <a:pt x="888" y="556"/>
                    </a:lnTo>
                    <a:lnTo>
                      <a:pt x="885" y="555"/>
                    </a:lnTo>
                    <a:lnTo>
                      <a:pt x="878" y="551"/>
                    </a:lnTo>
                    <a:lnTo>
                      <a:pt x="878" y="551"/>
                    </a:lnTo>
                    <a:lnTo>
                      <a:pt x="876" y="549"/>
                    </a:lnTo>
                    <a:lnTo>
                      <a:pt x="876" y="548"/>
                    </a:lnTo>
                    <a:lnTo>
                      <a:pt x="879" y="546"/>
                    </a:lnTo>
                    <a:lnTo>
                      <a:pt x="889" y="545"/>
                    </a:lnTo>
                    <a:lnTo>
                      <a:pt x="889" y="545"/>
                    </a:lnTo>
                    <a:lnTo>
                      <a:pt x="893" y="546"/>
                    </a:lnTo>
                    <a:lnTo>
                      <a:pt x="896" y="548"/>
                    </a:lnTo>
                    <a:lnTo>
                      <a:pt x="900" y="552"/>
                    </a:lnTo>
                    <a:lnTo>
                      <a:pt x="900" y="552"/>
                    </a:lnTo>
                    <a:lnTo>
                      <a:pt x="903" y="553"/>
                    </a:lnTo>
                    <a:lnTo>
                      <a:pt x="907" y="552"/>
                    </a:lnTo>
                    <a:lnTo>
                      <a:pt x="917" y="551"/>
                    </a:lnTo>
                    <a:lnTo>
                      <a:pt x="917" y="551"/>
                    </a:lnTo>
                    <a:lnTo>
                      <a:pt x="919" y="551"/>
                    </a:lnTo>
                    <a:lnTo>
                      <a:pt x="919" y="549"/>
                    </a:lnTo>
                    <a:lnTo>
                      <a:pt x="917" y="546"/>
                    </a:lnTo>
                    <a:lnTo>
                      <a:pt x="913" y="542"/>
                    </a:lnTo>
                    <a:lnTo>
                      <a:pt x="907" y="539"/>
                    </a:lnTo>
                    <a:lnTo>
                      <a:pt x="907" y="539"/>
                    </a:lnTo>
                    <a:lnTo>
                      <a:pt x="906" y="538"/>
                    </a:lnTo>
                    <a:lnTo>
                      <a:pt x="905" y="536"/>
                    </a:lnTo>
                    <a:lnTo>
                      <a:pt x="905" y="535"/>
                    </a:lnTo>
                    <a:lnTo>
                      <a:pt x="906" y="535"/>
                    </a:lnTo>
                    <a:lnTo>
                      <a:pt x="907" y="534"/>
                    </a:lnTo>
                    <a:lnTo>
                      <a:pt x="910" y="534"/>
                    </a:lnTo>
                    <a:lnTo>
                      <a:pt x="910" y="535"/>
                    </a:lnTo>
                    <a:lnTo>
                      <a:pt x="910" y="535"/>
                    </a:lnTo>
                    <a:lnTo>
                      <a:pt x="913" y="538"/>
                    </a:lnTo>
                    <a:lnTo>
                      <a:pt x="916" y="539"/>
                    </a:lnTo>
                    <a:lnTo>
                      <a:pt x="919" y="542"/>
                    </a:lnTo>
                    <a:lnTo>
                      <a:pt x="922" y="545"/>
                    </a:lnTo>
                    <a:lnTo>
                      <a:pt x="922" y="545"/>
                    </a:lnTo>
                    <a:lnTo>
                      <a:pt x="925" y="549"/>
                    </a:lnTo>
                    <a:lnTo>
                      <a:pt x="927" y="549"/>
                    </a:lnTo>
                    <a:lnTo>
                      <a:pt x="936" y="545"/>
                    </a:lnTo>
                    <a:lnTo>
                      <a:pt x="936" y="545"/>
                    </a:lnTo>
                    <a:lnTo>
                      <a:pt x="940" y="543"/>
                    </a:lnTo>
                    <a:lnTo>
                      <a:pt x="944" y="541"/>
                    </a:lnTo>
                    <a:lnTo>
                      <a:pt x="950" y="534"/>
                    </a:lnTo>
                    <a:lnTo>
                      <a:pt x="950" y="534"/>
                    </a:lnTo>
                    <a:lnTo>
                      <a:pt x="953" y="532"/>
                    </a:lnTo>
                    <a:lnTo>
                      <a:pt x="954" y="532"/>
                    </a:lnTo>
                    <a:lnTo>
                      <a:pt x="957" y="531"/>
                    </a:lnTo>
                    <a:lnTo>
                      <a:pt x="960" y="528"/>
                    </a:lnTo>
                    <a:lnTo>
                      <a:pt x="960" y="528"/>
                    </a:lnTo>
                    <a:lnTo>
                      <a:pt x="960" y="525"/>
                    </a:lnTo>
                    <a:lnTo>
                      <a:pt x="962" y="524"/>
                    </a:lnTo>
                    <a:lnTo>
                      <a:pt x="960" y="518"/>
                    </a:lnTo>
                    <a:lnTo>
                      <a:pt x="956" y="514"/>
                    </a:lnTo>
                    <a:lnTo>
                      <a:pt x="952" y="511"/>
                    </a:lnTo>
                    <a:lnTo>
                      <a:pt x="952" y="511"/>
                    </a:lnTo>
                    <a:lnTo>
                      <a:pt x="949" y="508"/>
                    </a:lnTo>
                    <a:lnTo>
                      <a:pt x="949" y="505"/>
                    </a:lnTo>
                    <a:lnTo>
                      <a:pt x="949" y="502"/>
                    </a:lnTo>
                    <a:lnTo>
                      <a:pt x="946" y="499"/>
                    </a:lnTo>
                    <a:lnTo>
                      <a:pt x="946" y="499"/>
                    </a:lnTo>
                    <a:lnTo>
                      <a:pt x="943" y="497"/>
                    </a:lnTo>
                    <a:lnTo>
                      <a:pt x="942" y="494"/>
                    </a:lnTo>
                    <a:lnTo>
                      <a:pt x="943" y="492"/>
                    </a:lnTo>
                    <a:lnTo>
                      <a:pt x="947" y="492"/>
                    </a:lnTo>
                    <a:lnTo>
                      <a:pt x="947" y="492"/>
                    </a:lnTo>
                    <a:lnTo>
                      <a:pt x="952" y="492"/>
                    </a:lnTo>
                    <a:lnTo>
                      <a:pt x="956" y="492"/>
                    </a:lnTo>
                    <a:lnTo>
                      <a:pt x="960" y="489"/>
                    </a:lnTo>
                    <a:lnTo>
                      <a:pt x="963" y="487"/>
                    </a:lnTo>
                    <a:lnTo>
                      <a:pt x="963" y="487"/>
                    </a:lnTo>
                    <a:lnTo>
                      <a:pt x="963" y="485"/>
                    </a:lnTo>
                    <a:lnTo>
                      <a:pt x="963" y="484"/>
                    </a:lnTo>
                    <a:lnTo>
                      <a:pt x="960" y="481"/>
                    </a:lnTo>
                    <a:lnTo>
                      <a:pt x="957" y="479"/>
                    </a:lnTo>
                    <a:lnTo>
                      <a:pt x="957" y="478"/>
                    </a:lnTo>
                    <a:lnTo>
                      <a:pt x="959" y="477"/>
                    </a:lnTo>
                    <a:lnTo>
                      <a:pt x="959" y="477"/>
                    </a:lnTo>
                    <a:lnTo>
                      <a:pt x="962" y="475"/>
                    </a:lnTo>
                    <a:lnTo>
                      <a:pt x="960" y="472"/>
                    </a:lnTo>
                    <a:lnTo>
                      <a:pt x="957" y="471"/>
                    </a:lnTo>
                    <a:lnTo>
                      <a:pt x="953" y="470"/>
                    </a:lnTo>
                    <a:lnTo>
                      <a:pt x="953" y="470"/>
                    </a:lnTo>
                    <a:lnTo>
                      <a:pt x="949" y="470"/>
                    </a:lnTo>
                    <a:lnTo>
                      <a:pt x="944" y="468"/>
                    </a:lnTo>
                    <a:lnTo>
                      <a:pt x="942" y="465"/>
                    </a:lnTo>
                    <a:lnTo>
                      <a:pt x="942" y="461"/>
                    </a:lnTo>
                    <a:lnTo>
                      <a:pt x="942" y="461"/>
                    </a:lnTo>
                    <a:lnTo>
                      <a:pt x="940" y="460"/>
                    </a:lnTo>
                    <a:lnTo>
                      <a:pt x="939" y="460"/>
                    </a:lnTo>
                    <a:lnTo>
                      <a:pt x="935" y="458"/>
                    </a:lnTo>
                    <a:lnTo>
                      <a:pt x="929" y="458"/>
                    </a:lnTo>
                    <a:lnTo>
                      <a:pt x="923" y="457"/>
                    </a:lnTo>
                    <a:lnTo>
                      <a:pt x="923" y="457"/>
                    </a:lnTo>
                    <a:lnTo>
                      <a:pt x="916" y="455"/>
                    </a:lnTo>
                    <a:lnTo>
                      <a:pt x="909" y="454"/>
                    </a:lnTo>
                    <a:lnTo>
                      <a:pt x="898" y="454"/>
                    </a:lnTo>
                    <a:lnTo>
                      <a:pt x="898" y="454"/>
                    </a:lnTo>
                    <a:lnTo>
                      <a:pt x="896" y="455"/>
                    </a:lnTo>
                    <a:lnTo>
                      <a:pt x="896" y="457"/>
                    </a:lnTo>
                    <a:lnTo>
                      <a:pt x="895" y="462"/>
                    </a:lnTo>
                    <a:lnTo>
                      <a:pt x="896" y="467"/>
                    </a:lnTo>
                    <a:lnTo>
                      <a:pt x="898" y="470"/>
                    </a:lnTo>
                    <a:lnTo>
                      <a:pt x="899" y="470"/>
                    </a:lnTo>
                    <a:lnTo>
                      <a:pt x="899" y="470"/>
                    </a:lnTo>
                    <a:lnTo>
                      <a:pt x="903" y="471"/>
                    </a:lnTo>
                    <a:lnTo>
                      <a:pt x="905" y="474"/>
                    </a:lnTo>
                    <a:lnTo>
                      <a:pt x="906" y="475"/>
                    </a:lnTo>
                    <a:lnTo>
                      <a:pt x="905" y="478"/>
                    </a:lnTo>
                    <a:lnTo>
                      <a:pt x="905" y="478"/>
                    </a:lnTo>
                    <a:lnTo>
                      <a:pt x="902" y="479"/>
                    </a:lnTo>
                    <a:lnTo>
                      <a:pt x="902" y="482"/>
                    </a:lnTo>
                    <a:lnTo>
                      <a:pt x="903" y="484"/>
                    </a:lnTo>
                    <a:lnTo>
                      <a:pt x="902" y="485"/>
                    </a:lnTo>
                    <a:lnTo>
                      <a:pt x="902" y="485"/>
                    </a:lnTo>
                    <a:lnTo>
                      <a:pt x="899" y="484"/>
                    </a:lnTo>
                    <a:lnTo>
                      <a:pt x="895" y="485"/>
                    </a:lnTo>
                    <a:lnTo>
                      <a:pt x="892" y="487"/>
                    </a:lnTo>
                    <a:lnTo>
                      <a:pt x="890" y="492"/>
                    </a:lnTo>
                    <a:lnTo>
                      <a:pt x="890" y="492"/>
                    </a:lnTo>
                    <a:lnTo>
                      <a:pt x="889" y="502"/>
                    </a:lnTo>
                    <a:lnTo>
                      <a:pt x="886" y="505"/>
                    </a:lnTo>
                    <a:lnTo>
                      <a:pt x="883" y="508"/>
                    </a:lnTo>
                    <a:lnTo>
                      <a:pt x="883" y="508"/>
                    </a:lnTo>
                    <a:lnTo>
                      <a:pt x="882" y="508"/>
                    </a:lnTo>
                    <a:lnTo>
                      <a:pt x="880" y="508"/>
                    </a:lnTo>
                    <a:lnTo>
                      <a:pt x="879" y="504"/>
                    </a:lnTo>
                    <a:lnTo>
                      <a:pt x="879" y="499"/>
                    </a:lnTo>
                    <a:lnTo>
                      <a:pt x="878" y="498"/>
                    </a:lnTo>
                    <a:lnTo>
                      <a:pt x="876" y="498"/>
                    </a:lnTo>
                    <a:lnTo>
                      <a:pt x="876" y="498"/>
                    </a:lnTo>
                    <a:lnTo>
                      <a:pt x="875" y="498"/>
                    </a:lnTo>
                    <a:lnTo>
                      <a:pt x="873" y="499"/>
                    </a:lnTo>
                    <a:lnTo>
                      <a:pt x="870" y="504"/>
                    </a:lnTo>
                    <a:lnTo>
                      <a:pt x="872" y="508"/>
                    </a:lnTo>
                    <a:lnTo>
                      <a:pt x="872" y="509"/>
                    </a:lnTo>
                    <a:lnTo>
                      <a:pt x="873" y="511"/>
                    </a:lnTo>
                    <a:lnTo>
                      <a:pt x="873" y="511"/>
                    </a:lnTo>
                    <a:lnTo>
                      <a:pt x="876" y="512"/>
                    </a:lnTo>
                    <a:lnTo>
                      <a:pt x="878" y="514"/>
                    </a:lnTo>
                    <a:lnTo>
                      <a:pt x="880" y="521"/>
                    </a:lnTo>
                    <a:lnTo>
                      <a:pt x="880" y="521"/>
                    </a:lnTo>
                    <a:lnTo>
                      <a:pt x="880" y="522"/>
                    </a:lnTo>
                    <a:lnTo>
                      <a:pt x="879" y="522"/>
                    </a:lnTo>
                    <a:lnTo>
                      <a:pt x="876" y="524"/>
                    </a:lnTo>
                    <a:lnTo>
                      <a:pt x="872" y="525"/>
                    </a:lnTo>
                    <a:lnTo>
                      <a:pt x="870" y="526"/>
                    </a:lnTo>
                    <a:lnTo>
                      <a:pt x="869" y="528"/>
                    </a:lnTo>
                    <a:lnTo>
                      <a:pt x="869" y="528"/>
                    </a:lnTo>
                    <a:lnTo>
                      <a:pt x="866" y="531"/>
                    </a:lnTo>
                    <a:lnTo>
                      <a:pt x="865" y="528"/>
                    </a:lnTo>
                    <a:lnTo>
                      <a:pt x="862" y="525"/>
                    </a:lnTo>
                    <a:lnTo>
                      <a:pt x="859" y="521"/>
                    </a:lnTo>
                    <a:lnTo>
                      <a:pt x="859" y="521"/>
                    </a:lnTo>
                    <a:lnTo>
                      <a:pt x="852" y="514"/>
                    </a:lnTo>
                    <a:lnTo>
                      <a:pt x="849" y="508"/>
                    </a:lnTo>
                    <a:lnTo>
                      <a:pt x="849" y="504"/>
                    </a:lnTo>
                    <a:lnTo>
                      <a:pt x="849" y="504"/>
                    </a:lnTo>
                    <a:lnTo>
                      <a:pt x="849" y="501"/>
                    </a:lnTo>
                    <a:lnTo>
                      <a:pt x="851" y="499"/>
                    </a:lnTo>
                    <a:lnTo>
                      <a:pt x="856" y="497"/>
                    </a:lnTo>
                    <a:lnTo>
                      <a:pt x="856" y="497"/>
                    </a:lnTo>
                    <a:lnTo>
                      <a:pt x="858" y="497"/>
                    </a:lnTo>
                    <a:lnTo>
                      <a:pt x="858" y="494"/>
                    </a:lnTo>
                    <a:lnTo>
                      <a:pt x="855" y="487"/>
                    </a:lnTo>
                    <a:lnTo>
                      <a:pt x="855" y="487"/>
                    </a:lnTo>
                    <a:lnTo>
                      <a:pt x="855" y="482"/>
                    </a:lnTo>
                    <a:lnTo>
                      <a:pt x="852" y="481"/>
                    </a:lnTo>
                    <a:lnTo>
                      <a:pt x="849" y="479"/>
                    </a:lnTo>
                    <a:lnTo>
                      <a:pt x="845" y="475"/>
                    </a:lnTo>
                    <a:lnTo>
                      <a:pt x="845" y="475"/>
                    </a:lnTo>
                    <a:lnTo>
                      <a:pt x="841" y="471"/>
                    </a:lnTo>
                    <a:lnTo>
                      <a:pt x="836" y="470"/>
                    </a:lnTo>
                    <a:lnTo>
                      <a:pt x="832" y="470"/>
                    </a:lnTo>
                    <a:lnTo>
                      <a:pt x="829" y="472"/>
                    </a:lnTo>
                    <a:lnTo>
                      <a:pt x="829" y="472"/>
                    </a:lnTo>
                    <a:lnTo>
                      <a:pt x="828" y="475"/>
                    </a:lnTo>
                    <a:lnTo>
                      <a:pt x="828" y="478"/>
                    </a:lnTo>
                    <a:lnTo>
                      <a:pt x="826" y="481"/>
                    </a:lnTo>
                    <a:lnTo>
                      <a:pt x="824" y="484"/>
                    </a:lnTo>
                    <a:lnTo>
                      <a:pt x="824" y="484"/>
                    </a:lnTo>
                    <a:lnTo>
                      <a:pt x="821" y="487"/>
                    </a:lnTo>
                    <a:lnTo>
                      <a:pt x="819" y="491"/>
                    </a:lnTo>
                    <a:lnTo>
                      <a:pt x="819" y="494"/>
                    </a:lnTo>
                    <a:lnTo>
                      <a:pt x="818" y="495"/>
                    </a:lnTo>
                    <a:lnTo>
                      <a:pt x="816" y="497"/>
                    </a:lnTo>
                    <a:lnTo>
                      <a:pt x="816" y="497"/>
                    </a:lnTo>
                    <a:lnTo>
                      <a:pt x="815" y="495"/>
                    </a:lnTo>
                    <a:lnTo>
                      <a:pt x="815" y="494"/>
                    </a:lnTo>
                    <a:lnTo>
                      <a:pt x="814" y="488"/>
                    </a:lnTo>
                    <a:lnTo>
                      <a:pt x="814" y="481"/>
                    </a:lnTo>
                    <a:lnTo>
                      <a:pt x="812" y="478"/>
                    </a:lnTo>
                    <a:lnTo>
                      <a:pt x="811" y="477"/>
                    </a:lnTo>
                    <a:lnTo>
                      <a:pt x="811" y="477"/>
                    </a:lnTo>
                    <a:lnTo>
                      <a:pt x="809" y="475"/>
                    </a:lnTo>
                    <a:lnTo>
                      <a:pt x="809" y="474"/>
                    </a:lnTo>
                    <a:lnTo>
                      <a:pt x="811" y="471"/>
                    </a:lnTo>
                    <a:lnTo>
                      <a:pt x="814" y="470"/>
                    </a:lnTo>
                    <a:lnTo>
                      <a:pt x="814" y="470"/>
                    </a:lnTo>
                    <a:lnTo>
                      <a:pt x="816" y="468"/>
                    </a:lnTo>
                    <a:lnTo>
                      <a:pt x="819" y="467"/>
                    </a:lnTo>
                    <a:lnTo>
                      <a:pt x="819" y="465"/>
                    </a:lnTo>
                    <a:lnTo>
                      <a:pt x="818" y="464"/>
                    </a:lnTo>
                    <a:lnTo>
                      <a:pt x="818" y="464"/>
                    </a:lnTo>
                    <a:lnTo>
                      <a:pt x="814" y="462"/>
                    </a:lnTo>
                    <a:lnTo>
                      <a:pt x="809" y="461"/>
                    </a:lnTo>
                    <a:lnTo>
                      <a:pt x="801" y="457"/>
                    </a:lnTo>
                    <a:lnTo>
                      <a:pt x="801" y="457"/>
                    </a:lnTo>
                    <a:lnTo>
                      <a:pt x="798" y="458"/>
                    </a:lnTo>
                    <a:lnTo>
                      <a:pt x="795" y="460"/>
                    </a:lnTo>
                    <a:lnTo>
                      <a:pt x="792" y="461"/>
                    </a:lnTo>
                    <a:lnTo>
                      <a:pt x="789" y="461"/>
                    </a:lnTo>
                    <a:lnTo>
                      <a:pt x="789" y="461"/>
                    </a:lnTo>
                    <a:lnTo>
                      <a:pt x="788" y="458"/>
                    </a:lnTo>
                    <a:lnTo>
                      <a:pt x="788" y="454"/>
                    </a:lnTo>
                    <a:lnTo>
                      <a:pt x="789" y="447"/>
                    </a:lnTo>
                    <a:lnTo>
                      <a:pt x="789" y="447"/>
                    </a:lnTo>
                    <a:lnTo>
                      <a:pt x="791" y="445"/>
                    </a:lnTo>
                    <a:lnTo>
                      <a:pt x="794" y="445"/>
                    </a:lnTo>
                    <a:lnTo>
                      <a:pt x="797" y="445"/>
                    </a:lnTo>
                    <a:lnTo>
                      <a:pt x="799" y="444"/>
                    </a:lnTo>
                    <a:lnTo>
                      <a:pt x="799" y="444"/>
                    </a:lnTo>
                    <a:lnTo>
                      <a:pt x="799" y="442"/>
                    </a:lnTo>
                    <a:lnTo>
                      <a:pt x="799" y="441"/>
                    </a:lnTo>
                    <a:lnTo>
                      <a:pt x="795" y="438"/>
                    </a:lnTo>
                    <a:lnTo>
                      <a:pt x="791" y="437"/>
                    </a:lnTo>
                    <a:lnTo>
                      <a:pt x="789" y="435"/>
                    </a:lnTo>
                    <a:lnTo>
                      <a:pt x="789" y="433"/>
                    </a:lnTo>
                    <a:lnTo>
                      <a:pt x="789" y="433"/>
                    </a:lnTo>
                    <a:lnTo>
                      <a:pt x="789" y="431"/>
                    </a:lnTo>
                    <a:lnTo>
                      <a:pt x="788" y="430"/>
                    </a:lnTo>
                    <a:lnTo>
                      <a:pt x="784" y="427"/>
                    </a:lnTo>
                    <a:lnTo>
                      <a:pt x="775" y="424"/>
                    </a:lnTo>
                    <a:lnTo>
                      <a:pt x="775" y="424"/>
                    </a:lnTo>
                    <a:lnTo>
                      <a:pt x="774" y="424"/>
                    </a:lnTo>
                    <a:lnTo>
                      <a:pt x="774" y="423"/>
                    </a:lnTo>
                    <a:lnTo>
                      <a:pt x="775" y="418"/>
                    </a:lnTo>
                    <a:lnTo>
                      <a:pt x="775" y="414"/>
                    </a:lnTo>
                    <a:lnTo>
                      <a:pt x="775" y="410"/>
                    </a:lnTo>
                    <a:lnTo>
                      <a:pt x="775" y="410"/>
                    </a:lnTo>
                    <a:lnTo>
                      <a:pt x="772" y="407"/>
                    </a:lnTo>
                    <a:lnTo>
                      <a:pt x="767" y="401"/>
                    </a:lnTo>
                    <a:lnTo>
                      <a:pt x="761" y="397"/>
                    </a:lnTo>
                    <a:lnTo>
                      <a:pt x="758" y="397"/>
                    </a:lnTo>
                    <a:lnTo>
                      <a:pt x="755" y="396"/>
                    </a:lnTo>
                    <a:lnTo>
                      <a:pt x="755" y="396"/>
                    </a:lnTo>
                    <a:lnTo>
                      <a:pt x="751" y="396"/>
                    </a:lnTo>
                    <a:lnTo>
                      <a:pt x="750" y="393"/>
                    </a:lnTo>
                    <a:lnTo>
                      <a:pt x="750" y="390"/>
                    </a:lnTo>
                    <a:lnTo>
                      <a:pt x="751" y="388"/>
                    </a:lnTo>
                    <a:lnTo>
                      <a:pt x="751" y="388"/>
                    </a:lnTo>
                    <a:lnTo>
                      <a:pt x="754" y="388"/>
                    </a:lnTo>
                    <a:lnTo>
                      <a:pt x="755" y="387"/>
                    </a:lnTo>
                    <a:lnTo>
                      <a:pt x="762" y="380"/>
                    </a:lnTo>
                    <a:lnTo>
                      <a:pt x="762" y="380"/>
                    </a:lnTo>
                    <a:lnTo>
                      <a:pt x="767" y="376"/>
                    </a:lnTo>
                    <a:lnTo>
                      <a:pt x="768" y="373"/>
                    </a:lnTo>
                    <a:lnTo>
                      <a:pt x="768" y="371"/>
                    </a:lnTo>
                    <a:lnTo>
                      <a:pt x="765" y="370"/>
                    </a:lnTo>
                    <a:lnTo>
                      <a:pt x="765" y="370"/>
                    </a:lnTo>
                    <a:lnTo>
                      <a:pt x="762" y="369"/>
                    </a:lnTo>
                    <a:lnTo>
                      <a:pt x="761" y="367"/>
                    </a:lnTo>
                    <a:lnTo>
                      <a:pt x="762" y="366"/>
                    </a:lnTo>
                    <a:lnTo>
                      <a:pt x="767" y="364"/>
                    </a:lnTo>
                    <a:lnTo>
                      <a:pt x="767" y="364"/>
                    </a:lnTo>
                    <a:lnTo>
                      <a:pt x="779" y="367"/>
                    </a:lnTo>
                    <a:lnTo>
                      <a:pt x="787" y="369"/>
                    </a:lnTo>
                    <a:lnTo>
                      <a:pt x="791" y="367"/>
                    </a:lnTo>
                    <a:lnTo>
                      <a:pt x="791" y="367"/>
                    </a:lnTo>
                    <a:lnTo>
                      <a:pt x="797" y="361"/>
                    </a:lnTo>
                    <a:lnTo>
                      <a:pt x="802" y="353"/>
                    </a:lnTo>
                    <a:lnTo>
                      <a:pt x="815" y="336"/>
                    </a:lnTo>
                    <a:lnTo>
                      <a:pt x="815" y="336"/>
                    </a:lnTo>
                    <a:lnTo>
                      <a:pt x="816" y="333"/>
                    </a:lnTo>
                    <a:lnTo>
                      <a:pt x="816" y="332"/>
                    </a:lnTo>
                    <a:lnTo>
                      <a:pt x="815" y="330"/>
                    </a:lnTo>
                    <a:lnTo>
                      <a:pt x="814" y="329"/>
                    </a:lnTo>
                    <a:lnTo>
                      <a:pt x="806" y="327"/>
                    </a:lnTo>
                    <a:lnTo>
                      <a:pt x="798" y="329"/>
                    </a:lnTo>
                    <a:lnTo>
                      <a:pt x="798" y="329"/>
                    </a:lnTo>
                    <a:lnTo>
                      <a:pt x="789" y="327"/>
                    </a:lnTo>
                    <a:lnTo>
                      <a:pt x="784" y="326"/>
                    </a:lnTo>
                    <a:lnTo>
                      <a:pt x="778" y="324"/>
                    </a:lnTo>
                    <a:lnTo>
                      <a:pt x="771" y="323"/>
                    </a:lnTo>
                    <a:lnTo>
                      <a:pt x="771" y="323"/>
                    </a:lnTo>
                    <a:lnTo>
                      <a:pt x="762" y="323"/>
                    </a:lnTo>
                    <a:lnTo>
                      <a:pt x="752" y="324"/>
                    </a:lnTo>
                    <a:lnTo>
                      <a:pt x="742" y="326"/>
                    </a:lnTo>
                    <a:lnTo>
                      <a:pt x="738" y="327"/>
                    </a:lnTo>
                    <a:lnTo>
                      <a:pt x="738" y="327"/>
                    </a:lnTo>
                    <a:lnTo>
                      <a:pt x="737" y="329"/>
                    </a:lnTo>
                    <a:lnTo>
                      <a:pt x="738" y="330"/>
                    </a:lnTo>
                    <a:lnTo>
                      <a:pt x="740" y="333"/>
                    </a:lnTo>
                    <a:lnTo>
                      <a:pt x="741" y="334"/>
                    </a:lnTo>
                    <a:lnTo>
                      <a:pt x="742" y="337"/>
                    </a:lnTo>
                    <a:lnTo>
                      <a:pt x="742" y="337"/>
                    </a:lnTo>
                    <a:lnTo>
                      <a:pt x="741" y="339"/>
                    </a:lnTo>
                    <a:lnTo>
                      <a:pt x="741" y="339"/>
                    </a:lnTo>
                    <a:lnTo>
                      <a:pt x="738" y="337"/>
                    </a:lnTo>
                    <a:lnTo>
                      <a:pt x="734" y="336"/>
                    </a:lnTo>
                    <a:lnTo>
                      <a:pt x="733" y="336"/>
                    </a:lnTo>
                    <a:lnTo>
                      <a:pt x="733" y="336"/>
                    </a:lnTo>
                    <a:lnTo>
                      <a:pt x="731" y="339"/>
                    </a:lnTo>
                    <a:lnTo>
                      <a:pt x="731" y="341"/>
                    </a:lnTo>
                    <a:lnTo>
                      <a:pt x="733" y="347"/>
                    </a:lnTo>
                    <a:lnTo>
                      <a:pt x="733" y="354"/>
                    </a:lnTo>
                    <a:lnTo>
                      <a:pt x="733" y="354"/>
                    </a:lnTo>
                    <a:lnTo>
                      <a:pt x="733" y="363"/>
                    </a:lnTo>
                    <a:lnTo>
                      <a:pt x="734" y="367"/>
                    </a:lnTo>
                    <a:lnTo>
                      <a:pt x="738" y="373"/>
                    </a:lnTo>
                    <a:lnTo>
                      <a:pt x="738" y="373"/>
                    </a:lnTo>
                    <a:lnTo>
                      <a:pt x="740" y="377"/>
                    </a:lnTo>
                    <a:lnTo>
                      <a:pt x="741" y="381"/>
                    </a:lnTo>
                    <a:lnTo>
                      <a:pt x="741" y="391"/>
                    </a:lnTo>
                    <a:lnTo>
                      <a:pt x="741" y="391"/>
                    </a:lnTo>
                    <a:lnTo>
                      <a:pt x="740" y="396"/>
                    </a:lnTo>
                    <a:lnTo>
                      <a:pt x="737" y="398"/>
                    </a:lnTo>
                    <a:lnTo>
                      <a:pt x="731" y="400"/>
                    </a:lnTo>
                    <a:lnTo>
                      <a:pt x="731" y="400"/>
                    </a:lnTo>
                    <a:lnTo>
                      <a:pt x="731" y="401"/>
                    </a:lnTo>
                    <a:lnTo>
                      <a:pt x="731" y="403"/>
                    </a:lnTo>
                    <a:lnTo>
                      <a:pt x="733" y="404"/>
                    </a:lnTo>
                    <a:lnTo>
                      <a:pt x="735" y="407"/>
                    </a:lnTo>
                    <a:lnTo>
                      <a:pt x="735" y="410"/>
                    </a:lnTo>
                    <a:lnTo>
                      <a:pt x="735" y="410"/>
                    </a:lnTo>
                    <a:lnTo>
                      <a:pt x="735" y="411"/>
                    </a:lnTo>
                    <a:lnTo>
                      <a:pt x="734" y="411"/>
                    </a:lnTo>
                    <a:lnTo>
                      <a:pt x="730" y="411"/>
                    </a:lnTo>
                    <a:lnTo>
                      <a:pt x="727" y="408"/>
                    </a:lnTo>
                    <a:lnTo>
                      <a:pt x="723" y="408"/>
                    </a:lnTo>
                    <a:lnTo>
                      <a:pt x="723" y="408"/>
                    </a:lnTo>
                    <a:lnTo>
                      <a:pt x="720" y="411"/>
                    </a:lnTo>
                    <a:lnTo>
                      <a:pt x="718" y="417"/>
                    </a:lnTo>
                    <a:lnTo>
                      <a:pt x="717" y="421"/>
                    </a:lnTo>
                    <a:lnTo>
                      <a:pt x="718" y="424"/>
                    </a:lnTo>
                    <a:lnTo>
                      <a:pt x="720" y="425"/>
                    </a:lnTo>
                    <a:lnTo>
                      <a:pt x="720" y="425"/>
                    </a:lnTo>
                    <a:lnTo>
                      <a:pt x="724" y="430"/>
                    </a:lnTo>
                    <a:lnTo>
                      <a:pt x="724" y="431"/>
                    </a:lnTo>
                    <a:lnTo>
                      <a:pt x="723" y="434"/>
                    </a:lnTo>
                    <a:lnTo>
                      <a:pt x="723" y="434"/>
                    </a:lnTo>
                    <a:lnTo>
                      <a:pt x="720" y="438"/>
                    </a:lnTo>
                    <a:lnTo>
                      <a:pt x="718" y="442"/>
                    </a:lnTo>
                    <a:lnTo>
                      <a:pt x="720" y="447"/>
                    </a:lnTo>
                    <a:lnTo>
                      <a:pt x="724" y="452"/>
                    </a:lnTo>
                    <a:lnTo>
                      <a:pt x="724" y="452"/>
                    </a:lnTo>
                    <a:lnTo>
                      <a:pt x="731" y="455"/>
                    </a:lnTo>
                    <a:lnTo>
                      <a:pt x="740" y="458"/>
                    </a:lnTo>
                    <a:lnTo>
                      <a:pt x="748" y="460"/>
                    </a:lnTo>
                    <a:lnTo>
                      <a:pt x="755" y="464"/>
                    </a:lnTo>
                    <a:lnTo>
                      <a:pt x="755" y="464"/>
                    </a:lnTo>
                    <a:lnTo>
                      <a:pt x="758" y="467"/>
                    </a:lnTo>
                    <a:lnTo>
                      <a:pt x="758" y="467"/>
                    </a:lnTo>
                    <a:lnTo>
                      <a:pt x="755" y="468"/>
                    </a:lnTo>
                    <a:lnTo>
                      <a:pt x="755" y="470"/>
                    </a:lnTo>
                    <a:lnTo>
                      <a:pt x="755" y="471"/>
                    </a:lnTo>
                    <a:lnTo>
                      <a:pt x="755" y="471"/>
                    </a:lnTo>
                    <a:lnTo>
                      <a:pt x="757" y="474"/>
                    </a:lnTo>
                    <a:lnTo>
                      <a:pt x="755" y="475"/>
                    </a:lnTo>
                    <a:lnTo>
                      <a:pt x="754" y="478"/>
                    </a:lnTo>
                    <a:lnTo>
                      <a:pt x="751" y="481"/>
                    </a:lnTo>
                    <a:lnTo>
                      <a:pt x="751" y="484"/>
                    </a:lnTo>
                    <a:lnTo>
                      <a:pt x="751" y="484"/>
                    </a:lnTo>
                    <a:lnTo>
                      <a:pt x="751" y="487"/>
                    </a:lnTo>
                    <a:lnTo>
                      <a:pt x="752" y="487"/>
                    </a:lnTo>
                    <a:lnTo>
                      <a:pt x="758" y="478"/>
                    </a:lnTo>
                    <a:lnTo>
                      <a:pt x="758" y="478"/>
                    </a:lnTo>
                    <a:lnTo>
                      <a:pt x="760" y="477"/>
                    </a:lnTo>
                    <a:lnTo>
                      <a:pt x="761" y="475"/>
                    </a:lnTo>
                    <a:lnTo>
                      <a:pt x="762" y="477"/>
                    </a:lnTo>
                    <a:lnTo>
                      <a:pt x="764" y="478"/>
                    </a:lnTo>
                    <a:lnTo>
                      <a:pt x="765" y="482"/>
                    </a:lnTo>
                    <a:lnTo>
                      <a:pt x="765" y="488"/>
                    </a:lnTo>
                    <a:lnTo>
                      <a:pt x="765" y="488"/>
                    </a:lnTo>
                    <a:lnTo>
                      <a:pt x="764" y="491"/>
                    </a:lnTo>
                    <a:lnTo>
                      <a:pt x="761" y="492"/>
                    </a:lnTo>
                    <a:lnTo>
                      <a:pt x="758" y="494"/>
                    </a:lnTo>
                    <a:lnTo>
                      <a:pt x="754" y="497"/>
                    </a:lnTo>
                    <a:lnTo>
                      <a:pt x="754" y="497"/>
                    </a:lnTo>
                    <a:lnTo>
                      <a:pt x="751" y="501"/>
                    </a:lnTo>
                    <a:lnTo>
                      <a:pt x="747" y="504"/>
                    </a:lnTo>
                    <a:lnTo>
                      <a:pt x="744" y="504"/>
                    </a:lnTo>
                    <a:lnTo>
                      <a:pt x="738" y="504"/>
                    </a:lnTo>
                    <a:lnTo>
                      <a:pt x="738" y="504"/>
                    </a:lnTo>
                    <a:lnTo>
                      <a:pt x="737" y="504"/>
                    </a:lnTo>
                    <a:lnTo>
                      <a:pt x="735" y="505"/>
                    </a:lnTo>
                    <a:lnTo>
                      <a:pt x="735" y="508"/>
                    </a:lnTo>
                    <a:lnTo>
                      <a:pt x="737" y="514"/>
                    </a:lnTo>
                    <a:lnTo>
                      <a:pt x="738" y="519"/>
                    </a:lnTo>
                    <a:lnTo>
                      <a:pt x="738" y="519"/>
                    </a:lnTo>
                    <a:lnTo>
                      <a:pt x="740" y="524"/>
                    </a:lnTo>
                    <a:lnTo>
                      <a:pt x="738" y="525"/>
                    </a:lnTo>
                    <a:lnTo>
                      <a:pt x="735" y="526"/>
                    </a:lnTo>
                    <a:lnTo>
                      <a:pt x="730" y="525"/>
                    </a:lnTo>
                    <a:lnTo>
                      <a:pt x="730" y="525"/>
                    </a:lnTo>
                    <a:lnTo>
                      <a:pt x="725" y="524"/>
                    </a:lnTo>
                    <a:lnTo>
                      <a:pt x="721" y="521"/>
                    </a:lnTo>
                    <a:lnTo>
                      <a:pt x="720" y="516"/>
                    </a:lnTo>
                    <a:lnTo>
                      <a:pt x="721" y="512"/>
                    </a:lnTo>
                    <a:lnTo>
                      <a:pt x="721" y="512"/>
                    </a:lnTo>
                    <a:lnTo>
                      <a:pt x="725" y="504"/>
                    </a:lnTo>
                    <a:lnTo>
                      <a:pt x="725" y="501"/>
                    </a:lnTo>
                    <a:lnTo>
                      <a:pt x="724" y="499"/>
                    </a:lnTo>
                    <a:lnTo>
                      <a:pt x="724" y="499"/>
                    </a:lnTo>
                    <a:lnTo>
                      <a:pt x="720" y="499"/>
                    </a:lnTo>
                    <a:lnTo>
                      <a:pt x="714" y="499"/>
                    </a:lnTo>
                    <a:lnTo>
                      <a:pt x="708" y="498"/>
                    </a:lnTo>
                    <a:lnTo>
                      <a:pt x="705" y="494"/>
                    </a:lnTo>
                    <a:lnTo>
                      <a:pt x="705" y="494"/>
                    </a:lnTo>
                    <a:lnTo>
                      <a:pt x="704" y="492"/>
                    </a:lnTo>
                    <a:lnTo>
                      <a:pt x="707" y="491"/>
                    </a:lnTo>
                    <a:lnTo>
                      <a:pt x="717" y="492"/>
                    </a:lnTo>
                    <a:lnTo>
                      <a:pt x="717" y="492"/>
                    </a:lnTo>
                    <a:lnTo>
                      <a:pt x="721" y="492"/>
                    </a:lnTo>
                    <a:lnTo>
                      <a:pt x="723" y="489"/>
                    </a:lnTo>
                    <a:lnTo>
                      <a:pt x="723" y="487"/>
                    </a:lnTo>
                    <a:lnTo>
                      <a:pt x="724" y="487"/>
                    </a:lnTo>
                    <a:lnTo>
                      <a:pt x="725" y="487"/>
                    </a:lnTo>
                    <a:lnTo>
                      <a:pt x="725" y="487"/>
                    </a:lnTo>
                    <a:lnTo>
                      <a:pt x="735" y="488"/>
                    </a:lnTo>
                    <a:lnTo>
                      <a:pt x="740" y="487"/>
                    </a:lnTo>
                    <a:lnTo>
                      <a:pt x="744" y="485"/>
                    </a:lnTo>
                    <a:lnTo>
                      <a:pt x="744" y="485"/>
                    </a:lnTo>
                    <a:lnTo>
                      <a:pt x="745" y="482"/>
                    </a:lnTo>
                    <a:lnTo>
                      <a:pt x="745" y="479"/>
                    </a:lnTo>
                    <a:lnTo>
                      <a:pt x="744" y="475"/>
                    </a:lnTo>
                    <a:lnTo>
                      <a:pt x="740" y="471"/>
                    </a:lnTo>
                    <a:lnTo>
                      <a:pt x="737" y="471"/>
                    </a:lnTo>
                    <a:lnTo>
                      <a:pt x="735" y="471"/>
                    </a:lnTo>
                    <a:lnTo>
                      <a:pt x="735" y="471"/>
                    </a:lnTo>
                    <a:lnTo>
                      <a:pt x="727" y="472"/>
                    </a:lnTo>
                    <a:lnTo>
                      <a:pt x="724" y="472"/>
                    </a:lnTo>
                    <a:lnTo>
                      <a:pt x="723" y="471"/>
                    </a:lnTo>
                    <a:lnTo>
                      <a:pt x="723" y="470"/>
                    </a:lnTo>
                    <a:lnTo>
                      <a:pt x="723" y="470"/>
                    </a:lnTo>
                    <a:lnTo>
                      <a:pt x="723" y="468"/>
                    </a:lnTo>
                    <a:lnTo>
                      <a:pt x="724" y="468"/>
                    </a:lnTo>
                    <a:lnTo>
                      <a:pt x="727" y="467"/>
                    </a:lnTo>
                    <a:lnTo>
                      <a:pt x="731" y="468"/>
                    </a:lnTo>
                    <a:lnTo>
                      <a:pt x="735" y="467"/>
                    </a:lnTo>
                    <a:lnTo>
                      <a:pt x="735" y="467"/>
                    </a:lnTo>
                    <a:lnTo>
                      <a:pt x="737" y="467"/>
                    </a:lnTo>
                    <a:lnTo>
                      <a:pt x="737" y="465"/>
                    </a:lnTo>
                    <a:lnTo>
                      <a:pt x="735" y="464"/>
                    </a:lnTo>
                    <a:lnTo>
                      <a:pt x="731" y="461"/>
                    </a:lnTo>
                    <a:lnTo>
                      <a:pt x="725" y="461"/>
                    </a:lnTo>
                    <a:lnTo>
                      <a:pt x="725" y="461"/>
                    </a:lnTo>
                    <a:lnTo>
                      <a:pt x="721" y="462"/>
                    </a:lnTo>
                    <a:lnTo>
                      <a:pt x="717" y="462"/>
                    </a:lnTo>
                    <a:lnTo>
                      <a:pt x="713" y="461"/>
                    </a:lnTo>
                    <a:lnTo>
                      <a:pt x="708" y="458"/>
                    </a:lnTo>
                    <a:lnTo>
                      <a:pt x="708" y="458"/>
                    </a:lnTo>
                    <a:lnTo>
                      <a:pt x="703" y="454"/>
                    </a:lnTo>
                    <a:lnTo>
                      <a:pt x="698" y="452"/>
                    </a:lnTo>
                    <a:lnTo>
                      <a:pt x="696" y="452"/>
                    </a:lnTo>
                    <a:lnTo>
                      <a:pt x="693" y="454"/>
                    </a:lnTo>
                    <a:lnTo>
                      <a:pt x="691" y="458"/>
                    </a:lnTo>
                    <a:lnTo>
                      <a:pt x="690" y="462"/>
                    </a:lnTo>
                    <a:lnTo>
                      <a:pt x="690" y="462"/>
                    </a:lnTo>
                    <a:lnTo>
                      <a:pt x="688" y="467"/>
                    </a:lnTo>
                    <a:lnTo>
                      <a:pt x="687" y="470"/>
                    </a:lnTo>
                    <a:lnTo>
                      <a:pt x="684" y="471"/>
                    </a:lnTo>
                    <a:lnTo>
                      <a:pt x="681" y="471"/>
                    </a:lnTo>
                    <a:lnTo>
                      <a:pt x="677" y="471"/>
                    </a:lnTo>
                    <a:lnTo>
                      <a:pt x="676" y="472"/>
                    </a:lnTo>
                    <a:lnTo>
                      <a:pt x="673" y="472"/>
                    </a:lnTo>
                    <a:lnTo>
                      <a:pt x="673" y="472"/>
                    </a:lnTo>
                    <a:lnTo>
                      <a:pt x="673" y="475"/>
                    </a:lnTo>
                    <a:lnTo>
                      <a:pt x="673" y="477"/>
                    </a:lnTo>
                    <a:lnTo>
                      <a:pt x="676" y="478"/>
                    </a:lnTo>
                    <a:lnTo>
                      <a:pt x="681" y="481"/>
                    </a:lnTo>
                    <a:lnTo>
                      <a:pt x="687" y="481"/>
                    </a:lnTo>
                    <a:lnTo>
                      <a:pt x="687" y="481"/>
                    </a:lnTo>
                    <a:lnTo>
                      <a:pt x="694" y="482"/>
                    </a:lnTo>
                    <a:lnTo>
                      <a:pt x="698" y="487"/>
                    </a:lnTo>
                    <a:lnTo>
                      <a:pt x="701" y="489"/>
                    </a:lnTo>
                    <a:lnTo>
                      <a:pt x="701" y="489"/>
                    </a:lnTo>
                    <a:lnTo>
                      <a:pt x="700" y="491"/>
                    </a:lnTo>
                    <a:lnTo>
                      <a:pt x="700" y="491"/>
                    </a:lnTo>
                    <a:lnTo>
                      <a:pt x="697" y="491"/>
                    </a:lnTo>
                    <a:lnTo>
                      <a:pt x="696" y="494"/>
                    </a:lnTo>
                    <a:lnTo>
                      <a:pt x="694" y="495"/>
                    </a:lnTo>
                    <a:lnTo>
                      <a:pt x="693" y="495"/>
                    </a:lnTo>
                    <a:lnTo>
                      <a:pt x="693" y="495"/>
                    </a:lnTo>
                    <a:lnTo>
                      <a:pt x="688" y="494"/>
                    </a:lnTo>
                    <a:lnTo>
                      <a:pt x="686" y="494"/>
                    </a:lnTo>
                    <a:lnTo>
                      <a:pt x="684" y="497"/>
                    </a:lnTo>
                    <a:lnTo>
                      <a:pt x="686" y="499"/>
                    </a:lnTo>
                    <a:lnTo>
                      <a:pt x="686" y="499"/>
                    </a:lnTo>
                    <a:lnTo>
                      <a:pt x="687" y="502"/>
                    </a:lnTo>
                    <a:lnTo>
                      <a:pt x="687" y="504"/>
                    </a:lnTo>
                    <a:lnTo>
                      <a:pt x="686" y="507"/>
                    </a:lnTo>
                    <a:lnTo>
                      <a:pt x="684" y="509"/>
                    </a:lnTo>
                    <a:lnTo>
                      <a:pt x="684" y="509"/>
                    </a:lnTo>
                    <a:lnTo>
                      <a:pt x="684" y="511"/>
                    </a:lnTo>
                    <a:lnTo>
                      <a:pt x="684" y="511"/>
                    </a:lnTo>
                    <a:lnTo>
                      <a:pt x="680" y="511"/>
                    </a:lnTo>
                    <a:lnTo>
                      <a:pt x="670" y="509"/>
                    </a:lnTo>
                    <a:lnTo>
                      <a:pt x="670" y="509"/>
                    </a:lnTo>
                    <a:lnTo>
                      <a:pt x="663" y="509"/>
                    </a:lnTo>
                    <a:lnTo>
                      <a:pt x="656" y="509"/>
                    </a:lnTo>
                    <a:lnTo>
                      <a:pt x="639" y="512"/>
                    </a:lnTo>
                    <a:lnTo>
                      <a:pt x="639" y="512"/>
                    </a:lnTo>
                    <a:lnTo>
                      <a:pt x="632" y="514"/>
                    </a:lnTo>
                    <a:lnTo>
                      <a:pt x="623" y="512"/>
                    </a:lnTo>
                    <a:lnTo>
                      <a:pt x="617" y="509"/>
                    </a:lnTo>
                    <a:lnTo>
                      <a:pt x="613" y="507"/>
                    </a:lnTo>
                    <a:lnTo>
                      <a:pt x="613" y="507"/>
                    </a:lnTo>
                    <a:lnTo>
                      <a:pt x="610" y="504"/>
                    </a:lnTo>
                    <a:lnTo>
                      <a:pt x="606" y="504"/>
                    </a:lnTo>
                    <a:lnTo>
                      <a:pt x="596" y="502"/>
                    </a:lnTo>
                    <a:lnTo>
                      <a:pt x="596" y="502"/>
                    </a:lnTo>
                    <a:lnTo>
                      <a:pt x="592" y="502"/>
                    </a:lnTo>
                    <a:lnTo>
                      <a:pt x="590" y="499"/>
                    </a:lnTo>
                    <a:lnTo>
                      <a:pt x="587" y="497"/>
                    </a:lnTo>
                    <a:lnTo>
                      <a:pt x="582" y="495"/>
                    </a:lnTo>
                    <a:lnTo>
                      <a:pt x="582" y="495"/>
                    </a:lnTo>
                    <a:lnTo>
                      <a:pt x="579" y="495"/>
                    </a:lnTo>
                    <a:lnTo>
                      <a:pt x="577" y="494"/>
                    </a:lnTo>
                    <a:lnTo>
                      <a:pt x="575" y="491"/>
                    </a:lnTo>
                    <a:lnTo>
                      <a:pt x="573" y="482"/>
                    </a:lnTo>
                    <a:lnTo>
                      <a:pt x="573" y="482"/>
                    </a:lnTo>
                    <a:lnTo>
                      <a:pt x="573" y="481"/>
                    </a:lnTo>
                    <a:lnTo>
                      <a:pt x="570" y="481"/>
                    </a:lnTo>
                    <a:lnTo>
                      <a:pt x="563" y="479"/>
                    </a:lnTo>
                    <a:lnTo>
                      <a:pt x="555" y="481"/>
                    </a:lnTo>
                    <a:lnTo>
                      <a:pt x="548" y="484"/>
                    </a:lnTo>
                    <a:lnTo>
                      <a:pt x="548" y="484"/>
                    </a:lnTo>
                    <a:lnTo>
                      <a:pt x="542" y="487"/>
                    </a:lnTo>
                    <a:lnTo>
                      <a:pt x="535" y="488"/>
                    </a:lnTo>
                    <a:lnTo>
                      <a:pt x="528" y="489"/>
                    </a:lnTo>
                    <a:lnTo>
                      <a:pt x="526" y="492"/>
                    </a:lnTo>
                    <a:lnTo>
                      <a:pt x="523" y="494"/>
                    </a:lnTo>
                    <a:lnTo>
                      <a:pt x="523" y="494"/>
                    </a:lnTo>
                    <a:lnTo>
                      <a:pt x="523" y="498"/>
                    </a:lnTo>
                    <a:lnTo>
                      <a:pt x="525" y="501"/>
                    </a:lnTo>
                    <a:lnTo>
                      <a:pt x="528" y="501"/>
                    </a:lnTo>
                    <a:lnTo>
                      <a:pt x="531" y="501"/>
                    </a:lnTo>
                    <a:lnTo>
                      <a:pt x="531" y="501"/>
                    </a:lnTo>
                    <a:lnTo>
                      <a:pt x="535" y="499"/>
                    </a:lnTo>
                    <a:lnTo>
                      <a:pt x="536" y="498"/>
                    </a:lnTo>
                    <a:lnTo>
                      <a:pt x="540" y="497"/>
                    </a:lnTo>
                    <a:lnTo>
                      <a:pt x="546" y="497"/>
                    </a:lnTo>
                    <a:lnTo>
                      <a:pt x="546" y="497"/>
                    </a:lnTo>
                    <a:lnTo>
                      <a:pt x="549" y="497"/>
                    </a:lnTo>
                    <a:lnTo>
                      <a:pt x="553" y="495"/>
                    </a:lnTo>
                    <a:lnTo>
                      <a:pt x="559" y="492"/>
                    </a:lnTo>
                    <a:lnTo>
                      <a:pt x="563" y="489"/>
                    </a:lnTo>
                    <a:lnTo>
                      <a:pt x="566" y="489"/>
                    </a:lnTo>
                    <a:lnTo>
                      <a:pt x="567" y="489"/>
                    </a:lnTo>
                    <a:lnTo>
                      <a:pt x="567" y="489"/>
                    </a:lnTo>
                    <a:lnTo>
                      <a:pt x="567" y="492"/>
                    </a:lnTo>
                    <a:lnTo>
                      <a:pt x="566" y="494"/>
                    </a:lnTo>
                    <a:lnTo>
                      <a:pt x="559" y="498"/>
                    </a:lnTo>
                    <a:lnTo>
                      <a:pt x="549" y="502"/>
                    </a:lnTo>
                    <a:lnTo>
                      <a:pt x="540" y="504"/>
                    </a:lnTo>
                    <a:lnTo>
                      <a:pt x="540" y="504"/>
                    </a:lnTo>
                    <a:lnTo>
                      <a:pt x="538" y="505"/>
                    </a:lnTo>
                    <a:lnTo>
                      <a:pt x="536" y="507"/>
                    </a:lnTo>
                    <a:lnTo>
                      <a:pt x="535" y="508"/>
                    </a:lnTo>
                    <a:lnTo>
                      <a:pt x="535" y="511"/>
                    </a:lnTo>
                    <a:lnTo>
                      <a:pt x="538" y="516"/>
                    </a:lnTo>
                    <a:lnTo>
                      <a:pt x="543" y="526"/>
                    </a:lnTo>
                    <a:lnTo>
                      <a:pt x="543" y="526"/>
                    </a:lnTo>
                    <a:lnTo>
                      <a:pt x="545" y="529"/>
                    </a:lnTo>
                    <a:lnTo>
                      <a:pt x="546" y="532"/>
                    </a:lnTo>
                    <a:lnTo>
                      <a:pt x="545" y="534"/>
                    </a:lnTo>
                    <a:lnTo>
                      <a:pt x="545" y="535"/>
                    </a:lnTo>
                    <a:lnTo>
                      <a:pt x="540" y="535"/>
                    </a:lnTo>
                    <a:lnTo>
                      <a:pt x="539" y="536"/>
                    </a:lnTo>
                    <a:lnTo>
                      <a:pt x="539" y="538"/>
                    </a:lnTo>
                    <a:lnTo>
                      <a:pt x="539" y="538"/>
                    </a:lnTo>
                    <a:lnTo>
                      <a:pt x="538" y="539"/>
                    </a:lnTo>
                    <a:lnTo>
                      <a:pt x="536" y="541"/>
                    </a:lnTo>
                    <a:lnTo>
                      <a:pt x="532" y="539"/>
                    </a:lnTo>
                    <a:lnTo>
                      <a:pt x="528" y="536"/>
                    </a:lnTo>
                    <a:lnTo>
                      <a:pt x="528" y="535"/>
                    </a:lnTo>
                    <a:lnTo>
                      <a:pt x="529" y="534"/>
                    </a:lnTo>
                    <a:lnTo>
                      <a:pt x="529" y="534"/>
                    </a:lnTo>
                    <a:lnTo>
                      <a:pt x="532" y="532"/>
                    </a:lnTo>
                    <a:lnTo>
                      <a:pt x="532" y="528"/>
                    </a:lnTo>
                    <a:lnTo>
                      <a:pt x="531" y="524"/>
                    </a:lnTo>
                    <a:lnTo>
                      <a:pt x="528" y="521"/>
                    </a:lnTo>
                    <a:lnTo>
                      <a:pt x="528" y="521"/>
                    </a:lnTo>
                    <a:lnTo>
                      <a:pt x="523" y="519"/>
                    </a:lnTo>
                    <a:lnTo>
                      <a:pt x="521" y="518"/>
                    </a:lnTo>
                    <a:lnTo>
                      <a:pt x="519" y="518"/>
                    </a:lnTo>
                    <a:lnTo>
                      <a:pt x="519" y="516"/>
                    </a:lnTo>
                    <a:lnTo>
                      <a:pt x="519" y="516"/>
                    </a:lnTo>
                    <a:lnTo>
                      <a:pt x="518" y="514"/>
                    </a:lnTo>
                    <a:lnTo>
                      <a:pt x="516" y="514"/>
                    </a:lnTo>
                    <a:lnTo>
                      <a:pt x="512" y="514"/>
                    </a:lnTo>
                    <a:lnTo>
                      <a:pt x="508" y="512"/>
                    </a:lnTo>
                    <a:lnTo>
                      <a:pt x="508" y="512"/>
                    </a:lnTo>
                    <a:lnTo>
                      <a:pt x="502" y="508"/>
                    </a:lnTo>
                    <a:lnTo>
                      <a:pt x="498" y="508"/>
                    </a:lnTo>
                    <a:lnTo>
                      <a:pt x="494" y="509"/>
                    </a:lnTo>
                    <a:lnTo>
                      <a:pt x="494" y="509"/>
                    </a:lnTo>
                    <a:lnTo>
                      <a:pt x="489" y="511"/>
                    </a:lnTo>
                    <a:lnTo>
                      <a:pt x="482" y="512"/>
                    </a:lnTo>
                    <a:lnTo>
                      <a:pt x="465" y="514"/>
                    </a:lnTo>
                    <a:lnTo>
                      <a:pt x="465" y="514"/>
                    </a:lnTo>
                    <a:lnTo>
                      <a:pt x="451" y="515"/>
                    </a:lnTo>
                    <a:lnTo>
                      <a:pt x="437" y="515"/>
                    </a:lnTo>
                    <a:lnTo>
                      <a:pt x="425" y="514"/>
                    </a:lnTo>
                    <a:lnTo>
                      <a:pt x="420" y="512"/>
                    </a:lnTo>
                    <a:lnTo>
                      <a:pt x="417" y="511"/>
                    </a:lnTo>
                    <a:lnTo>
                      <a:pt x="417" y="511"/>
                    </a:lnTo>
                    <a:lnTo>
                      <a:pt x="417" y="508"/>
                    </a:lnTo>
                    <a:lnTo>
                      <a:pt x="417" y="507"/>
                    </a:lnTo>
                    <a:lnTo>
                      <a:pt x="422" y="502"/>
                    </a:lnTo>
                    <a:lnTo>
                      <a:pt x="430" y="499"/>
                    </a:lnTo>
                    <a:lnTo>
                      <a:pt x="435" y="498"/>
                    </a:lnTo>
                    <a:lnTo>
                      <a:pt x="435" y="498"/>
                    </a:lnTo>
                    <a:lnTo>
                      <a:pt x="438" y="498"/>
                    </a:lnTo>
                    <a:lnTo>
                      <a:pt x="437" y="495"/>
                    </a:lnTo>
                    <a:lnTo>
                      <a:pt x="434" y="491"/>
                    </a:lnTo>
                    <a:lnTo>
                      <a:pt x="430" y="487"/>
                    </a:lnTo>
                    <a:lnTo>
                      <a:pt x="430" y="487"/>
                    </a:lnTo>
                    <a:lnTo>
                      <a:pt x="422" y="482"/>
                    </a:lnTo>
                    <a:lnTo>
                      <a:pt x="412" y="479"/>
                    </a:lnTo>
                    <a:lnTo>
                      <a:pt x="407" y="478"/>
                    </a:lnTo>
                    <a:lnTo>
                      <a:pt x="404" y="478"/>
                    </a:lnTo>
                    <a:lnTo>
                      <a:pt x="404" y="479"/>
                    </a:lnTo>
                    <a:lnTo>
                      <a:pt x="404" y="479"/>
                    </a:lnTo>
                    <a:lnTo>
                      <a:pt x="402" y="481"/>
                    </a:lnTo>
                    <a:lnTo>
                      <a:pt x="401" y="481"/>
                    </a:lnTo>
                    <a:lnTo>
                      <a:pt x="397" y="481"/>
                    </a:lnTo>
                    <a:lnTo>
                      <a:pt x="380" y="478"/>
                    </a:lnTo>
                    <a:lnTo>
                      <a:pt x="380" y="478"/>
                    </a:lnTo>
                    <a:lnTo>
                      <a:pt x="371" y="475"/>
                    </a:lnTo>
                    <a:lnTo>
                      <a:pt x="367" y="472"/>
                    </a:lnTo>
                    <a:lnTo>
                      <a:pt x="361" y="471"/>
                    </a:lnTo>
                    <a:lnTo>
                      <a:pt x="357" y="470"/>
                    </a:lnTo>
                    <a:lnTo>
                      <a:pt x="357" y="470"/>
                    </a:lnTo>
                    <a:lnTo>
                      <a:pt x="350" y="470"/>
                    </a:lnTo>
                    <a:lnTo>
                      <a:pt x="341" y="468"/>
                    </a:lnTo>
                    <a:lnTo>
                      <a:pt x="333" y="464"/>
                    </a:lnTo>
                    <a:lnTo>
                      <a:pt x="326" y="460"/>
                    </a:lnTo>
                    <a:lnTo>
                      <a:pt x="326" y="460"/>
                    </a:lnTo>
                    <a:lnTo>
                      <a:pt x="321" y="457"/>
                    </a:lnTo>
                    <a:lnTo>
                      <a:pt x="316" y="455"/>
                    </a:lnTo>
                    <a:lnTo>
                      <a:pt x="304" y="454"/>
                    </a:lnTo>
                    <a:lnTo>
                      <a:pt x="294" y="457"/>
                    </a:lnTo>
                    <a:lnTo>
                      <a:pt x="290" y="458"/>
                    </a:lnTo>
                    <a:lnTo>
                      <a:pt x="289" y="461"/>
                    </a:lnTo>
                    <a:lnTo>
                      <a:pt x="289" y="461"/>
                    </a:lnTo>
                    <a:lnTo>
                      <a:pt x="286" y="465"/>
                    </a:lnTo>
                    <a:lnTo>
                      <a:pt x="282" y="467"/>
                    </a:lnTo>
                    <a:lnTo>
                      <a:pt x="276" y="468"/>
                    </a:lnTo>
                    <a:lnTo>
                      <a:pt x="270" y="468"/>
                    </a:lnTo>
                    <a:lnTo>
                      <a:pt x="270" y="468"/>
                    </a:lnTo>
                    <a:lnTo>
                      <a:pt x="269" y="467"/>
                    </a:lnTo>
                    <a:lnTo>
                      <a:pt x="267" y="467"/>
                    </a:lnTo>
                    <a:lnTo>
                      <a:pt x="269" y="462"/>
                    </a:lnTo>
                    <a:lnTo>
                      <a:pt x="272" y="460"/>
                    </a:lnTo>
                    <a:lnTo>
                      <a:pt x="272" y="458"/>
                    </a:lnTo>
                    <a:lnTo>
                      <a:pt x="272" y="457"/>
                    </a:lnTo>
                    <a:lnTo>
                      <a:pt x="272" y="457"/>
                    </a:lnTo>
                    <a:lnTo>
                      <a:pt x="269" y="455"/>
                    </a:lnTo>
                    <a:lnTo>
                      <a:pt x="269" y="451"/>
                    </a:lnTo>
                    <a:lnTo>
                      <a:pt x="269" y="447"/>
                    </a:lnTo>
                    <a:lnTo>
                      <a:pt x="267" y="445"/>
                    </a:lnTo>
                    <a:lnTo>
                      <a:pt x="266" y="445"/>
                    </a:lnTo>
                    <a:lnTo>
                      <a:pt x="266" y="445"/>
                    </a:lnTo>
                    <a:lnTo>
                      <a:pt x="263" y="445"/>
                    </a:lnTo>
                    <a:lnTo>
                      <a:pt x="262" y="448"/>
                    </a:lnTo>
                    <a:lnTo>
                      <a:pt x="257" y="457"/>
                    </a:lnTo>
                    <a:lnTo>
                      <a:pt x="252" y="464"/>
                    </a:lnTo>
                    <a:lnTo>
                      <a:pt x="247" y="467"/>
                    </a:lnTo>
                    <a:lnTo>
                      <a:pt x="245" y="468"/>
                    </a:lnTo>
                    <a:lnTo>
                      <a:pt x="245" y="468"/>
                    </a:lnTo>
                    <a:lnTo>
                      <a:pt x="240" y="467"/>
                    </a:lnTo>
                    <a:lnTo>
                      <a:pt x="237" y="464"/>
                    </a:lnTo>
                    <a:lnTo>
                      <a:pt x="232" y="454"/>
                    </a:lnTo>
                    <a:lnTo>
                      <a:pt x="226" y="444"/>
                    </a:lnTo>
                    <a:lnTo>
                      <a:pt x="223" y="438"/>
                    </a:lnTo>
                    <a:lnTo>
                      <a:pt x="220" y="435"/>
                    </a:lnTo>
                    <a:lnTo>
                      <a:pt x="220" y="435"/>
                    </a:lnTo>
                    <a:lnTo>
                      <a:pt x="213" y="433"/>
                    </a:lnTo>
                    <a:lnTo>
                      <a:pt x="209" y="431"/>
                    </a:lnTo>
                    <a:lnTo>
                      <a:pt x="208" y="431"/>
                    </a:lnTo>
                    <a:lnTo>
                      <a:pt x="208" y="433"/>
                    </a:lnTo>
                    <a:lnTo>
                      <a:pt x="210" y="438"/>
                    </a:lnTo>
                    <a:lnTo>
                      <a:pt x="210" y="438"/>
                    </a:lnTo>
                    <a:lnTo>
                      <a:pt x="212" y="441"/>
                    </a:lnTo>
                    <a:lnTo>
                      <a:pt x="212" y="442"/>
                    </a:lnTo>
                    <a:lnTo>
                      <a:pt x="212" y="444"/>
                    </a:lnTo>
                    <a:lnTo>
                      <a:pt x="210" y="444"/>
                    </a:lnTo>
                    <a:lnTo>
                      <a:pt x="206" y="445"/>
                    </a:lnTo>
                    <a:lnTo>
                      <a:pt x="205" y="445"/>
                    </a:lnTo>
                    <a:lnTo>
                      <a:pt x="205" y="448"/>
                    </a:lnTo>
                    <a:lnTo>
                      <a:pt x="205" y="448"/>
                    </a:lnTo>
                    <a:lnTo>
                      <a:pt x="205" y="450"/>
                    </a:lnTo>
                    <a:lnTo>
                      <a:pt x="203" y="452"/>
                    </a:lnTo>
                    <a:lnTo>
                      <a:pt x="199" y="457"/>
                    </a:lnTo>
                    <a:lnTo>
                      <a:pt x="195" y="458"/>
                    </a:lnTo>
                    <a:lnTo>
                      <a:pt x="193" y="460"/>
                    </a:lnTo>
                    <a:lnTo>
                      <a:pt x="193" y="458"/>
                    </a:lnTo>
                    <a:lnTo>
                      <a:pt x="193" y="458"/>
                    </a:lnTo>
                    <a:lnTo>
                      <a:pt x="192" y="455"/>
                    </a:lnTo>
                    <a:lnTo>
                      <a:pt x="188" y="454"/>
                    </a:lnTo>
                    <a:lnTo>
                      <a:pt x="183" y="455"/>
                    </a:lnTo>
                    <a:lnTo>
                      <a:pt x="178" y="461"/>
                    </a:lnTo>
                    <a:lnTo>
                      <a:pt x="178" y="461"/>
                    </a:lnTo>
                    <a:lnTo>
                      <a:pt x="171" y="467"/>
                    </a:lnTo>
                    <a:lnTo>
                      <a:pt x="166" y="468"/>
                    </a:lnTo>
                    <a:lnTo>
                      <a:pt x="163" y="468"/>
                    </a:lnTo>
                    <a:lnTo>
                      <a:pt x="162" y="465"/>
                    </a:lnTo>
                    <a:lnTo>
                      <a:pt x="162" y="465"/>
                    </a:lnTo>
                    <a:lnTo>
                      <a:pt x="161" y="465"/>
                    </a:lnTo>
                    <a:lnTo>
                      <a:pt x="158" y="465"/>
                    </a:lnTo>
                    <a:lnTo>
                      <a:pt x="149" y="470"/>
                    </a:lnTo>
                    <a:lnTo>
                      <a:pt x="141" y="475"/>
                    </a:lnTo>
                    <a:lnTo>
                      <a:pt x="138" y="477"/>
                    </a:lnTo>
                    <a:lnTo>
                      <a:pt x="136" y="479"/>
                    </a:lnTo>
                    <a:lnTo>
                      <a:pt x="136" y="479"/>
                    </a:lnTo>
                    <a:lnTo>
                      <a:pt x="136" y="482"/>
                    </a:lnTo>
                    <a:lnTo>
                      <a:pt x="135" y="484"/>
                    </a:lnTo>
                    <a:lnTo>
                      <a:pt x="131" y="485"/>
                    </a:lnTo>
                    <a:lnTo>
                      <a:pt x="126" y="487"/>
                    </a:lnTo>
                    <a:lnTo>
                      <a:pt x="126" y="487"/>
                    </a:lnTo>
                    <a:lnTo>
                      <a:pt x="124" y="485"/>
                    </a:lnTo>
                    <a:lnTo>
                      <a:pt x="124" y="482"/>
                    </a:lnTo>
                    <a:lnTo>
                      <a:pt x="126" y="479"/>
                    </a:lnTo>
                    <a:lnTo>
                      <a:pt x="131" y="477"/>
                    </a:lnTo>
                    <a:lnTo>
                      <a:pt x="131" y="477"/>
                    </a:lnTo>
                    <a:lnTo>
                      <a:pt x="145" y="468"/>
                    </a:lnTo>
                    <a:lnTo>
                      <a:pt x="154" y="462"/>
                    </a:lnTo>
                    <a:lnTo>
                      <a:pt x="161" y="460"/>
                    </a:lnTo>
                    <a:lnTo>
                      <a:pt x="161" y="460"/>
                    </a:lnTo>
                    <a:lnTo>
                      <a:pt x="169" y="458"/>
                    </a:lnTo>
                    <a:lnTo>
                      <a:pt x="176" y="454"/>
                    </a:lnTo>
                    <a:lnTo>
                      <a:pt x="183" y="451"/>
                    </a:lnTo>
                    <a:lnTo>
                      <a:pt x="186" y="450"/>
                    </a:lnTo>
                    <a:lnTo>
                      <a:pt x="186" y="447"/>
                    </a:lnTo>
                    <a:lnTo>
                      <a:pt x="186" y="447"/>
                    </a:lnTo>
                    <a:lnTo>
                      <a:pt x="186" y="447"/>
                    </a:lnTo>
                    <a:lnTo>
                      <a:pt x="185" y="445"/>
                    </a:lnTo>
                    <a:lnTo>
                      <a:pt x="182" y="445"/>
                    </a:lnTo>
                    <a:lnTo>
                      <a:pt x="178" y="445"/>
                    </a:lnTo>
                    <a:lnTo>
                      <a:pt x="172" y="445"/>
                    </a:lnTo>
                    <a:lnTo>
                      <a:pt x="172" y="445"/>
                    </a:lnTo>
                    <a:lnTo>
                      <a:pt x="168" y="445"/>
                    </a:lnTo>
                    <a:lnTo>
                      <a:pt x="162" y="448"/>
                    </a:lnTo>
                    <a:lnTo>
                      <a:pt x="148" y="455"/>
                    </a:lnTo>
                    <a:lnTo>
                      <a:pt x="148" y="455"/>
                    </a:lnTo>
                    <a:lnTo>
                      <a:pt x="141" y="458"/>
                    </a:lnTo>
                    <a:lnTo>
                      <a:pt x="134" y="460"/>
                    </a:lnTo>
                    <a:lnTo>
                      <a:pt x="129" y="461"/>
                    </a:lnTo>
                    <a:lnTo>
                      <a:pt x="129" y="462"/>
                    </a:lnTo>
                    <a:lnTo>
                      <a:pt x="129" y="464"/>
                    </a:lnTo>
                    <a:lnTo>
                      <a:pt x="129" y="464"/>
                    </a:lnTo>
                    <a:lnTo>
                      <a:pt x="129" y="465"/>
                    </a:lnTo>
                    <a:lnTo>
                      <a:pt x="129" y="467"/>
                    </a:lnTo>
                    <a:lnTo>
                      <a:pt x="126" y="467"/>
                    </a:lnTo>
                    <a:lnTo>
                      <a:pt x="121" y="465"/>
                    </a:lnTo>
                    <a:lnTo>
                      <a:pt x="119" y="465"/>
                    </a:lnTo>
                    <a:lnTo>
                      <a:pt x="118" y="467"/>
                    </a:lnTo>
                    <a:lnTo>
                      <a:pt x="118" y="467"/>
                    </a:lnTo>
                    <a:lnTo>
                      <a:pt x="117" y="468"/>
                    </a:lnTo>
                    <a:lnTo>
                      <a:pt x="114" y="468"/>
                    </a:lnTo>
                    <a:lnTo>
                      <a:pt x="114" y="467"/>
                    </a:lnTo>
                    <a:lnTo>
                      <a:pt x="115" y="464"/>
                    </a:lnTo>
                    <a:lnTo>
                      <a:pt x="115" y="464"/>
                    </a:lnTo>
                    <a:lnTo>
                      <a:pt x="115" y="464"/>
                    </a:lnTo>
                    <a:lnTo>
                      <a:pt x="115" y="462"/>
                    </a:lnTo>
                    <a:lnTo>
                      <a:pt x="112" y="461"/>
                    </a:lnTo>
                    <a:lnTo>
                      <a:pt x="108" y="460"/>
                    </a:lnTo>
                    <a:lnTo>
                      <a:pt x="107" y="460"/>
                    </a:lnTo>
                    <a:lnTo>
                      <a:pt x="107" y="461"/>
                    </a:lnTo>
                    <a:lnTo>
                      <a:pt x="107" y="461"/>
                    </a:lnTo>
                    <a:lnTo>
                      <a:pt x="105" y="462"/>
                    </a:lnTo>
                    <a:lnTo>
                      <a:pt x="104" y="465"/>
                    </a:lnTo>
                    <a:lnTo>
                      <a:pt x="101" y="467"/>
                    </a:lnTo>
                    <a:lnTo>
                      <a:pt x="95" y="467"/>
                    </a:lnTo>
                    <a:lnTo>
                      <a:pt x="95" y="467"/>
                    </a:lnTo>
                    <a:lnTo>
                      <a:pt x="90" y="468"/>
                    </a:lnTo>
                    <a:lnTo>
                      <a:pt x="84" y="470"/>
                    </a:lnTo>
                    <a:lnTo>
                      <a:pt x="82" y="474"/>
                    </a:lnTo>
                    <a:lnTo>
                      <a:pt x="82" y="475"/>
                    </a:lnTo>
                    <a:lnTo>
                      <a:pt x="84" y="477"/>
                    </a:lnTo>
                    <a:lnTo>
                      <a:pt x="84" y="477"/>
                    </a:lnTo>
                    <a:lnTo>
                      <a:pt x="91" y="482"/>
                    </a:lnTo>
                    <a:lnTo>
                      <a:pt x="91" y="484"/>
                    </a:lnTo>
                    <a:lnTo>
                      <a:pt x="91" y="487"/>
                    </a:lnTo>
                    <a:lnTo>
                      <a:pt x="91" y="487"/>
                    </a:lnTo>
                    <a:lnTo>
                      <a:pt x="90" y="487"/>
                    </a:lnTo>
                    <a:lnTo>
                      <a:pt x="87" y="487"/>
                    </a:lnTo>
                    <a:lnTo>
                      <a:pt x="82" y="484"/>
                    </a:lnTo>
                    <a:lnTo>
                      <a:pt x="75" y="481"/>
                    </a:lnTo>
                    <a:lnTo>
                      <a:pt x="71" y="479"/>
                    </a:lnTo>
                    <a:lnTo>
                      <a:pt x="67" y="479"/>
                    </a:lnTo>
                    <a:lnTo>
                      <a:pt x="67" y="479"/>
                    </a:lnTo>
                    <a:lnTo>
                      <a:pt x="61" y="479"/>
                    </a:lnTo>
                    <a:lnTo>
                      <a:pt x="55" y="478"/>
                    </a:lnTo>
                    <a:lnTo>
                      <a:pt x="43" y="472"/>
                    </a:lnTo>
                    <a:lnTo>
                      <a:pt x="33" y="467"/>
                    </a:lnTo>
                    <a:lnTo>
                      <a:pt x="30" y="464"/>
                    </a:lnTo>
                    <a:lnTo>
                      <a:pt x="28" y="462"/>
                    </a:lnTo>
                    <a:lnTo>
                      <a:pt x="28" y="462"/>
                    </a:lnTo>
                    <a:lnTo>
                      <a:pt x="28" y="461"/>
                    </a:lnTo>
                    <a:lnTo>
                      <a:pt x="25" y="461"/>
                    </a:lnTo>
                    <a:lnTo>
                      <a:pt x="18" y="461"/>
                    </a:lnTo>
                    <a:lnTo>
                      <a:pt x="0" y="460"/>
                    </a:lnTo>
                    <a:lnTo>
                      <a:pt x="0" y="706"/>
                    </a:lnTo>
                    <a:lnTo>
                      <a:pt x="0" y="706"/>
                    </a:lnTo>
                    <a:lnTo>
                      <a:pt x="3" y="707"/>
                    </a:lnTo>
                    <a:lnTo>
                      <a:pt x="6" y="709"/>
                    </a:lnTo>
                    <a:lnTo>
                      <a:pt x="8" y="707"/>
                    </a:lnTo>
                    <a:lnTo>
                      <a:pt x="8" y="707"/>
                    </a:lnTo>
                    <a:lnTo>
                      <a:pt x="10" y="706"/>
                    </a:lnTo>
                    <a:lnTo>
                      <a:pt x="13" y="707"/>
                    </a:lnTo>
                    <a:lnTo>
                      <a:pt x="17" y="706"/>
                    </a:lnTo>
                    <a:lnTo>
                      <a:pt x="23" y="704"/>
                    </a:lnTo>
                    <a:lnTo>
                      <a:pt x="23" y="704"/>
                    </a:lnTo>
                    <a:lnTo>
                      <a:pt x="25" y="704"/>
                    </a:lnTo>
                    <a:lnTo>
                      <a:pt x="27" y="704"/>
                    </a:lnTo>
                    <a:lnTo>
                      <a:pt x="31" y="706"/>
                    </a:lnTo>
                    <a:lnTo>
                      <a:pt x="33" y="710"/>
                    </a:lnTo>
                    <a:lnTo>
                      <a:pt x="34" y="713"/>
                    </a:lnTo>
                    <a:lnTo>
                      <a:pt x="34" y="713"/>
                    </a:lnTo>
                    <a:lnTo>
                      <a:pt x="35" y="716"/>
                    </a:lnTo>
                    <a:lnTo>
                      <a:pt x="40" y="720"/>
                    </a:lnTo>
                    <a:lnTo>
                      <a:pt x="45" y="724"/>
                    </a:lnTo>
                    <a:lnTo>
                      <a:pt x="50" y="728"/>
                    </a:lnTo>
                    <a:lnTo>
                      <a:pt x="50" y="728"/>
                    </a:lnTo>
                    <a:lnTo>
                      <a:pt x="55" y="737"/>
                    </a:lnTo>
                    <a:lnTo>
                      <a:pt x="58" y="738"/>
                    </a:lnTo>
                    <a:lnTo>
                      <a:pt x="62" y="737"/>
                    </a:lnTo>
                    <a:lnTo>
                      <a:pt x="62" y="737"/>
                    </a:lnTo>
                    <a:lnTo>
                      <a:pt x="71" y="733"/>
                    </a:lnTo>
                    <a:lnTo>
                      <a:pt x="75" y="730"/>
                    </a:lnTo>
                    <a:lnTo>
                      <a:pt x="77" y="727"/>
                    </a:lnTo>
                    <a:lnTo>
                      <a:pt x="77" y="726"/>
                    </a:lnTo>
                    <a:lnTo>
                      <a:pt x="77" y="726"/>
                    </a:lnTo>
                    <a:lnTo>
                      <a:pt x="78" y="723"/>
                    </a:lnTo>
                    <a:lnTo>
                      <a:pt x="80" y="721"/>
                    </a:lnTo>
                    <a:lnTo>
                      <a:pt x="88" y="720"/>
                    </a:lnTo>
                    <a:lnTo>
                      <a:pt x="95" y="721"/>
                    </a:lnTo>
                    <a:lnTo>
                      <a:pt x="98" y="724"/>
                    </a:lnTo>
                    <a:lnTo>
                      <a:pt x="98" y="727"/>
                    </a:lnTo>
                    <a:lnTo>
                      <a:pt x="98" y="727"/>
                    </a:lnTo>
                    <a:lnTo>
                      <a:pt x="99" y="730"/>
                    </a:lnTo>
                    <a:lnTo>
                      <a:pt x="102" y="733"/>
                    </a:lnTo>
                    <a:lnTo>
                      <a:pt x="111" y="741"/>
                    </a:lnTo>
                    <a:lnTo>
                      <a:pt x="122" y="751"/>
                    </a:lnTo>
                    <a:lnTo>
                      <a:pt x="128" y="758"/>
                    </a:lnTo>
                    <a:lnTo>
                      <a:pt x="134" y="765"/>
                    </a:lnTo>
                    <a:lnTo>
                      <a:pt x="134" y="765"/>
                    </a:lnTo>
                    <a:lnTo>
                      <a:pt x="141" y="780"/>
                    </a:lnTo>
                    <a:lnTo>
                      <a:pt x="145" y="788"/>
                    </a:lnTo>
                    <a:lnTo>
                      <a:pt x="151" y="794"/>
                    </a:lnTo>
                    <a:lnTo>
                      <a:pt x="162" y="800"/>
                    </a:lnTo>
                    <a:lnTo>
                      <a:pt x="162" y="800"/>
                    </a:lnTo>
                    <a:lnTo>
                      <a:pt x="172" y="804"/>
                    </a:lnTo>
                    <a:lnTo>
                      <a:pt x="176" y="808"/>
                    </a:lnTo>
                    <a:lnTo>
                      <a:pt x="178" y="812"/>
                    </a:lnTo>
                    <a:lnTo>
                      <a:pt x="176" y="817"/>
                    </a:lnTo>
                    <a:lnTo>
                      <a:pt x="176" y="817"/>
                    </a:lnTo>
                    <a:lnTo>
                      <a:pt x="176" y="818"/>
                    </a:lnTo>
                    <a:lnTo>
                      <a:pt x="178" y="821"/>
                    </a:lnTo>
                    <a:lnTo>
                      <a:pt x="181" y="824"/>
                    </a:lnTo>
                    <a:lnTo>
                      <a:pt x="182" y="828"/>
                    </a:lnTo>
                    <a:lnTo>
                      <a:pt x="182" y="829"/>
                    </a:lnTo>
                    <a:lnTo>
                      <a:pt x="181" y="831"/>
                    </a:lnTo>
                    <a:lnTo>
                      <a:pt x="181" y="831"/>
                    </a:lnTo>
                    <a:lnTo>
                      <a:pt x="169" y="839"/>
                    </a:lnTo>
                    <a:lnTo>
                      <a:pt x="169" y="839"/>
                    </a:lnTo>
                    <a:lnTo>
                      <a:pt x="169" y="841"/>
                    </a:lnTo>
                    <a:lnTo>
                      <a:pt x="171" y="844"/>
                    </a:lnTo>
                    <a:lnTo>
                      <a:pt x="176" y="847"/>
                    </a:lnTo>
                    <a:lnTo>
                      <a:pt x="176" y="847"/>
                    </a:lnTo>
                    <a:lnTo>
                      <a:pt x="176" y="848"/>
                    </a:lnTo>
                    <a:lnTo>
                      <a:pt x="176" y="849"/>
                    </a:lnTo>
                    <a:lnTo>
                      <a:pt x="173" y="851"/>
                    </a:lnTo>
                    <a:lnTo>
                      <a:pt x="171" y="852"/>
                    </a:lnTo>
                    <a:lnTo>
                      <a:pt x="171" y="852"/>
                    </a:lnTo>
                    <a:lnTo>
                      <a:pt x="172" y="854"/>
                    </a:lnTo>
                    <a:lnTo>
                      <a:pt x="172" y="854"/>
                    </a:lnTo>
                    <a:lnTo>
                      <a:pt x="173" y="856"/>
                    </a:lnTo>
                    <a:lnTo>
                      <a:pt x="173" y="859"/>
                    </a:lnTo>
                    <a:lnTo>
                      <a:pt x="173" y="862"/>
                    </a:lnTo>
                    <a:lnTo>
                      <a:pt x="175" y="866"/>
                    </a:lnTo>
                    <a:lnTo>
                      <a:pt x="175" y="866"/>
                    </a:lnTo>
                    <a:lnTo>
                      <a:pt x="178" y="868"/>
                    </a:lnTo>
                    <a:lnTo>
                      <a:pt x="181" y="868"/>
                    </a:lnTo>
                    <a:lnTo>
                      <a:pt x="185" y="868"/>
                    </a:lnTo>
                    <a:lnTo>
                      <a:pt x="188" y="865"/>
                    </a:lnTo>
                    <a:lnTo>
                      <a:pt x="188" y="865"/>
                    </a:lnTo>
                    <a:lnTo>
                      <a:pt x="191" y="865"/>
                    </a:lnTo>
                    <a:lnTo>
                      <a:pt x="192" y="866"/>
                    </a:lnTo>
                    <a:lnTo>
                      <a:pt x="193" y="871"/>
                    </a:lnTo>
                    <a:lnTo>
                      <a:pt x="192" y="875"/>
                    </a:lnTo>
                    <a:lnTo>
                      <a:pt x="192" y="875"/>
                    </a:lnTo>
                    <a:lnTo>
                      <a:pt x="191" y="878"/>
                    </a:lnTo>
                    <a:lnTo>
                      <a:pt x="193" y="881"/>
                    </a:lnTo>
                    <a:lnTo>
                      <a:pt x="196" y="882"/>
                    </a:lnTo>
                    <a:lnTo>
                      <a:pt x="199" y="879"/>
                    </a:lnTo>
                    <a:lnTo>
                      <a:pt x="199" y="879"/>
                    </a:lnTo>
                    <a:lnTo>
                      <a:pt x="200" y="879"/>
                    </a:lnTo>
                    <a:lnTo>
                      <a:pt x="202" y="879"/>
                    </a:lnTo>
                    <a:lnTo>
                      <a:pt x="205" y="882"/>
                    </a:lnTo>
                    <a:lnTo>
                      <a:pt x="212" y="888"/>
                    </a:lnTo>
                    <a:lnTo>
                      <a:pt x="212" y="888"/>
                    </a:lnTo>
                    <a:lnTo>
                      <a:pt x="213" y="889"/>
                    </a:lnTo>
                    <a:lnTo>
                      <a:pt x="215" y="892"/>
                    </a:lnTo>
                    <a:lnTo>
                      <a:pt x="215" y="895"/>
                    </a:lnTo>
                    <a:lnTo>
                      <a:pt x="213" y="895"/>
                    </a:lnTo>
                    <a:lnTo>
                      <a:pt x="213" y="895"/>
                    </a:lnTo>
                    <a:lnTo>
                      <a:pt x="210" y="895"/>
                    </a:lnTo>
                    <a:lnTo>
                      <a:pt x="210" y="896"/>
                    </a:lnTo>
                    <a:lnTo>
                      <a:pt x="209" y="899"/>
                    </a:lnTo>
                    <a:lnTo>
                      <a:pt x="209" y="903"/>
                    </a:lnTo>
                    <a:lnTo>
                      <a:pt x="212" y="905"/>
                    </a:lnTo>
                    <a:lnTo>
                      <a:pt x="212" y="905"/>
                    </a:lnTo>
                    <a:lnTo>
                      <a:pt x="215" y="906"/>
                    </a:lnTo>
                    <a:lnTo>
                      <a:pt x="215" y="908"/>
                    </a:lnTo>
                    <a:lnTo>
                      <a:pt x="216" y="913"/>
                    </a:lnTo>
                    <a:lnTo>
                      <a:pt x="216" y="913"/>
                    </a:lnTo>
                    <a:lnTo>
                      <a:pt x="218" y="916"/>
                    </a:lnTo>
                    <a:lnTo>
                      <a:pt x="222" y="918"/>
                    </a:lnTo>
                    <a:lnTo>
                      <a:pt x="227" y="919"/>
                    </a:lnTo>
                    <a:lnTo>
                      <a:pt x="233" y="919"/>
                    </a:lnTo>
                    <a:lnTo>
                      <a:pt x="233" y="919"/>
                    </a:lnTo>
                    <a:lnTo>
                      <a:pt x="236" y="919"/>
                    </a:lnTo>
                    <a:lnTo>
                      <a:pt x="239" y="920"/>
                    </a:lnTo>
                    <a:lnTo>
                      <a:pt x="243" y="926"/>
                    </a:lnTo>
                    <a:lnTo>
                      <a:pt x="243" y="926"/>
                    </a:lnTo>
                    <a:lnTo>
                      <a:pt x="246" y="929"/>
                    </a:lnTo>
                    <a:lnTo>
                      <a:pt x="250" y="930"/>
                    </a:lnTo>
                    <a:lnTo>
                      <a:pt x="255" y="932"/>
                    </a:lnTo>
                    <a:lnTo>
                      <a:pt x="257" y="930"/>
                    </a:lnTo>
                    <a:lnTo>
                      <a:pt x="257" y="930"/>
                    </a:lnTo>
                    <a:lnTo>
                      <a:pt x="260" y="930"/>
                    </a:lnTo>
                    <a:lnTo>
                      <a:pt x="262" y="933"/>
                    </a:lnTo>
                    <a:lnTo>
                      <a:pt x="263" y="940"/>
                    </a:lnTo>
                    <a:lnTo>
                      <a:pt x="263" y="940"/>
                    </a:lnTo>
                    <a:lnTo>
                      <a:pt x="264" y="943"/>
                    </a:lnTo>
                    <a:lnTo>
                      <a:pt x="269" y="943"/>
                    </a:lnTo>
                    <a:lnTo>
                      <a:pt x="276" y="942"/>
                    </a:lnTo>
                    <a:lnTo>
                      <a:pt x="276" y="942"/>
                    </a:lnTo>
                    <a:lnTo>
                      <a:pt x="279" y="943"/>
                    </a:lnTo>
                    <a:lnTo>
                      <a:pt x="282" y="945"/>
                    </a:lnTo>
                    <a:lnTo>
                      <a:pt x="283" y="946"/>
                    </a:lnTo>
                    <a:lnTo>
                      <a:pt x="286" y="946"/>
                    </a:lnTo>
                    <a:lnTo>
                      <a:pt x="286" y="946"/>
                    </a:lnTo>
                    <a:lnTo>
                      <a:pt x="287" y="946"/>
                    </a:lnTo>
                    <a:lnTo>
                      <a:pt x="289" y="948"/>
                    </a:lnTo>
                    <a:lnTo>
                      <a:pt x="292" y="950"/>
                    </a:lnTo>
                    <a:lnTo>
                      <a:pt x="297" y="962"/>
                    </a:lnTo>
                    <a:lnTo>
                      <a:pt x="740" y="959"/>
                    </a:lnTo>
                    <a:lnTo>
                      <a:pt x="740" y="959"/>
                    </a:lnTo>
                    <a:lnTo>
                      <a:pt x="741" y="955"/>
                    </a:lnTo>
                    <a:lnTo>
                      <a:pt x="742" y="952"/>
                    </a:lnTo>
                    <a:lnTo>
                      <a:pt x="744" y="952"/>
                    </a:lnTo>
                    <a:lnTo>
                      <a:pt x="745" y="952"/>
                    </a:lnTo>
                    <a:lnTo>
                      <a:pt x="745" y="952"/>
                    </a:lnTo>
                    <a:lnTo>
                      <a:pt x="748" y="955"/>
                    </a:lnTo>
                    <a:lnTo>
                      <a:pt x="748" y="959"/>
                    </a:lnTo>
                    <a:lnTo>
                      <a:pt x="748" y="962"/>
                    </a:lnTo>
                    <a:lnTo>
                      <a:pt x="752" y="965"/>
                    </a:lnTo>
                    <a:lnTo>
                      <a:pt x="752" y="965"/>
                    </a:lnTo>
                    <a:lnTo>
                      <a:pt x="760" y="969"/>
                    </a:lnTo>
                    <a:lnTo>
                      <a:pt x="762" y="969"/>
                    </a:lnTo>
                    <a:lnTo>
                      <a:pt x="765" y="969"/>
                    </a:lnTo>
                    <a:lnTo>
                      <a:pt x="765" y="969"/>
                    </a:lnTo>
                    <a:lnTo>
                      <a:pt x="772" y="966"/>
                    </a:lnTo>
                    <a:lnTo>
                      <a:pt x="777" y="966"/>
                    </a:lnTo>
                    <a:lnTo>
                      <a:pt x="781" y="970"/>
                    </a:lnTo>
                    <a:lnTo>
                      <a:pt x="781" y="970"/>
                    </a:lnTo>
                    <a:lnTo>
                      <a:pt x="784" y="973"/>
                    </a:lnTo>
                    <a:lnTo>
                      <a:pt x="788" y="973"/>
                    </a:lnTo>
                    <a:lnTo>
                      <a:pt x="791" y="973"/>
                    </a:lnTo>
                    <a:lnTo>
                      <a:pt x="794" y="975"/>
                    </a:lnTo>
                    <a:lnTo>
                      <a:pt x="794" y="975"/>
                    </a:lnTo>
                    <a:lnTo>
                      <a:pt x="797" y="977"/>
                    </a:lnTo>
                    <a:lnTo>
                      <a:pt x="799" y="980"/>
                    </a:lnTo>
                    <a:lnTo>
                      <a:pt x="804" y="980"/>
                    </a:lnTo>
                    <a:lnTo>
                      <a:pt x="808" y="977"/>
                    </a:lnTo>
                    <a:lnTo>
                      <a:pt x="808" y="977"/>
                    </a:lnTo>
                    <a:lnTo>
                      <a:pt x="809" y="976"/>
                    </a:lnTo>
                    <a:lnTo>
                      <a:pt x="811" y="976"/>
                    </a:lnTo>
                    <a:lnTo>
                      <a:pt x="818" y="976"/>
                    </a:lnTo>
                    <a:lnTo>
                      <a:pt x="831" y="980"/>
                    </a:lnTo>
                    <a:lnTo>
                      <a:pt x="831" y="980"/>
                    </a:lnTo>
                    <a:lnTo>
                      <a:pt x="836" y="975"/>
                    </a:lnTo>
                    <a:lnTo>
                      <a:pt x="841" y="969"/>
                    </a:lnTo>
                    <a:lnTo>
                      <a:pt x="846" y="963"/>
                    </a:lnTo>
                    <a:lnTo>
                      <a:pt x="849" y="962"/>
                    </a:lnTo>
                    <a:lnTo>
                      <a:pt x="851" y="960"/>
                    </a:lnTo>
                    <a:lnTo>
                      <a:pt x="851" y="960"/>
                    </a:lnTo>
                    <a:lnTo>
                      <a:pt x="861" y="962"/>
                    </a:lnTo>
                    <a:lnTo>
                      <a:pt x="870" y="963"/>
                    </a:lnTo>
                    <a:lnTo>
                      <a:pt x="876" y="966"/>
                    </a:lnTo>
                    <a:lnTo>
                      <a:pt x="880" y="967"/>
                    </a:lnTo>
                    <a:lnTo>
                      <a:pt x="883" y="972"/>
                    </a:lnTo>
                    <a:lnTo>
                      <a:pt x="885" y="975"/>
                    </a:lnTo>
                    <a:lnTo>
                      <a:pt x="885" y="975"/>
                    </a:lnTo>
                    <a:lnTo>
                      <a:pt x="886" y="979"/>
                    </a:lnTo>
                    <a:lnTo>
                      <a:pt x="889" y="980"/>
                    </a:lnTo>
                    <a:lnTo>
                      <a:pt x="893" y="982"/>
                    </a:lnTo>
                    <a:lnTo>
                      <a:pt x="899" y="982"/>
                    </a:lnTo>
                    <a:lnTo>
                      <a:pt x="902" y="984"/>
                    </a:lnTo>
                    <a:lnTo>
                      <a:pt x="902" y="987"/>
                    </a:lnTo>
                    <a:lnTo>
                      <a:pt x="902" y="987"/>
                    </a:lnTo>
                    <a:lnTo>
                      <a:pt x="905" y="994"/>
                    </a:lnTo>
                    <a:lnTo>
                      <a:pt x="907" y="1000"/>
                    </a:lnTo>
                    <a:lnTo>
                      <a:pt x="910" y="1006"/>
                    </a:lnTo>
                    <a:lnTo>
                      <a:pt x="912" y="1010"/>
                    </a:lnTo>
                    <a:lnTo>
                      <a:pt x="912" y="1010"/>
                    </a:lnTo>
                    <a:lnTo>
                      <a:pt x="920" y="1016"/>
                    </a:lnTo>
                    <a:lnTo>
                      <a:pt x="920" y="1016"/>
                    </a:lnTo>
                    <a:lnTo>
                      <a:pt x="925" y="1016"/>
                    </a:lnTo>
                    <a:lnTo>
                      <a:pt x="932" y="1016"/>
                    </a:lnTo>
                    <a:lnTo>
                      <a:pt x="944" y="1019"/>
                    </a:lnTo>
                    <a:lnTo>
                      <a:pt x="944" y="1019"/>
                    </a:lnTo>
                    <a:lnTo>
                      <a:pt x="949" y="1020"/>
                    </a:lnTo>
                    <a:lnTo>
                      <a:pt x="953" y="1020"/>
                    </a:lnTo>
                    <a:lnTo>
                      <a:pt x="962" y="1020"/>
                    </a:lnTo>
                    <a:lnTo>
                      <a:pt x="966" y="1020"/>
                    </a:lnTo>
                    <a:lnTo>
                      <a:pt x="970" y="1021"/>
                    </a:lnTo>
                    <a:lnTo>
                      <a:pt x="973" y="1023"/>
                    </a:lnTo>
                    <a:lnTo>
                      <a:pt x="974" y="1027"/>
                    </a:lnTo>
                    <a:lnTo>
                      <a:pt x="974" y="1027"/>
                    </a:lnTo>
                    <a:lnTo>
                      <a:pt x="980" y="1036"/>
                    </a:lnTo>
                    <a:lnTo>
                      <a:pt x="984" y="1043"/>
                    </a:lnTo>
                    <a:lnTo>
                      <a:pt x="984" y="1046"/>
                    </a:lnTo>
                    <a:lnTo>
                      <a:pt x="984" y="1047"/>
                    </a:lnTo>
                    <a:lnTo>
                      <a:pt x="984" y="1049"/>
                    </a:lnTo>
                    <a:lnTo>
                      <a:pt x="980" y="1049"/>
                    </a:lnTo>
                    <a:lnTo>
                      <a:pt x="980" y="1049"/>
                    </a:lnTo>
                    <a:lnTo>
                      <a:pt x="977" y="1049"/>
                    </a:lnTo>
                    <a:lnTo>
                      <a:pt x="973" y="1047"/>
                    </a:lnTo>
                    <a:lnTo>
                      <a:pt x="966" y="1044"/>
                    </a:lnTo>
                    <a:lnTo>
                      <a:pt x="962" y="1041"/>
                    </a:lnTo>
                    <a:lnTo>
                      <a:pt x="960" y="1043"/>
                    </a:lnTo>
                    <a:lnTo>
                      <a:pt x="960" y="1044"/>
                    </a:lnTo>
                    <a:lnTo>
                      <a:pt x="960" y="1044"/>
                    </a:lnTo>
                    <a:lnTo>
                      <a:pt x="960" y="1049"/>
                    </a:lnTo>
                    <a:lnTo>
                      <a:pt x="957" y="1050"/>
                    </a:lnTo>
                    <a:lnTo>
                      <a:pt x="956" y="1053"/>
                    </a:lnTo>
                    <a:lnTo>
                      <a:pt x="954" y="1058"/>
                    </a:lnTo>
                    <a:lnTo>
                      <a:pt x="954" y="1058"/>
                    </a:lnTo>
                    <a:lnTo>
                      <a:pt x="954" y="1067"/>
                    </a:lnTo>
                    <a:lnTo>
                      <a:pt x="950" y="1076"/>
                    </a:lnTo>
                    <a:lnTo>
                      <a:pt x="947" y="1081"/>
                    </a:lnTo>
                    <a:lnTo>
                      <a:pt x="946" y="1083"/>
                    </a:lnTo>
                    <a:lnTo>
                      <a:pt x="943" y="1083"/>
                    </a:lnTo>
                    <a:lnTo>
                      <a:pt x="943" y="1083"/>
                    </a:lnTo>
                    <a:lnTo>
                      <a:pt x="943" y="1083"/>
                    </a:lnTo>
                    <a:lnTo>
                      <a:pt x="943" y="1083"/>
                    </a:lnTo>
                    <a:lnTo>
                      <a:pt x="943" y="1090"/>
                    </a:lnTo>
                    <a:lnTo>
                      <a:pt x="944" y="1093"/>
                    </a:lnTo>
                    <a:lnTo>
                      <a:pt x="946" y="1095"/>
                    </a:lnTo>
                    <a:lnTo>
                      <a:pt x="946" y="1095"/>
                    </a:lnTo>
                    <a:lnTo>
                      <a:pt x="956" y="1088"/>
                    </a:lnTo>
                    <a:lnTo>
                      <a:pt x="960" y="1087"/>
                    </a:lnTo>
                    <a:lnTo>
                      <a:pt x="966" y="1085"/>
                    </a:lnTo>
                    <a:lnTo>
                      <a:pt x="966" y="1085"/>
                    </a:lnTo>
                    <a:lnTo>
                      <a:pt x="973" y="1087"/>
                    </a:lnTo>
                    <a:lnTo>
                      <a:pt x="977" y="1088"/>
                    </a:lnTo>
                    <a:lnTo>
                      <a:pt x="981" y="1090"/>
                    </a:lnTo>
                    <a:lnTo>
                      <a:pt x="986" y="1087"/>
                    </a:lnTo>
                    <a:lnTo>
                      <a:pt x="986" y="1087"/>
                    </a:lnTo>
                    <a:lnTo>
                      <a:pt x="993" y="1083"/>
                    </a:lnTo>
                    <a:lnTo>
                      <a:pt x="996" y="1083"/>
                    </a:lnTo>
                    <a:lnTo>
                      <a:pt x="996" y="1084"/>
                    </a:lnTo>
                    <a:lnTo>
                      <a:pt x="996" y="1084"/>
                    </a:lnTo>
                    <a:lnTo>
                      <a:pt x="996" y="1085"/>
                    </a:lnTo>
                    <a:lnTo>
                      <a:pt x="996" y="1085"/>
                    </a:lnTo>
                    <a:lnTo>
                      <a:pt x="1000" y="1084"/>
                    </a:lnTo>
                    <a:lnTo>
                      <a:pt x="1001" y="1081"/>
                    </a:lnTo>
                    <a:lnTo>
                      <a:pt x="1001" y="1081"/>
                    </a:lnTo>
                    <a:lnTo>
                      <a:pt x="1000" y="1076"/>
                    </a:lnTo>
                    <a:lnTo>
                      <a:pt x="1000" y="1076"/>
                    </a:lnTo>
                    <a:lnTo>
                      <a:pt x="993" y="1076"/>
                    </a:lnTo>
                    <a:lnTo>
                      <a:pt x="990" y="1074"/>
                    </a:lnTo>
                    <a:lnTo>
                      <a:pt x="989" y="1071"/>
                    </a:lnTo>
                    <a:lnTo>
                      <a:pt x="989" y="1071"/>
                    </a:lnTo>
                    <a:lnTo>
                      <a:pt x="989" y="1070"/>
                    </a:lnTo>
                    <a:lnTo>
                      <a:pt x="990" y="1067"/>
                    </a:lnTo>
                    <a:lnTo>
                      <a:pt x="1000" y="1063"/>
                    </a:lnTo>
                    <a:lnTo>
                      <a:pt x="1011" y="1060"/>
                    </a:lnTo>
                    <a:lnTo>
                      <a:pt x="1021" y="1058"/>
                    </a:lnTo>
                    <a:lnTo>
                      <a:pt x="1021" y="1058"/>
                    </a:lnTo>
                    <a:lnTo>
                      <a:pt x="1028" y="1058"/>
                    </a:lnTo>
                    <a:lnTo>
                      <a:pt x="1034" y="1057"/>
                    </a:lnTo>
                    <a:lnTo>
                      <a:pt x="1040" y="1056"/>
                    </a:lnTo>
                    <a:lnTo>
                      <a:pt x="1041" y="1056"/>
                    </a:lnTo>
                    <a:lnTo>
                      <a:pt x="1043" y="1057"/>
                    </a:lnTo>
                    <a:lnTo>
                      <a:pt x="1043" y="1057"/>
                    </a:lnTo>
                    <a:lnTo>
                      <a:pt x="1055" y="1047"/>
                    </a:lnTo>
                    <a:lnTo>
                      <a:pt x="1061" y="1043"/>
                    </a:lnTo>
                    <a:lnTo>
                      <a:pt x="1065" y="1041"/>
                    </a:lnTo>
                    <a:lnTo>
                      <a:pt x="1065" y="1041"/>
                    </a:lnTo>
                    <a:lnTo>
                      <a:pt x="1119" y="1041"/>
                    </a:lnTo>
                    <a:lnTo>
                      <a:pt x="1119" y="1041"/>
                    </a:lnTo>
                    <a:lnTo>
                      <a:pt x="1129" y="1034"/>
                    </a:lnTo>
                    <a:lnTo>
                      <a:pt x="1135" y="1027"/>
                    </a:lnTo>
                    <a:lnTo>
                      <a:pt x="1138" y="1024"/>
                    </a:lnTo>
                    <a:lnTo>
                      <a:pt x="1139" y="1020"/>
                    </a:lnTo>
                    <a:lnTo>
                      <a:pt x="1139" y="1020"/>
                    </a:lnTo>
                    <a:lnTo>
                      <a:pt x="1142" y="1010"/>
                    </a:lnTo>
                    <a:lnTo>
                      <a:pt x="1148" y="1000"/>
                    </a:lnTo>
                    <a:lnTo>
                      <a:pt x="1155" y="993"/>
                    </a:lnTo>
                    <a:lnTo>
                      <a:pt x="1158" y="990"/>
                    </a:lnTo>
                    <a:lnTo>
                      <a:pt x="1161" y="992"/>
                    </a:lnTo>
                    <a:lnTo>
                      <a:pt x="1161" y="992"/>
                    </a:lnTo>
                    <a:lnTo>
                      <a:pt x="1162" y="993"/>
                    </a:lnTo>
                    <a:lnTo>
                      <a:pt x="1166" y="994"/>
                    </a:lnTo>
                    <a:lnTo>
                      <a:pt x="1174" y="994"/>
                    </a:lnTo>
                    <a:lnTo>
                      <a:pt x="1179" y="996"/>
                    </a:lnTo>
                    <a:lnTo>
                      <a:pt x="1181" y="996"/>
                    </a:lnTo>
                    <a:lnTo>
                      <a:pt x="1182" y="997"/>
                    </a:lnTo>
                    <a:lnTo>
                      <a:pt x="1182" y="997"/>
                    </a:lnTo>
                    <a:lnTo>
                      <a:pt x="1181" y="1003"/>
                    </a:lnTo>
                    <a:lnTo>
                      <a:pt x="1182" y="1013"/>
                    </a:lnTo>
                    <a:lnTo>
                      <a:pt x="1182" y="1019"/>
                    </a:lnTo>
                    <a:lnTo>
                      <a:pt x="1185" y="1026"/>
                    </a:lnTo>
                    <a:lnTo>
                      <a:pt x="1189" y="1034"/>
                    </a:lnTo>
                    <a:lnTo>
                      <a:pt x="1195" y="1043"/>
                    </a:lnTo>
                    <a:lnTo>
                      <a:pt x="1195" y="1043"/>
                    </a:lnTo>
                    <a:lnTo>
                      <a:pt x="1205" y="1037"/>
                    </a:lnTo>
                    <a:lnTo>
                      <a:pt x="1209" y="1036"/>
                    </a:lnTo>
                    <a:lnTo>
                      <a:pt x="1212" y="1036"/>
                    </a:lnTo>
                    <a:lnTo>
                      <a:pt x="1212" y="1036"/>
                    </a:lnTo>
                    <a:lnTo>
                      <a:pt x="1218" y="1034"/>
                    </a:lnTo>
                    <a:lnTo>
                      <a:pt x="1222" y="1030"/>
                    </a:lnTo>
                    <a:lnTo>
                      <a:pt x="1228" y="1026"/>
                    </a:lnTo>
                    <a:lnTo>
                      <a:pt x="1230" y="1021"/>
                    </a:lnTo>
                    <a:lnTo>
                      <a:pt x="1230" y="1021"/>
                    </a:lnTo>
                    <a:lnTo>
                      <a:pt x="1232" y="1020"/>
                    </a:lnTo>
                    <a:lnTo>
                      <a:pt x="1233" y="1020"/>
                    </a:lnTo>
                    <a:lnTo>
                      <a:pt x="1235" y="1023"/>
                    </a:lnTo>
                    <a:lnTo>
                      <a:pt x="1235" y="1026"/>
                    </a:lnTo>
                    <a:lnTo>
                      <a:pt x="1233" y="1027"/>
                    </a:lnTo>
                    <a:lnTo>
                      <a:pt x="1232" y="1029"/>
                    </a:lnTo>
                    <a:lnTo>
                      <a:pt x="1232" y="1029"/>
                    </a:lnTo>
                    <a:lnTo>
                      <a:pt x="1230" y="1029"/>
                    </a:lnTo>
                    <a:lnTo>
                      <a:pt x="1230" y="1030"/>
                    </a:lnTo>
                    <a:lnTo>
                      <a:pt x="1233" y="1031"/>
                    </a:lnTo>
                    <a:lnTo>
                      <a:pt x="1239" y="1034"/>
                    </a:lnTo>
                    <a:lnTo>
                      <a:pt x="1246" y="1034"/>
                    </a:lnTo>
                    <a:lnTo>
                      <a:pt x="1246" y="1034"/>
                    </a:lnTo>
                    <a:lnTo>
                      <a:pt x="1249" y="1034"/>
                    </a:lnTo>
                    <a:lnTo>
                      <a:pt x="1246" y="1036"/>
                    </a:lnTo>
                    <a:lnTo>
                      <a:pt x="1240" y="1037"/>
                    </a:lnTo>
                    <a:lnTo>
                      <a:pt x="1235" y="1037"/>
                    </a:lnTo>
                    <a:lnTo>
                      <a:pt x="1235" y="1037"/>
                    </a:lnTo>
                    <a:lnTo>
                      <a:pt x="1229" y="1037"/>
                    </a:lnTo>
                    <a:lnTo>
                      <a:pt x="1225" y="1039"/>
                    </a:lnTo>
                    <a:lnTo>
                      <a:pt x="1220" y="1043"/>
                    </a:lnTo>
                    <a:lnTo>
                      <a:pt x="1213" y="1049"/>
                    </a:lnTo>
                    <a:lnTo>
                      <a:pt x="1213" y="1049"/>
                    </a:lnTo>
                    <a:lnTo>
                      <a:pt x="1208" y="1054"/>
                    </a:lnTo>
                    <a:lnTo>
                      <a:pt x="1206" y="1058"/>
                    </a:lnTo>
                    <a:lnTo>
                      <a:pt x="1208" y="1063"/>
                    </a:lnTo>
                    <a:lnTo>
                      <a:pt x="1212" y="1066"/>
                    </a:lnTo>
                    <a:lnTo>
                      <a:pt x="1212" y="1066"/>
                    </a:lnTo>
                    <a:lnTo>
                      <a:pt x="1216" y="1068"/>
                    </a:lnTo>
                    <a:lnTo>
                      <a:pt x="1222" y="1068"/>
                    </a:lnTo>
                    <a:lnTo>
                      <a:pt x="1228" y="1066"/>
                    </a:lnTo>
                    <a:lnTo>
                      <a:pt x="1233" y="1061"/>
                    </a:lnTo>
                    <a:lnTo>
                      <a:pt x="1233" y="1061"/>
                    </a:lnTo>
                    <a:lnTo>
                      <a:pt x="1238" y="1057"/>
                    </a:lnTo>
                    <a:lnTo>
                      <a:pt x="1240" y="1053"/>
                    </a:lnTo>
                    <a:lnTo>
                      <a:pt x="1243" y="1050"/>
                    </a:lnTo>
                    <a:lnTo>
                      <a:pt x="1247" y="1049"/>
                    </a:lnTo>
                    <a:lnTo>
                      <a:pt x="1247" y="1049"/>
                    </a:lnTo>
                    <a:lnTo>
                      <a:pt x="1256" y="1047"/>
                    </a:lnTo>
                    <a:lnTo>
                      <a:pt x="1266" y="1046"/>
                    </a:lnTo>
                    <a:lnTo>
                      <a:pt x="1284" y="1039"/>
                    </a:lnTo>
                    <a:lnTo>
                      <a:pt x="1284" y="1039"/>
                    </a:lnTo>
                    <a:lnTo>
                      <a:pt x="1289" y="1037"/>
                    </a:lnTo>
                    <a:lnTo>
                      <a:pt x="1290" y="1036"/>
                    </a:lnTo>
                    <a:lnTo>
                      <a:pt x="1289" y="1033"/>
                    </a:lnTo>
                    <a:lnTo>
                      <a:pt x="1289" y="1030"/>
                    </a:lnTo>
                    <a:lnTo>
                      <a:pt x="1289" y="1030"/>
                    </a:lnTo>
                    <a:lnTo>
                      <a:pt x="1289" y="1030"/>
                    </a:lnTo>
                    <a:lnTo>
                      <a:pt x="1290" y="1029"/>
                    </a:lnTo>
                    <a:lnTo>
                      <a:pt x="1297" y="1027"/>
                    </a:lnTo>
                    <a:lnTo>
                      <a:pt x="1304" y="1026"/>
                    </a:lnTo>
                    <a:lnTo>
                      <a:pt x="1310" y="1023"/>
                    </a:lnTo>
                    <a:lnTo>
                      <a:pt x="1310" y="1023"/>
                    </a:lnTo>
                    <a:lnTo>
                      <a:pt x="1311" y="1020"/>
                    </a:lnTo>
                    <a:lnTo>
                      <a:pt x="1310" y="1017"/>
                    </a:lnTo>
                    <a:lnTo>
                      <a:pt x="1307" y="1017"/>
                    </a:lnTo>
                    <a:lnTo>
                      <a:pt x="1303" y="1016"/>
                    </a:lnTo>
                    <a:lnTo>
                      <a:pt x="1303" y="1016"/>
                    </a:lnTo>
                    <a:close/>
                    <a:moveTo>
                      <a:pt x="378" y="555"/>
                    </a:moveTo>
                    <a:lnTo>
                      <a:pt x="378" y="555"/>
                    </a:lnTo>
                    <a:lnTo>
                      <a:pt x="371" y="562"/>
                    </a:lnTo>
                    <a:lnTo>
                      <a:pt x="367" y="566"/>
                    </a:lnTo>
                    <a:lnTo>
                      <a:pt x="361" y="568"/>
                    </a:lnTo>
                    <a:lnTo>
                      <a:pt x="356" y="568"/>
                    </a:lnTo>
                    <a:lnTo>
                      <a:pt x="356" y="568"/>
                    </a:lnTo>
                    <a:lnTo>
                      <a:pt x="350" y="566"/>
                    </a:lnTo>
                    <a:lnTo>
                      <a:pt x="346" y="568"/>
                    </a:lnTo>
                    <a:lnTo>
                      <a:pt x="343" y="571"/>
                    </a:lnTo>
                    <a:lnTo>
                      <a:pt x="346" y="573"/>
                    </a:lnTo>
                    <a:lnTo>
                      <a:pt x="346" y="573"/>
                    </a:lnTo>
                    <a:lnTo>
                      <a:pt x="347" y="576"/>
                    </a:lnTo>
                    <a:lnTo>
                      <a:pt x="348" y="578"/>
                    </a:lnTo>
                    <a:lnTo>
                      <a:pt x="346" y="580"/>
                    </a:lnTo>
                    <a:lnTo>
                      <a:pt x="340" y="582"/>
                    </a:lnTo>
                    <a:lnTo>
                      <a:pt x="340" y="582"/>
                    </a:lnTo>
                    <a:lnTo>
                      <a:pt x="333" y="585"/>
                    </a:lnTo>
                    <a:lnTo>
                      <a:pt x="327" y="588"/>
                    </a:lnTo>
                    <a:lnTo>
                      <a:pt x="323" y="590"/>
                    </a:lnTo>
                    <a:lnTo>
                      <a:pt x="320" y="590"/>
                    </a:lnTo>
                    <a:lnTo>
                      <a:pt x="320" y="590"/>
                    </a:lnTo>
                    <a:lnTo>
                      <a:pt x="320" y="590"/>
                    </a:lnTo>
                    <a:lnTo>
                      <a:pt x="321" y="588"/>
                    </a:lnTo>
                    <a:lnTo>
                      <a:pt x="326" y="582"/>
                    </a:lnTo>
                    <a:lnTo>
                      <a:pt x="331" y="576"/>
                    </a:lnTo>
                    <a:lnTo>
                      <a:pt x="333" y="573"/>
                    </a:lnTo>
                    <a:lnTo>
                      <a:pt x="331" y="572"/>
                    </a:lnTo>
                    <a:lnTo>
                      <a:pt x="331" y="572"/>
                    </a:lnTo>
                    <a:lnTo>
                      <a:pt x="328" y="571"/>
                    </a:lnTo>
                    <a:lnTo>
                      <a:pt x="326" y="571"/>
                    </a:lnTo>
                    <a:lnTo>
                      <a:pt x="320" y="573"/>
                    </a:lnTo>
                    <a:lnTo>
                      <a:pt x="314" y="579"/>
                    </a:lnTo>
                    <a:lnTo>
                      <a:pt x="313" y="583"/>
                    </a:lnTo>
                    <a:lnTo>
                      <a:pt x="313" y="583"/>
                    </a:lnTo>
                    <a:lnTo>
                      <a:pt x="311" y="586"/>
                    </a:lnTo>
                    <a:lnTo>
                      <a:pt x="307" y="588"/>
                    </a:lnTo>
                    <a:lnTo>
                      <a:pt x="299" y="588"/>
                    </a:lnTo>
                    <a:lnTo>
                      <a:pt x="299" y="588"/>
                    </a:lnTo>
                    <a:lnTo>
                      <a:pt x="294" y="586"/>
                    </a:lnTo>
                    <a:lnTo>
                      <a:pt x="290" y="585"/>
                    </a:lnTo>
                    <a:lnTo>
                      <a:pt x="289" y="583"/>
                    </a:lnTo>
                    <a:lnTo>
                      <a:pt x="292" y="582"/>
                    </a:lnTo>
                    <a:lnTo>
                      <a:pt x="292" y="582"/>
                    </a:lnTo>
                    <a:lnTo>
                      <a:pt x="293" y="580"/>
                    </a:lnTo>
                    <a:lnTo>
                      <a:pt x="294" y="578"/>
                    </a:lnTo>
                    <a:lnTo>
                      <a:pt x="296" y="575"/>
                    </a:lnTo>
                    <a:lnTo>
                      <a:pt x="300" y="572"/>
                    </a:lnTo>
                    <a:lnTo>
                      <a:pt x="300" y="572"/>
                    </a:lnTo>
                    <a:lnTo>
                      <a:pt x="301" y="572"/>
                    </a:lnTo>
                    <a:lnTo>
                      <a:pt x="303" y="571"/>
                    </a:lnTo>
                    <a:lnTo>
                      <a:pt x="303" y="568"/>
                    </a:lnTo>
                    <a:lnTo>
                      <a:pt x="301" y="565"/>
                    </a:lnTo>
                    <a:lnTo>
                      <a:pt x="301" y="562"/>
                    </a:lnTo>
                    <a:lnTo>
                      <a:pt x="301" y="562"/>
                    </a:lnTo>
                    <a:lnTo>
                      <a:pt x="303" y="562"/>
                    </a:lnTo>
                    <a:lnTo>
                      <a:pt x="304" y="562"/>
                    </a:lnTo>
                    <a:lnTo>
                      <a:pt x="310" y="562"/>
                    </a:lnTo>
                    <a:lnTo>
                      <a:pt x="316" y="562"/>
                    </a:lnTo>
                    <a:lnTo>
                      <a:pt x="317" y="561"/>
                    </a:lnTo>
                    <a:lnTo>
                      <a:pt x="319" y="559"/>
                    </a:lnTo>
                    <a:lnTo>
                      <a:pt x="319" y="559"/>
                    </a:lnTo>
                    <a:lnTo>
                      <a:pt x="319" y="558"/>
                    </a:lnTo>
                    <a:lnTo>
                      <a:pt x="316" y="556"/>
                    </a:lnTo>
                    <a:lnTo>
                      <a:pt x="310" y="552"/>
                    </a:lnTo>
                    <a:lnTo>
                      <a:pt x="304" y="552"/>
                    </a:lnTo>
                    <a:lnTo>
                      <a:pt x="299" y="552"/>
                    </a:lnTo>
                    <a:lnTo>
                      <a:pt x="299" y="552"/>
                    </a:lnTo>
                    <a:lnTo>
                      <a:pt x="293" y="556"/>
                    </a:lnTo>
                    <a:lnTo>
                      <a:pt x="286" y="559"/>
                    </a:lnTo>
                    <a:lnTo>
                      <a:pt x="277" y="561"/>
                    </a:lnTo>
                    <a:lnTo>
                      <a:pt x="273" y="559"/>
                    </a:lnTo>
                    <a:lnTo>
                      <a:pt x="267" y="558"/>
                    </a:lnTo>
                    <a:lnTo>
                      <a:pt x="267" y="558"/>
                    </a:lnTo>
                    <a:lnTo>
                      <a:pt x="267" y="558"/>
                    </a:lnTo>
                    <a:lnTo>
                      <a:pt x="267" y="556"/>
                    </a:lnTo>
                    <a:lnTo>
                      <a:pt x="272" y="556"/>
                    </a:lnTo>
                    <a:lnTo>
                      <a:pt x="284" y="553"/>
                    </a:lnTo>
                    <a:lnTo>
                      <a:pt x="300" y="549"/>
                    </a:lnTo>
                    <a:lnTo>
                      <a:pt x="306" y="548"/>
                    </a:lnTo>
                    <a:lnTo>
                      <a:pt x="310" y="545"/>
                    </a:lnTo>
                    <a:lnTo>
                      <a:pt x="310" y="545"/>
                    </a:lnTo>
                    <a:lnTo>
                      <a:pt x="313" y="543"/>
                    </a:lnTo>
                    <a:lnTo>
                      <a:pt x="319" y="541"/>
                    </a:lnTo>
                    <a:lnTo>
                      <a:pt x="331" y="536"/>
                    </a:lnTo>
                    <a:lnTo>
                      <a:pt x="343" y="535"/>
                    </a:lnTo>
                    <a:lnTo>
                      <a:pt x="347" y="536"/>
                    </a:lnTo>
                    <a:lnTo>
                      <a:pt x="350" y="538"/>
                    </a:lnTo>
                    <a:lnTo>
                      <a:pt x="350" y="538"/>
                    </a:lnTo>
                    <a:lnTo>
                      <a:pt x="350" y="539"/>
                    </a:lnTo>
                    <a:lnTo>
                      <a:pt x="348" y="542"/>
                    </a:lnTo>
                    <a:lnTo>
                      <a:pt x="343" y="545"/>
                    </a:lnTo>
                    <a:lnTo>
                      <a:pt x="340" y="548"/>
                    </a:lnTo>
                    <a:lnTo>
                      <a:pt x="340" y="551"/>
                    </a:lnTo>
                    <a:lnTo>
                      <a:pt x="341" y="552"/>
                    </a:lnTo>
                    <a:lnTo>
                      <a:pt x="341" y="552"/>
                    </a:lnTo>
                    <a:lnTo>
                      <a:pt x="350" y="555"/>
                    </a:lnTo>
                    <a:lnTo>
                      <a:pt x="357" y="553"/>
                    </a:lnTo>
                    <a:lnTo>
                      <a:pt x="364" y="552"/>
                    </a:lnTo>
                    <a:lnTo>
                      <a:pt x="368" y="548"/>
                    </a:lnTo>
                    <a:lnTo>
                      <a:pt x="368" y="548"/>
                    </a:lnTo>
                    <a:lnTo>
                      <a:pt x="371" y="546"/>
                    </a:lnTo>
                    <a:lnTo>
                      <a:pt x="373" y="545"/>
                    </a:lnTo>
                    <a:lnTo>
                      <a:pt x="378" y="545"/>
                    </a:lnTo>
                    <a:lnTo>
                      <a:pt x="380" y="546"/>
                    </a:lnTo>
                    <a:lnTo>
                      <a:pt x="381" y="549"/>
                    </a:lnTo>
                    <a:lnTo>
                      <a:pt x="380" y="552"/>
                    </a:lnTo>
                    <a:lnTo>
                      <a:pt x="378" y="555"/>
                    </a:lnTo>
                    <a:lnTo>
                      <a:pt x="378" y="555"/>
                    </a:lnTo>
                    <a:close/>
                    <a:moveTo>
                      <a:pt x="468" y="670"/>
                    </a:moveTo>
                    <a:lnTo>
                      <a:pt x="468" y="670"/>
                    </a:lnTo>
                    <a:lnTo>
                      <a:pt x="461" y="674"/>
                    </a:lnTo>
                    <a:lnTo>
                      <a:pt x="458" y="677"/>
                    </a:lnTo>
                    <a:lnTo>
                      <a:pt x="448" y="679"/>
                    </a:lnTo>
                    <a:lnTo>
                      <a:pt x="448" y="679"/>
                    </a:lnTo>
                    <a:lnTo>
                      <a:pt x="445" y="680"/>
                    </a:lnTo>
                    <a:lnTo>
                      <a:pt x="444" y="681"/>
                    </a:lnTo>
                    <a:lnTo>
                      <a:pt x="442" y="684"/>
                    </a:lnTo>
                    <a:lnTo>
                      <a:pt x="439" y="689"/>
                    </a:lnTo>
                    <a:lnTo>
                      <a:pt x="438" y="690"/>
                    </a:lnTo>
                    <a:lnTo>
                      <a:pt x="434" y="690"/>
                    </a:lnTo>
                    <a:lnTo>
                      <a:pt x="434" y="690"/>
                    </a:lnTo>
                    <a:lnTo>
                      <a:pt x="424" y="691"/>
                    </a:lnTo>
                    <a:lnTo>
                      <a:pt x="410" y="691"/>
                    </a:lnTo>
                    <a:lnTo>
                      <a:pt x="398" y="690"/>
                    </a:lnTo>
                    <a:lnTo>
                      <a:pt x="394" y="689"/>
                    </a:lnTo>
                    <a:lnTo>
                      <a:pt x="391" y="686"/>
                    </a:lnTo>
                    <a:lnTo>
                      <a:pt x="391" y="686"/>
                    </a:lnTo>
                    <a:lnTo>
                      <a:pt x="391" y="686"/>
                    </a:lnTo>
                    <a:lnTo>
                      <a:pt x="393" y="684"/>
                    </a:lnTo>
                    <a:lnTo>
                      <a:pt x="398" y="684"/>
                    </a:lnTo>
                    <a:lnTo>
                      <a:pt x="404" y="683"/>
                    </a:lnTo>
                    <a:lnTo>
                      <a:pt x="407" y="683"/>
                    </a:lnTo>
                    <a:lnTo>
                      <a:pt x="407" y="680"/>
                    </a:lnTo>
                    <a:lnTo>
                      <a:pt x="407" y="680"/>
                    </a:lnTo>
                    <a:lnTo>
                      <a:pt x="408" y="677"/>
                    </a:lnTo>
                    <a:lnTo>
                      <a:pt x="411" y="673"/>
                    </a:lnTo>
                    <a:lnTo>
                      <a:pt x="415" y="670"/>
                    </a:lnTo>
                    <a:lnTo>
                      <a:pt x="420" y="669"/>
                    </a:lnTo>
                    <a:lnTo>
                      <a:pt x="420" y="669"/>
                    </a:lnTo>
                    <a:lnTo>
                      <a:pt x="422" y="667"/>
                    </a:lnTo>
                    <a:lnTo>
                      <a:pt x="424" y="667"/>
                    </a:lnTo>
                    <a:lnTo>
                      <a:pt x="424" y="664"/>
                    </a:lnTo>
                    <a:lnTo>
                      <a:pt x="424" y="663"/>
                    </a:lnTo>
                    <a:lnTo>
                      <a:pt x="421" y="657"/>
                    </a:lnTo>
                    <a:lnTo>
                      <a:pt x="415" y="653"/>
                    </a:lnTo>
                    <a:lnTo>
                      <a:pt x="415" y="653"/>
                    </a:lnTo>
                    <a:lnTo>
                      <a:pt x="412" y="652"/>
                    </a:lnTo>
                    <a:lnTo>
                      <a:pt x="412" y="650"/>
                    </a:lnTo>
                    <a:lnTo>
                      <a:pt x="415" y="649"/>
                    </a:lnTo>
                    <a:lnTo>
                      <a:pt x="420" y="647"/>
                    </a:lnTo>
                    <a:lnTo>
                      <a:pt x="425" y="647"/>
                    </a:lnTo>
                    <a:lnTo>
                      <a:pt x="430" y="649"/>
                    </a:lnTo>
                    <a:lnTo>
                      <a:pt x="435" y="650"/>
                    </a:lnTo>
                    <a:lnTo>
                      <a:pt x="438" y="653"/>
                    </a:lnTo>
                    <a:lnTo>
                      <a:pt x="438" y="653"/>
                    </a:lnTo>
                    <a:lnTo>
                      <a:pt x="444" y="659"/>
                    </a:lnTo>
                    <a:lnTo>
                      <a:pt x="451" y="663"/>
                    </a:lnTo>
                    <a:lnTo>
                      <a:pt x="457" y="664"/>
                    </a:lnTo>
                    <a:lnTo>
                      <a:pt x="459" y="664"/>
                    </a:lnTo>
                    <a:lnTo>
                      <a:pt x="462" y="662"/>
                    </a:lnTo>
                    <a:lnTo>
                      <a:pt x="462" y="662"/>
                    </a:lnTo>
                    <a:lnTo>
                      <a:pt x="472" y="656"/>
                    </a:lnTo>
                    <a:lnTo>
                      <a:pt x="486" y="649"/>
                    </a:lnTo>
                    <a:lnTo>
                      <a:pt x="501" y="644"/>
                    </a:lnTo>
                    <a:lnTo>
                      <a:pt x="505" y="644"/>
                    </a:lnTo>
                    <a:lnTo>
                      <a:pt x="506" y="644"/>
                    </a:lnTo>
                    <a:lnTo>
                      <a:pt x="506" y="646"/>
                    </a:lnTo>
                    <a:lnTo>
                      <a:pt x="506" y="646"/>
                    </a:lnTo>
                    <a:lnTo>
                      <a:pt x="505" y="649"/>
                    </a:lnTo>
                    <a:lnTo>
                      <a:pt x="502" y="652"/>
                    </a:lnTo>
                    <a:lnTo>
                      <a:pt x="491" y="657"/>
                    </a:lnTo>
                    <a:lnTo>
                      <a:pt x="478" y="663"/>
                    </a:lnTo>
                    <a:lnTo>
                      <a:pt x="472" y="666"/>
                    </a:lnTo>
                    <a:lnTo>
                      <a:pt x="468" y="670"/>
                    </a:lnTo>
                    <a:lnTo>
                      <a:pt x="468" y="670"/>
                    </a:lnTo>
                    <a:close/>
                    <a:moveTo>
                      <a:pt x="715" y="928"/>
                    </a:moveTo>
                    <a:lnTo>
                      <a:pt x="715" y="928"/>
                    </a:lnTo>
                    <a:lnTo>
                      <a:pt x="713" y="928"/>
                    </a:lnTo>
                    <a:lnTo>
                      <a:pt x="711" y="925"/>
                    </a:lnTo>
                    <a:lnTo>
                      <a:pt x="711" y="918"/>
                    </a:lnTo>
                    <a:lnTo>
                      <a:pt x="710" y="912"/>
                    </a:lnTo>
                    <a:lnTo>
                      <a:pt x="708" y="908"/>
                    </a:lnTo>
                    <a:lnTo>
                      <a:pt x="705" y="903"/>
                    </a:lnTo>
                    <a:lnTo>
                      <a:pt x="701" y="899"/>
                    </a:lnTo>
                    <a:lnTo>
                      <a:pt x="701" y="899"/>
                    </a:lnTo>
                    <a:lnTo>
                      <a:pt x="696" y="896"/>
                    </a:lnTo>
                    <a:lnTo>
                      <a:pt x="691" y="892"/>
                    </a:lnTo>
                    <a:lnTo>
                      <a:pt x="683" y="882"/>
                    </a:lnTo>
                    <a:lnTo>
                      <a:pt x="678" y="872"/>
                    </a:lnTo>
                    <a:lnTo>
                      <a:pt x="677" y="864"/>
                    </a:lnTo>
                    <a:lnTo>
                      <a:pt x="677" y="864"/>
                    </a:lnTo>
                    <a:lnTo>
                      <a:pt x="678" y="861"/>
                    </a:lnTo>
                    <a:lnTo>
                      <a:pt x="680" y="858"/>
                    </a:lnTo>
                    <a:lnTo>
                      <a:pt x="683" y="856"/>
                    </a:lnTo>
                    <a:lnTo>
                      <a:pt x="686" y="855"/>
                    </a:lnTo>
                    <a:lnTo>
                      <a:pt x="688" y="854"/>
                    </a:lnTo>
                    <a:lnTo>
                      <a:pt x="691" y="855"/>
                    </a:lnTo>
                    <a:lnTo>
                      <a:pt x="696" y="855"/>
                    </a:lnTo>
                    <a:lnTo>
                      <a:pt x="697" y="858"/>
                    </a:lnTo>
                    <a:lnTo>
                      <a:pt x="697" y="858"/>
                    </a:lnTo>
                    <a:lnTo>
                      <a:pt x="703" y="866"/>
                    </a:lnTo>
                    <a:lnTo>
                      <a:pt x="707" y="879"/>
                    </a:lnTo>
                    <a:lnTo>
                      <a:pt x="713" y="893"/>
                    </a:lnTo>
                    <a:lnTo>
                      <a:pt x="717" y="903"/>
                    </a:lnTo>
                    <a:lnTo>
                      <a:pt x="717" y="903"/>
                    </a:lnTo>
                    <a:lnTo>
                      <a:pt x="720" y="911"/>
                    </a:lnTo>
                    <a:lnTo>
                      <a:pt x="720" y="919"/>
                    </a:lnTo>
                    <a:lnTo>
                      <a:pt x="718" y="925"/>
                    </a:lnTo>
                    <a:lnTo>
                      <a:pt x="717" y="928"/>
                    </a:lnTo>
                    <a:lnTo>
                      <a:pt x="715" y="928"/>
                    </a:lnTo>
                    <a:lnTo>
                      <a:pt x="715" y="92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5" name="United States">
                <a:extLst>
                  <a:ext uri="{FF2B5EF4-FFF2-40B4-BE49-F238E27FC236}">
                    <a16:creationId xmlns:a16="http://schemas.microsoft.com/office/drawing/2014/main" id="{2CDB15F7-6F66-4743-97EE-2D8468666523}"/>
                  </a:ext>
                </a:extLst>
              </p:cNvPr>
              <p:cNvSpPr>
                <a:spLocks noEditPoints="1"/>
              </p:cNvSpPr>
              <p:nvPr/>
            </p:nvSpPr>
            <p:spPr bwMode="auto">
              <a:xfrm>
                <a:off x="310223" y="2223244"/>
                <a:ext cx="2410568" cy="1633681"/>
              </a:xfrm>
              <a:custGeom>
                <a:avLst/>
                <a:gdLst/>
                <a:ahLst/>
                <a:cxnLst>
                  <a:cxn ang="0">
                    <a:pos x="505" y="322"/>
                  </a:cxn>
                  <a:cxn ang="0">
                    <a:pos x="425" y="47"/>
                  </a:cxn>
                  <a:cxn ang="0">
                    <a:pos x="249" y="24"/>
                  </a:cxn>
                  <a:cxn ang="0">
                    <a:pos x="196" y="7"/>
                  </a:cxn>
                  <a:cxn ang="0">
                    <a:pos x="121" y="27"/>
                  </a:cxn>
                  <a:cxn ang="0">
                    <a:pos x="33" y="91"/>
                  </a:cxn>
                  <a:cxn ang="0">
                    <a:pos x="117" y="142"/>
                  </a:cxn>
                  <a:cxn ang="0">
                    <a:pos x="31" y="150"/>
                  </a:cxn>
                  <a:cxn ang="0">
                    <a:pos x="67" y="191"/>
                  </a:cxn>
                  <a:cxn ang="0">
                    <a:pos x="88" y="216"/>
                  </a:cxn>
                  <a:cxn ang="0">
                    <a:pos x="33" y="258"/>
                  </a:cxn>
                  <a:cxn ang="0">
                    <a:pos x="85" y="306"/>
                  </a:cxn>
                  <a:cxn ang="0">
                    <a:pos x="134" y="335"/>
                  </a:cxn>
                  <a:cxn ang="0">
                    <a:pos x="161" y="366"/>
                  </a:cxn>
                  <a:cxn ang="0">
                    <a:pos x="98" y="413"/>
                  </a:cxn>
                  <a:cxn ang="0">
                    <a:pos x="189" y="366"/>
                  </a:cxn>
                  <a:cxn ang="0">
                    <a:pos x="225" y="317"/>
                  </a:cxn>
                  <a:cxn ang="0">
                    <a:pos x="292" y="279"/>
                  </a:cxn>
                  <a:cxn ang="0">
                    <a:pos x="265" y="323"/>
                  </a:cxn>
                  <a:cxn ang="0">
                    <a:pos x="327" y="279"/>
                  </a:cxn>
                  <a:cxn ang="0">
                    <a:pos x="358" y="295"/>
                  </a:cxn>
                  <a:cxn ang="0">
                    <a:pos x="461" y="307"/>
                  </a:cxn>
                  <a:cxn ang="0">
                    <a:pos x="526" y="346"/>
                  </a:cxn>
                  <a:cxn ang="0">
                    <a:pos x="511" y="357"/>
                  </a:cxn>
                  <a:cxn ang="0">
                    <a:pos x="538" y="369"/>
                  </a:cxn>
                  <a:cxn ang="0">
                    <a:pos x="542" y="381"/>
                  </a:cxn>
                  <a:cxn ang="0">
                    <a:pos x="565" y="384"/>
                  </a:cxn>
                  <a:cxn ang="0">
                    <a:pos x="562" y="426"/>
                  </a:cxn>
                  <a:cxn ang="0">
                    <a:pos x="600" y="426"/>
                  </a:cxn>
                  <a:cxn ang="0">
                    <a:pos x="10" y="455"/>
                  </a:cxn>
                  <a:cxn ang="0">
                    <a:pos x="226" y="359"/>
                  </a:cxn>
                  <a:cxn ang="0">
                    <a:pos x="243" y="353"/>
                  </a:cxn>
                  <a:cxn ang="0">
                    <a:pos x="36" y="299"/>
                  </a:cxn>
                  <a:cxn ang="0">
                    <a:pos x="186" y="1070"/>
                  </a:cxn>
                  <a:cxn ang="0">
                    <a:pos x="156" y="1063"/>
                  </a:cxn>
                  <a:cxn ang="0">
                    <a:pos x="1569" y="616"/>
                  </a:cxn>
                  <a:cxn ang="0">
                    <a:pos x="1393" y="697"/>
                  </a:cxn>
                  <a:cxn ang="0">
                    <a:pos x="1374" y="653"/>
                  </a:cxn>
                  <a:cxn ang="0">
                    <a:pos x="1323" y="630"/>
                  </a:cxn>
                  <a:cxn ang="0">
                    <a:pos x="1293" y="632"/>
                  </a:cxn>
                  <a:cxn ang="0">
                    <a:pos x="1302" y="602"/>
                  </a:cxn>
                  <a:cxn ang="0">
                    <a:pos x="1225" y="588"/>
                  </a:cxn>
                  <a:cxn ang="0">
                    <a:pos x="1196" y="558"/>
                  </a:cxn>
                  <a:cxn ang="0">
                    <a:pos x="727" y="582"/>
                  </a:cxn>
                  <a:cxn ang="0">
                    <a:pos x="718" y="603"/>
                  </a:cxn>
                  <a:cxn ang="0">
                    <a:pos x="714" y="743"/>
                  </a:cxn>
                  <a:cxn ang="0">
                    <a:pos x="768" y="830"/>
                  </a:cxn>
                  <a:cxn ang="0">
                    <a:pos x="1001" y="888"/>
                  </a:cxn>
                  <a:cxn ang="0">
                    <a:pos x="1102" y="952"/>
                  </a:cxn>
                  <a:cxn ang="0">
                    <a:pos x="1138" y="950"/>
                  </a:cxn>
                  <a:cxn ang="0">
                    <a:pos x="1202" y="913"/>
                  </a:cxn>
                  <a:cxn ang="0">
                    <a:pos x="1265" y="926"/>
                  </a:cxn>
                  <a:cxn ang="0">
                    <a:pos x="1296" y="908"/>
                  </a:cxn>
                  <a:cxn ang="0">
                    <a:pos x="1374" y="955"/>
                  </a:cxn>
                  <a:cxn ang="0">
                    <a:pos x="1407" y="945"/>
                  </a:cxn>
                  <a:cxn ang="0">
                    <a:pos x="1450" y="840"/>
                  </a:cxn>
                  <a:cxn ang="0">
                    <a:pos x="1482" y="798"/>
                  </a:cxn>
                  <a:cxn ang="0">
                    <a:pos x="1478" y="736"/>
                  </a:cxn>
                  <a:cxn ang="0">
                    <a:pos x="1492" y="741"/>
                  </a:cxn>
                  <a:cxn ang="0">
                    <a:pos x="1521" y="709"/>
                  </a:cxn>
                  <a:cxn ang="0">
                    <a:pos x="1568" y="665"/>
                  </a:cxn>
                  <a:cxn ang="0">
                    <a:pos x="1616" y="586"/>
                  </a:cxn>
                </a:cxnLst>
                <a:rect l="0" t="0" r="r" b="b"/>
                <a:pathLst>
                  <a:path w="1629" h="1104">
                    <a:moveTo>
                      <a:pt x="610" y="406"/>
                    </a:moveTo>
                    <a:lnTo>
                      <a:pt x="610" y="406"/>
                    </a:lnTo>
                    <a:lnTo>
                      <a:pt x="612" y="401"/>
                    </a:lnTo>
                    <a:lnTo>
                      <a:pt x="610" y="397"/>
                    </a:lnTo>
                    <a:lnTo>
                      <a:pt x="606" y="393"/>
                    </a:lnTo>
                    <a:lnTo>
                      <a:pt x="596" y="389"/>
                    </a:lnTo>
                    <a:lnTo>
                      <a:pt x="596" y="389"/>
                    </a:lnTo>
                    <a:lnTo>
                      <a:pt x="585" y="383"/>
                    </a:lnTo>
                    <a:lnTo>
                      <a:pt x="579" y="377"/>
                    </a:lnTo>
                    <a:lnTo>
                      <a:pt x="575" y="369"/>
                    </a:lnTo>
                    <a:lnTo>
                      <a:pt x="568" y="354"/>
                    </a:lnTo>
                    <a:lnTo>
                      <a:pt x="568" y="354"/>
                    </a:lnTo>
                    <a:lnTo>
                      <a:pt x="562" y="347"/>
                    </a:lnTo>
                    <a:lnTo>
                      <a:pt x="556" y="340"/>
                    </a:lnTo>
                    <a:lnTo>
                      <a:pt x="545" y="330"/>
                    </a:lnTo>
                    <a:lnTo>
                      <a:pt x="536" y="322"/>
                    </a:lnTo>
                    <a:lnTo>
                      <a:pt x="533" y="319"/>
                    </a:lnTo>
                    <a:lnTo>
                      <a:pt x="532" y="316"/>
                    </a:lnTo>
                    <a:lnTo>
                      <a:pt x="532" y="316"/>
                    </a:lnTo>
                    <a:lnTo>
                      <a:pt x="532" y="313"/>
                    </a:lnTo>
                    <a:lnTo>
                      <a:pt x="529" y="310"/>
                    </a:lnTo>
                    <a:lnTo>
                      <a:pt x="522" y="309"/>
                    </a:lnTo>
                    <a:lnTo>
                      <a:pt x="514" y="310"/>
                    </a:lnTo>
                    <a:lnTo>
                      <a:pt x="512" y="312"/>
                    </a:lnTo>
                    <a:lnTo>
                      <a:pt x="511" y="315"/>
                    </a:lnTo>
                    <a:lnTo>
                      <a:pt x="511" y="315"/>
                    </a:lnTo>
                    <a:lnTo>
                      <a:pt x="511" y="316"/>
                    </a:lnTo>
                    <a:lnTo>
                      <a:pt x="509" y="319"/>
                    </a:lnTo>
                    <a:lnTo>
                      <a:pt x="505" y="322"/>
                    </a:lnTo>
                    <a:lnTo>
                      <a:pt x="496" y="326"/>
                    </a:lnTo>
                    <a:lnTo>
                      <a:pt x="496" y="326"/>
                    </a:lnTo>
                    <a:lnTo>
                      <a:pt x="492" y="327"/>
                    </a:lnTo>
                    <a:lnTo>
                      <a:pt x="489" y="326"/>
                    </a:lnTo>
                    <a:lnTo>
                      <a:pt x="484" y="317"/>
                    </a:lnTo>
                    <a:lnTo>
                      <a:pt x="484" y="317"/>
                    </a:lnTo>
                    <a:lnTo>
                      <a:pt x="479" y="313"/>
                    </a:lnTo>
                    <a:lnTo>
                      <a:pt x="474" y="309"/>
                    </a:lnTo>
                    <a:lnTo>
                      <a:pt x="469" y="305"/>
                    </a:lnTo>
                    <a:lnTo>
                      <a:pt x="468" y="302"/>
                    </a:lnTo>
                    <a:lnTo>
                      <a:pt x="468" y="302"/>
                    </a:lnTo>
                    <a:lnTo>
                      <a:pt x="467" y="299"/>
                    </a:lnTo>
                    <a:lnTo>
                      <a:pt x="465" y="295"/>
                    </a:lnTo>
                    <a:lnTo>
                      <a:pt x="461" y="293"/>
                    </a:lnTo>
                    <a:lnTo>
                      <a:pt x="459" y="293"/>
                    </a:lnTo>
                    <a:lnTo>
                      <a:pt x="457" y="293"/>
                    </a:lnTo>
                    <a:lnTo>
                      <a:pt x="457" y="293"/>
                    </a:lnTo>
                    <a:lnTo>
                      <a:pt x="451" y="295"/>
                    </a:lnTo>
                    <a:lnTo>
                      <a:pt x="447" y="296"/>
                    </a:lnTo>
                    <a:lnTo>
                      <a:pt x="444" y="295"/>
                    </a:lnTo>
                    <a:lnTo>
                      <a:pt x="442" y="296"/>
                    </a:lnTo>
                    <a:lnTo>
                      <a:pt x="442" y="296"/>
                    </a:lnTo>
                    <a:lnTo>
                      <a:pt x="440" y="298"/>
                    </a:lnTo>
                    <a:lnTo>
                      <a:pt x="437" y="296"/>
                    </a:lnTo>
                    <a:lnTo>
                      <a:pt x="434" y="295"/>
                    </a:lnTo>
                    <a:lnTo>
                      <a:pt x="434" y="49"/>
                    </a:lnTo>
                    <a:lnTo>
                      <a:pt x="434" y="49"/>
                    </a:lnTo>
                    <a:lnTo>
                      <a:pt x="425" y="47"/>
                    </a:lnTo>
                    <a:lnTo>
                      <a:pt x="425" y="47"/>
                    </a:lnTo>
                    <a:lnTo>
                      <a:pt x="408" y="40"/>
                    </a:lnTo>
                    <a:lnTo>
                      <a:pt x="400" y="39"/>
                    </a:lnTo>
                    <a:lnTo>
                      <a:pt x="393" y="39"/>
                    </a:lnTo>
                    <a:lnTo>
                      <a:pt x="393" y="39"/>
                    </a:lnTo>
                    <a:lnTo>
                      <a:pt x="376" y="40"/>
                    </a:lnTo>
                    <a:lnTo>
                      <a:pt x="368" y="40"/>
                    </a:lnTo>
                    <a:lnTo>
                      <a:pt x="361" y="39"/>
                    </a:lnTo>
                    <a:lnTo>
                      <a:pt x="361" y="39"/>
                    </a:lnTo>
                    <a:lnTo>
                      <a:pt x="357" y="37"/>
                    </a:lnTo>
                    <a:lnTo>
                      <a:pt x="351" y="36"/>
                    </a:lnTo>
                    <a:lnTo>
                      <a:pt x="344" y="34"/>
                    </a:lnTo>
                    <a:lnTo>
                      <a:pt x="337" y="36"/>
                    </a:lnTo>
                    <a:lnTo>
                      <a:pt x="337" y="36"/>
                    </a:lnTo>
                    <a:lnTo>
                      <a:pt x="329" y="36"/>
                    </a:lnTo>
                    <a:lnTo>
                      <a:pt x="320" y="33"/>
                    </a:lnTo>
                    <a:lnTo>
                      <a:pt x="313" y="29"/>
                    </a:lnTo>
                    <a:lnTo>
                      <a:pt x="303" y="26"/>
                    </a:lnTo>
                    <a:lnTo>
                      <a:pt x="303" y="26"/>
                    </a:lnTo>
                    <a:lnTo>
                      <a:pt x="290" y="24"/>
                    </a:lnTo>
                    <a:lnTo>
                      <a:pt x="279" y="26"/>
                    </a:lnTo>
                    <a:lnTo>
                      <a:pt x="267" y="27"/>
                    </a:lnTo>
                    <a:lnTo>
                      <a:pt x="262" y="29"/>
                    </a:lnTo>
                    <a:lnTo>
                      <a:pt x="262" y="29"/>
                    </a:lnTo>
                    <a:lnTo>
                      <a:pt x="259" y="29"/>
                    </a:lnTo>
                    <a:lnTo>
                      <a:pt x="257" y="27"/>
                    </a:lnTo>
                    <a:lnTo>
                      <a:pt x="255" y="24"/>
                    </a:lnTo>
                    <a:lnTo>
                      <a:pt x="252" y="24"/>
                    </a:lnTo>
                    <a:lnTo>
                      <a:pt x="252" y="24"/>
                    </a:lnTo>
                    <a:lnTo>
                      <a:pt x="249" y="24"/>
                    </a:lnTo>
                    <a:lnTo>
                      <a:pt x="248" y="22"/>
                    </a:lnTo>
                    <a:lnTo>
                      <a:pt x="248" y="19"/>
                    </a:lnTo>
                    <a:lnTo>
                      <a:pt x="246" y="16"/>
                    </a:lnTo>
                    <a:lnTo>
                      <a:pt x="246" y="16"/>
                    </a:lnTo>
                    <a:lnTo>
                      <a:pt x="245" y="14"/>
                    </a:lnTo>
                    <a:lnTo>
                      <a:pt x="242" y="13"/>
                    </a:lnTo>
                    <a:lnTo>
                      <a:pt x="233" y="13"/>
                    </a:lnTo>
                    <a:lnTo>
                      <a:pt x="219" y="16"/>
                    </a:lnTo>
                    <a:lnTo>
                      <a:pt x="219" y="16"/>
                    </a:lnTo>
                    <a:lnTo>
                      <a:pt x="215" y="16"/>
                    </a:lnTo>
                    <a:lnTo>
                      <a:pt x="212" y="14"/>
                    </a:lnTo>
                    <a:lnTo>
                      <a:pt x="211" y="12"/>
                    </a:lnTo>
                    <a:lnTo>
                      <a:pt x="211" y="10"/>
                    </a:lnTo>
                    <a:lnTo>
                      <a:pt x="211" y="10"/>
                    </a:lnTo>
                    <a:lnTo>
                      <a:pt x="211" y="9"/>
                    </a:lnTo>
                    <a:lnTo>
                      <a:pt x="208" y="7"/>
                    </a:lnTo>
                    <a:lnTo>
                      <a:pt x="205" y="9"/>
                    </a:lnTo>
                    <a:lnTo>
                      <a:pt x="202" y="12"/>
                    </a:lnTo>
                    <a:lnTo>
                      <a:pt x="202" y="12"/>
                    </a:lnTo>
                    <a:lnTo>
                      <a:pt x="201" y="14"/>
                    </a:lnTo>
                    <a:lnTo>
                      <a:pt x="196" y="16"/>
                    </a:lnTo>
                    <a:lnTo>
                      <a:pt x="193" y="16"/>
                    </a:lnTo>
                    <a:lnTo>
                      <a:pt x="191" y="14"/>
                    </a:lnTo>
                    <a:lnTo>
                      <a:pt x="191" y="14"/>
                    </a:lnTo>
                    <a:lnTo>
                      <a:pt x="189" y="13"/>
                    </a:lnTo>
                    <a:lnTo>
                      <a:pt x="189" y="12"/>
                    </a:lnTo>
                    <a:lnTo>
                      <a:pt x="192" y="10"/>
                    </a:lnTo>
                    <a:lnTo>
                      <a:pt x="195" y="9"/>
                    </a:lnTo>
                    <a:lnTo>
                      <a:pt x="196" y="7"/>
                    </a:lnTo>
                    <a:lnTo>
                      <a:pt x="196" y="7"/>
                    </a:lnTo>
                    <a:lnTo>
                      <a:pt x="195" y="4"/>
                    </a:lnTo>
                    <a:lnTo>
                      <a:pt x="192" y="3"/>
                    </a:lnTo>
                    <a:lnTo>
                      <a:pt x="184" y="0"/>
                    </a:lnTo>
                    <a:lnTo>
                      <a:pt x="184" y="0"/>
                    </a:lnTo>
                    <a:lnTo>
                      <a:pt x="181" y="2"/>
                    </a:lnTo>
                    <a:lnTo>
                      <a:pt x="176" y="3"/>
                    </a:lnTo>
                    <a:lnTo>
                      <a:pt x="166" y="12"/>
                    </a:lnTo>
                    <a:lnTo>
                      <a:pt x="166" y="12"/>
                    </a:lnTo>
                    <a:lnTo>
                      <a:pt x="161" y="14"/>
                    </a:lnTo>
                    <a:lnTo>
                      <a:pt x="154" y="17"/>
                    </a:lnTo>
                    <a:lnTo>
                      <a:pt x="148" y="17"/>
                    </a:lnTo>
                    <a:lnTo>
                      <a:pt x="142" y="16"/>
                    </a:lnTo>
                    <a:lnTo>
                      <a:pt x="142" y="16"/>
                    </a:lnTo>
                    <a:lnTo>
                      <a:pt x="137" y="16"/>
                    </a:lnTo>
                    <a:lnTo>
                      <a:pt x="131" y="17"/>
                    </a:lnTo>
                    <a:lnTo>
                      <a:pt x="128" y="19"/>
                    </a:lnTo>
                    <a:lnTo>
                      <a:pt x="127" y="22"/>
                    </a:lnTo>
                    <a:lnTo>
                      <a:pt x="127" y="22"/>
                    </a:lnTo>
                    <a:lnTo>
                      <a:pt x="128" y="23"/>
                    </a:lnTo>
                    <a:lnTo>
                      <a:pt x="131" y="24"/>
                    </a:lnTo>
                    <a:lnTo>
                      <a:pt x="132" y="27"/>
                    </a:lnTo>
                    <a:lnTo>
                      <a:pt x="131" y="30"/>
                    </a:lnTo>
                    <a:lnTo>
                      <a:pt x="131" y="30"/>
                    </a:lnTo>
                    <a:lnTo>
                      <a:pt x="128" y="30"/>
                    </a:lnTo>
                    <a:lnTo>
                      <a:pt x="127" y="30"/>
                    </a:lnTo>
                    <a:lnTo>
                      <a:pt x="124" y="29"/>
                    </a:lnTo>
                    <a:lnTo>
                      <a:pt x="122" y="27"/>
                    </a:lnTo>
                    <a:lnTo>
                      <a:pt x="121" y="27"/>
                    </a:lnTo>
                    <a:lnTo>
                      <a:pt x="118" y="29"/>
                    </a:lnTo>
                    <a:lnTo>
                      <a:pt x="118" y="29"/>
                    </a:lnTo>
                    <a:lnTo>
                      <a:pt x="114" y="31"/>
                    </a:lnTo>
                    <a:lnTo>
                      <a:pt x="107" y="33"/>
                    </a:lnTo>
                    <a:lnTo>
                      <a:pt x="95" y="33"/>
                    </a:lnTo>
                    <a:lnTo>
                      <a:pt x="95" y="33"/>
                    </a:lnTo>
                    <a:lnTo>
                      <a:pt x="91" y="34"/>
                    </a:lnTo>
                    <a:lnTo>
                      <a:pt x="85" y="39"/>
                    </a:lnTo>
                    <a:lnTo>
                      <a:pt x="77" y="49"/>
                    </a:lnTo>
                    <a:lnTo>
                      <a:pt x="77" y="49"/>
                    </a:lnTo>
                    <a:lnTo>
                      <a:pt x="75" y="51"/>
                    </a:lnTo>
                    <a:lnTo>
                      <a:pt x="75" y="54"/>
                    </a:lnTo>
                    <a:lnTo>
                      <a:pt x="74" y="59"/>
                    </a:lnTo>
                    <a:lnTo>
                      <a:pt x="70" y="66"/>
                    </a:lnTo>
                    <a:lnTo>
                      <a:pt x="70" y="66"/>
                    </a:lnTo>
                    <a:lnTo>
                      <a:pt x="65" y="68"/>
                    </a:lnTo>
                    <a:lnTo>
                      <a:pt x="60" y="71"/>
                    </a:lnTo>
                    <a:lnTo>
                      <a:pt x="47" y="73"/>
                    </a:lnTo>
                    <a:lnTo>
                      <a:pt x="36" y="74"/>
                    </a:lnTo>
                    <a:lnTo>
                      <a:pt x="28" y="73"/>
                    </a:lnTo>
                    <a:lnTo>
                      <a:pt x="28" y="73"/>
                    </a:lnTo>
                    <a:lnTo>
                      <a:pt x="27" y="74"/>
                    </a:lnTo>
                    <a:lnTo>
                      <a:pt x="26" y="77"/>
                    </a:lnTo>
                    <a:lnTo>
                      <a:pt x="26" y="80"/>
                    </a:lnTo>
                    <a:lnTo>
                      <a:pt x="24" y="83"/>
                    </a:lnTo>
                    <a:lnTo>
                      <a:pt x="24" y="83"/>
                    </a:lnTo>
                    <a:lnTo>
                      <a:pt x="24" y="86"/>
                    </a:lnTo>
                    <a:lnTo>
                      <a:pt x="27" y="88"/>
                    </a:lnTo>
                    <a:lnTo>
                      <a:pt x="33" y="91"/>
                    </a:lnTo>
                    <a:lnTo>
                      <a:pt x="43" y="94"/>
                    </a:lnTo>
                    <a:lnTo>
                      <a:pt x="43" y="94"/>
                    </a:lnTo>
                    <a:lnTo>
                      <a:pt x="48" y="97"/>
                    </a:lnTo>
                    <a:lnTo>
                      <a:pt x="53" y="100"/>
                    </a:lnTo>
                    <a:lnTo>
                      <a:pt x="60" y="108"/>
                    </a:lnTo>
                    <a:lnTo>
                      <a:pt x="65" y="117"/>
                    </a:lnTo>
                    <a:lnTo>
                      <a:pt x="68" y="123"/>
                    </a:lnTo>
                    <a:lnTo>
                      <a:pt x="68" y="123"/>
                    </a:lnTo>
                    <a:lnTo>
                      <a:pt x="70" y="124"/>
                    </a:lnTo>
                    <a:lnTo>
                      <a:pt x="73" y="124"/>
                    </a:lnTo>
                    <a:lnTo>
                      <a:pt x="80" y="124"/>
                    </a:lnTo>
                    <a:lnTo>
                      <a:pt x="88" y="123"/>
                    </a:lnTo>
                    <a:lnTo>
                      <a:pt x="95" y="123"/>
                    </a:lnTo>
                    <a:lnTo>
                      <a:pt x="95" y="123"/>
                    </a:lnTo>
                    <a:lnTo>
                      <a:pt x="98" y="124"/>
                    </a:lnTo>
                    <a:lnTo>
                      <a:pt x="98" y="125"/>
                    </a:lnTo>
                    <a:lnTo>
                      <a:pt x="100" y="130"/>
                    </a:lnTo>
                    <a:lnTo>
                      <a:pt x="98" y="134"/>
                    </a:lnTo>
                    <a:lnTo>
                      <a:pt x="100" y="135"/>
                    </a:lnTo>
                    <a:lnTo>
                      <a:pt x="101" y="137"/>
                    </a:lnTo>
                    <a:lnTo>
                      <a:pt x="101" y="137"/>
                    </a:lnTo>
                    <a:lnTo>
                      <a:pt x="107" y="138"/>
                    </a:lnTo>
                    <a:lnTo>
                      <a:pt x="111" y="138"/>
                    </a:lnTo>
                    <a:lnTo>
                      <a:pt x="115" y="138"/>
                    </a:lnTo>
                    <a:lnTo>
                      <a:pt x="117" y="140"/>
                    </a:lnTo>
                    <a:lnTo>
                      <a:pt x="118" y="141"/>
                    </a:lnTo>
                    <a:lnTo>
                      <a:pt x="118" y="141"/>
                    </a:lnTo>
                    <a:lnTo>
                      <a:pt x="118" y="142"/>
                    </a:lnTo>
                    <a:lnTo>
                      <a:pt x="117" y="142"/>
                    </a:lnTo>
                    <a:lnTo>
                      <a:pt x="112" y="142"/>
                    </a:lnTo>
                    <a:lnTo>
                      <a:pt x="105" y="144"/>
                    </a:lnTo>
                    <a:lnTo>
                      <a:pt x="102" y="144"/>
                    </a:lnTo>
                    <a:lnTo>
                      <a:pt x="100" y="145"/>
                    </a:lnTo>
                    <a:lnTo>
                      <a:pt x="100" y="145"/>
                    </a:lnTo>
                    <a:lnTo>
                      <a:pt x="91" y="151"/>
                    </a:lnTo>
                    <a:lnTo>
                      <a:pt x="88" y="151"/>
                    </a:lnTo>
                    <a:lnTo>
                      <a:pt x="85" y="150"/>
                    </a:lnTo>
                    <a:lnTo>
                      <a:pt x="85" y="150"/>
                    </a:lnTo>
                    <a:lnTo>
                      <a:pt x="83" y="148"/>
                    </a:lnTo>
                    <a:lnTo>
                      <a:pt x="77" y="148"/>
                    </a:lnTo>
                    <a:lnTo>
                      <a:pt x="65" y="150"/>
                    </a:lnTo>
                    <a:lnTo>
                      <a:pt x="65" y="150"/>
                    </a:lnTo>
                    <a:lnTo>
                      <a:pt x="63" y="150"/>
                    </a:lnTo>
                    <a:lnTo>
                      <a:pt x="63" y="148"/>
                    </a:lnTo>
                    <a:lnTo>
                      <a:pt x="63" y="145"/>
                    </a:lnTo>
                    <a:lnTo>
                      <a:pt x="65" y="138"/>
                    </a:lnTo>
                    <a:lnTo>
                      <a:pt x="65" y="138"/>
                    </a:lnTo>
                    <a:lnTo>
                      <a:pt x="64" y="135"/>
                    </a:lnTo>
                    <a:lnTo>
                      <a:pt x="60" y="134"/>
                    </a:lnTo>
                    <a:lnTo>
                      <a:pt x="53" y="135"/>
                    </a:lnTo>
                    <a:lnTo>
                      <a:pt x="46" y="138"/>
                    </a:lnTo>
                    <a:lnTo>
                      <a:pt x="46" y="138"/>
                    </a:lnTo>
                    <a:lnTo>
                      <a:pt x="37" y="144"/>
                    </a:lnTo>
                    <a:lnTo>
                      <a:pt x="36" y="148"/>
                    </a:lnTo>
                    <a:lnTo>
                      <a:pt x="36" y="148"/>
                    </a:lnTo>
                    <a:lnTo>
                      <a:pt x="36" y="150"/>
                    </a:lnTo>
                    <a:lnTo>
                      <a:pt x="34" y="150"/>
                    </a:lnTo>
                    <a:lnTo>
                      <a:pt x="31" y="150"/>
                    </a:lnTo>
                    <a:lnTo>
                      <a:pt x="27" y="148"/>
                    </a:lnTo>
                    <a:lnTo>
                      <a:pt x="24" y="148"/>
                    </a:lnTo>
                    <a:lnTo>
                      <a:pt x="23" y="150"/>
                    </a:lnTo>
                    <a:lnTo>
                      <a:pt x="23" y="150"/>
                    </a:lnTo>
                    <a:lnTo>
                      <a:pt x="10" y="157"/>
                    </a:lnTo>
                    <a:lnTo>
                      <a:pt x="4" y="160"/>
                    </a:lnTo>
                    <a:lnTo>
                      <a:pt x="0" y="162"/>
                    </a:lnTo>
                    <a:lnTo>
                      <a:pt x="0" y="162"/>
                    </a:lnTo>
                    <a:lnTo>
                      <a:pt x="0" y="164"/>
                    </a:lnTo>
                    <a:lnTo>
                      <a:pt x="3" y="165"/>
                    </a:lnTo>
                    <a:lnTo>
                      <a:pt x="9" y="168"/>
                    </a:lnTo>
                    <a:lnTo>
                      <a:pt x="24" y="171"/>
                    </a:lnTo>
                    <a:lnTo>
                      <a:pt x="24" y="171"/>
                    </a:lnTo>
                    <a:lnTo>
                      <a:pt x="26" y="172"/>
                    </a:lnTo>
                    <a:lnTo>
                      <a:pt x="26" y="174"/>
                    </a:lnTo>
                    <a:lnTo>
                      <a:pt x="23" y="175"/>
                    </a:lnTo>
                    <a:lnTo>
                      <a:pt x="20" y="178"/>
                    </a:lnTo>
                    <a:lnTo>
                      <a:pt x="20" y="178"/>
                    </a:lnTo>
                    <a:lnTo>
                      <a:pt x="21" y="179"/>
                    </a:lnTo>
                    <a:lnTo>
                      <a:pt x="21" y="179"/>
                    </a:lnTo>
                    <a:lnTo>
                      <a:pt x="24" y="181"/>
                    </a:lnTo>
                    <a:lnTo>
                      <a:pt x="26" y="184"/>
                    </a:lnTo>
                    <a:lnTo>
                      <a:pt x="28" y="188"/>
                    </a:lnTo>
                    <a:lnTo>
                      <a:pt x="33" y="191"/>
                    </a:lnTo>
                    <a:lnTo>
                      <a:pt x="33" y="191"/>
                    </a:lnTo>
                    <a:lnTo>
                      <a:pt x="37" y="192"/>
                    </a:lnTo>
                    <a:lnTo>
                      <a:pt x="41" y="194"/>
                    </a:lnTo>
                    <a:lnTo>
                      <a:pt x="51" y="192"/>
                    </a:lnTo>
                    <a:lnTo>
                      <a:pt x="67" y="191"/>
                    </a:lnTo>
                    <a:lnTo>
                      <a:pt x="67" y="191"/>
                    </a:lnTo>
                    <a:lnTo>
                      <a:pt x="71" y="192"/>
                    </a:lnTo>
                    <a:lnTo>
                      <a:pt x="75" y="194"/>
                    </a:lnTo>
                    <a:lnTo>
                      <a:pt x="78" y="195"/>
                    </a:lnTo>
                    <a:lnTo>
                      <a:pt x="81" y="192"/>
                    </a:lnTo>
                    <a:lnTo>
                      <a:pt x="81" y="192"/>
                    </a:lnTo>
                    <a:lnTo>
                      <a:pt x="87" y="188"/>
                    </a:lnTo>
                    <a:lnTo>
                      <a:pt x="94" y="184"/>
                    </a:lnTo>
                    <a:lnTo>
                      <a:pt x="98" y="181"/>
                    </a:lnTo>
                    <a:lnTo>
                      <a:pt x="102" y="181"/>
                    </a:lnTo>
                    <a:lnTo>
                      <a:pt x="107" y="181"/>
                    </a:lnTo>
                    <a:lnTo>
                      <a:pt x="110" y="182"/>
                    </a:lnTo>
                    <a:lnTo>
                      <a:pt x="110" y="182"/>
                    </a:lnTo>
                    <a:lnTo>
                      <a:pt x="112" y="185"/>
                    </a:lnTo>
                    <a:lnTo>
                      <a:pt x="112" y="187"/>
                    </a:lnTo>
                    <a:lnTo>
                      <a:pt x="110" y="189"/>
                    </a:lnTo>
                    <a:lnTo>
                      <a:pt x="105" y="191"/>
                    </a:lnTo>
                    <a:lnTo>
                      <a:pt x="105" y="192"/>
                    </a:lnTo>
                    <a:lnTo>
                      <a:pt x="105" y="194"/>
                    </a:lnTo>
                    <a:lnTo>
                      <a:pt x="105" y="194"/>
                    </a:lnTo>
                    <a:lnTo>
                      <a:pt x="108" y="198"/>
                    </a:lnTo>
                    <a:lnTo>
                      <a:pt x="111" y="204"/>
                    </a:lnTo>
                    <a:lnTo>
                      <a:pt x="111" y="211"/>
                    </a:lnTo>
                    <a:lnTo>
                      <a:pt x="110" y="214"/>
                    </a:lnTo>
                    <a:lnTo>
                      <a:pt x="107" y="215"/>
                    </a:lnTo>
                    <a:lnTo>
                      <a:pt x="107" y="215"/>
                    </a:lnTo>
                    <a:lnTo>
                      <a:pt x="101" y="218"/>
                    </a:lnTo>
                    <a:lnTo>
                      <a:pt x="97" y="218"/>
                    </a:lnTo>
                    <a:lnTo>
                      <a:pt x="88" y="216"/>
                    </a:lnTo>
                    <a:lnTo>
                      <a:pt x="88" y="216"/>
                    </a:lnTo>
                    <a:lnTo>
                      <a:pt x="87" y="216"/>
                    </a:lnTo>
                    <a:lnTo>
                      <a:pt x="85" y="218"/>
                    </a:lnTo>
                    <a:lnTo>
                      <a:pt x="84" y="221"/>
                    </a:lnTo>
                    <a:lnTo>
                      <a:pt x="83" y="225"/>
                    </a:lnTo>
                    <a:lnTo>
                      <a:pt x="80" y="229"/>
                    </a:lnTo>
                    <a:lnTo>
                      <a:pt x="80" y="229"/>
                    </a:lnTo>
                    <a:lnTo>
                      <a:pt x="77" y="231"/>
                    </a:lnTo>
                    <a:lnTo>
                      <a:pt x="74" y="231"/>
                    </a:lnTo>
                    <a:lnTo>
                      <a:pt x="70" y="229"/>
                    </a:lnTo>
                    <a:lnTo>
                      <a:pt x="64" y="226"/>
                    </a:lnTo>
                    <a:lnTo>
                      <a:pt x="61" y="225"/>
                    </a:lnTo>
                    <a:lnTo>
                      <a:pt x="58" y="224"/>
                    </a:lnTo>
                    <a:lnTo>
                      <a:pt x="58" y="224"/>
                    </a:lnTo>
                    <a:lnTo>
                      <a:pt x="55" y="225"/>
                    </a:lnTo>
                    <a:lnTo>
                      <a:pt x="54" y="226"/>
                    </a:lnTo>
                    <a:lnTo>
                      <a:pt x="53" y="231"/>
                    </a:lnTo>
                    <a:lnTo>
                      <a:pt x="53" y="236"/>
                    </a:lnTo>
                    <a:lnTo>
                      <a:pt x="53" y="241"/>
                    </a:lnTo>
                    <a:lnTo>
                      <a:pt x="53" y="241"/>
                    </a:lnTo>
                    <a:lnTo>
                      <a:pt x="53" y="242"/>
                    </a:lnTo>
                    <a:lnTo>
                      <a:pt x="51" y="243"/>
                    </a:lnTo>
                    <a:lnTo>
                      <a:pt x="46" y="243"/>
                    </a:lnTo>
                    <a:lnTo>
                      <a:pt x="40" y="246"/>
                    </a:lnTo>
                    <a:lnTo>
                      <a:pt x="38" y="248"/>
                    </a:lnTo>
                    <a:lnTo>
                      <a:pt x="37" y="252"/>
                    </a:lnTo>
                    <a:lnTo>
                      <a:pt x="37" y="252"/>
                    </a:lnTo>
                    <a:lnTo>
                      <a:pt x="34" y="256"/>
                    </a:lnTo>
                    <a:lnTo>
                      <a:pt x="33" y="258"/>
                    </a:lnTo>
                    <a:lnTo>
                      <a:pt x="28" y="259"/>
                    </a:lnTo>
                    <a:lnTo>
                      <a:pt x="26" y="261"/>
                    </a:lnTo>
                    <a:lnTo>
                      <a:pt x="26" y="261"/>
                    </a:lnTo>
                    <a:lnTo>
                      <a:pt x="28" y="266"/>
                    </a:lnTo>
                    <a:lnTo>
                      <a:pt x="28" y="266"/>
                    </a:lnTo>
                    <a:lnTo>
                      <a:pt x="34" y="272"/>
                    </a:lnTo>
                    <a:lnTo>
                      <a:pt x="37" y="275"/>
                    </a:lnTo>
                    <a:lnTo>
                      <a:pt x="40" y="275"/>
                    </a:lnTo>
                    <a:lnTo>
                      <a:pt x="43" y="276"/>
                    </a:lnTo>
                    <a:lnTo>
                      <a:pt x="43" y="276"/>
                    </a:lnTo>
                    <a:lnTo>
                      <a:pt x="46" y="278"/>
                    </a:lnTo>
                    <a:lnTo>
                      <a:pt x="46" y="280"/>
                    </a:lnTo>
                    <a:lnTo>
                      <a:pt x="43" y="285"/>
                    </a:lnTo>
                    <a:lnTo>
                      <a:pt x="41" y="289"/>
                    </a:lnTo>
                    <a:lnTo>
                      <a:pt x="41" y="290"/>
                    </a:lnTo>
                    <a:lnTo>
                      <a:pt x="43" y="292"/>
                    </a:lnTo>
                    <a:lnTo>
                      <a:pt x="43" y="292"/>
                    </a:lnTo>
                    <a:lnTo>
                      <a:pt x="48" y="295"/>
                    </a:lnTo>
                    <a:lnTo>
                      <a:pt x="53" y="299"/>
                    </a:lnTo>
                    <a:lnTo>
                      <a:pt x="63" y="310"/>
                    </a:lnTo>
                    <a:lnTo>
                      <a:pt x="63" y="310"/>
                    </a:lnTo>
                    <a:lnTo>
                      <a:pt x="64" y="312"/>
                    </a:lnTo>
                    <a:lnTo>
                      <a:pt x="67" y="312"/>
                    </a:lnTo>
                    <a:lnTo>
                      <a:pt x="71" y="310"/>
                    </a:lnTo>
                    <a:lnTo>
                      <a:pt x="75" y="309"/>
                    </a:lnTo>
                    <a:lnTo>
                      <a:pt x="81" y="307"/>
                    </a:lnTo>
                    <a:lnTo>
                      <a:pt x="81" y="307"/>
                    </a:lnTo>
                    <a:lnTo>
                      <a:pt x="84" y="307"/>
                    </a:lnTo>
                    <a:lnTo>
                      <a:pt x="85" y="306"/>
                    </a:lnTo>
                    <a:lnTo>
                      <a:pt x="87" y="302"/>
                    </a:lnTo>
                    <a:lnTo>
                      <a:pt x="87" y="300"/>
                    </a:lnTo>
                    <a:lnTo>
                      <a:pt x="88" y="300"/>
                    </a:lnTo>
                    <a:lnTo>
                      <a:pt x="90" y="300"/>
                    </a:lnTo>
                    <a:lnTo>
                      <a:pt x="90" y="300"/>
                    </a:lnTo>
                    <a:lnTo>
                      <a:pt x="92" y="305"/>
                    </a:lnTo>
                    <a:lnTo>
                      <a:pt x="95" y="310"/>
                    </a:lnTo>
                    <a:lnTo>
                      <a:pt x="97" y="315"/>
                    </a:lnTo>
                    <a:lnTo>
                      <a:pt x="97" y="317"/>
                    </a:lnTo>
                    <a:lnTo>
                      <a:pt x="95" y="319"/>
                    </a:lnTo>
                    <a:lnTo>
                      <a:pt x="95" y="319"/>
                    </a:lnTo>
                    <a:lnTo>
                      <a:pt x="94" y="322"/>
                    </a:lnTo>
                    <a:lnTo>
                      <a:pt x="94" y="326"/>
                    </a:lnTo>
                    <a:lnTo>
                      <a:pt x="94" y="335"/>
                    </a:lnTo>
                    <a:lnTo>
                      <a:pt x="94" y="335"/>
                    </a:lnTo>
                    <a:lnTo>
                      <a:pt x="95" y="336"/>
                    </a:lnTo>
                    <a:lnTo>
                      <a:pt x="97" y="337"/>
                    </a:lnTo>
                    <a:lnTo>
                      <a:pt x="102" y="337"/>
                    </a:lnTo>
                    <a:lnTo>
                      <a:pt x="108" y="336"/>
                    </a:lnTo>
                    <a:lnTo>
                      <a:pt x="111" y="335"/>
                    </a:lnTo>
                    <a:lnTo>
                      <a:pt x="112" y="333"/>
                    </a:lnTo>
                    <a:lnTo>
                      <a:pt x="112" y="333"/>
                    </a:lnTo>
                    <a:lnTo>
                      <a:pt x="112" y="330"/>
                    </a:lnTo>
                    <a:lnTo>
                      <a:pt x="115" y="330"/>
                    </a:lnTo>
                    <a:lnTo>
                      <a:pt x="121" y="329"/>
                    </a:lnTo>
                    <a:lnTo>
                      <a:pt x="128" y="330"/>
                    </a:lnTo>
                    <a:lnTo>
                      <a:pt x="131" y="332"/>
                    </a:lnTo>
                    <a:lnTo>
                      <a:pt x="134" y="335"/>
                    </a:lnTo>
                    <a:lnTo>
                      <a:pt x="134" y="335"/>
                    </a:lnTo>
                    <a:lnTo>
                      <a:pt x="138" y="339"/>
                    </a:lnTo>
                    <a:lnTo>
                      <a:pt x="142" y="342"/>
                    </a:lnTo>
                    <a:lnTo>
                      <a:pt x="144" y="342"/>
                    </a:lnTo>
                    <a:lnTo>
                      <a:pt x="144" y="337"/>
                    </a:lnTo>
                    <a:lnTo>
                      <a:pt x="144" y="337"/>
                    </a:lnTo>
                    <a:lnTo>
                      <a:pt x="145" y="333"/>
                    </a:lnTo>
                    <a:lnTo>
                      <a:pt x="147" y="329"/>
                    </a:lnTo>
                    <a:lnTo>
                      <a:pt x="149" y="327"/>
                    </a:lnTo>
                    <a:lnTo>
                      <a:pt x="151" y="327"/>
                    </a:lnTo>
                    <a:lnTo>
                      <a:pt x="151" y="329"/>
                    </a:lnTo>
                    <a:lnTo>
                      <a:pt x="151" y="329"/>
                    </a:lnTo>
                    <a:lnTo>
                      <a:pt x="152" y="333"/>
                    </a:lnTo>
                    <a:lnTo>
                      <a:pt x="155" y="335"/>
                    </a:lnTo>
                    <a:lnTo>
                      <a:pt x="161" y="333"/>
                    </a:lnTo>
                    <a:lnTo>
                      <a:pt x="168" y="332"/>
                    </a:lnTo>
                    <a:lnTo>
                      <a:pt x="168" y="332"/>
                    </a:lnTo>
                    <a:lnTo>
                      <a:pt x="174" y="329"/>
                    </a:lnTo>
                    <a:lnTo>
                      <a:pt x="175" y="329"/>
                    </a:lnTo>
                    <a:lnTo>
                      <a:pt x="175" y="330"/>
                    </a:lnTo>
                    <a:lnTo>
                      <a:pt x="168" y="339"/>
                    </a:lnTo>
                    <a:lnTo>
                      <a:pt x="168" y="339"/>
                    </a:lnTo>
                    <a:lnTo>
                      <a:pt x="166" y="343"/>
                    </a:lnTo>
                    <a:lnTo>
                      <a:pt x="165" y="346"/>
                    </a:lnTo>
                    <a:lnTo>
                      <a:pt x="165" y="354"/>
                    </a:lnTo>
                    <a:lnTo>
                      <a:pt x="165" y="362"/>
                    </a:lnTo>
                    <a:lnTo>
                      <a:pt x="164" y="363"/>
                    </a:lnTo>
                    <a:lnTo>
                      <a:pt x="162" y="364"/>
                    </a:lnTo>
                    <a:lnTo>
                      <a:pt x="162" y="364"/>
                    </a:lnTo>
                    <a:lnTo>
                      <a:pt x="161" y="366"/>
                    </a:lnTo>
                    <a:lnTo>
                      <a:pt x="158" y="367"/>
                    </a:lnTo>
                    <a:lnTo>
                      <a:pt x="154" y="373"/>
                    </a:lnTo>
                    <a:lnTo>
                      <a:pt x="149" y="379"/>
                    </a:lnTo>
                    <a:lnTo>
                      <a:pt x="147" y="380"/>
                    </a:lnTo>
                    <a:lnTo>
                      <a:pt x="144" y="381"/>
                    </a:lnTo>
                    <a:lnTo>
                      <a:pt x="144" y="381"/>
                    </a:lnTo>
                    <a:lnTo>
                      <a:pt x="139" y="383"/>
                    </a:lnTo>
                    <a:lnTo>
                      <a:pt x="135" y="384"/>
                    </a:lnTo>
                    <a:lnTo>
                      <a:pt x="127" y="391"/>
                    </a:lnTo>
                    <a:lnTo>
                      <a:pt x="117" y="403"/>
                    </a:lnTo>
                    <a:lnTo>
                      <a:pt x="117" y="403"/>
                    </a:lnTo>
                    <a:lnTo>
                      <a:pt x="114" y="403"/>
                    </a:lnTo>
                    <a:lnTo>
                      <a:pt x="112" y="403"/>
                    </a:lnTo>
                    <a:lnTo>
                      <a:pt x="104" y="401"/>
                    </a:lnTo>
                    <a:lnTo>
                      <a:pt x="95" y="401"/>
                    </a:lnTo>
                    <a:lnTo>
                      <a:pt x="92" y="403"/>
                    </a:lnTo>
                    <a:lnTo>
                      <a:pt x="91" y="406"/>
                    </a:lnTo>
                    <a:lnTo>
                      <a:pt x="91" y="406"/>
                    </a:lnTo>
                    <a:lnTo>
                      <a:pt x="88" y="411"/>
                    </a:lnTo>
                    <a:lnTo>
                      <a:pt x="83" y="416"/>
                    </a:lnTo>
                    <a:lnTo>
                      <a:pt x="80" y="420"/>
                    </a:lnTo>
                    <a:lnTo>
                      <a:pt x="78" y="421"/>
                    </a:lnTo>
                    <a:lnTo>
                      <a:pt x="80" y="423"/>
                    </a:lnTo>
                    <a:lnTo>
                      <a:pt x="80" y="423"/>
                    </a:lnTo>
                    <a:lnTo>
                      <a:pt x="84" y="423"/>
                    </a:lnTo>
                    <a:lnTo>
                      <a:pt x="90" y="420"/>
                    </a:lnTo>
                    <a:lnTo>
                      <a:pt x="95" y="416"/>
                    </a:lnTo>
                    <a:lnTo>
                      <a:pt x="98" y="413"/>
                    </a:lnTo>
                    <a:lnTo>
                      <a:pt x="98" y="413"/>
                    </a:lnTo>
                    <a:lnTo>
                      <a:pt x="100" y="410"/>
                    </a:lnTo>
                    <a:lnTo>
                      <a:pt x="101" y="410"/>
                    </a:lnTo>
                    <a:lnTo>
                      <a:pt x="104" y="411"/>
                    </a:lnTo>
                    <a:lnTo>
                      <a:pt x="104" y="411"/>
                    </a:lnTo>
                    <a:lnTo>
                      <a:pt x="107" y="413"/>
                    </a:lnTo>
                    <a:lnTo>
                      <a:pt x="111" y="413"/>
                    </a:lnTo>
                    <a:lnTo>
                      <a:pt x="118" y="407"/>
                    </a:lnTo>
                    <a:lnTo>
                      <a:pt x="118" y="407"/>
                    </a:lnTo>
                    <a:lnTo>
                      <a:pt x="121" y="406"/>
                    </a:lnTo>
                    <a:lnTo>
                      <a:pt x="124" y="406"/>
                    </a:lnTo>
                    <a:lnTo>
                      <a:pt x="129" y="406"/>
                    </a:lnTo>
                    <a:lnTo>
                      <a:pt x="129" y="406"/>
                    </a:lnTo>
                    <a:lnTo>
                      <a:pt x="131" y="406"/>
                    </a:lnTo>
                    <a:lnTo>
                      <a:pt x="134" y="404"/>
                    </a:lnTo>
                    <a:lnTo>
                      <a:pt x="138" y="403"/>
                    </a:lnTo>
                    <a:lnTo>
                      <a:pt x="144" y="400"/>
                    </a:lnTo>
                    <a:lnTo>
                      <a:pt x="144" y="400"/>
                    </a:lnTo>
                    <a:lnTo>
                      <a:pt x="149" y="399"/>
                    </a:lnTo>
                    <a:lnTo>
                      <a:pt x="151" y="397"/>
                    </a:lnTo>
                    <a:lnTo>
                      <a:pt x="154" y="391"/>
                    </a:lnTo>
                    <a:lnTo>
                      <a:pt x="154" y="391"/>
                    </a:lnTo>
                    <a:lnTo>
                      <a:pt x="158" y="386"/>
                    </a:lnTo>
                    <a:lnTo>
                      <a:pt x="166" y="381"/>
                    </a:lnTo>
                    <a:lnTo>
                      <a:pt x="182" y="374"/>
                    </a:lnTo>
                    <a:lnTo>
                      <a:pt x="182" y="374"/>
                    </a:lnTo>
                    <a:lnTo>
                      <a:pt x="185" y="373"/>
                    </a:lnTo>
                    <a:lnTo>
                      <a:pt x="185" y="370"/>
                    </a:lnTo>
                    <a:lnTo>
                      <a:pt x="186" y="367"/>
                    </a:lnTo>
                    <a:lnTo>
                      <a:pt x="189" y="366"/>
                    </a:lnTo>
                    <a:lnTo>
                      <a:pt x="189" y="366"/>
                    </a:lnTo>
                    <a:lnTo>
                      <a:pt x="192" y="364"/>
                    </a:lnTo>
                    <a:lnTo>
                      <a:pt x="196" y="362"/>
                    </a:lnTo>
                    <a:lnTo>
                      <a:pt x="206" y="354"/>
                    </a:lnTo>
                    <a:lnTo>
                      <a:pt x="206" y="354"/>
                    </a:lnTo>
                    <a:lnTo>
                      <a:pt x="211" y="352"/>
                    </a:lnTo>
                    <a:lnTo>
                      <a:pt x="213" y="352"/>
                    </a:lnTo>
                    <a:lnTo>
                      <a:pt x="219" y="350"/>
                    </a:lnTo>
                    <a:lnTo>
                      <a:pt x="219" y="350"/>
                    </a:lnTo>
                    <a:lnTo>
                      <a:pt x="220" y="349"/>
                    </a:lnTo>
                    <a:lnTo>
                      <a:pt x="220" y="347"/>
                    </a:lnTo>
                    <a:lnTo>
                      <a:pt x="222" y="344"/>
                    </a:lnTo>
                    <a:lnTo>
                      <a:pt x="222" y="340"/>
                    </a:lnTo>
                    <a:lnTo>
                      <a:pt x="223" y="339"/>
                    </a:lnTo>
                    <a:lnTo>
                      <a:pt x="225" y="339"/>
                    </a:lnTo>
                    <a:lnTo>
                      <a:pt x="225" y="339"/>
                    </a:lnTo>
                    <a:lnTo>
                      <a:pt x="228" y="337"/>
                    </a:lnTo>
                    <a:lnTo>
                      <a:pt x="230" y="336"/>
                    </a:lnTo>
                    <a:lnTo>
                      <a:pt x="232" y="333"/>
                    </a:lnTo>
                    <a:lnTo>
                      <a:pt x="232" y="330"/>
                    </a:lnTo>
                    <a:lnTo>
                      <a:pt x="232" y="330"/>
                    </a:lnTo>
                    <a:lnTo>
                      <a:pt x="232" y="329"/>
                    </a:lnTo>
                    <a:lnTo>
                      <a:pt x="230" y="327"/>
                    </a:lnTo>
                    <a:lnTo>
                      <a:pt x="226" y="326"/>
                    </a:lnTo>
                    <a:lnTo>
                      <a:pt x="222" y="325"/>
                    </a:lnTo>
                    <a:lnTo>
                      <a:pt x="219" y="323"/>
                    </a:lnTo>
                    <a:lnTo>
                      <a:pt x="219" y="323"/>
                    </a:lnTo>
                    <a:lnTo>
                      <a:pt x="220" y="320"/>
                    </a:lnTo>
                    <a:lnTo>
                      <a:pt x="225" y="317"/>
                    </a:lnTo>
                    <a:lnTo>
                      <a:pt x="229" y="313"/>
                    </a:lnTo>
                    <a:lnTo>
                      <a:pt x="233" y="312"/>
                    </a:lnTo>
                    <a:lnTo>
                      <a:pt x="233" y="312"/>
                    </a:lnTo>
                    <a:lnTo>
                      <a:pt x="236" y="312"/>
                    </a:lnTo>
                    <a:lnTo>
                      <a:pt x="239" y="310"/>
                    </a:lnTo>
                    <a:lnTo>
                      <a:pt x="242" y="306"/>
                    </a:lnTo>
                    <a:lnTo>
                      <a:pt x="243" y="303"/>
                    </a:lnTo>
                    <a:lnTo>
                      <a:pt x="243" y="303"/>
                    </a:lnTo>
                    <a:lnTo>
                      <a:pt x="245" y="299"/>
                    </a:lnTo>
                    <a:lnTo>
                      <a:pt x="248" y="296"/>
                    </a:lnTo>
                    <a:lnTo>
                      <a:pt x="255" y="290"/>
                    </a:lnTo>
                    <a:lnTo>
                      <a:pt x="255" y="290"/>
                    </a:lnTo>
                    <a:lnTo>
                      <a:pt x="256" y="288"/>
                    </a:lnTo>
                    <a:lnTo>
                      <a:pt x="257" y="285"/>
                    </a:lnTo>
                    <a:lnTo>
                      <a:pt x="260" y="282"/>
                    </a:lnTo>
                    <a:lnTo>
                      <a:pt x="262" y="282"/>
                    </a:lnTo>
                    <a:lnTo>
                      <a:pt x="262" y="282"/>
                    </a:lnTo>
                    <a:lnTo>
                      <a:pt x="266" y="280"/>
                    </a:lnTo>
                    <a:lnTo>
                      <a:pt x="269" y="278"/>
                    </a:lnTo>
                    <a:lnTo>
                      <a:pt x="276" y="272"/>
                    </a:lnTo>
                    <a:lnTo>
                      <a:pt x="276" y="272"/>
                    </a:lnTo>
                    <a:lnTo>
                      <a:pt x="279" y="270"/>
                    </a:lnTo>
                    <a:lnTo>
                      <a:pt x="279" y="272"/>
                    </a:lnTo>
                    <a:lnTo>
                      <a:pt x="280" y="275"/>
                    </a:lnTo>
                    <a:lnTo>
                      <a:pt x="286" y="276"/>
                    </a:lnTo>
                    <a:lnTo>
                      <a:pt x="286" y="276"/>
                    </a:lnTo>
                    <a:lnTo>
                      <a:pt x="289" y="276"/>
                    </a:lnTo>
                    <a:lnTo>
                      <a:pt x="290" y="278"/>
                    </a:lnTo>
                    <a:lnTo>
                      <a:pt x="292" y="279"/>
                    </a:lnTo>
                    <a:lnTo>
                      <a:pt x="292" y="280"/>
                    </a:lnTo>
                    <a:lnTo>
                      <a:pt x="290" y="282"/>
                    </a:lnTo>
                    <a:lnTo>
                      <a:pt x="289" y="282"/>
                    </a:lnTo>
                    <a:lnTo>
                      <a:pt x="286" y="282"/>
                    </a:lnTo>
                    <a:lnTo>
                      <a:pt x="286" y="282"/>
                    </a:lnTo>
                    <a:lnTo>
                      <a:pt x="282" y="280"/>
                    </a:lnTo>
                    <a:lnTo>
                      <a:pt x="277" y="280"/>
                    </a:lnTo>
                    <a:lnTo>
                      <a:pt x="273" y="282"/>
                    </a:lnTo>
                    <a:lnTo>
                      <a:pt x="269" y="285"/>
                    </a:lnTo>
                    <a:lnTo>
                      <a:pt x="269" y="285"/>
                    </a:lnTo>
                    <a:lnTo>
                      <a:pt x="266" y="289"/>
                    </a:lnTo>
                    <a:lnTo>
                      <a:pt x="266" y="292"/>
                    </a:lnTo>
                    <a:lnTo>
                      <a:pt x="265" y="295"/>
                    </a:lnTo>
                    <a:lnTo>
                      <a:pt x="263" y="299"/>
                    </a:lnTo>
                    <a:lnTo>
                      <a:pt x="263" y="299"/>
                    </a:lnTo>
                    <a:lnTo>
                      <a:pt x="260" y="305"/>
                    </a:lnTo>
                    <a:lnTo>
                      <a:pt x="259" y="307"/>
                    </a:lnTo>
                    <a:lnTo>
                      <a:pt x="260" y="310"/>
                    </a:lnTo>
                    <a:lnTo>
                      <a:pt x="265" y="312"/>
                    </a:lnTo>
                    <a:lnTo>
                      <a:pt x="265" y="312"/>
                    </a:lnTo>
                    <a:lnTo>
                      <a:pt x="266" y="312"/>
                    </a:lnTo>
                    <a:lnTo>
                      <a:pt x="266" y="315"/>
                    </a:lnTo>
                    <a:lnTo>
                      <a:pt x="263" y="316"/>
                    </a:lnTo>
                    <a:lnTo>
                      <a:pt x="259" y="319"/>
                    </a:lnTo>
                    <a:lnTo>
                      <a:pt x="259" y="319"/>
                    </a:lnTo>
                    <a:lnTo>
                      <a:pt x="256" y="320"/>
                    </a:lnTo>
                    <a:lnTo>
                      <a:pt x="256" y="322"/>
                    </a:lnTo>
                    <a:lnTo>
                      <a:pt x="259" y="323"/>
                    </a:lnTo>
                    <a:lnTo>
                      <a:pt x="265" y="323"/>
                    </a:lnTo>
                    <a:lnTo>
                      <a:pt x="265" y="323"/>
                    </a:lnTo>
                    <a:lnTo>
                      <a:pt x="272" y="322"/>
                    </a:lnTo>
                    <a:lnTo>
                      <a:pt x="279" y="317"/>
                    </a:lnTo>
                    <a:lnTo>
                      <a:pt x="287" y="312"/>
                    </a:lnTo>
                    <a:lnTo>
                      <a:pt x="296" y="306"/>
                    </a:lnTo>
                    <a:lnTo>
                      <a:pt x="296" y="306"/>
                    </a:lnTo>
                    <a:lnTo>
                      <a:pt x="304" y="303"/>
                    </a:lnTo>
                    <a:lnTo>
                      <a:pt x="312" y="305"/>
                    </a:lnTo>
                    <a:lnTo>
                      <a:pt x="316" y="305"/>
                    </a:lnTo>
                    <a:lnTo>
                      <a:pt x="320" y="305"/>
                    </a:lnTo>
                    <a:lnTo>
                      <a:pt x="320" y="305"/>
                    </a:lnTo>
                    <a:lnTo>
                      <a:pt x="320" y="303"/>
                    </a:lnTo>
                    <a:lnTo>
                      <a:pt x="320" y="302"/>
                    </a:lnTo>
                    <a:lnTo>
                      <a:pt x="319" y="299"/>
                    </a:lnTo>
                    <a:lnTo>
                      <a:pt x="320" y="298"/>
                    </a:lnTo>
                    <a:lnTo>
                      <a:pt x="320" y="298"/>
                    </a:lnTo>
                    <a:lnTo>
                      <a:pt x="320" y="296"/>
                    </a:lnTo>
                    <a:lnTo>
                      <a:pt x="319" y="295"/>
                    </a:lnTo>
                    <a:lnTo>
                      <a:pt x="316" y="292"/>
                    </a:lnTo>
                    <a:lnTo>
                      <a:pt x="313" y="288"/>
                    </a:lnTo>
                    <a:lnTo>
                      <a:pt x="313" y="288"/>
                    </a:lnTo>
                    <a:lnTo>
                      <a:pt x="313" y="285"/>
                    </a:lnTo>
                    <a:lnTo>
                      <a:pt x="314" y="283"/>
                    </a:lnTo>
                    <a:lnTo>
                      <a:pt x="316" y="282"/>
                    </a:lnTo>
                    <a:lnTo>
                      <a:pt x="319" y="279"/>
                    </a:lnTo>
                    <a:lnTo>
                      <a:pt x="319" y="279"/>
                    </a:lnTo>
                    <a:lnTo>
                      <a:pt x="320" y="278"/>
                    </a:lnTo>
                    <a:lnTo>
                      <a:pt x="322" y="276"/>
                    </a:lnTo>
                    <a:lnTo>
                      <a:pt x="327" y="279"/>
                    </a:lnTo>
                    <a:lnTo>
                      <a:pt x="327" y="279"/>
                    </a:lnTo>
                    <a:lnTo>
                      <a:pt x="330" y="279"/>
                    </a:lnTo>
                    <a:lnTo>
                      <a:pt x="333" y="279"/>
                    </a:lnTo>
                    <a:lnTo>
                      <a:pt x="336" y="280"/>
                    </a:lnTo>
                    <a:lnTo>
                      <a:pt x="339" y="283"/>
                    </a:lnTo>
                    <a:lnTo>
                      <a:pt x="339" y="283"/>
                    </a:lnTo>
                    <a:lnTo>
                      <a:pt x="340" y="285"/>
                    </a:lnTo>
                    <a:lnTo>
                      <a:pt x="341" y="286"/>
                    </a:lnTo>
                    <a:lnTo>
                      <a:pt x="344" y="285"/>
                    </a:lnTo>
                    <a:lnTo>
                      <a:pt x="347" y="285"/>
                    </a:lnTo>
                    <a:lnTo>
                      <a:pt x="349" y="285"/>
                    </a:lnTo>
                    <a:lnTo>
                      <a:pt x="351" y="286"/>
                    </a:lnTo>
                    <a:lnTo>
                      <a:pt x="351" y="286"/>
                    </a:lnTo>
                    <a:lnTo>
                      <a:pt x="353" y="289"/>
                    </a:lnTo>
                    <a:lnTo>
                      <a:pt x="351" y="290"/>
                    </a:lnTo>
                    <a:lnTo>
                      <a:pt x="344" y="292"/>
                    </a:lnTo>
                    <a:lnTo>
                      <a:pt x="344" y="292"/>
                    </a:lnTo>
                    <a:lnTo>
                      <a:pt x="343" y="292"/>
                    </a:lnTo>
                    <a:lnTo>
                      <a:pt x="341" y="293"/>
                    </a:lnTo>
                    <a:lnTo>
                      <a:pt x="341" y="296"/>
                    </a:lnTo>
                    <a:lnTo>
                      <a:pt x="343" y="298"/>
                    </a:lnTo>
                    <a:lnTo>
                      <a:pt x="344" y="298"/>
                    </a:lnTo>
                    <a:lnTo>
                      <a:pt x="346" y="298"/>
                    </a:lnTo>
                    <a:lnTo>
                      <a:pt x="346" y="298"/>
                    </a:lnTo>
                    <a:lnTo>
                      <a:pt x="349" y="295"/>
                    </a:lnTo>
                    <a:lnTo>
                      <a:pt x="353" y="293"/>
                    </a:lnTo>
                    <a:lnTo>
                      <a:pt x="356" y="293"/>
                    </a:lnTo>
                    <a:lnTo>
                      <a:pt x="358" y="295"/>
                    </a:lnTo>
                    <a:lnTo>
                      <a:pt x="358" y="295"/>
                    </a:lnTo>
                    <a:lnTo>
                      <a:pt x="361" y="296"/>
                    </a:lnTo>
                    <a:lnTo>
                      <a:pt x="364" y="296"/>
                    </a:lnTo>
                    <a:lnTo>
                      <a:pt x="368" y="293"/>
                    </a:lnTo>
                    <a:lnTo>
                      <a:pt x="368" y="293"/>
                    </a:lnTo>
                    <a:lnTo>
                      <a:pt x="370" y="292"/>
                    </a:lnTo>
                    <a:lnTo>
                      <a:pt x="371" y="292"/>
                    </a:lnTo>
                    <a:lnTo>
                      <a:pt x="371" y="296"/>
                    </a:lnTo>
                    <a:lnTo>
                      <a:pt x="371" y="296"/>
                    </a:lnTo>
                    <a:lnTo>
                      <a:pt x="373" y="298"/>
                    </a:lnTo>
                    <a:lnTo>
                      <a:pt x="377" y="299"/>
                    </a:lnTo>
                    <a:lnTo>
                      <a:pt x="390" y="302"/>
                    </a:lnTo>
                    <a:lnTo>
                      <a:pt x="390" y="302"/>
                    </a:lnTo>
                    <a:lnTo>
                      <a:pt x="400" y="303"/>
                    </a:lnTo>
                    <a:lnTo>
                      <a:pt x="410" y="302"/>
                    </a:lnTo>
                    <a:lnTo>
                      <a:pt x="425" y="300"/>
                    </a:lnTo>
                    <a:lnTo>
                      <a:pt x="425" y="300"/>
                    </a:lnTo>
                    <a:lnTo>
                      <a:pt x="428" y="302"/>
                    </a:lnTo>
                    <a:lnTo>
                      <a:pt x="430" y="305"/>
                    </a:lnTo>
                    <a:lnTo>
                      <a:pt x="432" y="307"/>
                    </a:lnTo>
                    <a:lnTo>
                      <a:pt x="440" y="310"/>
                    </a:lnTo>
                    <a:lnTo>
                      <a:pt x="440" y="310"/>
                    </a:lnTo>
                    <a:lnTo>
                      <a:pt x="442" y="310"/>
                    </a:lnTo>
                    <a:lnTo>
                      <a:pt x="445" y="310"/>
                    </a:lnTo>
                    <a:lnTo>
                      <a:pt x="451" y="306"/>
                    </a:lnTo>
                    <a:lnTo>
                      <a:pt x="455" y="303"/>
                    </a:lnTo>
                    <a:lnTo>
                      <a:pt x="457" y="303"/>
                    </a:lnTo>
                    <a:lnTo>
                      <a:pt x="458" y="305"/>
                    </a:lnTo>
                    <a:lnTo>
                      <a:pt x="458" y="305"/>
                    </a:lnTo>
                    <a:lnTo>
                      <a:pt x="461" y="307"/>
                    </a:lnTo>
                    <a:lnTo>
                      <a:pt x="461" y="309"/>
                    </a:lnTo>
                    <a:lnTo>
                      <a:pt x="455" y="315"/>
                    </a:lnTo>
                    <a:lnTo>
                      <a:pt x="455" y="315"/>
                    </a:lnTo>
                    <a:lnTo>
                      <a:pt x="455" y="316"/>
                    </a:lnTo>
                    <a:lnTo>
                      <a:pt x="457" y="317"/>
                    </a:lnTo>
                    <a:lnTo>
                      <a:pt x="464" y="320"/>
                    </a:lnTo>
                    <a:lnTo>
                      <a:pt x="464" y="320"/>
                    </a:lnTo>
                    <a:lnTo>
                      <a:pt x="472" y="323"/>
                    </a:lnTo>
                    <a:lnTo>
                      <a:pt x="478" y="326"/>
                    </a:lnTo>
                    <a:lnTo>
                      <a:pt x="482" y="329"/>
                    </a:lnTo>
                    <a:lnTo>
                      <a:pt x="482" y="329"/>
                    </a:lnTo>
                    <a:lnTo>
                      <a:pt x="489" y="336"/>
                    </a:lnTo>
                    <a:lnTo>
                      <a:pt x="494" y="340"/>
                    </a:lnTo>
                    <a:lnTo>
                      <a:pt x="501" y="344"/>
                    </a:lnTo>
                    <a:lnTo>
                      <a:pt x="501" y="344"/>
                    </a:lnTo>
                    <a:lnTo>
                      <a:pt x="504" y="346"/>
                    </a:lnTo>
                    <a:lnTo>
                      <a:pt x="506" y="344"/>
                    </a:lnTo>
                    <a:lnTo>
                      <a:pt x="506" y="343"/>
                    </a:lnTo>
                    <a:lnTo>
                      <a:pt x="506" y="340"/>
                    </a:lnTo>
                    <a:lnTo>
                      <a:pt x="506" y="336"/>
                    </a:lnTo>
                    <a:lnTo>
                      <a:pt x="508" y="336"/>
                    </a:lnTo>
                    <a:lnTo>
                      <a:pt x="511" y="336"/>
                    </a:lnTo>
                    <a:lnTo>
                      <a:pt x="511" y="336"/>
                    </a:lnTo>
                    <a:lnTo>
                      <a:pt x="515" y="339"/>
                    </a:lnTo>
                    <a:lnTo>
                      <a:pt x="518" y="340"/>
                    </a:lnTo>
                    <a:lnTo>
                      <a:pt x="519" y="340"/>
                    </a:lnTo>
                    <a:lnTo>
                      <a:pt x="524" y="343"/>
                    </a:lnTo>
                    <a:lnTo>
                      <a:pt x="524" y="343"/>
                    </a:lnTo>
                    <a:lnTo>
                      <a:pt x="526" y="346"/>
                    </a:lnTo>
                    <a:lnTo>
                      <a:pt x="528" y="344"/>
                    </a:lnTo>
                    <a:lnTo>
                      <a:pt x="528" y="343"/>
                    </a:lnTo>
                    <a:lnTo>
                      <a:pt x="525" y="330"/>
                    </a:lnTo>
                    <a:lnTo>
                      <a:pt x="525" y="330"/>
                    </a:lnTo>
                    <a:lnTo>
                      <a:pt x="524" y="325"/>
                    </a:lnTo>
                    <a:lnTo>
                      <a:pt x="524" y="325"/>
                    </a:lnTo>
                    <a:lnTo>
                      <a:pt x="525" y="325"/>
                    </a:lnTo>
                    <a:lnTo>
                      <a:pt x="531" y="332"/>
                    </a:lnTo>
                    <a:lnTo>
                      <a:pt x="531" y="332"/>
                    </a:lnTo>
                    <a:lnTo>
                      <a:pt x="532" y="336"/>
                    </a:lnTo>
                    <a:lnTo>
                      <a:pt x="533" y="342"/>
                    </a:lnTo>
                    <a:lnTo>
                      <a:pt x="533" y="347"/>
                    </a:lnTo>
                    <a:lnTo>
                      <a:pt x="532" y="352"/>
                    </a:lnTo>
                    <a:lnTo>
                      <a:pt x="532" y="352"/>
                    </a:lnTo>
                    <a:lnTo>
                      <a:pt x="531" y="354"/>
                    </a:lnTo>
                    <a:lnTo>
                      <a:pt x="529" y="354"/>
                    </a:lnTo>
                    <a:lnTo>
                      <a:pt x="525" y="354"/>
                    </a:lnTo>
                    <a:lnTo>
                      <a:pt x="521" y="353"/>
                    </a:lnTo>
                    <a:lnTo>
                      <a:pt x="521" y="352"/>
                    </a:lnTo>
                    <a:lnTo>
                      <a:pt x="521" y="350"/>
                    </a:lnTo>
                    <a:lnTo>
                      <a:pt x="521" y="350"/>
                    </a:lnTo>
                    <a:lnTo>
                      <a:pt x="519" y="349"/>
                    </a:lnTo>
                    <a:lnTo>
                      <a:pt x="519" y="347"/>
                    </a:lnTo>
                    <a:lnTo>
                      <a:pt x="515" y="347"/>
                    </a:lnTo>
                    <a:lnTo>
                      <a:pt x="511" y="350"/>
                    </a:lnTo>
                    <a:lnTo>
                      <a:pt x="509" y="350"/>
                    </a:lnTo>
                    <a:lnTo>
                      <a:pt x="509" y="353"/>
                    </a:lnTo>
                    <a:lnTo>
                      <a:pt x="509" y="353"/>
                    </a:lnTo>
                    <a:lnTo>
                      <a:pt x="511" y="357"/>
                    </a:lnTo>
                    <a:lnTo>
                      <a:pt x="514" y="362"/>
                    </a:lnTo>
                    <a:lnTo>
                      <a:pt x="518" y="366"/>
                    </a:lnTo>
                    <a:lnTo>
                      <a:pt x="522" y="369"/>
                    </a:lnTo>
                    <a:lnTo>
                      <a:pt x="522" y="369"/>
                    </a:lnTo>
                    <a:lnTo>
                      <a:pt x="524" y="369"/>
                    </a:lnTo>
                    <a:lnTo>
                      <a:pt x="525" y="370"/>
                    </a:lnTo>
                    <a:lnTo>
                      <a:pt x="525" y="374"/>
                    </a:lnTo>
                    <a:lnTo>
                      <a:pt x="526" y="377"/>
                    </a:lnTo>
                    <a:lnTo>
                      <a:pt x="528" y="379"/>
                    </a:lnTo>
                    <a:lnTo>
                      <a:pt x="528" y="379"/>
                    </a:lnTo>
                    <a:lnTo>
                      <a:pt x="531" y="381"/>
                    </a:lnTo>
                    <a:lnTo>
                      <a:pt x="532" y="384"/>
                    </a:lnTo>
                    <a:lnTo>
                      <a:pt x="533" y="387"/>
                    </a:lnTo>
                    <a:lnTo>
                      <a:pt x="533" y="389"/>
                    </a:lnTo>
                    <a:lnTo>
                      <a:pt x="535" y="389"/>
                    </a:lnTo>
                    <a:lnTo>
                      <a:pt x="535" y="389"/>
                    </a:lnTo>
                    <a:lnTo>
                      <a:pt x="536" y="386"/>
                    </a:lnTo>
                    <a:lnTo>
                      <a:pt x="536" y="381"/>
                    </a:lnTo>
                    <a:lnTo>
                      <a:pt x="535" y="376"/>
                    </a:lnTo>
                    <a:lnTo>
                      <a:pt x="533" y="371"/>
                    </a:lnTo>
                    <a:lnTo>
                      <a:pt x="533" y="371"/>
                    </a:lnTo>
                    <a:lnTo>
                      <a:pt x="532" y="367"/>
                    </a:lnTo>
                    <a:lnTo>
                      <a:pt x="532" y="363"/>
                    </a:lnTo>
                    <a:lnTo>
                      <a:pt x="533" y="360"/>
                    </a:lnTo>
                    <a:lnTo>
                      <a:pt x="536" y="360"/>
                    </a:lnTo>
                    <a:lnTo>
                      <a:pt x="536" y="360"/>
                    </a:lnTo>
                    <a:lnTo>
                      <a:pt x="538" y="363"/>
                    </a:lnTo>
                    <a:lnTo>
                      <a:pt x="538" y="366"/>
                    </a:lnTo>
                    <a:lnTo>
                      <a:pt x="538" y="369"/>
                    </a:lnTo>
                    <a:lnTo>
                      <a:pt x="538" y="371"/>
                    </a:lnTo>
                    <a:lnTo>
                      <a:pt x="538" y="371"/>
                    </a:lnTo>
                    <a:lnTo>
                      <a:pt x="539" y="373"/>
                    </a:lnTo>
                    <a:lnTo>
                      <a:pt x="542" y="371"/>
                    </a:lnTo>
                    <a:lnTo>
                      <a:pt x="548" y="366"/>
                    </a:lnTo>
                    <a:lnTo>
                      <a:pt x="548" y="366"/>
                    </a:lnTo>
                    <a:lnTo>
                      <a:pt x="549" y="366"/>
                    </a:lnTo>
                    <a:lnTo>
                      <a:pt x="549" y="363"/>
                    </a:lnTo>
                    <a:lnTo>
                      <a:pt x="549" y="359"/>
                    </a:lnTo>
                    <a:lnTo>
                      <a:pt x="548" y="354"/>
                    </a:lnTo>
                    <a:lnTo>
                      <a:pt x="548" y="352"/>
                    </a:lnTo>
                    <a:lnTo>
                      <a:pt x="548" y="352"/>
                    </a:lnTo>
                    <a:lnTo>
                      <a:pt x="548" y="350"/>
                    </a:lnTo>
                    <a:lnTo>
                      <a:pt x="549" y="350"/>
                    </a:lnTo>
                    <a:lnTo>
                      <a:pt x="552" y="352"/>
                    </a:lnTo>
                    <a:lnTo>
                      <a:pt x="555" y="357"/>
                    </a:lnTo>
                    <a:lnTo>
                      <a:pt x="556" y="362"/>
                    </a:lnTo>
                    <a:lnTo>
                      <a:pt x="556" y="362"/>
                    </a:lnTo>
                    <a:lnTo>
                      <a:pt x="556" y="366"/>
                    </a:lnTo>
                    <a:lnTo>
                      <a:pt x="555" y="369"/>
                    </a:lnTo>
                    <a:lnTo>
                      <a:pt x="552" y="371"/>
                    </a:lnTo>
                    <a:lnTo>
                      <a:pt x="552" y="373"/>
                    </a:lnTo>
                    <a:lnTo>
                      <a:pt x="552" y="373"/>
                    </a:lnTo>
                    <a:lnTo>
                      <a:pt x="551" y="376"/>
                    </a:lnTo>
                    <a:lnTo>
                      <a:pt x="548" y="376"/>
                    </a:lnTo>
                    <a:lnTo>
                      <a:pt x="545" y="376"/>
                    </a:lnTo>
                    <a:lnTo>
                      <a:pt x="542" y="377"/>
                    </a:lnTo>
                    <a:lnTo>
                      <a:pt x="542" y="377"/>
                    </a:lnTo>
                    <a:lnTo>
                      <a:pt x="542" y="381"/>
                    </a:lnTo>
                    <a:lnTo>
                      <a:pt x="542" y="387"/>
                    </a:lnTo>
                    <a:lnTo>
                      <a:pt x="542" y="391"/>
                    </a:lnTo>
                    <a:lnTo>
                      <a:pt x="545" y="394"/>
                    </a:lnTo>
                    <a:lnTo>
                      <a:pt x="545" y="394"/>
                    </a:lnTo>
                    <a:lnTo>
                      <a:pt x="546" y="393"/>
                    </a:lnTo>
                    <a:lnTo>
                      <a:pt x="548" y="389"/>
                    </a:lnTo>
                    <a:lnTo>
                      <a:pt x="549" y="387"/>
                    </a:lnTo>
                    <a:lnTo>
                      <a:pt x="551" y="387"/>
                    </a:lnTo>
                    <a:lnTo>
                      <a:pt x="551" y="389"/>
                    </a:lnTo>
                    <a:lnTo>
                      <a:pt x="551" y="389"/>
                    </a:lnTo>
                    <a:lnTo>
                      <a:pt x="552" y="390"/>
                    </a:lnTo>
                    <a:lnTo>
                      <a:pt x="553" y="390"/>
                    </a:lnTo>
                    <a:lnTo>
                      <a:pt x="556" y="387"/>
                    </a:lnTo>
                    <a:lnTo>
                      <a:pt x="559" y="386"/>
                    </a:lnTo>
                    <a:lnTo>
                      <a:pt x="560" y="386"/>
                    </a:lnTo>
                    <a:lnTo>
                      <a:pt x="560" y="386"/>
                    </a:lnTo>
                    <a:lnTo>
                      <a:pt x="560" y="386"/>
                    </a:lnTo>
                    <a:lnTo>
                      <a:pt x="563" y="390"/>
                    </a:lnTo>
                    <a:lnTo>
                      <a:pt x="568" y="394"/>
                    </a:lnTo>
                    <a:lnTo>
                      <a:pt x="572" y="397"/>
                    </a:lnTo>
                    <a:lnTo>
                      <a:pt x="575" y="397"/>
                    </a:lnTo>
                    <a:lnTo>
                      <a:pt x="575" y="397"/>
                    </a:lnTo>
                    <a:lnTo>
                      <a:pt x="576" y="396"/>
                    </a:lnTo>
                    <a:lnTo>
                      <a:pt x="575" y="393"/>
                    </a:lnTo>
                    <a:lnTo>
                      <a:pt x="572" y="390"/>
                    </a:lnTo>
                    <a:lnTo>
                      <a:pt x="568" y="389"/>
                    </a:lnTo>
                    <a:lnTo>
                      <a:pt x="568" y="389"/>
                    </a:lnTo>
                    <a:lnTo>
                      <a:pt x="565" y="387"/>
                    </a:lnTo>
                    <a:lnTo>
                      <a:pt x="565" y="384"/>
                    </a:lnTo>
                    <a:lnTo>
                      <a:pt x="566" y="381"/>
                    </a:lnTo>
                    <a:lnTo>
                      <a:pt x="569" y="380"/>
                    </a:lnTo>
                    <a:lnTo>
                      <a:pt x="569" y="380"/>
                    </a:lnTo>
                    <a:lnTo>
                      <a:pt x="572" y="381"/>
                    </a:lnTo>
                    <a:lnTo>
                      <a:pt x="576" y="387"/>
                    </a:lnTo>
                    <a:lnTo>
                      <a:pt x="580" y="391"/>
                    </a:lnTo>
                    <a:lnTo>
                      <a:pt x="580" y="396"/>
                    </a:lnTo>
                    <a:lnTo>
                      <a:pt x="580" y="396"/>
                    </a:lnTo>
                    <a:lnTo>
                      <a:pt x="580" y="399"/>
                    </a:lnTo>
                    <a:lnTo>
                      <a:pt x="578" y="400"/>
                    </a:lnTo>
                    <a:lnTo>
                      <a:pt x="573" y="404"/>
                    </a:lnTo>
                    <a:lnTo>
                      <a:pt x="573" y="404"/>
                    </a:lnTo>
                    <a:lnTo>
                      <a:pt x="572" y="406"/>
                    </a:lnTo>
                    <a:lnTo>
                      <a:pt x="569" y="406"/>
                    </a:lnTo>
                    <a:lnTo>
                      <a:pt x="566" y="403"/>
                    </a:lnTo>
                    <a:lnTo>
                      <a:pt x="562" y="399"/>
                    </a:lnTo>
                    <a:lnTo>
                      <a:pt x="559" y="397"/>
                    </a:lnTo>
                    <a:lnTo>
                      <a:pt x="559" y="397"/>
                    </a:lnTo>
                    <a:lnTo>
                      <a:pt x="558" y="399"/>
                    </a:lnTo>
                    <a:lnTo>
                      <a:pt x="558" y="399"/>
                    </a:lnTo>
                    <a:lnTo>
                      <a:pt x="558" y="403"/>
                    </a:lnTo>
                    <a:lnTo>
                      <a:pt x="560" y="410"/>
                    </a:lnTo>
                    <a:lnTo>
                      <a:pt x="560" y="410"/>
                    </a:lnTo>
                    <a:lnTo>
                      <a:pt x="560" y="414"/>
                    </a:lnTo>
                    <a:lnTo>
                      <a:pt x="559" y="418"/>
                    </a:lnTo>
                    <a:lnTo>
                      <a:pt x="559" y="423"/>
                    </a:lnTo>
                    <a:lnTo>
                      <a:pt x="559" y="424"/>
                    </a:lnTo>
                    <a:lnTo>
                      <a:pt x="562" y="426"/>
                    </a:lnTo>
                    <a:lnTo>
                      <a:pt x="562" y="426"/>
                    </a:lnTo>
                    <a:lnTo>
                      <a:pt x="565" y="427"/>
                    </a:lnTo>
                    <a:lnTo>
                      <a:pt x="566" y="426"/>
                    </a:lnTo>
                    <a:lnTo>
                      <a:pt x="566" y="420"/>
                    </a:lnTo>
                    <a:lnTo>
                      <a:pt x="566" y="420"/>
                    </a:lnTo>
                    <a:lnTo>
                      <a:pt x="568" y="420"/>
                    </a:lnTo>
                    <a:lnTo>
                      <a:pt x="570" y="420"/>
                    </a:lnTo>
                    <a:lnTo>
                      <a:pt x="576" y="424"/>
                    </a:lnTo>
                    <a:lnTo>
                      <a:pt x="576" y="424"/>
                    </a:lnTo>
                    <a:lnTo>
                      <a:pt x="578" y="424"/>
                    </a:lnTo>
                    <a:lnTo>
                      <a:pt x="579" y="421"/>
                    </a:lnTo>
                    <a:lnTo>
                      <a:pt x="579" y="414"/>
                    </a:lnTo>
                    <a:lnTo>
                      <a:pt x="579" y="414"/>
                    </a:lnTo>
                    <a:lnTo>
                      <a:pt x="580" y="413"/>
                    </a:lnTo>
                    <a:lnTo>
                      <a:pt x="582" y="413"/>
                    </a:lnTo>
                    <a:lnTo>
                      <a:pt x="585" y="416"/>
                    </a:lnTo>
                    <a:lnTo>
                      <a:pt x="588" y="417"/>
                    </a:lnTo>
                    <a:lnTo>
                      <a:pt x="588" y="417"/>
                    </a:lnTo>
                    <a:lnTo>
                      <a:pt x="589" y="418"/>
                    </a:lnTo>
                    <a:lnTo>
                      <a:pt x="590" y="417"/>
                    </a:lnTo>
                    <a:lnTo>
                      <a:pt x="592" y="414"/>
                    </a:lnTo>
                    <a:lnTo>
                      <a:pt x="595" y="414"/>
                    </a:lnTo>
                    <a:lnTo>
                      <a:pt x="595" y="414"/>
                    </a:lnTo>
                    <a:lnTo>
                      <a:pt x="597" y="416"/>
                    </a:lnTo>
                    <a:lnTo>
                      <a:pt x="597" y="418"/>
                    </a:lnTo>
                    <a:lnTo>
                      <a:pt x="596" y="426"/>
                    </a:lnTo>
                    <a:lnTo>
                      <a:pt x="596" y="426"/>
                    </a:lnTo>
                    <a:lnTo>
                      <a:pt x="596" y="426"/>
                    </a:lnTo>
                    <a:lnTo>
                      <a:pt x="597" y="427"/>
                    </a:lnTo>
                    <a:lnTo>
                      <a:pt x="600" y="426"/>
                    </a:lnTo>
                    <a:lnTo>
                      <a:pt x="602" y="424"/>
                    </a:lnTo>
                    <a:lnTo>
                      <a:pt x="603" y="426"/>
                    </a:lnTo>
                    <a:lnTo>
                      <a:pt x="603" y="426"/>
                    </a:lnTo>
                    <a:lnTo>
                      <a:pt x="603" y="426"/>
                    </a:lnTo>
                    <a:lnTo>
                      <a:pt x="603" y="428"/>
                    </a:lnTo>
                    <a:lnTo>
                      <a:pt x="603" y="428"/>
                    </a:lnTo>
                    <a:lnTo>
                      <a:pt x="615" y="420"/>
                    </a:lnTo>
                    <a:lnTo>
                      <a:pt x="615" y="420"/>
                    </a:lnTo>
                    <a:lnTo>
                      <a:pt x="616" y="418"/>
                    </a:lnTo>
                    <a:lnTo>
                      <a:pt x="616" y="417"/>
                    </a:lnTo>
                    <a:lnTo>
                      <a:pt x="615" y="413"/>
                    </a:lnTo>
                    <a:lnTo>
                      <a:pt x="612" y="410"/>
                    </a:lnTo>
                    <a:lnTo>
                      <a:pt x="610" y="407"/>
                    </a:lnTo>
                    <a:lnTo>
                      <a:pt x="610" y="406"/>
                    </a:lnTo>
                    <a:lnTo>
                      <a:pt x="610" y="406"/>
                    </a:lnTo>
                    <a:close/>
                    <a:moveTo>
                      <a:pt x="10" y="455"/>
                    </a:moveTo>
                    <a:lnTo>
                      <a:pt x="10" y="455"/>
                    </a:lnTo>
                    <a:lnTo>
                      <a:pt x="16" y="453"/>
                    </a:lnTo>
                    <a:lnTo>
                      <a:pt x="20" y="450"/>
                    </a:lnTo>
                    <a:lnTo>
                      <a:pt x="20" y="447"/>
                    </a:lnTo>
                    <a:lnTo>
                      <a:pt x="18" y="444"/>
                    </a:lnTo>
                    <a:lnTo>
                      <a:pt x="18" y="444"/>
                    </a:lnTo>
                    <a:lnTo>
                      <a:pt x="17" y="444"/>
                    </a:lnTo>
                    <a:lnTo>
                      <a:pt x="16" y="444"/>
                    </a:lnTo>
                    <a:lnTo>
                      <a:pt x="11" y="450"/>
                    </a:lnTo>
                    <a:lnTo>
                      <a:pt x="9" y="454"/>
                    </a:lnTo>
                    <a:lnTo>
                      <a:pt x="9" y="455"/>
                    </a:lnTo>
                    <a:lnTo>
                      <a:pt x="10" y="455"/>
                    </a:lnTo>
                    <a:lnTo>
                      <a:pt x="10" y="455"/>
                    </a:lnTo>
                    <a:close/>
                    <a:moveTo>
                      <a:pt x="71" y="424"/>
                    </a:moveTo>
                    <a:lnTo>
                      <a:pt x="71" y="424"/>
                    </a:lnTo>
                    <a:lnTo>
                      <a:pt x="67" y="424"/>
                    </a:lnTo>
                    <a:lnTo>
                      <a:pt x="63" y="424"/>
                    </a:lnTo>
                    <a:lnTo>
                      <a:pt x="54" y="428"/>
                    </a:lnTo>
                    <a:lnTo>
                      <a:pt x="48" y="433"/>
                    </a:lnTo>
                    <a:lnTo>
                      <a:pt x="48" y="434"/>
                    </a:lnTo>
                    <a:lnTo>
                      <a:pt x="50" y="434"/>
                    </a:lnTo>
                    <a:lnTo>
                      <a:pt x="50" y="434"/>
                    </a:lnTo>
                    <a:lnTo>
                      <a:pt x="53" y="434"/>
                    </a:lnTo>
                    <a:lnTo>
                      <a:pt x="55" y="433"/>
                    </a:lnTo>
                    <a:lnTo>
                      <a:pt x="58" y="431"/>
                    </a:lnTo>
                    <a:lnTo>
                      <a:pt x="63" y="430"/>
                    </a:lnTo>
                    <a:lnTo>
                      <a:pt x="63" y="430"/>
                    </a:lnTo>
                    <a:lnTo>
                      <a:pt x="67" y="430"/>
                    </a:lnTo>
                    <a:lnTo>
                      <a:pt x="71" y="428"/>
                    </a:lnTo>
                    <a:lnTo>
                      <a:pt x="74" y="426"/>
                    </a:lnTo>
                    <a:lnTo>
                      <a:pt x="73" y="426"/>
                    </a:lnTo>
                    <a:lnTo>
                      <a:pt x="71" y="424"/>
                    </a:lnTo>
                    <a:lnTo>
                      <a:pt x="71" y="424"/>
                    </a:lnTo>
                    <a:close/>
                    <a:moveTo>
                      <a:pt x="252" y="340"/>
                    </a:moveTo>
                    <a:lnTo>
                      <a:pt x="252" y="340"/>
                    </a:lnTo>
                    <a:lnTo>
                      <a:pt x="250" y="339"/>
                    </a:lnTo>
                    <a:lnTo>
                      <a:pt x="248" y="339"/>
                    </a:lnTo>
                    <a:lnTo>
                      <a:pt x="243" y="340"/>
                    </a:lnTo>
                    <a:lnTo>
                      <a:pt x="239" y="344"/>
                    </a:lnTo>
                    <a:lnTo>
                      <a:pt x="239" y="344"/>
                    </a:lnTo>
                    <a:lnTo>
                      <a:pt x="229" y="354"/>
                    </a:lnTo>
                    <a:lnTo>
                      <a:pt x="226" y="359"/>
                    </a:lnTo>
                    <a:lnTo>
                      <a:pt x="225" y="362"/>
                    </a:lnTo>
                    <a:lnTo>
                      <a:pt x="225" y="362"/>
                    </a:lnTo>
                    <a:lnTo>
                      <a:pt x="223" y="363"/>
                    </a:lnTo>
                    <a:lnTo>
                      <a:pt x="222" y="363"/>
                    </a:lnTo>
                    <a:lnTo>
                      <a:pt x="219" y="363"/>
                    </a:lnTo>
                    <a:lnTo>
                      <a:pt x="216" y="363"/>
                    </a:lnTo>
                    <a:lnTo>
                      <a:pt x="213" y="364"/>
                    </a:lnTo>
                    <a:lnTo>
                      <a:pt x="213" y="366"/>
                    </a:lnTo>
                    <a:lnTo>
                      <a:pt x="213" y="366"/>
                    </a:lnTo>
                    <a:lnTo>
                      <a:pt x="212" y="370"/>
                    </a:lnTo>
                    <a:lnTo>
                      <a:pt x="213" y="376"/>
                    </a:lnTo>
                    <a:lnTo>
                      <a:pt x="216" y="379"/>
                    </a:lnTo>
                    <a:lnTo>
                      <a:pt x="218" y="379"/>
                    </a:lnTo>
                    <a:lnTo>
                      <a:pt x="219" y="379"/>
                    </a:lnTo>
                    <a:lnTo>
                      <a:pt x="219" y="379"/>
                    </a:lnTo>
                    <a:lnTo>
                      <a:pt x="222" y="377"/>
                    </a:lnTo>
                    <a:lnTo>
                      <a:pt x="225" y="377"/>
                    </a:lnTo>
                    <a:lnTo>
                      <a:pt x="228" y="379"/>
                    </a:lnTo>
                    <a:lnTo>
                      <a:pt x="228" y="379"/>
                    </a:lnTo>
                    <a:lnTo>
                      <a:pt x="232" y="377"/>
                    </a:lnTo>
                    <a:lnTo>
                      <a:pt x="239" y="373"/>
                    </a:lnTo>
                    <a:lnTo>
                      <a:pt x="245" y="367"/>
                    </a:lnTo>
                    <a:lnTo>
                      <a:pt x="249" y="363"/>
                    </a:lnTo>
                    <a:lnTo>
                      <a:pt x="249" y="363"/>
                    </a:lnTo>
                    <a:lnTo>
                      <a:pt x="250" y="362"/>
                    </a:lnTo>
                    <a:lnTo>
                      <a:pt x="249" y="360"/>
                    </a:lnTo>
                    <a:lnTo>
                      <a:pt x="248" y="357"/>
                    </a:lnTo>
                    <a:lnTo>
                      <a:pt x="245" y="356"/>
                    </a:lnTo>
                    <a:lnTo>
                      <a:pt x="243" y="353"/>
                    </a:lnTo>
                    <a:lnTo>
                      <a:pt x="243" y="353"/>
                    </a:lnTo>
                    <a:lnTo>
                      <a:pt x="245" y="352"/>
                    </a:lnTo>
                    <a:lnTo>
                      <a:pt x="248" y="350"/>
                    </a:lnTo>
                    <a:lnTo>
                      <a:pt x="255" y="349"/>
                    </a:lnTo>
                    <a:lnTo>
                      <a:pt x="255" y="349"/>
                    </a:lnTo>
                    <a:lnTo>
                      <a:pt x="256" y="347"/>
                    </a:lnTo>
                    <a:lnTo>
                      <a:pt x="255" y="344"/>
                    </a:lnTo>
                    <a:lnTo>
                      <a:pt x="252" y="343"/>
                    </a:lnTo>
                    <a:lnTo>
                      <a:pt x="252" y="340"/>
                    </a:lnTo>
                    <a:lnTo>
                      <a:pt x="252" y="340"/>
                    </a:lnTo>
                    <a:close/>
                    <a:moveTo>
                      <a:pt x="24" y="299"/>
                    </a:moveTo>
                    <a:lnTo>
                      <a:pt x="24" y="299"/>
                    </a:lnTo>
                    <a:lnTo>
                      <a:pt x="24" y="298"/>
                    </a:lnTo>
                    <a:lnTo>
                      <a:pt x="21" y="296"/>
                    </a:lnTo>
                    <a:lnTo>
                      <a:pt x="17" y="298"/>
                    </a:lnTo>
                    <a:lnTo>
                      <a:pt x="11" y="299"/>
                    </a:lnTo>
                    <a:lnTo>
                      <a:pt x="10" y="302"/>
                    </a:lnTo>
                    <a:lnTo>
                      <a:pt x="10" y="303"/>
                    </a:lnTo>
                    <a:lnTo>
                      <a:pt x="10" y="303"/>
                    </a:lnTo>
                    <a:lnTo>
                      <a:pt x="11" y="306"/>
                    </a:lnTo>
                    <a:lnTo>
                      <a:pt x="14" y="307"/>
                    </a:lnTo>
                    <a:lnTo>
                      <a:pt x="20" y="309"/>
                    </a:lnTo>
                    <a:lnTo>
                      <a:pt x="27" y="310"/>
                    </a:lnTo>
                    <a:lnTo>
                      <a:pt x="33" y="310"/>
                    </a:lnTo>
                    <a:lnTo>
                      <a:pt x="33" y="310"/>
                    </a:lnTo>
                    <a:lnTo>
                      <a:pt x="36" y="309"/>
                    </a:lnTo>
                    <a:lnTo>
                      <a:pt x="38" y="306"/>
                    </a:lnTo>
                    <a:lnTo>
                      <a:pt x="38" y="302"/>
                    </a:lnTo>
                    <a:lnTo>
                      <a:pt x="36" y="299"/>
                    </a:lnTo>
                    <a:lnTo>
                      <a:pt x="36" y="299"/>
                    </a:lnTo>
                    <a:lnTo>
                      <a:pt x="34" y="299"/>
                    </a:lnTo>
                    <a:lnTo>
                      <a:pt x="33" y="299"/>
                    </a:lnTo>
                    <a:lnTo>
                      <a:pt x="30" y="299"/>
                    </a:lnTo>
                    <a:lnTo>
                      <a:pt x="26" y="300"/>
                    </a:lnTo>
                    <a:lnTo>
                      <a:pt x="26" y="300"/>
                    </a:lnTo>
                    <a:lnTo>
                      <a:pt x="24" y="299"/>
                    </a:lnTo>
                    <a:lnTo>
                      <a:pt x="24" y="299"/>
                    </a:lnTo>
                    <a:close/>
                    <a:moveTo>
                      <a:pt x="198" y="1084"/>
                    </a:moveTo>
                    <a:lnTo>
                      <a:pt x="198" y="1084"/>
                    </a:lnTo>
                    <a:lnTo>
                      <a:pt x="195" y="1086"/>
                    </a:lnTo>
                    <a:lnTo>
                      <a:pt x="193" y="1087"/>
                    </a:lnTo>
                    <a:lnTo>
                      <a:pt x="193" y="1091"/>
                    </a:lnTo>
                    <a:lnTo>
                      <a:pt x="193" y="1096"/>
                    </a:lnTo>
                    <a:lnTo>
                      <a:pt x="195" y="1101"/>
                    </a:lnTo>
                    <a:lnTo>
                      <a:pt x="196" y="1104"/>
                    </a:lnTo>
                    <a:lnTo>
                      <a:pt x="199" y="1103"/>
                    </a:lnTo>
                    <a:lnTo>
                      <a:pt x="199" y="1103"/>
                    </a:lnTo>
                    <a:lnTo>
                      <a:pt x="205" y="1100"/>
                    </a:lnTo>
                    <a:lnTo>
                      <a:pt x="208" y="1098"/>
                    </a:lnTo>
                    <a:lnTo>
                      <a:pt x="211" y="1097"/>
                    </a:lnTo>
                    <a:lnTo>
                      <a:pt x="211" y="1097"/>
                    </a:lnTo>
                    <a:lnTo>
                      <a:pt x="211" y="1093"/>
                    </a:lnTo>
                    <a:lnTo>
                      <a:pt x="208" y="1088"/>
                    </a:lnTo>
                    <a:lnTo>
                      <a:pt x="203" y="1084"/>
                    </a:lnTo>
                    <a:lnTo>
                      <a:pt x="201" y="1084"/>
                    </a:lnTo>
                    <a:lnTo>
                      <a:pt x="198" y="1084"/>
                    </a:lnTo>
                    <a:lnTo>
                      <a:pt x="198" y="1084"/>
                    </a:lnTo>
                    <a:close/>
                    <a:moveTo>
                      <a:pt x="186" y="1070"/>
                    </a:moveTo>
                    <a:lnTo>
                      <a:pt x="186" y="1070"/>
                    </a:lnTo>
                    <a:lnTo>
                      <a:pt x="185" y="1071"/>
                    </a:lnTo>
                    <a:lnTo>
                      <a:pt x="184" y="1071"/>
                    </a:lnTo>
                    <a:lnTo>
                      <a:pt x="184" y="1076"/>
                    </a:lnTo>
                    <a:lnTo>
                      <a:pt x="185" y="1079"/>
                    </a:lnTo>
                    <a:lnTo>
                      <a:pt x="186" y="1079"/>
                    </a:lnTo>
                    <a:lnTo>
                      <a:pt x="188" y="1079"/>
                    </a:lnTo>
                    <a:lnTo>
                      <a:pt x="188" y="1079"/>
                    </a:lnTo>
                    <a:lnTo>
                      <a:pt x="191" y="1074"/>
                    </a:lnTo>
                    <a:lnTo>
                      <a:pt x="191" y="1073"/>
                    </a:lnTo>
                    <a:lnTo>
                      <a:pt x="189" y="1070"/>
                    </a:lnTo>
                    <a:lnTo>
                      <a:pt x="186" y="1070"/>
                    </a:lnTo>
                    <a:lnTo>
                      <a:pt x="186" y="1070"/>
                    </a:lnTo>
                    <a:close/>
                    <a:moveTo>
                      <a:pt x="131" y="1051"/>
                    </a:moveTo>
                    <a:lnTo>
                      <a:pt x="131" y="1051"/>
                    </a:lnTo>
                    <a:lnTo>
                      <a:pt x="134" y="1054"/>
                    </a:lnTo>
                    <a:lnTo>
                      <a:pt x="137" y="1056"/>
                    </a:lnTo>
                    <a:lnTo>
                      <a:pt x="139" y="1054"/>
                    </a:lnTo>
                    <a:lnTo>
                      <a:pt x="141" y="1051"/>
                    </a:lnTo>
                    <a:lnTo>
                      <a:pt x="141" y="1051"/>
                    </a:lnTo>
                    <a:lnTo>
                      <a:pt x="139" y="1050"/>
                    </a:lnTo>
                    <a:lnTo>
                      <a:pt x="138" y="1049"/>
                    </a:lnTo>
                    <a:lnTo>
                      <a:pt x="134" y="1049"/>
                    </a:lnTo>
                    <a:lnTo>
                      <a:pt x="131" y="1049"/>
                    </a:lnTo>
                    <a:lnTo>
                      <a:pt x="129" y="1050"/>
                    </a:lnTo>
                    <a:lnTo>
                      <a:pt x="131" y="1051"/>
                    </a:lnTo>
                    <a:lnTo>
                      <a:pt x="131" y="1051"/>
                    </a:lnTo>
                    <a:close/>
                    <a:moveTo>
                      <a:pt x="156" y="1063"/>
                    </a:moveTo>
                    <a:lnTo>
                      <a:pt x="156" y="1063"/>
                    </a:lnTo>
                    <a:lnTo>
                      <a:pt x="158" y="1066"/>
                    </a:lnTo>
                    <a:lnTo>
                      <a:pt x="161" y="1067"/>
                    </a:lnTo>
                    <a:lnTo>
                      <a:pt x="164" y="1067"/>
                    </a:lnTo>
                    <a:lnTo>
                      <a:pt x="166" y="1064"/>
                    </a:lnTo>
                    <a:lnTo>
                      <a:pt x="166" y="1064"/>
                    </a:lnTo>
                    <a:lnTo>
                      <a:pt x="166" y="1063"/>
                    </a:lnTo>
                    <a:lnTo>
                      <a:pt x="165" y="1061"/>
                    </a:lnTo>
                    <a:lnTo>
                      <a:pt x="161" y="1060"/>
                    </a:lnTo>
                    <a:lnTo>
                      <a:pt x="156" y="1060"/>
                    </a:lnTo>
                    <a:lnTo>
                      <a:pt x="155" y="1061"/>
                    </a:lnTo>
                    <a:lnTo>
                      <a:pt x="156" y="1063"/>
                    </a:lnTo>
                    <a:lnTo>
                      <a:pt x="156" y="1063"/>
                    </a:lnTo>
                    <a:close/>
                    <a:moveTo>
                      <a:pt x="1616" y="586"/>
                    </a:moveTo>
                    <a:lnTo>
                      <a:pt x="1616" y="586"/>
                    </a:lnTo>
                    <a:lnTo>
                      <a:pt x="1615" y="585"/>
                    </a:lnTo>
                    <a:lnTo>
                      <a:pt x="1613" y="585"/>
                    </a:lnTo>
                    <a:lnTo>
                      <a:pt x="1608" y="583"/>
                    </a:lnTo>
                    <a:lnTo>
                      <a:pt x="1600" y="583"/>
                    </a:lnTo>
                    <a:lnTo>
                      <a:pt x="1596" y="582"/>
                    </a:lnTo>
                    <a:lnTo>
                      <a:pt x="1595" y="581"/>
                    </a:lnTo>
                    <a:lnTo>
                      <a:pt x="1595" y="581"/>
                    </a:lnTo>
                    <a:lnTo>
                      <a:pt x="1592" y="579"/>
                    </a:lnTo>
                    <a:lnTo>
                      <a:pt x="1589" y="582"/>
                    </a:lnTo>
                    <a:lnTo>
                      <a:pt x="1582" y="589"/>
                    </a:lnTo>
                    <a:lnTo>
                      <a:pt x="1576" y="599"/>
                    </a:lnTo>
                    <a:lnTo>
                      <a:pt x="1573" y="609"/>
                    </a:lnTo>
                    <a:lnTo>
                      <a:pt x="1573" y="609"/>
                    </a:lnTo>
                    <a:lnTo>
                      <a:pt x="1572" y="613"/>
                    </a:lnTo>
                    <a:lnTo>
                      <a:pt x="1569" y="616"/>
                    </a:lnTo>
                    <a:lnTo>
                      <a:pt x="1563" y="623"/>
                    </a:lnTo>
                    <a:lnTo>
                      <a:pt x="1553" y="630"/>
                    </a:lnTo>
                    <a:lnTo>
                      <a:pt x="1553" y="630"/>
                    </a:lnTo>
                    <a:lnTo>
                      <a:pt x="1499" y="630"/>
                    </a:lnTo>
                    <a:lnTo>
                      <a:pt x="1499" y="630"/>
                    </a:lnTo>
                    <a:lnTo>
                      <a:pt x="1495" y="632"/>
                    </a:lnTo>
                    <a:lnTo>
                      <a:pt x="1489" y="636"/>
                    </a:lnTo>
                    <a:lnTo>
                      <a:pt x="1477" y="646"/>
                    </a:lnTo>
                    <a:lnTo>
                      <a:pt x="1477" y="646"/>
                    </a:lnTo>
                    <a:lnTo>
                      <a:pt x="1478" y="647"/>
                    </a:lnTo>
                    <a:lnTo>
                      <a:pt x="1478" y="647"/>
                    </a:lnTo>
                    <a:lnTo>
                      <a:pt x="1478" y="650"/>
                    </a:lnTo>
                    <a:lnTo>
                      <a:pt x="1478" y="653"/>
                    </a:lnTo>
                    <a:lnTo>
                      <a:pt x="1475" y="656"/>
                    </a:lnTo>
                    <a:lnTo>
                      <a:pt x="1471" y="659"/>
                    </a:lnTo>
                    <a:lnTo>
                      <a:pt x="1460" y="662"/>
                    </a:lnTo>
                    <a:lnTo>
                      <a:pt x="1447" y="663"/>
                    </a:lnTo>
                    <a:lnTo>
                      <a:pt x="1447" y="663"/>
                    </a:lnTo>
                    <a:lnTo>
                      <a:pt x="1434" y="665"/>
                    </a:lnTo>
                    <a:lnTo>
                      <a:pt x="1434" y="665"/>
                    </a:lnTo>
                    <a:lnTo>
                      <a:pt x="1435" y="670"/>
                    </a:lnTo>
                    <a:lnTo>
                      <a:pt x="1435" y="670"/>
                    </a:lnTo>
                    <a:lnTo>
                      <a:pt x="1434" y="673"/>
                    </a:lnTo>
                    <a:lnTo>
                      <a:pt x="1430" y="674"/>
                    </a:lnTo>
                    <a:lnTo>
                      <a:pt x="1430" y="674"/>
                    </a:lnTo>
                    <a:lnTo>
                      <a:pt x="1425" y="680"/>
                    </a:lnTo>
                    <a:lnTo>
                      <a:pt x="1415" y="686"/>
                    </a:lnTo>
                    <a:lnTo>
                      <a:pt x="1393" y="697"/>
                    </a:lnTo>
                    <a:lnTo>
                      <a:pt x="1393" y="697"/>
                    </a:lnTo>
                    <a:lnTo>
                      <a:pt x="1388" y="699"/>
                    </a:lnTo>
                    <a:lnTo>
                      <a:pt x="1383" y="700"/>
                    </a:lnTo>
                    <a:lnTo>
                      <a:pt x="1377" y="702"/>
                    </a:lnTo>
                    <a:lnTo>
                      <a:pt x="1373" y="700"/>
                    </a:lnTo>
                    <a:lnTo>
                      <a:pt x="1367" y="699"/>
                    </a:lnTo>
                    <a:lnTo>
                      <a:pt x="1364" y="697"/>
                    </a:lnTo>
                    <a:lnTo>
                      <a:pt x="1361" y="693"/>
                    </a:lnTo>
                    <a:lnTo>
                      <a:pt x="1361" y="690"/>
                    </a:lnTo>
                    <a:lnTo>
                      <a:pt x="1361" y="690"/>
                    </a:lnTo>
                    <a:lnTo>
                      <a:pt x="1361" y="687"/>
                    </a:lnTo>
                    <a:lnTo>
                      <a:pt x="1363" y="684"/>
                    </a:lnTo>
                    <a:lnTo>
                      <a:pt x="1364" y="683"/>
                    </a:lnTo>
                    <a:lnTo>
                      <a:pt x="1367" y="683"/>
                    </a:lnTo>
                    <a:lnTo>
                      <a:pt x="1370" y="683"/>
                    </a:lnTo>
                    <a:lnTo>
                      <a:pt x="1373" y="686"/>
                    </a:lnTo>
                    <a:lnTo>
                      <a:pt x="1373" y="686"/>
                    </a:lnTo>
                    <a:lnTo>
                      <a:pt x="1374" y="687"/>
                    </a:lnTo>
                    <a:lnTo>
                      <a:pt x="1376" y="687"/>
                    </a:lnTo>
                    <a:lnTo>
                      <a:pt x="1380" y="684"/>
                    </a:lnTo>
                    <a:lnTo>
                      <a:pt x="1380" y="684"/>
                    </a:lnTo>
                    <a:lnTo>
                      <a:pt x="1378" y="682"/>
                    </a:lnTo>
                    <a:lnTo>
                      <a:pt x="1377" y="679"/>
                    </a:lnTo>
                    <a:lnTo>
                      <a:pt x="1377" y="672"/>
                    </a:lnTo>
                    <a:lnTo>
                      <a:pt x="1377" y="672"/>
                    </a:lnTo>
                    <a:lnTo>
                      <a:pt x="1376" y="670"/>
                    </a:lnTo>
                    <a:lnTo>
                      <a:pt x="1376" y="669"/>
                    </a:lnTo>
                    <a:lnTo>
                      <a:pt x="1376" y="662"/>
                    </a:lnTo>
                    <a:lnTo>
                      <a:pt x="1376" y="656"/>
                    </a:lnTo>
                    <a:lnTo>
                      <a:pt x="1374" y="653"/>
                    </a:lnTo>
                    <a:lnTo>
                      <a:pt x="1371" y="652"/>
                    </a:lnTo>
                    <a:lnTo>
                      <a:pt x="1371" y="652"/>
                    </a:lnTo>
                    <a:lnTo>
                      <a:pt x="1369" y="652"/>
                    </a:lnTo>
                    <a:lnTo>
                      <a:pt x="1364" y="652"/>
                    </a:lnTo>
                    <a:lnTo>
                      <a:pt x="1359" y="656"/>
                    </a:lnTo>
                    <a:lnTo>
                      <a:pt x="1354" y="657"/>
                    </a:lnTo>
                    <a:lnTo>
                      <a:pt x="1354" y="657"/>
                    </a:lnTo>
                    <a:lnTo>
                      <a:pt x="1354" y="655"/>
                    </a:lnTo>
                    <a:lnTo>
                      <a:pt x="1354" y="655"/>
                    </a:lnTo>
                    <a:lnTo>
                      <a:pt x="1357" y="647"/>
                    </a:lnTo>
                    <a:lnTo>
                      <a:pt x="1361" y="640"/>
                    </a:lnTo>
                    <a:lnTo>
                      <a:pt x="1363" y="638"/>
                    </a:lnTo>
                    <a:lnTo>
                      <a:pt x="1363" y="633"/>
                    </a:lnTo>
                    <a:lnTo>
                      <a:pt x="1363" y="629"/>
                    </a:lnTo>
                    <a:lnTo>
                      <a:pt x="1360" y="625"/>
                    </a:lnTo>
                    <a:lnTo>
                      <a:pt x="1360" y="625"/>
                    </a:lnTo>
                    <a:lnTo>
                      <a:pt x="1357" y="622"/>
                    </a:lnTo>
                    <a:lnTo>
                      <a:pt x="1354" y="619"/>
                    </a:lnTo>
                    <a:lnTo>
                      <a:pt x="1350" y="616"/>
                    </a:lnTo>
                    <a:lnTo>
                      <a:pt x="1346" y="616"/>
                    </a:lnTo>
                    <a:lnTo>
                      <a:pt x="1343" y="616"/>
                    </a:lnTo>
                    <a:lnTo>
                      <a:pt x="1340" y="618"/>
                    </a:lnTo>
                    <a:lnTo>
                      <a:pt x="1337" y="619"/>
                    </a:lnTo>
                    <a:lnTo>
                      <a:pt x="1336" y="622"/>
                    </a:lnTo>
                    <a:lnTo>
                      <a:pt x="1336" y="622"/>
                    </a:lnTo>
                    <a:lnTo>
                      <a:pt x="1334" y="625"/>
                    </a:lnTo>
                    <a:lnTo>
                      <a:pt x="1333" y="628"/>
                    </a:lnTo>
                    <a:lnTo>
                      <a:pt x="1327" y="629"/>
                    </a:lnTo>
                    <a:lnTo>
                      <a:pt x="1323" y="630"/>
                    </a:lnTo>
                    <a:lnTo>
                      <a:pt x="1320" y="632"/>
                    </a:lnTo>
                    <a:lnTo>
                      <a:pt x="1319" y="635"/>
                    </a:lnTo>
                    <a:lnTo>
                      <a:pt x="1319" y="635"/>
                    </a:lnTo>
                    <a:lnTo>
                      <a:pt x="1317" y="642"/>
                    </a:lnTo>
                    <a:lnTo>
                      <a:pt x="1314" y="650"/>
                    </a:lnTo>
                    <a:lnTo>
                      <a:pt x="1314" y="659"/>
                    </a:lnTo>
                    <a:lnTo>
                      <a:pt x="1314" y="669"/>
                    </a:lnTo>
                    <a:lnTo>
                      <a:pt x="1314" y="669"/>
                    </a:lnTo>
                    <a:lnTo>
                      <a:pt x="1316" y="676"/>
                    </a:lnTo>
                    <a:lnTo>
                      <a:pt x="1314" y="682"/>
                    </a:lnTo>
                    <a:lnTo>
                      <a:pt x="1310" y="687"/>
                    </a:lnTo>
                    <a:lnTo>
                      <a:pt x="1303" y="692"/>
                    </a:lnTo>
                    <a:lnTo>
                      <a:pt x="1303" y="692"/>
                    </a:lnTo>
                    <a:lnTo>
                      <a:pt x="1300" y="693"/>
                    </a:lnTo>
                    <a:lnTo>
                      <a:pt x="1296" y="693"/>
                    </a:lnTo>
                    <a:lnTo>
                      <a:pt x="1295" y="690"/>
                    </a:lnTo>
                    <a:lnTo>
                      <a:pt x="1292" y="687"/>
                    </a:lnTo>
                    <a:lnTo>
                      <a:pt x="1290" y="682"/>
                    </a:lnTo>
                    <a:lnTo>
                      <a:pt x="1290" y="676"/>
                    </a:lnTo>
                    <a:lnTo>
                      <a:pt x="1292" y="662"/>
                    </a:lnTo>
                    <a:lnTo>
                      <a:pt x="1292" y="662"/>
                    </a:lnTo>
                    <a:lnTo>
                      <a:pt x="1295" y="652"/>
                    </a:lnTo>
                    <a:lnTo>
                      <a:pt x="1297" y="642"/>
                    </a:lnTo>
                    <a:lnTo>
                      <a:pt x="1297" y="636"/>
                    </a:lnTo>
                    <a:lnTo>
                      <a:pt x="1297" y="635"/>
                    </a:lnTo>
                    <a:lnTo>
                      <a:pt x="1295" y="633"/>
                    </a:lnTo>
                    <a:lnTo>
                      <a:pt x="1295" y="633"/>
                    </a:lnTo>
                    <a:lnTo>
                      <a:pt x="1293" y="633"/>
                    </a:lnTo>
                    <a:lnTo>
                      <a:pt x="1293" y="632"/>
                    </a:lnTo>
                    <a:lnTo>
                      <a:pt x="1299" y="625"/>
                    </a:lnTo>
                    <a:lnTo>
                      <a:pt x="1309" y="618"/>
                    </a:lnTo>
                    <a:lnTo>
                      <a:pt x="1313" y="615"/>
                    </a:lnTo>
                    <a:lnTo>
                      <a:pt x="1319" y="613"/>
                    </a:lnTo>
                    <a:lnTo>
                      <a:pt x="1319" y="613"/>
                    </a:lnTo>
                    <a:lnTo>
                      <a:pt x="1330" y="612"/>
                    </a:lnTo>
                    <a:lnTo>
                      <a:pt x="1341" y="610"/>
                    </a:lnTo>
                    <a:lnTo>
                      <a:pt x="1350" y="609"/>
                    </a:lnTo>
                    <a:lnTo>
                      <a:pt x="1351" y="608"/>
                    </a:lnTo>
                    <a:lnTo>
                      <a:pt x="1353" y="606"/>
                    </a:lnTo>
                    <a:lnTo>
                      <a:pt x="1353" y="606"/>
                    </a:lnTo>
                    <a:lnTo>
                      <a:pt x="1353" y="606"/>
                    </a:lnTo>
                    <a:lnTo>
                      <a:pt x="1354" y="605"/>
                    </a:lnTo>
                    <a:lnTo>
                      <a:pt x="1354" y="605"/>
                    </a:lnTo>
                    <a:lnTo>
                      <a:pt x="1346" y="599"/>
                    </a:lnTo>
                    <a:lnTo>
                      <a:pt x="1346" y="599"/>
                    </a:lnTo>
                    <a:lnTo>
                      <a:pt x="1343" y="601"/>
                    </a:lnTo>
                    <a:lnTo>
                      <a:pt x="1343" y="601"/>
                    </a:lnTo>
                    <a:lnTo>
                      <a:pt x="1341" y="602"/>
                    </a:lnTo>
                    <a:lnTo>
                      <a:pt x="1340" y="602"/>
                    </a:lnTo>
                    <a:lnTo>
                      <a:pt x="1337" y="599"/>
                    </a:lnTo>
                    <a:lnTo>
                      <a:pt x="1334" y="596"/>
                    </a:lnTo>
                    <a:lnTo>
                      <a:pt x="1332" y="595"/>
                    </a:lnTo>
                    <a:lnTo>
                      <a:pt x="1329" y="595"/>
                    </a:lnTo>
                    <a:lnTo>
                      <a:pt x="1329" y="595"/>
                    </a:lnTo>
                    <a:lnTo>
                      <a:pt x="1320" y="596"/>
                    </a:lnTo>
                    <a:lnTo>
                      <a:pt x="1313" y="599"/>
                    </a:lnTo>
                    <a:lnTo>
                      <a:pt x="1306" y="602"/>
                    </a:lnTo>
                    <a:lnTo>
                      <a:pt x="1302" y="602"/>
                    </a:lnTo>
                    <a:lnTo>
                      <a:pt x="1299" y="601"/>
                    </a:lnTo>
                    <a:lnTo>
                      <a:pt x="1299" y="601"/>
                    </a:lnTo>
                    <a:lnTo>
                      <a:pt x="1295" y="598"/>
                    </a:lnTo>
                    <a:lnTo>
                      <a:pt x="1292" y="593"/>
                    </a:lnTo>
                    <a:lnTo>
                      <a:pt x="1290" y="592"/>
                    </a:lnTo>
                    <a:lnTo>
                      <a:pt x="1286" y="591"/>
                    </a:lnTo>
                    <a:lnTo>
                      <a:pt x="1286" y="591"/>
                    </a:lnTo>
                    <a:lnTo>
                      <a:pt x="1285" y="589"/>
                    </a:lnTo>
                    <a:lnTo>
                      <a:pt x="1285" y="588"/>
                    </a:lnTo>
                    <a:lnTo>
                      <a:pt x="1285" y="583"/>
                    </a:lnTo>
                    <a:lnTo>
                      <a:pt x="1286" y="581"/>
                    </a:lnTo>
                    <a:lnTo>
                      <a:pt x="1285" y="581"/>
                    </a:lnTo>
                    <a:lnTo>
                      <a:pt x="1280" y="582"/>
                    </a:lnTo>
                    <a:lnTo>
                      <a:pt x="1280" y="582"/>
                    </a:lnTo>
                    <a:lnTo>
                      <a:pt x="1262" y="595"/>
                    </a:lnTo>
                    <a:lnTo>
                      <a:pt x="1256" y="596"/>
                    </a:lnTo>
                    <a:lnTo>
                      <a:pt x="1252" y="599"/>
                    </a:lnTo>
                    <a:lnTo>
                      <a:pt x="1248" y="599"/>
                    </a:lnTo>
                    <a:lnTo>
                      <a:pt x="1245" y="596"/>
                    </a:lnTo>
                    <a:lnTo>
                      <a:pt x="1245" y="596"/>
                    </a:lnTo>
                    <a:lnTo>
                      <a:pt x="1242" y="595"/>
                    </a:lnTo>
                    <a:lnTo>
                      <a:pt x="1239" y="593"/>
                    </a:lnTo>
                    <a:lnTo>
                      <a:pt x="1233" y="595"/>
                    </a:lnTo>
                    <a:lnTo>
                      <a:pt x="1229" y="595"/>
                    </a:lnTo>
                    <a:lnTo>
                      <a:pt x="1226" y="595"/>
                    </a:lnTo>
                    <a:lnTo>
                      <a:pt x="1223" y="593"/>
                    </a:lnTo>
                    <a:lnTo>
                      <a:pt x="1223" y="593"/>
                    </a:lnTo>
                    <a:lnTo>
                      <a:pt x="1223" y="591"/>
                    </a:lnTo>
                    <a:lnTo>
                      <a:pt x="1225" y="588"/>
                    </a:lnTo>
                    <a:lnTo>
                      <a:pt x="1228" y="583"/>
                    </a:lnTo>
                    <a:lnTo>
                      <a:pt x="1233" y="581"/>
                    </a:lnTo>
                    <a:lnTo>
                      <a:pt x="1245" y="575"/>
                    </a:lnTo>
                    <a:lnTo>
                      <a:pt x="1250" y="573"/>
                    </a:lnTo>
                    <a:lnTo>
                      <a:pt x="1256" y="572"/>
                    </a:lnTo>
                    <a:lnTo>
                      <a:pt x="1256" y="572"/>
                    </a:lnTo>
                    <a:lnTo>
                      <a:pt x="1260" y="572"/>
                    </a:lnTo>
                    <a:lnTo>
                      <a:pt x="1265" y="569"/>
                    </a:lnTo>
                    <a:lnTo>
                      <a:pt x="1265" y="569"/>
                    </a:lnTo>
                    <a:lnTo>
                      <a:pt x="1252" y="565"/>
                    </a:lnTo>
                    <a:lnTo>
                      <a:pt x="1245" y="565"/>
                    </a:lnTo>
                    <a:lnTo>
                      <a:pt x="1243" y="565"/>
                    </a:lnTo>
                    <a:lnTo>
                      <a:pt x="1242" y="566"/>
                    </a:lnTo>
                    <a:lnTo>
                      <a:pt x="1242" y="566"/>
                    </a:lnTo>
                    <a:lnTo>
                      <a:pt x="1238" y="569"/>
                    </a:lnTo>
                    <a:lnTo>
                      <a:pt x="1233" y="569"/>
                    </a:lnTo>
                    <a:lnTo>
                      <a:pt x="1231" y="566"/>
                    </a:lnTo>
                    <a:lnTo>
                      <a:pt x="1228" y="564"/>
                    </a:lnTo>
                    <a:lnTo>
                      <a:pt x="1228" y="564"/>
                    </a:lnTo>
                    <a:lnTo>
                      <a:pt x="1225" y="562"/>
                    </a:lnTo>
                    <a:lnTo>
                      <a:pt x="1222" y="562"/>
                    </a:lnTo>
                    <a:lnTo>
                      <a:pt x="1218" y="562"/>
                    </a:lnTo>
                    <a:lnTo>
                      <a:pt x="1215" y="559"/>
                    </a:lnTo>
                    <a:lnTo>
                      <a:pt x="1215" y="559"/>
                    </a:lnTo>
                    <a:lnTo>
                      <a:pt x="1211" y="555"/>
                    </a:lnTo>
                    <a:lnTo>
                      <a:pt x="1206" y="555"/>
                    </a:lnTo>
                    <a:lnTo>
                      <a:pt x="1199" y="558"/>
                    </a:lnTo>
                    <a:lnTo>
                      <a:pt x="1199" y="558"/>
                    </a:lnTo>
                    <a:lnTo>
                      <a:pt x="1196" y="558"/>
                    </a:lnTo>
                    <a:lnTo>
                      <a:pt x="1194" y="558"/>
                    </a:lnTo>
                    <a:lnTo>
                      <a:pt x="1186" y="554"/>
                    </a:lnTo>
                    <a:lnTo>
                      <a:pt x="1186" y="554"/>
                    </a:lnTo>
                    <a:lnTo>
                      <a:pt x="1182" y="551"/>
                    </a:lnTo>
                    <a:lnTo>
                      <a:pt x="1182" y="548"/>
                    </a:lnTo>
                    <a:lnTo>
                      <a:pt x="1182" y="544"/>
                    </a:lnTo>
                    <a:lnTo>
                      <a:pt x="1179" y="541"/>
                    </a:lnTo>
                    <a:lnTo>
                      <a:pt x="1179" y="541"/>
                    </a:lnTo>
                    <a:lnTo>
                      <a:pt x="1178" y="541"/>
                    </a:lnTo>
                    <a:lnTo>
                      <a:pt x="1176" y="541"/>
                    </a:lnTo>
                    <a:lnTo>
                      <a:pt x="1175" y="544"/>
                    </a:lnTo>
                    <a:lnTo>
                      <a:pt x="1174" y="548"/>
                    </a:lnTo>
                    <a:lnTo>
                      <a:pt x="731" y="551"/>
                    </a:lnTo>
                    <a:lnTo>
                      <a:pt x="731" y="551"/>
                    </a:lnTo>
                    <a:lnTo>
                      <a:pt x="733" y="552"/>
                    </a:lnTo>
                    <a:lnTo>
                      <a:pt x="733" y="552"/>
                    </a:lnTo>
                    <a:lnTo>
                      <a:pt x="735" y="556"/>
                    </a:lnTo>
                    <a:lnTo>
                      <a:pt x="735" y="561"/>
                    </a:lnTo>
                    <a:lnTo>
                      <a:pt x="735" y="565"/>
                    </a:lnTo>
                    <a:lnTo>
                      <a:pt x="735" y="569"/>
                    </a:lnTo>
                    <a:lnTo>
                      <a:pt x="735" y="569"/>
                    </a:lnTo>
                    <a:lnTo>
                      <a:pt x="737" y="575"/>
                    </a:lnTo>
                    <a:lnTo>
                      <a:pt x="735" y="581"/>
                    </a:lnTo>
                    <a:lnTo>
                      <a:pt x="734" y="585"/>
                    </a:lnTo>
                    <a:lnTo>
                      <a:pt x="733" y="585"/>
                    </a:lnTo>
                    <a:lnTo>
                      <a:pt x="731" y="586"/>
                    </a:lnTo>
                    <a:lnTo>
                      <a:pt x="731" y="586"/>
                    </a:lnTo>
                    <a:lnTo>
                      <a:pt x="728" y="585"/>
                    </a:lnTo>
                    <a:lnTo>
                      <a:pt x="727" y="582"/>
                    </a:lnTo>
                    <a:lnTo>
                      <a:pt x="727" y="579"/>
                    </a:lnTo>
                    <a:lnTo>
                      <a:pt x="728" y="578"/>
                    </a:lnTo>
                    <a:lnTo>
                      <a:pt x="728" y="578"/>
                    </a:lnTo>
                    <a:lnTo>
                      <a:pt x="731" y="575"/>
                    </a:lnTo>
                    <a:lnTo>
                      <a:pt x="731" y="572"/>
                    </a:lnTo>
                    <a:lnTo>
                      <a:pt x="730" y="569"/>
                    </a:lnTo>
                    <a:lnTo>
                      <a:pt x="727" y="568"/>
                    </a:lnTo>
                    <a:lnTo>
                      <a:pt x="727" y="568"/>
                    </a:lnTo>
                    <a:lnTo>
                      <a:pt x="726" y="568"/>
                    </a:lnTo>
                    <a:lnTo>
                      <a:pt x="724" y="566"/>
                    </a:lnTo>
                    <a:lnTo>
                      <a:pt x="724" y="562"/>
                    </a:lnTo>
                    <a:lnTo>
                      <a:pt x="724" y="562"/>
                    </a:lnTo>
                    <a:lnTo>
                      <a:pt x="718" y="564"/>
                    </a:lnTo>
                    <a:lnTo>
                      <a:pt x="711" y="564"/>
                    </a:lnTo>
                    <a:lnTo>
                      <a:pt x="698" y="562"/>
                    </a:lnTo>
                    <a:lnTo>
                      <a:pt x="698" y="562"/>
                    </a:lnTo>
                    <a:lnTo>
                      <a:pt x="698" y="564"/>
                    </a:lnTo>
                    <a:lnTo>
                      <a:pt x="698" y="564"/>
                    </a:lnTo>
                    <a:lnTo>
                      <a:pt x="701" y="572"/>
                    </a:lnTo>
                    <a:lnTo>
                      <a:pt x="703" y="579"/>
                    </a:lnTo>
                    <a:lnTo>
                      <a:pt x="707" y="585"/>
                    </a:lnTo>
                    <a:lnTo>
                      <a:pt x="707" y="585"/>
                    </a:lnTo>
                    <a:lnTo>
                      <a:pt x="710" y="589"/>
                    </a:lnTo>
                    <a:lnTo>
                      <a:pt x="710" y="593"/>
                    </a:lnTo>
                    <a:lnTo>
                      <a:pt x="711" y="596"/>
                    </a:lnTo>
                    <a:lnTo>
                      <a:pt x="714" y="599"/>
                    </a:lnTo>
                    <a:lnTo>
                      <a:pt x="714" y="599"/>
                    </a:lnTo>
                    <a:lnTo>
                      <a:pt x="717" y="602"/>
                    </a:lnTo>
                    <a:lnTo>
                      <a:pt x="718" y="603"/>
                    </a:lnTo>
                    <a:lnTo>
                      <a:pt x="717" y="605"/>
                    </a:lnTo>
                    <a:lnTo>
                      <a:pt x="714" y="605"/>
                    </a:lnTo>
                    <a:lnTo>
                      <a:pt x="714" y="605"/>
                    </a:lnTo>
                    <a:lnTo>
                      <a:pt x="711" y="605"/>
                    </a:lnTo>
                    <a:lnTo>
                      <a:pt x="711" y="608"/>
                    </a:lnTo>
                    <a:lnTo>
                      <a:pt x="711" y="612"/>
                    </a:lnTo>
                    <a:lnTo>
                      <a:pt x="711" y="619"/>
                    </a:lnTo>
                    <a:lnTo>
                      <a:pt x="711" y="619"/>
                    </a:lnTo>
                    <a:lnTo>
                      <a:pt x="710" y="640"/>
                    </a:lnTo>
                    <a:lnTo>
                      <a:pt x="708" y="659"/>
                    </a:lnTo>
                    <a:lnTo>
                      <a:pt x="708" y="659"/>
                    </a:lnTo>
                    <a:lnTo>
                      <a:pt x="707" y="665"/>
                    </a:lnTo>
                    <a:lnTo>
                      <a:pt x="704" y="672"/>
                    </a:lnTo>
                    <a:lnTo>
                      <a:pt x="703" y="677"/>
                    </a:lnTo>
                    <a:lnTo>
                      <a:pt x="703" y="680"/>
                    </a:lnTo>
                    <a:lnTo>
                      <a:pt x="704" y="683"/>
                    </a:lnTo>
                    <a:lnTo>
                      <a:pt x="704" y="683"/>
                    </a:lnTo>
                    <a:lnTo>
                      <a:pt x="707" y="690"/>
                    </a:lnTo>
                    <a:lnTo>
                      <a:pt x="710" y="696"/>
                    </a:lnTo>
                    <a:lnTo>
                      <a:pt x="710" y="703"/>
                    </a:lnTo>
                    <a:lnTo>
                      <a:pt x="710" y="710"/>
                    </a:lnTo>
                    <a:lnTo>
                      <a:pt x="710" y="710"/>
                    </a:lnTo>
                    <a:lnTo>
                      <a:pt x="708" y="716"/>
                    </a:lnTo>
                    <a:lnTo>
                      <a:pt x="708" y="721"/>
                    </a:lnTo>
                    <a:lnTo>
                      <a:pt x="708" y="726"/>
                    </a:lnTo>
                    <a:lnTo>
                      <a:pt x="711" y="730"/>
                    </a:lnTo>
                    <a:lnTo>
                      <a:pt x="711" y="730"/>
                    </a:lnTo>
                    <a:lnTo>
                      <a:pt x="713" y="736"/>
                    </a:lnTo>
                    <a:lnTo>
                      <a:pt x="714" y="743"/>
                    </a:lnTo>
                    <a:lnTo>
                      <a:pt x="714" y="748"/>
                    </a:lnTo>
                    <a:lnTo>
                      <a:pt x="714" y="750"/>
                    </a:lnTo>
                    <a:lnTo>
                      <a:pt x="716" y="751"/>
                    </a:lnTo>
                    <a:lnTo>
                      <a:pt x="716" y="751"/>
                    </a:lnTo>
                    <a:lnTo>
                      <a:pt x="723" y="757"/>
                    </a:lnTo>
                    <a:lnTo>
                      <a:pt x="728" y="766"/>
                    </a:lnTo>
                    <a:lnTo>
                      <a:pt x="728" y="766"/>
                    </a:lnTo>
                    <a:lnTo>
                      <a:pt x="731" y="768"/>
                    </a:lnTo>
                    <a:lnTo>
                      <a:pt x="734" y="770"/>
                    </a:lnTo>
                    <a:lnTo>
                      <a:pt x="735" y="771"/>
                    </a:lnTo>
                    <a:lnTo>
                      <a:pt x="737" y="774"/>
                    </a:lnTo>
                    <a:lnTo>
                      <a:pt x="737" y="774"/>
                    </a:lnTo>
                    <a:lnTo>
                      <a:pt x="738" y="781"/>
                    </a:lnTo>
                    <a:lnTo>
                      <a:pt x="740" y="783"/>
                    </a:lnTo>
                    <a:lnTo>
                      <a:pt x="743" y="784"/>
                    </a:lnTo>
                    <a:lnTo>
                      <a:pt x="743" y="784"/>
                    </a:lnTo>
                    <a:lnTo>
                      <a:pt x="745" y="787"/>
                    </a:lnTo>
                    <a:lnTo>
                      <a:pt x="745" y="790"/>
                    </a:lnTo>
                    <a:lnTo>
                      <a:pt x="745" y="797"/>
                    </a:lnTo>
                    <a:lnTo>
                      <a:pt x="745" y="797"/>
                    </a:lnTo>
                    <a:lnTo>
                      <a:pt x="747" y="800"/>
                    </a:lnTo>
                    <a:lnTo>
                      <a:pt x="750" y="804"/>
                    </a:lnTo>
                    <a:lnTo>
                      <a:pt x="761" y="815"/>
                    </a:lnTo>
                    <a:lnTo>
                      <a:pt x="761" y="815"/>
                    </a:lnTo>
                    <a:lnTo>
                      <a:pt x="764" y="818"/>
                    </a:lnTo>
                    <a:lnTo>
                      <a:pt x="765" y="821"/>
                    </a:lnTo>
                    <a:lnTo>
                      <a:pt x="767" y="825"/>
                    </a:lnTo>
                    <a:lnTo>
                      <a:pt x="767" y="828"/>
                    </a:lnTo>
                    <a:lnTo>
                      <a:pt x="768" y="830"/>
                    </a:lnTo>
                    <a:lnTo>
                      <a:pt x="770" y="830"/>
                    </a:lnTo>
                    <a:lnTo>
                      <a:pt x="770" y="830"/>
                    </a:lnTo>
                    <a:lnTo>
                      <a:pt x="775" y="831"/>
                    </a:lnTo>
                    <a:lnTo>
                      <a:pt x="780" y="832"/>
                    </a:lnTo>
                    <a:lnTo>
                      <a:pt x="790" y="838"/>
                    </a:lnTo>
                    <a:lnTo>
                      <a:pt x="790" y="838"/>
                    </a:lnTo>
                    <a:lnTo>
                      <a:pt x="794" y="840"/>
                    </a:lnTo>
                    <a:lnTo>
                      <a:pt x="797" y="841"/>
                    </a:lnTo>
                    <a:lnTo>
                      <a:pt x="804" y="841"/>
                    </a:lnTo>
                    <a:lnTo>
                      <a:pt x="804" y="841"/>
                    </a:lnTo>
                    <a:lnTo>
                      <a:pt x="807" y="844"/>
                    </a:lnTo>
                    <a:lnTo>
                      <a:pt x="812" y="848"/>
                    </a:lnTo>
                    <a:lnTo>
                      <a:pt x="815" y="854"/>
                    </a:lnTo>
                    <a:lnTo>
                      <a:pt x="818" y="858"/>
                    </a:lnTo>
                    <a:lnTo>
                      <a:pt x="818" y="858"/>
                    </a:lnTo>
                    <a:lnTo>
                      <a:pt x="822" y="869"/>
                    </a:lnTo>
                    <a:lnTo>
                      <a:pt x="859" y="864"/>
                    </a:lnTo>
                    <a:lnTo>
                      <a:pt x="859" y="864"/>
                    </a:lnTo>
                    <a:lnTo>
                      <a:pt x="865" y="868"/>
                    </a:lnTo>
                    <a:lnTo>
                      <a:pt x="871" y="871"/>
                    </a:lnTo>
                    <a:lnTo>
                      <a:pt x="876" y="874"/>
                    </a:lnTo>
                    <a:lnTo>
                      <a:pt x="876" y="874"/>
                    </a:lnTo>
                    <a:lnTo>
                      <a:pt x="899" y="881"/>
                    </a:lnTo>
                    <a:lnTo>
                      <a:pt x="918" y="888"/>
                    </a:lnTo>
                    <a:lnTo>
                      <a:pt x="963" y="888"/>
                    </a:lnTo>
                    <a:lnTo>
                      <a:pt x="969" y="881"/>
                    </a:lnTo>
                    <a:lnTo>
                      <a:pt x="994" y="881"/>
                    </a:lnTo>
                    <a:lnTo>
                      <a:pt x="994" y="881"/>
                    </a:lnTo>
                    <a:lnTo>
                      <a:pt x="1001" y="888"/>
                    </a:lnTo>
                    <a:lnTo>
                      <a:pt x="1011" y="896"/>
                    </a:lnTo>
                    <a:lnTo>
                      <a:pt x="1011" y="896"/>
                    </a:lnTo>
                    <a:lnTo>
                      <a:pt x="1019" y="902"/>
                    </a:lnTo>
                    <a:lnTo>
                      <a:pt x="1021" y="906"/>
                    </a:lnTo>
                    <a:lnTo>
                      <a:pt x="1023" y="909"/>
                    </a:lnTo>
                    <a:lnTo>
                      <a:pt x="1023" y="909"/>
                    </a:lnTo>
                    <a:lnTo>
                      <a:pt x="1024" y="915"/>
                    </a:lnTo>
                    <a:lnTo>
                      <a:pt x="1026" y="918"/>
                    </a:lnTo>
                    <a:lnTo>
                      <a:pt x="1029" y="919"/>
                    </a:lnTo>
                    <a:lnTo>
                      <a:pt x="1029" y="919"/>
                    </a:lnTo>
                    <a:lnTo>
                      <a:pt x="1038" y="925"/>
                    </a:lnTo>
                    <a:lnTo>
                      <a:pt x="1044" y="928"/>
                    </a:lnTo>
                    <a:lnTo>
                      <a:pt x="1047" y="929"/>
                    </a:lnTo>
                    <a:lnTo>
                      <a:pt x="1047" y="929"/>
                    </a:lnTo>
                    <a:lnTo>
                      <a:pt x="1048" y="926"/>
                    </a:lnTo>
                    <a:lnTo>
                      <a:pt x="1051" y="922"/>
                    </a:lnTo>
                    <a:lnTo>
                      <a:pt x="1054" y="916"/>
                    </a:lnTo>
                    <a:lnTo>
                      <a:pt x="1057" y="915"/>
                    </a:lnTo>
                    <a:lnTo>
                      <a:pt x="1060" y="915"/>
                    </a:lnTo>
                    <a:lnTo>
                      <a:pt x="1060" y="915"/>
                    </a:lnTo>
                    <a:lnTo>
                      <a:pt x="1066" y="916"/>
                    </a:lnTo>
                    <a:lnTo>
                      <a:pt x="1075" y="919"/>
                    </a:lnTo>
                    <a:lnTo>
                      <a:pt x="1083" y="923"/>
                    </a:lnTo>
                    <a:lnTo>
                      <a:pt x="1085" y="928"/>
                    </a:lnTo>
                    <a:lnTo>
                      <a:pt x="1088" y="931"/>
                    </a:lnTo>
                    <a:lnTo>
                      <a:pt x="1088" y="931"/>
                    </a:lnTo>
                    <a:lnTo>
                      <a:pt x="1091" y="938"/>
                    </a:lnTo>
                    <a:lnTo>
                      <a:pt x="1095" y="945"/>
                    </a:lnTo>
                    <a:lnTo>
                      <a:pt x="1102" y="952"/>
                    </a:lnTo>
                    <a:lnTo>
                      <a:pt x="1102" y="952"/>
                    </a:lnTo>
                    <a:lnTo>
                      <a:pt x="1104" y="955"/>
                    </a:lnTo>
                    <a:lnTo>
                      <a:pt x="1105" y="958"/>
                    </a:lnTo>
                    <a:lnTo>
                      <a:pt x="1105" y="962"/>
                    </a:lnTo>
                    <a:lnTo>
                      <a:pt x="1107" y="965"/>
                    </a:lnTo>
                    <a:lnTo>
                      <a:pt x="1107" y="965"/>
                    </a:lnTo>
                    <a:lnTo>
                      <a:pt x="1108" y="970"/>
                    </a:lnTo>
                    <a:lnTo>
                      <a:pt x="1110" y="973"/>
                    </a:lnTo>
                    <a:lnTo>
                      <a:pt x="1111" y="975"/>
                    </a:lnTo>
                    <a:lnTo>
                      <a:pt x="1111" y="975"/>
                    </a:lnTo>
                    <a:lnTo>
                      <a:pt x="1121" y="979"/>
                    </a:lnTo>
                    <a:lnTo>
                      <a:pt x="1128" y="982"/>
                    </a:lnTo>
                    <a:lnTo>
                      <a:pt x="1134" y="982"/>
                    </a:lnTo>
                    <a:lnTo>
                      <a:pt x="1134" y="982"/>
                    </a:lnTo>
                    <a:lnTo>
                      <a:pt x="1137" y="983"/>
                    </a:lnTo>
                    <a:lnTo>
                      <a:pt x="1141" y="985"/>
                    </a:lnTo>
                    <a:lnTo>
                      <a:pt x="1141" y="985"/>
                    </a:lnTo>
                    <a:lnTo>
                      <a:pt x="1139" y="980"/>
                    </a:lnTo>
                    <a:lnTo>
                      <a:pt x="1139" y="978"/>
                    </a:lnTo>
                    <a:lnTo>
                      <a:pt x="1135" y="972"/>
                    </a:lnTo>
                    <a:lnTo>
                      <a:pt x="1134" y="968"/>
                    </a:lnTo>
                    <a:lnTo>
                      <a:pt x="1134" y="966"/>
                    </a:lnTo>
                    <a:lnTo>
                      <a:pt x="1135" y="965"/>
                    </a:lnTo>
                    <a:lnTo>
                      <a:pt x="1135" y="965"/>
                    </a:lnTo>
                    <a:lnTo>
                      <a:pt x="1138" y="962"/>
                    </a:lnTo>
                    <a:lnTo>
                      <a:pt x="1139" y="959"/>
                    </a:lnTo>
                    <a:lnTo>
                      <a:pt x="1139" y="955"/>
                    </a:lnTo>
                    <a:lnTo>
                      <a:pt x="1138" y="952"/>
                    </a:lnTo>
                    <a:lnTo>
                      <a:pt x="1138" y="950"/>
                    </a:lnTo>
                    <a:lnTo>
                      <a:pt x="1139" y="949"/>
                    </a:lnTo>
                    <a:lnTo>
                      <a:pt x="1139" y="949"/>
                    </a:lnTo>
                    <a:lnTo>
                      <a:pt x="1147" y="945"/>
                    </a:lnTo>
                    <a:lnTo>
                      <a:pt x="1149" y="942"/>
                    </a:lnTo>
                    <a:lnTo>
                      <a:pt x="1151" y="939"/>
                    </a:lnTo>
                    <a:lnTo>
                      <a:pt x="1151" y="939"/>
                    </a:lnTo>
                    <a:lnTo>
                      <a:pt x="1152" y="936"/>
                    </a:lnTo>
                    <a:lnTo>
                      <a:pt x="1154" y="935"/>
                    </a:lnTo>
                    <a:lnTo>
                      <a:pt x="1161" y="935"/>
                    </a:lnTo>
                    <a:lnTo>
                      <a:pt x="1161" y="935"/>
                    </a:lnTo>
                    <a:lnTo>
                      <a:pt x="1167" y="935"/>
                    </a:lnTo>
                    <a:lnTo>
                      <a:pt x="1171" y="931"/>
                    </a:lnTo>
                    <a:lnTo>
                      <a:pt x="1175" y="926"/>
                    </a:lnTo>
                    <a:lnTo>
                      <a:pt x="1176" y="922"/>
                    </a:lnTo>
                    <a:lnTo>
                      <a:pt x="1176" y="922"/>
                    </a:lnTo>
                    <a:lnTo>
                      <a:pt x="1176" y="921"/>
                    </a:lnTo>
                    <a:lnTo>
                      <a:pt x="1178" y="919"/>
                    </a:lnTo>
                    <a:lnTo>
                      <a:pt x="1185" y="919"/>
                    </a:lnTo>
                    <a:lnTo>
                      <a:pt x="1185" y="919"/>
                    </a:lnTo>
                    <a:lnTo>
                      <a:pt x="1186" y="919"/>
                    </a:lnTo>
                    <a:lnTo>
                      <a:pt x="1188" y="918"/>
                    </a:lnTo>
                    <a:lnTo>
                      <a:pt x="1191" y="916"/>
                    </a:lnTo>
                    <a:lnTo>
                      <a:pt x="1192" y="913"/>
                    </a:lnTo>
                    <a:lnTo>
                      <a:pt x="1194" y="912"/>
                    </a:lnTo>
                    <a:lnTo>
                      <a:pt x="1195" y="912"/>
                    </a:lnTo>
                    <a:lnTo>
                      <a:pt x="1195" y="912"/>
                    </a:lnTo>
                    <a:lnTo>
                      <a:pt x="1201" y="915"/>
                    </a:lnTo>
                    <a:lnTo>
                      <a:pt x="1202" y="915"/>
                    </a:lnTo>
                    <a:lnTo>
                      <a:pt x="1202" y="913"/>
                    </a:lnTo>
                    <a:lnTo>
                      <a:pt x="1202" y="913"/>
                    </a:lnTo>
                    <a:lnTo>
                      <a:pt x="1203" y="912"/>
                    </a:lnTo>
                    <a:lnTo>
                      <a:pt x="1205" y="912"/>
                    </a:lnTo>
                    <a:lnTo>
                      <a:pt x="1208" y="912"/>
                    </a:lnTo>
                    <a:lnTo>
                      <a:pt x="1211" y="915"/>
                    </a:lnTo>
                    <a:lnTo>
                      <a:pt x="1211" y="915"/>
                    </a:lnTo>
                    <a:lnTo>
                      <a:pt x="1213" y="918"/>
                    </a:lnTo>
                    <a:lnTo>
                      <a:pt x="1218" y="919"/>
                    </a:lnTo>
                    <a:lnTo>
                      <a:pt x="1222" y="918"/>
                    </a:lnTo>
                    <a:lnTo>
                      <a:pt x="1223" y="918"/>
                    </a:lnTo>
                    <a:lnTo>
                      <a:pt x="1223" y="915"/>
                    </a:lnTo>
                    <a:lnTo>
                      <a:pt x="1223" y="915"/>
                    </a:lnTo>
                    <a:lnTo>
                      <a:pt x="1225" y="913"/>
                    </a:lnTo>
                    <a:lnTo>
                      <a:pt x="1228" y="915"/>
                    </a:lnTo>
                    <a:lnTo>
                      <a:pt x="1235" y="921"/>
                    </a:lnTo>
                    <a:lnTo>
                      <a:pt x="1235" y="921"/>
                    </a:lnTo>
                    <a:lnTo>
                      <a:pt x="1238" y="923"/>
                    </a:lnTo>
                    <a:lnTo>
                      <a:pt x="1240" y="925"/>
                    </a:lnTo>
                    <a:lnTo>
                      <a:pt x="1248" y="925"/>
                    </a:lnTo>
                    <a:lnTo>
                      <a:pt x="1248" y="925"/>
                    </a:lnTo>
                    <a:lnTo>
                      <a:pt x="1252" y="925"/>
                    </a:lnTo>
                    <a:lnTo>
                      <a:pt x="1253" y="923"/>
                    </a:lnTo>
                    <a:lnTo>
                      <a:pt x="1255" y="922"/>
                    </a:lnTo>
                    <a:lnTo>
                      <a:pt x="1255" y="919"/>
                    </a:lnTo>
                    <a:lnTo>
                      <a:pt x="1255" y="919"/>
                    </a:lnTo>
                    <a:lnTo>
                      <a:pt x="1255" y="918"/>
                    </a:lnTo>
                    <a:lnTo>
                      <a:pt x="1256" y="918"/>
                    </a:lnTo>
                    <a:lnTo>
                      <a:pt x="1259" y="922"/>
                    </a:lnTo>
                    <a:lnTo>
                      <a:pt x="1265" y="926"/>
                    </a:lnTo>
                    <a:lnTo>
                      <a:pt x="1266" y="928"/>
                    </a:lnTo>
                    <a:lnTo>
                      <a:pt x="1269" y="929"/>
                    </a:lnTo>
                    <a:lnTo>
                      <a:pt x="1269" y="929"/>
                    </a:lnTo>
                    <a:lnTo>
                      <a:pt x="1272" y="928"/>
                    </a:lnTo>
                    <a:lnTo>
                      <a:pt x="1272" y="926"/>
                    </a:lnTo>
                    <a:lnTo>
                      <a:pt x="1266" y="921"/>
                    </a:lnTo>
                    <a:lnTo>
                      <a:pt x="1266" y="921"/>
                    </a:lnTo>
                    <a:lnTo>
                      <a:pt x="1263" y="918"/>
                    </a:lnTo>
                    <a:lnTo>
                      <a:pt x="1263" y="916"/>
                    </a:lnTo>
                    <a:lnTo>
                      <a:pt x="1263" y="913"/>
                    </a:lnTo>
                    <a:lnTo>
                      <a:pt x="1262" y="912"/>
                    </a:lnTo>
                    <a:lnTo>
                      <a:pt x="1262" y="912"/>
                    </a:lnTo>
                    <a:lnTo>
                      <a:pt x="1262" y="911"/>
                    </a:lnTo>
                    <a:lnTo>
                      <a:pt x="1262" y="909"/>
                    </a:lnTo>
                    <a:lnTo>
                      <a:pt x="1265" y="906"/>
                    </a:lnTo>
                    <a:lnTo>
                      <a:pt x="1270" y="905"/>
                    </a:lnTo>
                    <a:lnTo>
                      <a:pt x="1276" y="905"/>
                    </a:lnTo>
                    <a:lnTo>
                      <a:pt x="1276" y="905"/>
                    </a:lnTo>
                    <a:lnTo>
                      <a:pt x="1285" y="905"/>
                    </a:lnTo>
                    <a:lnTo>
                      <a:pt x="1286" y="905"/>
                    </a:lnTo>
                    <a:lnTo>
                      <a:pt x="1287" y="902"/>
                    </a:lnTo>
                    <a:lnTo>
                      <a:pt x="1287" y="902"/>
                    </a:lnTo>
                    <a:lnTo>
                      <a:pt x="1290" y="899"/>
                    </a:lnTo>
                    <a:lnTo>
                      <a:pt x="1292" y="901"/>
                    </a:lnTo>
                    <a:lnTo>
                      <a:pt x="1293" y="904"/>
                    </a:lnTo>
                    <a:lnTo>
                      <a:pt x="1295" y="906"/>
                    </a:lnTo>
                    <a:lnTo>
                      <a:pt x="1295" y="906"/>
                    </a:lnTo>
                    <a:lnTo>
                      <a:pt x="1295" y="908"/>
                    </a:lnTo>
                    <a:lnTo>
                      <a:pt x="1296" y="908"/>
                    </a:lnTo>
                    <a:lnTo>
                      <a:pt x="1302" y="906"/>
                    </a:lnTo>
                    <a:lnTo>
                      <a:pt x="1309" y="905"/>
                    </a:lnTo>
                    <a:lnTo>
                      <a:pt x="1316" y="904"/>
                    </a:lnTo>
                    <a:lnTo>
                      <a:pt x="1316" y="904"/>
                    </a:lnTo>
                    <a:lnTo>
                      <a:pt x="1320" y="905"/>
                    </a:lnTo>
                    <a:lnTo>
                      <a:pt x="1326" y="908"/>
                    </a:lnTo>
                    <a:lnTo>
                      <a:pt x="1329" y="911"/>
                    </a:lnTo>
                    <a:lnTo>
                      <a:pt x="1330" y="915"/>
                    </a:lnTo>
                    <a:lnTo>
                      <a:pt x="1330" y="915"/>
                    </a:lnTo>
                    <a:lnTo>
                      <a:pt x="1332" y="918"/>
                    </a:lnTo>
                    <a:lnTo>
                      <a:pt x="1334" y="919"/>
                    </a:lnTo>
                    <a:lnTo>
                      <a:pt x="1337" y="919"/>
                    </a:lnTo>
                    <a:lnTo>
                      <a:pt x="1341" y="916"/>
                    </a:lnTo>
                    <a:lnTo>
                      <a:pt x="1341" y="916"/>
                    </a:lnTo>
                    <a:lnTo>
                      <a:pt x="1349" y="911"/>
                    </a:lnTo>
                    <a:lnTo>
                      <a:pt x="1353" y="909"/>
                    </a:lnTo>
                    <a:lnTo>
                      <a:pt x="1356" y="911"/>
                    </a:lnTo>
                    <a:lnTo>
                      <a:pt x="1356" y="911"/>
                    </a:lnTo>
                    <a:lnTo>
                      <a:pt x="1373" y="929"/>
                    </a:lnTo>
                    <a:lnTo>
                      <a:pt x="1373" y="929"/>
                    </a:lnTo>
                    <a:lnTo>
                      <a:pt x="1374" y="932"/>
                    </a:lnTo>
                    <a:lnTo>
                      <a:pt x="1374" y="933"/>
                    </a:lnTo>
                    <a:lnTo>
                      <a:pt x="1373" y="939"/>
                    </a:lnTo>
                    <a:lnTo>
                      <a:pt x="1371" y="943"/>
                    </a:lnTo>
                    <a:lnTo>
                      <a:pt x="1371" y="945"/>
                    </a:lnTo>
                    <a:lnTo>
                      <a:pt x="1373" y="948"/>
                    </a:lnTo>
                    <a:lnTo>
                      <a:pt x="1373" y="948"/>
                    </a:lnTo>
                    <a:lnTo>
                      <a:pt x="1374" y="950"/>
                    </a:lnTo>
                    <a:lnTo>
                      <a:pt x="1374" y="955"/>
                    </a:lnTo>
                    <a:lnTo>
                      <a:pt x="1376" y="959"/>
                    </a:lnTo>
                    <a:lnTo>
                      <a:pt x="1380" y="963"/>
                    </a:lnTo>
                    <a:lnTo>
                      <a:pt x="1380" y="963"/>
                    </a:lnTo>
                    <a:lnTo>
                      <a:pt x="1381" y="965"/>
                    </a:lnTo>
                    <a:lnTo>
                      <a:pt x="1383" y="968"/>
                    </a:lnTo>
                    <a:lnTo>
                      <a:pt x="1383" y="973"/>
                    </a:lnTo>
                    <a:lnTo>
                      <a:pt x="1383" y="978"/>
                    </a:lnTo>
                    <a:lnTo>
                      <a:pt x="1384" y="979"/>
                    </a:lnTo>
                    <a:lnTo>
                      <a:pt x="1386" y="980"/>
                    </a:lnTo>
                    <a:lnTo>
                      <a:pt x="1386" y="980"/>
                    </a:lnTo>
                    <a:lnTo>
                      <a:pt x="1390" y="982"/>
                    </a:lnTo>
                    <a:lnTo>
                      <a:pt x="1393" y="986"/>
                    </a:lnTo>
                    <a:lnTo>
                      <a:pt x="1397" y="993"/>
                    </a:lnTo>
                    <a:lnTo>
                      <a:pt x="1397" y="993"/>
                    </a:lnTo>
                    <a:lnTo>
                      <a:pt x="1398" y="996"/>
                    </a:lnTo>
                    <a:lnTo>
                      <a:pt x="1403" y="999"/>
                    </a:lnTo>
                    <a:lnTo>
                      <a:pt x="1407" y="999"/>
                    </a:lnTo>
                    <a:lnTo>
                      <a:pt x="1408" y="997"/>
                    </a:lnTo>
                    <a:lnTo>
                      <a:pt x="1408" y="996"/>
                    </a:lnTo>
                    <a:lnTo>
                      <a:pt x="1408" y="996"/>
                    </a:lnTo>
                    <a:lnTo>
                      <a:pt x="1410" y="992"/>
                    </a:lnTo>
                    <a:lnTo>
                      <a:pt x="1413" y="986"/>
                    </a:lnTo>
                    <a:lnTo>
                      <a:pt x="1414" y="982"/>
                    </a:lnTo>
                    <a:lnTo>
                      <a:pt x="1415" y="978"/>
                    </a:lnTo>
                    <a:lnTo>
                      <a:pt x="1415" y="978"/>
                    </a:lnTo>
                    <a:lnTo>
                      <a:pt x="1415" y="970"/>
                    </a:lnTo>
                    <a:lnTo>
                      <a:pt x="1414" y="960"/>
                    </a:lnTo>
                    <a:lnTo>
                      <a:pt x="1411" y="952"/>
                    </a:lnTo>
                    <a:lnTo>
                      <a:pt x="1407" y="945"/>
                    </a:lnTo>
                    <a:lnTo>
                      <a:pt x="1407" y="945"/>
                    </a:lnTo>
                    <a:lnTo>
                      <a:pt x="1406" y="941"/>
                    </a:lnTo>
                    <a:lnTo>
                      <a:pt x="1406" y="938"/>
                    </a:lnTo>
                    <a:lnTo>
                      <a:pt x="1406" y="933"/>
                    </a:lnTo>
                    <a:lnTo>
                      <a:pt x="1403" y="929"/>
                    </a:lnTo>
                    <a:lnTo>
                      <a:pt x="1403" y="929"/>
                    </a:lnTo>
                    <a:lnTo>
                      <a:pt x="1398" y="923"/>
                    </a:lnTo>
                    <a:lnTo>
                      <a:pt x="1396" y="915"/>
                    </a:lnTo>
                    <a:lnTo>
                      <a:pt x="1394" y="906"/>
                    </a:lnTo>
                    <a:lnTo>
                      <a:pt x="1394" y="898"/>
                    </a:lnTo>
                    <a:lnTo>
                      <a:pt x="1394" y="898"/>
                    </a:lnTo>
                    <a:lnTo>
                      <a:pt x="1396" y="889"/>
                    </a:lnTo>
                    <a:lnTo>
                      <a:pt x="1401" y="879"/>
                    </a:lnTo>
                    <a:lnTo>
                      <a:pt x="1407" y="871"/>
                    </a:lnTo>
                    <a:lnTo>
                      <a:pt x="1413" y="865"/>
                    </a:lnTo>
                    <a:lnTo>
                      <a:pt x="1413" y="865"/>
                    </a:lnTo>
                    <a:lnTo>
                      <a:pt x="1417" y="862"/>
                    </a:lnTo>
                    <a:lnTo>
                      <a:pt x="1421" y="861"/>
                    </a:lnTo>
                    <a:lnTo>
                      <a:pt x="1424" y="859"/>
                    </a:lnTo>
                    <a:lnTo>
                      <a:pt x="1427" y="857"/>
                    </a:lnTo>
                    <a:lnTo>
                      <a:pt x="1427" y="857"/>
                    </a:lnTo>
                    <a:lnTo>
                      <a:pt x="1428" y="852"/>
                    </a:lnTo>
                    <a:lnTo>
                      <a:pt x="1433" y="848"/>
                    </a:lnTo>
                    <a:lnTo>
                      <a:pt x="1437" y="845"/>
                    </a:lnTo>
                    <a:lnTo>
                      <a:pt x="1440" y="844"/>
                    </a:lnTo>
                    <a:lnTo>
                      <a:pt x="1440" y="844"/>
                    </a:lnTo>
                    <a:lnTo>
                      <a:pt x="1445" y="844"/>
                    </a:lnTo>
                    <a:lnTo>
                      <a:pt x="1448" y="842"/>
                    </a:lnTo>
                    <a:lnTo>
                      <a:pt x="1450" y="840"/>
                    </a:lnTo>
                    <a:lnTo>
                      <a:pt x="1450" y="840"/>
                    </a:lnTo>
                    <a:lnTo>
                      <a:pt x="1451" y="837"/>
                    </a:lnTo>
                    <a:lnTo>
                      <a:pt x="1455" y="832"/>
                    </a:lnTo>
                    <a:lnTo>
                      <a:pt x="1460" y="830"/>
                    </a:lnTo>
                    <a:lnTo>
                      <a:pt x="1467" y="828"/>
                    </a:lnTo>
                    <a:lnTo>
                      <a:pt x="1467" y="828"/>
                    </a:lnTo>
                    <a:lnTo>
                      <a:pt x="1471" y="827"/>
                    </a:lnTo>
                    <a:lnTo>
                      <a:pt x="1471" y="824"/>
                    </a:lnTo>
                    <a:lnTo>
                      <a:pt x="1468" y="818"/>
                    </a:lnTo>
                    <a:lnTo>
                      <a:pt x="1468" y="818"/>
                    </a:lnTo>
                    <a:lnTo>
                      <a:pt x="1467" y="814"/>
                    </a:lnTo>
                    <a:lnTo>
                      <a:pt x="1468" y="812"/>
                    </a:lnTo>
                    <a:lnTo>
                      <a:pt x="1470" y="811"/>
                    </a:lnTo>
                    <a:lnTo>
                      <a:pt x="1472" y="812"/>
                    </a:lnTo>
                    <a:lnTo>
                      <a:pt x="1472" y="812"/>
                    </a:lnTo>
                    <a:lnTo>
                      <a:pt x="1474" y="814"/>
                    </a:lnTo>
                    <a:lnTo>
                      <a:pt x="1477" y="814"/>
                    </a:lnTo>
                    <a:lnTo>
                      <a:pt x="1479" y="814"/>
                    </a:lnTo>
                    <a:lnTo>
                      <a:pt x="1482" y="812"/>
                    </a:lnTo>
                    <a:lnTo>
                      <a:pt x="1482" y="812"/>
                    </a:lnTo>
                    <a:lnTo>
                      <a:pt x="1489" y="807"/>
                    </a:lnTo>
                    <a:lnTo>
                      <a:pt x="1489" y="804"/>
                    </a:lnTo>
                    <a:lnTo>
                      <a:pt x="1489" y="804"/>
                    </a:lnTo>
                    <a:lnTo>
                      <a:pt x="1487" y="803"/>
                    </a:lnTo>
                    <a:lnTo>
                      <a:pt x="1487" y="803"/>
                    </a:lnTo>
                    <a:lnTo>
                      <a:pt x="1482" y="803"/>
                    </a:lnTo>
                    <a:lnTo>
                      <a:pt x="1479" y="801"/>
                    </a:lnTo>
                    <a:lnTo>
                      <a:pt x="1479" y="800"/>
                    </a:lnTo>
                    <a:lnTo>
                      <a:pt x="1482" y="798"/>
                    </a:lnTo>
                    <a:lnTo>
                      <a:pt x="1482" y="798"/>
                    </a:lnTo>
                    <a:lnTo>
                      <a:pt x="1484" y="797"/>
                    </a:lnTo>
                    <a:lnTo>
                      <a:pt x="1484" y="795"/>
                    </a:lnTo>
                    <a:lnTo>
                      <a:pt x="1484" y="793"/>
                    </a:lnTo>
                    <a:lnTo>
                      <a:pt x="1481" y="788"/>
                    </a:lnTo>
                    <a:lnTo>
                      <a:pt x="1477" y="787"/>
                    </a:lnTo>
                    <a:lnTo>
                      <a:pt x="1477" y="787"/>
                    </a:lnTo>
                    <a:lnTo>
                      <a:pt x="1472" y="785"/>
                    </a:lnTo>
                    <a:lnTo>
                      <a:pt x="1472" y="784"/>
                    </a:lnTo>
                    <a:lnTo>
                      <a:pt x="1474" y="781"/>
                    </a:lnTo>
                    <a:lnTo>
                      <a:pt x="1475" y="778"/>
                    </a:lnTo>
                    <a:lnTo>
                      <a:pt x="1475" y="778"/>
                    </a:lnTo>
                    <a:lnTo>
                      <a:pt x="1477" y="777"/>
                    </a:lnTo>
                    <a:lnTo>
                      <a:pt x="1477" y="776"/>
                    </a:lnTo>
                    <a:lnTo>
                      <a:pt x="1474" y="771"/>
                    </a:lnTo>
                    <a:lnTo>
                      <a:pt x="1465" y="766"/>
                    </a:lnTo>
                    <a:lnTo>
                      <a:pt x="1465" y="766"/>
                    </a:lnTo>
                    <a:lnTo>
                      <a:pt x="1464" y="763"/>
                    </a:lnTo>
                    <a:lnTo>
                      <a:pt x="1465" y="761"/>
                    </a:lnTo>
                    <a:lnTo>
                      <a:pt x="1472" y="760"/>
                    </a:lnTo>
                    <a:lnTo>
                      <a:pt x="1472" y="760"/>
                    </a:lnTo>
                    <a:lnTo>
                      <a:pt x="1472" y="758"/>
                    </a:lnTo>
                    <a:lnTo>
                      <a:pt x="1474" y="757"/>
                    </a:lnTo>
                    <a:lnTo>
                      <a:pt x="1474" y="750"/>
                    </a:lnTo>
                    <a:lnTo>
                      <a:pt x="1474" y="744"/>
                    </a:lnTo>
                    <a:lnTo>
                      <a:pt x="1474" y="739"/>
                    </a:lnTo>
                    <a:lnTo>
                      <a:pt x="1474" y="739"/>
                    </a:lnTo>
                    <a:lnTo>
                      <a:pt x="1477" y="737"/>
                    </a:lnTo>
                    <a:lnTo>
                      <a:pt x="1478" y="736"/>
                    </a:lnTo>
                    <a:lnTo>
                      <a:pt x="1479" y="737"/>
                    </a:lnTo>
                    <a:lnTo>
                      <a:pt x="1479" y="739"/>
                    </a:lnTo>
                    <a:lnTo>
                      <a:pt x="1479" y="739"/>
                    </a:lnTo>
                    <a:lnTo>
                      <a:pt x="1478" y="743"/>
                    </a:lnTo>
                    <a:lnTo>
                      <a:pt x="1477" y="746"/>
                    </a:lnTo>
                    <a:lnTo>
                      <a:pt x="1477" y="750"/>
                    </a:lnTo>
                    <a:lnTo>
                      <a:pt x="1478" y="754"/>
                    </a:lnTo>
                    <a:lnTo>
                      <a:pt x="1478" y="754"/>
                    </a:lnTo>
                    <a:lnTo>
                      <a:pt x="1481" y="758"/>
                    </a:lnTo>
                    <a:lnTo>
                      <a:pt x="1482" y="763"/>
                    </a:lnTo>
                    <a:lnTo>
                      <a:pt x="1484" y="768"/>
                    </a:lnTo>
                    <a:lnTo>
                      <a:pt x="1482" y="774"/>
                    </a:lnTo>
                    <a:lnTo>
                      <a:pt x="1482" y="774"/>
                    </a:lnTo>
                    <a:lnTo>
                      <a:pt x="1482" y="778"/>
                    </a:lnTo>
                    <a:lnTo>
                      <a:pt x="1482" y="778"/>
                    </a:lnTo>
                    <a:lnTo>
                      <a:pt x="1484" y="778"/>
                    </a:lnTo>
                    <a:lnTo>
                      <a:pt x="1487" y="776"/>
                    </a:lnTo>
                    <a:lnTo>
                      <a:pt x="1489" y="768"/>
                    </a:lnTo>
                    <a:lnTo>
                      <a:pt x="1489" y="768"/>
                    </a:lnTo>
                    <a:lnTo>
                      <a:pt x="1492" y="761"/>
                    </a:lnTo>
                    <a:lnTo>
                      <a:pt x="1494" y="756"/>
                    </a:lnTo>
                    <a:lnTo>
                      <a:pt x="1494" y="750"/>
                    </a:lnTo>
                    <a:lnTo>
                      <a:pt x="1492" y="748"/>
                    </a:lnTo>
                    <a:lnTo>
                      <a:pt x="1492" y="748"/>
                    </a:lnTo>
                    <a:lnTo>
                      <a:pt x="1489" y="746"/>
                    </a:lnTo>
                    <a:lnTo>
                      <a:pt x="1489" y="743"/>
                    </a:lnTo>
                    <a:lnTo>
                      <a:pt x="1491" y="740"/>
                    </a:lnTo>
                    <a:lnTo>
                      <a:pt x="1491" y="740"/>
                    </a:lnTo>
                    <a:lnTo>
                      <a:pt x="1492" y="741"/>
                    </a:lnTo>
                    <a:lnTo>
                      <a:pt x="1492" y="741"/>
                    </a:lnTo>
                    <a:lnTo>
                      <a:pt x="1495" y="744"/>
                    </a:lnTo>
                    <a:lnTo>
                      <a:pt x="1498" y="746"/>
                    </a:lnTo>
                    <a:lnTo>
                      <a:pt x="1501" y="744"/>
                    </a:lnTo>
                    <a:lnTo>
                      <a:pt x="1504" y="740"/>
                    </a:lnTo>
                    <a:lnTo>
                      <a:pt x="1504" y="740"/>
                    </a:lnTo>
                    <a:lnTo>
                      <a:pt x="1508" y="736"/>
                    </a:lnTo>
                    <a:lnTo>
                      <a:pt x="1512" y="729"/>
                    </a:lnTo>
                    <a:lnTo>
                      <a:pt x="1514" y="724"/>
                    </a:lnTo>
                    <a:lnTo>
                      <a:pt x="1514" y="721"/>
                    </a:lnTo>
                    <a:lnTo>
                      <a:pt x="1512" y="720"/>
                    </a:lnTo>
                    <a:lnTo>
                      <a:pt x="1512" y="720"/>
                    </a:lnTo>
                    <a:lnTo>
                      <a:pt x="1511" y="719"/>
                    </a:lnTo>
                    <a:lnTo>
                      <a:pt x="1514" y="717"/>
                    </a:lnTo>
                    <a:lnTo>
                      <a:pt x="1516" y="716"/>
                    </a:lnTo>
                    <a:lnTo>
                      <a:pt x="1522" y="716"/>
                    </a:lnTo>
                    <a:lnTo>
                      <a:pt x="1522" y="716"/>
                    </a:lnTo>
                    <a:lnTo>
                      <a:pt x="1528" y="716"/>
                    </a:lnTo>
                    <a:lnTo>
                      <a:pt x="1535" y="714"/>
                    </a:lnTo>
                    <a:lnTo>
                      <a:pt x="1542" y="711"/>
                    </a:lnTo>
                    <a:lnTo>
                      <a:pt x="1545" y="710"/>
                    </a:lnTo>
                    <a:lnTo>
                      <a:pt x="1545" y="710"/>
                    </a:lnTo>
                    <a:lnTo>
                      <a:pt x="1545" y="707"/>
                    </a:lnTo>
                    <a:lnTo>
                      <a:pt x="1542" y="707"/>
                    </a:lnTo>
                    <a:lnTo>
                      <a:pt x="1534" y="709"/>
                    </a:lnTo>
                    <a:lnTo>
                      <a:pt x="1525" y="710"/>
                    </a:lnTo>
                    <a:lnTo>
                      <a:pt x="1522" y="710"/>
                    </a:lnTo>
                    <a:lnTo>
                      <a:pt x="1521" y="709"/>
                    </a:lnTo>
                    <a:lnTo>
                      <a:pt x="1521" y="709"/>
                    </a:lnTo>
                    <a:lnTo>
                      <a:pt x="1521" y="707"/>
                    </a:lnTo>
                    <a:lnTo>
                      <a:pt x="1524" y="706"/>
                    </a:lnTo>
                    <a:lnTo>
                      <a:pt x="1531" y="703"/>
                    </a:lnTo>
                    <a:lnTo>
                      <a:pt x="1546" y="700"/>
                    </a:lnTo>
                    <a:lnTo>
                      <a:pt x="1546" y="700"/>
                    </a:lnTo>
                    <a:lnTo>
                      <a:pt x="1549" y="700"/>
                    </a:lnTo>
                    <a:lnTo>
                      <a:pt x="1551" y="699"/>
                    </a:lnTo>
                    <a:lnTo>
                      <a:pt x="1552" y="696"/>
                    </a:lnTo>
                    <a:lnTo>
                      <a:pt x="1552" y="693"/>
                    </a:lnTo>
                    <a:lnTo>
                      <a:pt x="1555" y="694"/>
                    </a:lnTo>
                    <a:lnTo>
                      <a:pt x="1555" y="694"/>
                    </a:lnTo>
                    <a:lnTo>
                      <a:pt x="1558" y="696"/>
                    </a:lnTo>
                    <a:lnTo>
                      <a:pt x="1561" y="697"/>
                    </a:lnTo>
                    <a:lnTo>
                      <a:pt x="1565" y="697"/>
                    </a:lnTo>
                    <a:lnTo>
                      <a:pt x="1568" y="694"/>
                    </a:lnTo>
                    <a:lnTo>
                      <a:pt x="1568" y="694"/>
                    </a:lnTo>
                    <a:lnTo>
                      <a:pt x="1571" y="692"/>
                    </a:lnTo>
                    <a:lnTo>
                      <a:pt x="1569" y="689"/>
                    </a:lnTo>
                    <a:lnTo>
                      <a:pt x="1568" y="684"/>
                    </a:lnTo>
                    <a:lnTo>
                      <a:pt x="1563" y="683"/>
                    </a:lnTo>
                    <a:lnTo>
                      <a:pt x="1563" y="683"/>
                    </a:lnTo>
                    <a:lnTo>
                      <a:pt x="1562" y="682"/>
                    </a:lnTo>
                    <a:lnTo>
                      <a:pt x="1562" y="682"/>
                    </a:lnTo>
                    <a:lnTo>
                      <a:pt x="1563" y="679"/>
                    </a:lnTo>
                    <a:lnTo>
                      <a:pt x="1565" y="677"/>
                    </a:lnTo>
                    <a:lnTo>
                      <a:pt x="1566" y="674"/>
                    </a:lnTo>
                    <a:lnTo>
                      <a:pt x="1566" y="674"/>
                    </a:lnTo>
                    <a:lnTo>
                      <a:pt x="1566" y="670"/>
                    </a:lnTo>
                    <a:lnTo>
                      <a:pt x="1568" y="665"/>
                    </a:lnTo>
                    <a:lnTo>
                      <a:pt x="1572" y="660"/>
                    </a:lnTo>
                    <a:lnTo>
                      <a:pt x="1573" y="657"/>
                    </a:lnTo>
                    <a:lnTo>
                      <a:pt x="1576" y="657"/>
                    </a:lnTo>
                    <a:lnTo>
                      <a:pt x="1576" y="657"/>
                    </a:lnTo>
                    <a:lnTo>
                      <a:pt x="1579" y="656"/>
                    </a:lnTo>
                    <a:lnTo>
                      <a:pt x="1580" y="653"/>
                    </a:lnTo>
                    <a:lnTo>
                      <a:pt x="1582" y="652"/>
                    </a:lnTo>
                    <a:lnTo>
                      <a:pt x="1585" y="652"/>
                    </a:lnTo>
                    <a:lnTo>
                      <a:pt x="1585" y="652"/>
                    </a:lnTo>
                    <a:lnTo>
                      <a:pt x="1589" y="650"/>
                    </a:lnTo>
                    <a:lnTo>
                      <a:pt x="1592" y="647"/>
                    </a:lnTo>
                    <a:lnTo>
                      <a:pt x="1598" y="639"/>
                    </a:lnTo>
                    <a:lnTo>
                      <a:pt x="1598" y="639"/>
                    </a:lnTo>
                    <a:lnTo>
                      <a:pt x="1599" y="639"/>
                    </a:lnTo>
                    <a:lnTo>
                      <a:pt x="1600" y="639"/>
                    </a:lnTo>
                    <a:lnTo>
                      <a:pt x="1606" y="640"/>
                    </a:lnTo>
                    <a:lnTo>
                      <a:pt x="1612" y="642"/>
                    </a:lnTo>
                    <a:lnTo>
                      <a:pt x="1615" y="642"/>
                    </a:lnTo>
                    <a:lnTo>
                      <a:pt x="1617" y="640"/>
                    </a:lnTo>
                    <a:lnTo>
                      <a:pt x="1617" y="640"/>
                    </a:lnTo>
                    <a:lnTo>
                      <a:pt x="1629" y="632"/>
                    </a:lnTo>
                    <a:lnTo>
                      <a:pt x="1629" y="632"/>
                    </a:lnTo>
                    <a:lnTo>
                      <a:pt x="1623" y="623"/>
                    </a:lnTo>
                    <a:lnTo>
                      <a:pt x="1619" y="615"/>
                    </a:lnTo>
                    <a:lnTo>
                      <a:pt x="1616" y="608"/>
                    </a:lnTo>
                    <a:lnTo>
                      <a:pt x="1616" y="602"/>
                    </a:lnTo>
                    <a:lnTo>
                      <a:pt x="1615" y="592"/>
                    </a:lnTo>
                    <a:lnTo>
                      <a:pt x="1616" y="586"/>
                    </a:lnTo>
                    <a:lnTo>
                      <a:pt x="1616" y="58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93" name="Europe">
              <a:extLst>
                <a:ext uri="{FF2B5EF4-FFF2-40B4-BE49-F238E27FC236}">
                  <a16:creationId xmlns:a16="http://schemas.microsoft.com/office/drawing/2014/main" id="{F1098AB7-B984-4A48-8112-339D00C69E3D}"/>
                </a:ext>
              </a:extLst>
            </p:cNvPr>
            <p:cNvGrpSpPr/>
            <p:nvPr/>
          </p:nvGrpSpPr>
          <p:grpSpPr>
            <a:xfrm>
              <a:off x="6550176" y="1309941"/>
              <a:ext cx="4937937" cy="1464782"/>
              <a:chOff x="2583171" y="1589897"/>
              <a:chExt cx="6250607" cy="1854170"/>
            </a:xfrm>
            <a:grpFill/>
          </p:grpSpPr>
          <p:sp>
            <p:nvSpPr>
              <p:cNvPr id="1694" name="Serbia">
                <a:extLst>
                  <a:ext uri="{FF2B5EF4-FFF2-40B4-BE49-F238E27FC236}">
                    <a16:creationId xmlns:a16="http://schemas.microsoft.com/office/drawing/2014/main" id="{DFB9B124-B256-7C43-9609-7DC208E43A46}"/>
                  </a:ext>
                </a:extLst>
              </p:cNvPr>
              <p:cNvSpPr>
                <a:spLocks/>
              </p:cNvSpPr>
              <p:nvPr/>
            </p:nvSpPr>
            <p:spPr bwMode="auto">
              <a:xfrm>
                <a:off x="4762893" y="3118514"/>
                <a:ext cx="94706" cy="116903"/>
              </a:xfrm>
              <a:custGeom>
                <a:avLst/>
                <a:gdLst/>
                <a:ahLst/>
                <a:cxnLst>
                  <a:cxn ang="0">
                    <a:pos x="58" y="52"/>
                  </a:cxn>
                  <a:cxn ang="0">
                    <a:pos x="55" y="47"/>
                  </a:cxn>
                  <a:cxn ang="0">
                    <a:pos x="58" y="42"/>
                  </a:cxn>
                  <a:cxn ang="0">
                    <a:pos x="59" y="40"/>
                  </a:cxn>
                  <a:cxn ang="0">
                    <a:pos x="58" y="34"/>
                  </a:cxn>
                  <a:cxn ang="0">
                    <a:pos x="58" y="33"/>
                  </a:cxn>
                  <a:cxn ang="0">
                    <a:pos x="51" y="30"/>
                  </a:cxn>
                  <a:cxn ang="0">
                    <a:pos x="41" y="28"/>
                  </a:cxn>
                  <a:cxn ang="0">
                    <a:pos x="40" y="23"/>
                  </a:cxn>
                  <a:cxn ang="0">
                    <a:pos x="40" y="18"/>
                  </a:cxn>
                  <a:cxn ang="0">
                    <a:pos x="38" y="18"/>
                  </a:cxn>
                  <a:cxn ang="0">
                    <a:pos x="34" y="17"/>
                  </a:cxn>
                  <a:cxn ang="0">
                    <a:pos x="32" y="13"/>
                  </a:cxn>
                  <a:cxn ang="0">
                    <a:pos x="30" y="7"/>
                  </a:cxn>
                  <a:cxn ang="0">
                    <a:pos x="27" y="3"/>
                  </a:cxn>
                  <a:cxn ang="0">
                    <a:pos x="28" y="3"/>
                  </a:cxn>
                  <a:cxn ang="0">
                    <a:pos x="23" y="1"/>
                  </a:cxn>
                  <a:cxn ang="0">
                    <a:pos x="17" y="0"/>
                  </a:cxn>
                  <a:cxn ang="0">
                    <a:pos x="0" y="5"/>
                  </a:cxn>
                  <a:cxn ang="0">
                    <a:pos x="1" y="11"/>
                  </a:cxn>
                  <a:cxn ang="0">
                    <a:pos x="4" y="14"/>
                  </a:cxn>
                  <a:cxn ang="0">
                    <a:pos x="7" y="17"/>
                  </a:cxn>
                  <a:cxn ang="0">
                    <a:pos x="8" y="25"/>
                  </a:cxn>
                  <a:cxn ang="0">
                    <a:pos x="10" y="33"/>
                  </a:cxn>
                  <a:cxn ang="0">
                    <a:pos x="10" y="48"/>
                  </a:cxn>
                  <a:cxn ang="0">
                    <a:pos x="8" y="51"/>
                  </a:cxn>
                  <a:cxn ang="0">
                    <a:pos x="5" y="52"/>
                  </a:cxn>
                  <a:cxn ang="0">
                    <a:pos x="1" y="57"/>
                  </a:cxn>
                  <a:cxn ang="0">
                    <a:pos x="14" y="71"/>
                  </a:cxn>
                  <a:cxn ang="0">
                    <a:pos x="15" y="71"/>
                  </a:cxn>
                  <a:cxn ang="0">
                    <a:pos x="24" y="75"/>
                  </a:cxn>
                  <a:cxn ang="0">
                    <a:pos x="30" y="79"/>
                  </a:cxn>
                  <a:cxn ang="0">
                    <a:pos x="57" y="75"/>
                  </a:cxn>
                  <a:cxn ang="0">
                    <a:pos x="58" y="69"/>
                  </a:cxn>
                  <a:cxn ang="0">
                    <a:pos x="61" y="64"/>
                  </a:cxn>
                  <a:cxn ang="0">
                    <a:pos x="62" y="64"/>
                  </a:cxn>
                  <a:cxn ang="0">
                    <a:pos x="64" y="62"/>
                  </a:cxn>
                  <a:cxn ang="0">
                    <a:pos x="58" y="52"/>
                  </a:cxn>
                </a:cxnLst>
                <a:rect l="0" t="0" r="r" b="b"/>
                <a:pathLst>
                  <a:path w="64" h="79">
                    <a:moveTo>
                      <a:pt x="58" y="52"/>
                    </a:moveTo>
                    <a:lnTo>
                      <a:pt x="58" y="52"/>
                    </a:lnTo>
                    <a:lnTo>
                      <a:pt x="55" y="50"/>
                    </a:lnTo>
                    <a:lnTo>
                      <a:pt x="55" y="47"/>
                    </a:lnTo>
                    <a:lnTo>
                      <a:pt x="57" y="44"/>
                    </a:lnTo>
                    <a:lnTo>
                      <a:pt x="58" y="42"/>
                    </a:lnTo>
                    <a:lnTo>
                      <a:pt x="58" y="42"/>
                    </a:lnTo>
                    <a:lnTo>
                      <a:pt x="59" y="40"/>
                    </a:lnTo>
                    <a:lnTo>
                      <a:pt x="59" y="38"/>
                    </a:lnTo>
                    <a:lnTo>
                      <a:pt x="58" y="34"/>
                    </a:lnTo>
                    <a:lnTo>
                      <a:pt x="58" y="34"/>
                    </a:lnTo>
                    <a:lnTo>
                      <a:pt x="58" y="33"/>
                    </a:lnTo>
                    <a:lnTo>
                      <a:pt x="55" y="31"/>
                    </a:lnTo>
                    <a:lnTo>
                      <a:pt x="51" y="30"/>
                    </a:lnTo>
                    <a:lnTo>
                      <a:pt x="41" y="28"/>
                    </a:lnTo>
                    <a:lnTo>
                      <a:pt x="41" y="28"/>
                    </a:lnTo>
                    <a:lnTo>
                      <a:pt x="40" y="27"/>
                    </a:lnTo>
                    <a:lnTo>
                      <a:pt x="40" y="23"/>
                    </a:lnTo>
                    <a:lnTo>
                      <a:pt x="40" y="20"/>
                    </a:lnTo>
                    <a:lnTo>
                      <a:pt x="40" y="18"/>
                    </a:lnTo>
                    <a:lnTo>
                      <a:pt x="38" y="18"/>
                    </a:lnTo>
                    <a:lnTo>
                      <a:pt x="38" y="18"/>
                    </a:lnTo>
                    <a:lnTo>
                      <a:pt x="35" y="18"/>
                    </a:lnTo>
                    <a:lnTo>
                      <a:pt x="34" y="17"/>
                    </a:lnTo>
                    <a:lnTo>
                      <a:pt x="32" y="13"/>
                    </a:lnTo>
                    <a:lnTo>
                      <a:pt x="32" y="13"/>
                    </a:lnTo>
                    <a:lnTo>
                      <a:pt x="32" y="10"/>
                    </a:lnTo>
                    <a:lnTo>
                      <a:pt x="30" y="7"/>
                    </a:lnTo>
                    <a:lnTo>
                      <a:pt x="28" y="5"/>
                    </a:lnTo>
                    <a:lnTo>
                      <a:pt x="27" y="3"/>
                    </a:lnTo>
                    <a:lnTo>
                      <a:pt x="27" y="3"/>
                    </a:lnTo>
                    <a:lnTo>
                      <a:pt x="28" y="3"/>
                    </a:lnTo>
                    <a:lnTo>
                      <a:pt x="28" y="3"/>
                    </a:lnTo>
                    <a:lnTo>
                      <a:pt x="23" y="1"/>
                    </a:lnTo>
                    <a:lnTo>
                      <a:pt x="23" y="1"/>
                    </a:lnTo>
                    <a:lnTo>
                      <a:pt x="17" y="0"/>
                    </a:lnTo>
                    <a:lnTo>
                      <a:pt x="17" y="0"/>
                    </a:lnTo>
                    <a:lnTo>
                      <a:pt x="0" y="5"/>
                    </a:lnTo>
                    <a:lnTo>
                      <a:pt x="0" y="5"/>
                    </a:lnTo>
                    <a:lnTo>
                      <a:pt x="1" y="11"/>
                    </a:lnTo>
                    <a:lnTo>
                      <a:pt x="3" y="13"/>
                    </a:lnTo>
                    <a:lnTo>
                      <a:pt x="4" y="14"/>
                    </a:lnTo>
                    <a:lnTo>
                      <a:pt x="4" y="14"/>
                    </a:lnTo>
                    <a:lnTo>
                      <a:pt x="7" y="17"/>
                    </a:lnTo>
                    <a:lnTo>
                      <a:pt x="7" y="20"/>
                    </a:lnTo>
                    <a:lnTo>
                      <a:pt x="8" y="25"/>
                    </a:lnTo>
                    <a:lnTo>
                      <a:pt x="8" y="25"/>
                    </a:lnTo>
                    <a:lnTo>
                      <a:pt x="10" y="33"/>
                    </a:lnTo>
                    <a:lnTo>
                      <a:pt x="10" y="40"/>
                    </a:lnTo>
                    <a:lnTo>
                      <a:pt x="10" y="48"/>
                    </a:lnTo>
                    <a:lnTo>
                      <a:pt x="8" y="50"/>
                    </a:lnTo>
                    <a:lnTo>
                      <a:pt x="8" y="51"/>
                    </a:lnTo>
                    <a:lnTo>
                      <a:pt x="8" y="51"/>
                    </a:lnTo>
                    <a:lnTo>
                      <a:pt x="5" y="52"/>
                    </a:lnTo>
                    <a:lnTo>
                      <a:pt x="1" y="57"/>
                    </a:lnTo>
                    <a:lnTo>
                      <a:pt x="1" y="57"/>
                    </a:lnTo>
                    <a:lnTo>
                      <a:pt x="14" y="71"/>
                    </a:lnTo>
                    <a:lnTo>
                      <a:pt x="14" y="71"/>
                    </a:lnTo>
                    <a:lnTo>
                      <a:pt x="15" y="71"/>
                    </a:lnTo>
                    <a:lnTo>
                      <a:pt x="15" y="71"/>
                    </a:lnTo>
                    <a:lnTo>
                      <a:pt x="18" y="72"/>
                    </a:lnTo>
                    <a:lnTo>
                      <a:pt x="24" y="75"/>
                    </a:lnTo>
                    <a:lnTo>
                      <a:pt x="30" y="79"/>
                    </a:lnTo>
                    <a:lnTo>
                      <a:pt x="30" y="79"/>
                    </a:lnTo>
                    <a:lnTo>
                      <a:pt x="57" y="75"/>
                    </a:lnTo>
                    <a:lnTo>
                      <a:pt x="57" y="75"/>
                    </a:lnTo>
                    <a:lnTo>
                      <a:pt x="58" y="69"/>
                    </a:lnTo>
                    <a:lnTo>
                      <a:pt x="58" y="69"/>
                    </a:lnTo>
                    <a:lnTo>
                      <a:pt x="59" y="65"/>
                    </a:lnTo>
                    <a:lnTo>
                      <a:pt x="61" y="64"/>
                    </a:lnTo>
                    <a:lnTo>
                      <a:pt x="62" y="64"/>
                    </a:lnTo>
                    <a:lnTo>
                      <a:pt x="62" y="64"/>
                    </a:lnTo>
                    <a:lnTo>
                      <a:pt x="64" y="62"/>
                    </a:lnTo>
                    <a:lnTo>
                      <a:pt x="64" y="62"/>
                    </a:lnTo>
                    <a:lnTo>
                      <a:pt x="62" y="60"/>
                    </a:lnTo>
                    <a:lnTo>
                      <a:pt x="58" y="52"/>
                    </a:lnTo>
                    <a:lnTo>
                      <a:pt x="58" y="5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695" name="Kyrgystan">
                <a:extLst>
                  <a:ext uri="{FF2B5EF4-FFF2-40B4-BE49-F238E27FC236}">
                    <a16:creationId xmlns:a16="http://schemas.microsoft.com/office/drawing/2014/main" id="{FA93D83D-91C2-6043-8F31-98499D94173D}"/>
                  </a:ext>
                </a:extLst>
              </p:cNvPr>
              <p:cNvSpPr>
                <a:spLocks/>
              </p:cNvSpPr>
              <p:nvPr/>
            </p:nvSpPr>
            <p:spPr bwMode="auto">
              <a:xfrm>
                <a:off x="5970396" y="3210261"/>
                <a:ext cx="258962" cy="109504"/>
              </a:xfrm>
              <a:custGeom>
                <a:avLst/>
                <a:gdLst/>
                <a:ahLst/>
                <a:cxnLst>
                  <a:cxn ang="0">
                    <a:pos x="157" y="10"/>
                  </a:cxn>
                  <a:cxn ang="0">
                    <a:pos x="147" y="10"/>
                  </a:cxn>
                  <a:cxn ang="0">
                    <a:pos x="113" y="6"/>
                  </a:cxn>
                  <a:cxn ang="0">
                    <a:pos x="100" y="7"/>
                  </a:cxn>
                  <a:cxn ang="0">
                    <a:pos x="84" y="2"/>
                  </a:cxn>
                  <a:cxn ang="0">
                    <a:pos x="69" y="3"/>
                  </a:cxn>
                  <a:cxn ang="0">
                    <a:pos x="67" y="7"/>
                  </a:cxn>
                  <a:cxn ang="0">
                    <a:pos x="59" y="13"/>
                  </a:cxn>
                  <a:cxn ang="0">
                    <a:pos x="46" y="7"/>
                  </a:cxn>
                  <a:cxn ang="0">
                    <a:pos x="32" y="9"/>
                  </a:cxn>
                  <a:cxn ang="0">
                    <a:pos x="30" y="15"/>
                  </a:cxn>
                  <a:cxn ang="0">
                    <a:pos x="22" y="22"/>
                  </a:cxn>
                  <a:cxn ang="0">
                    <a:pos x="16" y="30"/>
                  </a:cxn>
                  <a:cxn ang="0">
                    <a:pos x="22" y="36"/>
                  </a:cxn>
                  <a:cxn ang="0">
                    <a:pos x="33" y="37"/>
                  </a:cxn>
                  <a:cxn ang="0">
                    <a:pos x="36" y="35"/>
                  </a:cxn>
                  <a:cxn ang="0">
                    <a:pos x="50" y="40"/>
                  </a:cxn>
                  <a:cxn ang="0">
                    <a:pos x="60" y="49"/>
                  </a:cxn>
                  <a:cxn ang="0">
                    <a:pos x="52" y="52"/>
                  </a:cxn>
                  <a:cxn ang="0">
                    <a:pos x="49" y="56"/>
                  </a:cxn>
                  <a:cxn ang="0">
                    <a:pos x="37" y="56"/>
                  </a:cxn>
                  <a:cxn ang="0">
                    <a:pos x="30" y="57"/>
                  </a:cxn>
                  <a:cxn ang="0">
                    <a:pos x="12" y="59"/>
                  </a:cxn>
                  <a:cxn ang="0">
                    <a:pos x="0" y="66"/>
                  </a:cxn>
                  <a:cxn ang="0">
                    <a:pos x="0" y="70"/>
                  </a:cxn>
                  <a:cxn ang="0">
                    <a:pos x="17" y="69"/>
                  </a:cxn>
                  <a:cxn ang="0">
                    <a:pos x="23" y="70"/>
                  </a:cxn>
                  <a:cxn ang="0">
                    <a:pos x="32" y="70"/>
                  </a:cxn>
                  <a:cxn ang="0">
                    <a:pos x="37" y="72"/>
                  </a:cxn>
                  <a:cxn ang="0">
                    <a:pos x="44" y="74"/>
                  </a:cxn>
                  <a:cxn ang="0">
                    <a:pos x="50" y="74"/>
                  </a:cxn>
                  <a:cxn ang="0">
                    <a:pos x="71" y="73"/>
                  </a:cxn>
                  <a:cxn ang="0">
                    <a:pos x="74" y="64"/>
                  </a:cxn>
                  <a:cxn ang="0">
                    <a:pos x="76" y="62"/>
                  </a:cxn>
                  <a:cxn ang="0">
                    <a:pos x="84" y="59"/>
                  </a:cxn>
                  <a:cxn ang="0">
                    <a:pos x="90" y="54"/>
                  </a:cxn>
                  <a:cxn ang="0">
                    <a:pos x="97" y="52"/>
                  </a:cxn>
                  <a:cxn ang="0">
                    <a:pos x="104" y="54"/>
                  </a:cxn>
                  <a:cxn ang="0">
                    <a:pos x="110" y="54"/>
                  </a:cxn>
                  <a:cxn ang="0">
                    <a:pos x="120" y="49"/>
                  </a:cxn>
                  <a:cxn ang="0">
                    <a:pos x="125" y="43"/>
                  </a:cxn>
                  <a:cxn ang="0">
                    <a:pos x="138" y="44"/>
                  </a:cxn>
                  <a:cxn ang="0">
                    <a:pos x="147" y="37"/>
                  </a:cxn>
                  <a:cxn ang="0">
                    <a:pos x="153" y="33"/>
                  </a:cxn>
                  <a:cxn ang="0">
                    <a:pos x="167" y="26"/>
                  </a:cxn>
                  <a:cxn ang="0">
                    <a:pos x="174" y="22"/>
                  </a:cxn>
                  <a:cxn ang="0">
                    <a:pos x="171" y="17"/>
                  </a:cxn>
                  <a:cxn ang="0">
                    <a:pos x="161" y="15"/>
                  </a:cxn>
                </a:cxnLst>
                <a:rect l="0" t="0" r="r" b="b"/>
                <a:pathLst>
                  <a:path w="175" h="74">
                    <a:moveTo>
                      <a:pt x="161" y="15"/>
                    </a:moveTo>
                    <a:lnTo>
                      <a:pt x="161" y="15"/>
                    </a:lnTo>
                    <a:lnTo>
                      <a:pt x="157" y="10"/>
                    </a:lnTo>
                    <a:lnTo>
                      <a:pt x="154" y="10"/>
                    </a:lnTo>
                    <a:lnTo>
                      <a:pt x="151" y="10"/>
                    </a:lnTo>
                    <a:lnTo>
                      <a:pt x="147" y="10"/>
                    </a:lnTo>
                    <a:lnTo>
                      <a:pt x="147" y="10"/>
                    </a:lnTo>
                    <a:lnTo>
                      <a:pt x="125" y="7"/>
                    </a:lnTo>
                    <a:lnTo>
                      <a:pt x="113" y="6"/>
                    </a:lnTo>
                    <a:lnTo>
                      <a:pt x="106" y="7"/>
                    </a:lnTo>
                    <a:lnTo>
                      <a:pt x="106" y="7"/>
                    </a:lnTo>
                    <a:lnTo>
                      <a:pt x="100" y="7"/>
                    </a:lnTo>
                    <a:lnTo>
                      <a:pt x="94" y="6"/>
                    </a:lnTo>
                    <a:lnTo>
                      <a:pt x="84" y="2"/>
                    </a:lnTo>
                    <a:lnTo>
                      <a:pt x="84" y="2"/>
                    </a:lnTo>
                    <a:lnTo>
                      <a:pt x="80" y="0"/>
                    </a:lnTo>
                    <a:lnTo>
                      <a:pt x="74" y="2"/>
                    </a:lnTo>
                    <a:lnTo>
                      <a:pt x="69" y="3"/>
                    </a:lnTo>
                    <a:lnTo>
                      <a:pt x="67" y="6"/>
                    </a:lnTo>
                    <a:lnTo>
                      <a:pt x="67" y="7"/>
                    </a:lnTo>
                    <a:lnTo>
                      <a:pt x="67" y="7"/>
                    </a:lnTo>
                    <a:lnTo>
                      <a:pt x="66" y="12"/>
                    </a:lnTo>
                    <a:lnTo>
                      <a:pt x="63" y="13"/>
                    </a:lnTo>
                    <a:lnTo>
                      <a:pt x="59" y="13"/>
                    </a:lnTo>
                    <a:lnTo>
                      <a:pt x="53" y="10"/>
                    </a:lnTo>
                    <a:lnTo>
                      <a:pt x="53" y="10"/>
                    </a:lnTo>
                    <a:lnTo>
                      <a:pt x="46" y="7"/>
                    </a:lnTo>
                    <a:lnTo>
                      <a:pt x="39" y="7"/>
                    </a:lnTo>
                    <a:lnTo>
                      <a:pt x="33" y="7"/>
                    </a:lnTo>
                    <a:lnTo>
                      <a:pt x="32" y="9"/>
                    </a:lnTo>
                    <a:lnTo>
                      <a:pt x="32" y="10"/>
                    </a:lnTo>
                    <a:lnTo>
                      <a:pt x="32" y="10"/>
                    </a:lnTo>
                    <a:lnTo>
                      <a:pt x="30" y="15"/>
                    </a:lnTo>
                    <a:lnTo>
                      <a:pt x="27" y="17"/>
                    </a:lnTo>
                    <a:lnTo>
                      <a:pt x="22" y="22"/>
                    </a:lnTo>
                    <a:lnTo>
                      <a:pt x="22" y="22"/>
                    </a:lnTo>
                    <a:lnTo>
                      <a:pt x="19" y="25"/>
                    </a:lnTo>
                    <a:lnTo>
                      <a:pt x="16" y="30"/>
                    </a:lnTo>
                    <a:lnTo>
                      <a:pt x="16" y="30"/>
                    </a:lnTo>
                    <a:lnTo>
                      <a:pt x="19" y="33"/>
                    </a:lnTo>
                    <a:lnTo>
                      <a:pt x="22" y="36"/>
                    </a:lnTo>
                    <a:lnTo>
                      <a:pt x="22" y="36"/>
                    </a:lnTo>
                    <a:lnTo>
                      <a:pt x="24" y="37"/>
                    </a:lnTo>
                    <a:lnTo>
                      <a:pt x="29" y="39"/>
                    </a:lnTo>
                    <a:lnTo>
                      <a:pt x="33" y="37"/>
                    </a:lnTo>
                    <a:lnTo>
                      <a:pt x="34" y="35"/>
                    </a:lnTo>
                    <a:lnTo>
                      <a:pt x="34" y="35"/>
                    </a:lnTo>
                    <a:lnTo>
                      <a:pt x="36" y="35"/>
                    </a:lnTo>
                    <a:lnTo>
                      <a:pt x="37" y="35"/>
                    </a:lnTo>
                    <a:lnTo>
                      <a:pt x="43" y="36"/>
                    </a:lnTo>
                    <a:lnTo>
                      <a:pt x="50" y="40"/>
                    </a:lnTo>
                    <a:lnTo>
                      <a:pt x="57" y="46"/>
                    </a:lnTo>
                    <a:lnTo>
                      <a:pt x="57" y="46"/>
                    </a:lnTo>
                    <a:lnTo>
                      <a:pt x="60" y="49"/>
                    </a:lnTo>
                    <a:lnTo>
                      <a:pt x="57" y="50"/>
                    </a:lnTo>
                    <a:lnTo>
                      <a:pt x="53" y="50"/>
                    </a:lnTo>
                    <a:lnTo>
                      <a:pt x="52" y="52"/>
                    </a:lnTo>
                    <a:lnTo>
                      <a:pt x="50" y="53"/>
                    </a:lnTo>
                    <a:lnTo>
                      <a:pt x="50" y="53"/>
                    </a:lnTo>
                    <a:lnTo>
                      <a:pt x="49" y="56"/>
                    </a:lnTo>
                    <a:lnTo>
                      <a:pt x="47" y="56"/>
                    </a:lnTo>
                    <a:lnTo>
                      <a:pt x="42" y="56"/>
                    </a:lnTo>
                    <a:lnTo>
                      <a:pt x="37" y="56"/>
                    </a:lnTo>
                    <a:lnTo>
                      <a:pt x="34" y="56"/>
                    </a:lnTo>
                    <a:lnTo>
                      <a:pt x="34" y="56"/>
                    </a:lnTo>
                    <a:lnTo>
                      <a:pt x="30" y="57"/>
                    </a:lnTo>
                    <a:lnTo>
                      <a:pt x="23" y="59"/>
                    </a:lnTo>
                    <a:lnTo>
                      <a:pt x="12" y="59"/>
                    </a:lnTo>
                    <a:lnTo>
                      <a:pt x="12" y="59"/>
                    </a:lnTo>
                    <a:lnTo>
                      <a:pt x="7" y="60"/>
                    </a:lnTo>
                    <a:lnTo>
                      <a:pt x="3" y="63"/>
                    </a:lnTo>
                    <a:lnTo>
                      <a:pt x="0" y="66"/>
                    </a:lnTo>
                    <a:lnTo>
                      <a:pt x="0" y="69"/>
                    </a:lnTo>
                    <a:lnTo>
                      <a:pt x="0" y="69"/>
                    </a:lnTo>
                    <a:lnTo>
                      <a:pt x="0" y="70"/>
                    </a:lnTo>
                    <a:lnTo>
                      <a:pt x="3" y="70"/>
                    </a:lnTo>
                    <a:lnTo>
                      <a:pt x="9" y="70"/>
                    </a:lnTo>
                    <a:lnTo>
                      <a:pt x="17" y="69"/>
                    </a:lnTo>
                    <a:lnTo>
                      <a:pt x="20" y="70"/>
                    </a:lnTo>
                    <a:lnTo>
                      <a:pt x="23" y="70"/>
                    </a:lnTo>
                    <a:lnTo>
                      <a:pt x="23" y="70"/>
                    </a:lnTo>
                    <a:lnTo>
                      <a:pt x="24" y="72"/>
                    </a:lnTo>
                    <a:lnTo>
                      <a:pt x="27" y="72"/>
                    </a:lnTo>
                    <a:lnTo>
                      <a:pt x="32" y="70"/>
                    </a:lnTo>
                    <a:lnTo>
                      <a:pt x="34" y="70"/>
                    </a:lnTo>
                    <a:lnTo>
                      <a:pt x="36" y="70"/>
                    </a:lnTo>
                    <a:lnTo>
                      <a:pt x="37" y="72"/>
                    </a:lnTo>
                    <a:lnTo>
                      <a:pt x="37" y="72"/>
                    </a:lnTo>
                    <a:lnTo>
                      <a:pt x="40" y="73"/>
                    </a:lnTo>
                    <a:lnTo>
                      <a:pt x="44" y="74"/>
                    </a:lnTo>
                    <a:lnTo>
                      <a:pt x="47" y="73"/>
                    </a:lnTo>
                    <a:lnTo>
                      <a:pt x="50" y="74"/>
                    </a:lnTo>
                    <a:lnTo>
                      <a:pt x="50" y="74"/>
                    </a:lnTo>
                    <a:lnTo>
                      <a:pt x="56" y="74"/>
                    </a:lnTo>
                    <a:lnTo>
                      <a:pt x="61" y="74"/>
                    </a:lnTo>
                    <a:lnTo>
                      <a:pt x="71" y="73"/>
                    </a:lnTo>
                    <a:lnTo>
                      <a:pt x="71" y="73"/>
                    </a:lnTo>
                    <a:lnTo>
                      <a:pt x="73" y="69"/>
                    </a:lnTo>
                    <a:lnTo>
                      <a:pt x="74" y="64"/>
                    </a:lnTo>
                    <a:lnTo>
                      <a:pt x="74" y="64"/>
                    </a:lnTo>
                    <a:lnTo>
                      <a:pt x="74" y="63"/>
                    </a:lnTo>
                    <a:lnTo>
                      <a:pt x="76" y="62"/>
                    </a:lnTo>
                    <a:lnTo>
                      <a:pt x="81" y="60"/>
                    </a:lnTo>
                    <a:lnTo>
                      <a:pt x="81" y="60"/>
                    </a:lnTo>
                    <a:lnTo>
                      <a:pt x="84" y="59"/>
                    </a:lnTo>
                    <a:lnTo>
                      <a:pt x="86" y="57"/>
                    </a:lnTo>
                    <a:lnTo>
                      <a:pt x="88" y="56"/>
                    </a:lnTo>
                    <a:lnTo>
                      <a:pt x="90" y="54"/>
                    </a:lnTo>
                    <a:lnTo>
                      <a:pt x="90" y="54"/>
                    </a:lnTo>
                    <a:lnTo>
                      <a:pt x="94" y="53"/>
                    </a:lnTo>
                    <a:lnTo>
                      <a:pt x="97" y="52"/>
                    </a:lnTo>
                    <a:lnTo>
                      <a:pt x="100" y="52"/>
                    </a:lnTo>
                    <a:lnTo>
                      <a:pt x="100" y="52"/>
                    </a:lnTo>
                    <a:lnTo>
                      <a:pt x="104" y="54"/>
                    </a:lnTo>
                    <a:lnTo>
                      <a:pt x="107" y="56"/>
                    </a:lnTo>
                    <a:lnTo>
                      <a:pt x="110" y="54"/>
                    </a:lnTo>
                    <a:lnTo>
                      <a:pt x="110" y="54"/>
                    </a:lnTo>
                    <a:lnTo>
                      <a:pt x="114" y="53"/>
                    </a:lnTo>
                    <a:lnTo>
                      <a:pt x="116" y="52"/>
                    </a:lnTo>
                    <a:lnTo>
                      <a:pt x="120" y="49"/>
                    </a:lnTo>
                    <a:lnTo>
                      <a:pt x="120" y="49"/>
                    </a:lnTo>
                    <a:lnTo>
                      <a:pt x="123" y="44"/>
                    </a:lnTo>
                    <a:lnTo>
                      <a:pt x="125" y="43"/>
                    </a:lnTo>
                    <a:lnTo>
                      <a:pt x="134" y="44"/>
                    </a:lnTo>
                    <a:lnTo>
                      <a:pt x="134" y="44"/>
                    </a:lnTo>
                    <a:lnTo>
                      <a:pt x="138" y="44"/>
                    </a:lnTo>
                    <a:lnTo>
                      <a:pt x="143" y="43"/>
                    </a:lnTo>
                    <a:lnTo>
                      <a:pt x="145" y="40"/>
                    </a:lnTo>
                    <a:lnTo>
                      <a:pt x="147" y="37"/>
                    </a:lnTo>
                    <a:lnTo>
                      <a:pt x="147" y="37"/>
                    </a:lnTo>
                    <a:lnTo>
                      <a:pt x="148" y="35"/>
                    </a:lnTo>
                    <a:lnTo>
                      <a:pt x="153" y="33"/>
                    </a:lnTo>
                    <a:lnTo>
                      <a:pt x="160" y="30"/>
                    </a:lnTo>
                    <a:lnTo>
                      <a:pt x="160" y="30"/>
                    </a:lnTo>
                    <a:lnTo>
                      <a:pt x="167" y="26"/>
                    </a:lnTo>
                    <a:lnTo>
                      <a:pt x="174" y="23"/>
                    </a:lnTo>
                    <a:lnTo>
                      <a:pt x="174" y="23"/>
                    </a:lnTo>
                    <a:lnTo>
                      <a:pt x="174" y="22"/>
                    </a:lnTo>
                    <a:lnTo>
                      <a:pt x="175" y="19"/>
                    </a:lnTo>
                    <a:lnTo>
                      <a:pt x="175" y="19"/>
                    </a:lnTo>
                    <a:lnTo>
                      <a:pt x="171" y="17"/>
                    </a:lnTo>
                    <a:lnTo>
                      <a:pt x="168" y="17"/>
                    </a:lnTo>
                    <a:lnTo>
                      <a:pt x="165" y="16"/>
                    </a:lnTo>
                    <a:lnTo>
                      <a:pt x="161" y="15"/>
                    </a:lnTo>
                    <a:lnTo>
                      <a:pt x="161" y="1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696" name="Georgia">
                <a:extLst>
                  <a:ext uri="{FF2B5EF4-FFF2-40B4-BE49-F238E27FC236}">
                    <a16:creationId xmlns:a16="http://schemas.microsoft.com/office/drawing/2014/main" id="{4BDE6CD3-82F5-8443-AF1A-94A32782913A}"/>
                  </a:ext>
                </a:extLst>
              </p:cNvPr>
              <p:cNvSpPr>
                <a:spLocks/>
              </p:cNvSpPr>
              <p:nvPr/>
            </p:nvSpPr>
            <p:spPr bwMode="auto">
              <a:xfrm>
                <a:off x="5258620" y="3195463"/>
                <a:ext cx="161297" cy="73989"/>
              </a:xfrm>
              <a:custGeom>
                <a:avLst/>
                <a:gdLst/>
                <a:ahLst/>
                <a:cxnLst>
                  <a:cxn ang="0">
                    <a:pos x="45" y="39"/>
                  </a:cxn>
                  <a:cxn ang="0">
                    <a:pos x="50" y="40"/>
                  </a:cxn>
                  <a:cxn ang="0">
                    <a:pos x="56" y="49"/>
                  </a:cxn>
                  <a:cxn ang="0">
                    <a:pos x="56" y="49"/>
                  </a:cxn>
                  <a:cxn ang="0">
                    <a:pos x="72" y="46"/>
                  </a:cxn>
                  <a:cxn ang="0">
                    <a:pos x="86" y="47"/>
                  </a:cxn>
                  <a:cxn ang="0">
                    <a:pos x="86" y="46"/>
                  </a:cxn>
                  <a:cxn ang="0">
                    <a:pos x="86" y="45"/>
                  </a:cxn>
                  <a:cxn ang="0">
                    <a:pos x="90" y="43"/>
                  </a:cxn>
                  <a:cxn ang="0">
                    <a:pos x="97" y="47"/>
                  </a:cxn>
                  <a:cxn ang="0">
                    <a:pos x="103" y="50"/>
                  </a:cxn>
                  <a:cxn ang="0">
                    <a:pos x="109" y="49"/>
                  </a:cxn>
                  <a:cxn ang="0">
                    <a:pos x="109" y="46"/>
                  </a:cxn>
                  <a:cxn ang="0">
                    <a:pos x="104" y="42"/>
                  </a:cxn>
                  <a:cxn ang="0">
                    <a:pos x="104" y="39"/>
                  </a:cxn>
                  <a:cxn ang="0">
                    <a:pos x="107" y="35"/>
                  </a:cxn>
                  <a:cxn ang="0">
                    <a:pos x="97" y="30"/>
                  </a:cxn>
                  <a:cxn ang="0">
                    <a:pos x="96" y="29"/>
                  </a:cxn>
                  <a:cxn ang="0">
                    <a:pos x="94" y="22"/>
                  </a:cxn>
                  <a:cxn ang="0">
                    <a:pos x="92" y="20"/>
                  </a:cxn>
                  <a:cxn ang="0">
                    <a:pos x="86" y="17"/>
                  </a:cxn>
                  <a:cxn ang="0">
                    <a:pos x="79" y="19"/>
                  </a:cxn>
                  <a:cxn ang="0">
                    <a:pos x="70" y="20"/>
                  </a:cxn>
                  <a:cxn ang="0">
                    <a:pos x="67" y="20"/>
                  </a:cxn>
                  <a:cxn ang="0">
                    <a:pos x="63" y="16"/>
                  </a:cxn>
                  <a:cxn ang="0">
                    <a:pos x="60" y="15"/>
                  </a:cxn>
                  <a:cxn ang="0">
                    <a:pos x="55" y="13"/>
                  </a:cxn>
                  <a:cxn ang="0">
                    <a:pos x="50" y="9"/>
                  </a:cxn>
                  <a:cxn ang="0">
                    <a:pos x="39" y="8"/>
                  </a:cxn>
                  <a:cxn ang="0">
                    <a:pos x="25" y="6"/>
                  </a:cxn>
                  <a:cxn ang="0">
                    <a:pos x="16" y="2"/>
                  </a:cxn>
                  <a:cxn ang="0">
                    <a:pos x="6" y="0"/>
                  </a:cxn>
                  <a:cxn ang="0">
                    <a:pos x="0" y="3"/>
                  </a:cxn>
                  <a:cxn ang="0">
                    <a:pos x="8" y="8"/>
                  </a:cxn>
                  <a:cxn ang="0">
                    <a:pos x="22" y="12"/>
                  </a:cxn>
                  <a:cxn ang="0">
                    <a:pos x="25" y="17"/>
                  </a:cxn>
                  <a:cxn ang="0">
                    <a:pos x="27" y="23"/>
                  </a:cxn>
                  <a:cxn ang="0">
                    <a:pos x="32" y="29"/>
                  </a:cxn>
                  <a:cxn ang="0">
                    <a:pos x="30" y="35"/>
                  </a:cxn>
                  <a:cxn ang="0">
                    <a:pos x="27" y="40"/>
                  </a:cxn>
                  <a:cxn ang="0">
                    <a:pos x="37" y="40"/>
                  </a:cxn>
                  <a:cxn ang="0">
                    <a:pos x="45" y="39"/>
                  </a:cxn>
                </a:cxnLst>
                <a:rect l="0" t="0" r="r" b="b"/>
                <a:pathLst>
                  <a:path w="109" h="50">
                    <a:moveTo>
                      <a:pt x="45" y="39"/>
                    </a:moveTo>
                    <a:lnTo>
                      <a:pt x="45" y="39"/>
                    </a:lnTo>
                    <a:lnTo>
                      <a:pt x="47" y="39"/>
                    </a:lnTo>
                    <a:lnTo>
                      <a:pt x="50" y="40"/>
                    </a:lnTo>
                    <a:lnTo>
                      <a:pt x="56" y="49"/>
                    </a:lnTo>
                    <a:lnTo>
                      <a:pt x="56" y="49"/>
                    </a:lnTo>
                    <a:lnTo>
                      <a:pt x="56" y="49"/>
                    </a:lnTo>
                    <a:lnTo>
                      <a:pt x="56" y="49"/>
                    </a:lnTo>
                    <a:lnTo>
                      <a:pt x="72" y="46"/>
                    </a:lnTo>
                    <a:lnTo>
                      <a:pt x="72" y="46"/>
                    </a:lnTo>
                    <a:lnTo>
                      <a:pt x="79" y="46"/>
                    </a:lnTo>
                    <a:lnTo>
                      <a:pt x="86" y="47"/>
                    </a:lnTo>
                    <a:lnTo>
                      <a:pt x="86" y="47"/>
                    </a:lnTo>
                    <a:lnTo>
                      <a:pt x="86" y="46"/>
                    </a:lnTo>
                    <a:lnTo>
                      <a:pt x="86" y="45"/>
                    </a:lnTo>
                    <a:lnTo>
                      <a:pt x="86" y="45"/>
                    </a:lnTo>
                    <a:lnTo>
                      <a:pt x="87" y="43"/>
                    </a:lnTo>
                    <a:lnTo>
                      <a:pt x="90" y="43"/>
                    </a:lnTo>
                    <a:lnTo>
                      <a:pt x="97" y="47"/>
                    </a:lnTo>
                    <a:lnTo>
                      <a:pt x="97" y="47"/>
                    </a:lnTo>
                    <a:lnTo>
                      <a:pt x="99" y="49"/>
                    </a:lnTo>
                    <a:lnTo>
                      <a:pt x="103" y="50"/>
                    </a:lnTo>
                    <a:lnTo>
                      <a:pt x="106" y="49"/>
                    </a:lnTo>
                    <a:lnTo>
                      <a:pt x="109" y="49"/>
                    </a:lnTo>
                    <a:lnTo>
                      <a:pt x="109" y="49"/>
                    </a:lnTo>
                    <a:lnTo>
                      <a:pt x="109" y="46"/>
                    </a:lnTo>
                    <a:lnTo>
                      <a:pt x="107" y="45"/>
                    </a:lnTo>
                    <a:lnTo>
                      <a:pt x="104" y="42"/>
                    </a:lnTo>
                    <a:lnTo>
                      <a:pt x="104" y="42"/>
                    </a:lnTo>
                    <a:lnTo>
                      <a:pt x="104" y="39"/>
                    </a:lnTo>
                    <a:lnTo>
                      <a:pt x="107" y="35"/>
                    </a:lnTo>
                    <a:lnTo>
                      <a:pt x="107" y="35"/>
                    </a:lnTo>
                    <a:lnTo>
                      <a:pt x="101" y="32"/>
                    </a:lnTo>
                    <a:lnTo>
                      <a:pt x="97" y="30"/>
                    </a:lnTo>
                    <a:lnTo>
                      <a:pt x="97" y="30"/>
                    </a:lnTo>
                    <a:lnTo>
                      <a:pt x="96" y="29"/>
                    </a:lnTo>
                    <a:lnTo>
                      <a:pt x="94" y="26"/>
                    </a:lnTo>
                    <a:lnTo>
                      <a:pt x="94" y="22"/>
                    </a:lnTo>
                    <a:lnTo>
                      <a:pt x="92" y="20"/>
                    </a:lnTo>
                    <a:lnTo>
                      <a:pt x="92" y="20"/>
                    </a:lnTo>
                    <a:lnTo>
                      <a:pt x="89" y="19"/>
                    </a:lnTo>
                    <a:lnTo>
                      <a:pt x="86" y="17"/>
                    </a:lnTo>
                    <a:lnTo>
                      <a:pt x="86" y="17"/>
                    </a:lnTo>
                    <a:lnTo>
                      <a:pt x="79" y="19"/>
                    </a:lnTo>
                    <a:lnTo>
                      <a:pt x="73" y="19"/>
                    </a:lnTo>
                    <a:lnTo>
                      <a:pt x="70" y="20"/>
                    </a:lnTo>
                    <a:lnTo>
                      <a:pt x="70" y="20"/>
                    </a:lnTo>
                    <a:lnTo>
                      <a:pt x="67" y="20"/>
                    </a:lnTo>
                    <a:lnTo>
                      <a:pt x="66" y="19"/>
                    </a:lnTo>
                    <a:lnTo>
                      <a:pt x="63" y="16"/>
                    </a:lnTo>
                    <a:lnTo>
                      <a:pt x="60" y="15"/>
                    </a:lnTo>
                    <a:lnTo>
                      <a:pt x="60" y="15"/>
                    </a:lnTo>
                    <a:lnTo>
                      <a:pt x="57" y="15"/>
                    </a:lnTo>
                    <a:lnTo>
                      <a:pt x="55" y="13"/>
                    </a:lnTo>
                    <a:lnTo>
                      <a:pt x="50" y="9"/>
                    </a:lnTo>
                    <a:lnTo>
                      <a:pt x="50" y="9"/>
                    </a:lnTo>
                    <a:lnTo>
                      <a:pt x="46" y="8"/>
                    </a:lnTo>
                    <a:lnTo>
                      <a:pt x="39" y="8"/>
                    </a:lnTo>
                    <a:lnTo>
                      <a:pt x="30" y="8"/>
                    </a:lnTo>
                    <a:lnTo>
                      <a:pt x="25" y="6"/>
                    </a:lnTo>
                    <a:lnTo>
                      <a:pt x="25" y="6"/>
                    </a:lnTo>
                    <a:lnTo>
                      <a:pt x="16" y="2"/>
                    </a:lnTo>
                    <a:lnTo>
                      <a:pt x="10" y="0"/>
                    </a:lnTo>
                    <a:lnTo>
                      <a:pt x="6" y="0"/>
                    </a:lnTo>
                    <a:lnTo>
                      <a:pt x="6" y="0"/>
                    </a:lnTo>
                    <a:lnTo>
                      <a:pt x="0" y="3"/>
                    </a:lnTo>
                    <a:lnTo>
                      <a:pt x="0" y="3"/>
                    </a:lnTo>
                    <a:lnTo>
                      <a:pt x="8" y="8"/>
                    </a:lnTo>
                    <a:lnTo>
                      <a:pt x="15" y="9"/>
                    </a:lnTo>
                    <a:lnTo>
                      <a:pt x="22" y="12"/>
                    </a:lnTo>
                    <a:lnTo>
                      <a:pt x="23" y="15"/>
                    </a:lnTo>
                    <a:lnTo>
                      <a:pt x="25" y="17"/>
                    </a:lnTo>
                    <a:lnTo>
                      <a:pt x="25" y="17"/>
                    </a:lnTo>
                    <a:lnTo>
                      <a:pt x="27" y="23"/>
                    </a:lnTo>
                    <a:lnTo>
                      <a:pt x="29" y="26"/>
                    </a:lnTo>
                    <a:lnTo>
                      <a:pt x="32" y="29"/>
                    </a:lnTo>
                    <a:lnTo>
                      <a:pt x="30" y="35"/>
                    </a:lnTo>
                    <a:lnTo>
                      <a:pt x="30" y="35"/>
                    </a:lnTo>
                    <a:lnTo>
                      <a:pt x="29" y="37"/>
                    </a:lnTo>
                    <a:lnTo>
                      <a:pt x="27" y="40"/>
                    </a:lnTo>
                    <a:lnTo>
                      <a:pt x="27" y="40"/>
                    </a:lnTo>
                    <a:lnTo>
                      <a:pt x="37" y="40"/>
                    </a:lnTo>
                    <a:lnTo>
                      <a:pt x="45" y="39"/>
                    </a:lnTo>
                    <a:lnTo>
                      <a:pt x="45" y="3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697" name="Turkey">
                <a:extLst>
                  <a:ext uri="{FF2B5EF4-FFF2-40B4-BE49-F238E27FC236}">
                    <a16:creationId xmlns:a16="http://schemas.microsoft.com/office/drawing/2014/main" id="{50EFDF33-4DB1-5F49-A287-AE7AD6DC0B79}"/>
                  </a:ext>
                </a:extLst>
              </p:cNvPr>
              <p:cNvSpPr>
                <a:spLocks noEditPoints="1"/>
              </p:cNvSpPr>
              <p:nvPr/>
            </p:nvSpPr>
            <p:spPr bwMode="auto">
              <a:xfrm>
                <a:off x="4933067" y="3239857"/>
                <a:ext cx="442455" cy="173135"/>
              </a:xfrm>
              <a:custGeom>
                <a:avLst/>
                <a:gdLst/>
                <a:ahLst/>
                <a:cxnLst>
                  <a:cxn ang="0">
                    <a:pos x="292" y="69"/>
                  </a:cxn>
                  <a:cxn ang="0">
                    <a:pos x="290" y="52"/>
                  </a:cxn>
                  <a:cxn ang="0">
                    <a:pos x="293" y="44"/>
                  </a:cxn>
                  <a:cxn ang="0">
                    <a:pos x="289" y="36"/>
                  </a:cxn>
                  <a:cxn ang="0">
                    <a:pos x="279" y="27"/>
                  </a:cxn>
                  <a:cxn ang="0">
                    <a:pos x="270" y="10"/>
                  </a:cxn>
                  <a:cxn ang="0">
                    <a:pos x="247" y="10"/>
                  </a:cxn>
                  <a:cxn ang="0">
                    <a:pos x="218" y="20"/>
                  </a:cxn>
                  <a:cxn ang="0">
                    <a:pos x="189" y="20"/>
                  </a:cxn>
                  <a:cxn ang="0">
                    <a:pos x="171" y="15"/>
                  </a:cxn>
                  <a:cxn ang="0">
                    <a:pos x="156" y="7"/>
                  </a:cxn>
                  <a:cxn ang="0">
                    <a:pos x="132" y="2"/>
                  </a:cxn>
                  <a:cxn ang="0">
                    <a:pos x="91" y="10"/>
                  </a:cxn>
                  <a:cxn ang="0">
                    <a:pos x="64" y="19"/>
                  </a:cxn>
                  <a:cxn ang="0">
                    <a:pos x="47" y="23"/>
                  </a:cxn>
                  <a:cxn ang="0">
                    <a:pos x="23" y="32"/>
                  </a:cxn>
                  <a:cxn ang="0">
                    <a:pos x="1" y="40"/>
                  </a:cxn>
                  <a:cxn ang="0">
                    <a:pos x="7" y="46"/>
                  </a:cxn>
                  <a:cxn ang="0">
                    <a:pos x="10" y="52"/>
                  </a:cxn>
                  <a:cxn ang="0">
                    <a:pos x="10" y="64"/>
                  </a:cxn>
                  <a:cxn ang="0">
                    <a:pos x="14" y="76"/>
                  </a:cxn>
                  <a:cxn ang="0">
                    <a:pos x="11" y="81"/>
                  </a:cxn>
                  <a:cxn ang="0">
                    <a:pos x="20" y="90"/>
                  </a:cxn>
                  <a:cxn ang="0">
                    <a:pos x="31" y="96"/>
                  </a:cxn>
                  <a:cxn ang="0">
                    <a:pos x="41" y="98"/>
                  </a:cxn>
                  <a:cxn ang="0">
                    <a:pos x="53" y="111"/>
                  </a:cxn>
                  <a:cxn ang="0">
                    <a:pos x="70" y="106"/>
                  </a:cxn>
                  <a:cxn ang="0">
                    <a:pos x="82" y="98"/>
                  </a:cxn>
                  <a:cxn ang="0">
                    <a:pos x="108" y="113"/>
                  </a:cxn>
                  <a:cxn ang="0">
                    <a:pos x="129" y="106"/>
                  </a:cxn>
                  <a:cxn ang="0">
                    <a:pos x="145" y="103"/>
                  </a:cxn>
                  <a:cxn ang="0">
                    <a:pos x="161" y="100"/>
                  </a:cxn>
                  <a:cxn ang="0">
                    <a:pos x="156" y="108"/>
                  </a:cxn>
                  <a:cxn ang="0">
                    <a:pos x="156" y="117"/>
                  </a:cxn>
                  <a:cxn ang="0">
                    <a:pos x="166" y="107"/>
                  </a:cxn>
                  <a:cxn ang="0">
                    <a:pos x="172" y="103"/>
                  </a:cxn>
                  <a:cxn ang="0">
                    <a:pos x="186" y="103"/>
                  </a:cxn>
                  <a:cxn ang="0">
                    <a:pos x="199" y="103"/>
                  </a:cxn>
                  <a:cxn ang="0">
                    <a:pos x="226" y="98"/>
                  </a:cxn>
                  <a:cxn ang="0">
                    <a:pos x="249" y="94"/>
                  </a:cxn>
                  <a:cxn ang="0">
                    <a:pos x="265" y="90"/>
                  </a:cxn>
                  <a:cxn ang="0">
                    <a:pos x="279" y="91"/>
                  </a:cxn>
                  <a:cxn ang="0">
                    <a:pos x="292" y="96"/>
                  </a:cxn>
                  <a:cxn ang="0">
                    <a:pos x="299" y="91"/>
                  </a:cxn>
                  <a:cxn ang="0">
                    <a:pos x="24" y="20"/>
                  </a:cxn>
                  <a:cxn ang="0">
                    <a:pos x="45" y="19"/>
                  </a:cxn>
                  <a:cxn ang="0">
                    <a:pos x="34" y="9"/>
                  </a:cxn>
                  <a:cxn ang="0">
                    <a:pos x="27" y="2"/>
                  </a:cxn>
                  <a:cxn ang="0">
                    <a:pos x="7" y="2"/>
                  </a:cxn>
                  <a:cxn ang="0">
                    <a:pos x="9" y="12"/>
                  </a:cxn>
                  <a:cxn ang="0">
                    <a:pos x="4" y="20"/>
                  </a:cxn>
                  <a:cxn ang="0">
                    <a:pos x="10" y="30"/>
                  </a:cxn>
                  <a:cxn ang="0">
                    <a:pos x="24" y="20"/>
                  </a:cxn>
                </a:cxnLst>
                <a:rect l="0" t="0" r="r" b="b"/>
                <a:pathLst>
                  <a:path w="299" h="117">
                    <a:moveTo>
                      <a:pt x="292" y="81"/>
                    </a:moveTo>
                    <a:lnTo>
                      <a:pt x="292" y="81"/>
                    </a:lnTo>
                    <a:lnTo>
                      <a:pt x="290" y="79"/>
                    </a:lnTo>
                    <a:lnTo>
                      <a:pt x="290" y="74"/>
                    </a:lnTo>
                    <a:lnTo>
                      <a:pt x="292" y="69"/>
                    </a:lnTo>
                    <a:lnTo>
                      <a:pt x="292" y="64"/>
                    </a:lnTo>
                    <a:lnTo>
                      <a:pt x="292" y="64"/>
                    </a:lnTo>
                    <a:lnTo>
                      <a:pt x="289" y="57"/>
                    </a:lnTo>
                    <a:lnTo>
                      <a:pt x="289" y="53"/>
                    </a:lnTo>
                    <a:lnTo>
                      <a:pt x="290" y="52"/>
                    </a:lnTo>
                    <a:lnTo>
                      <a:pt x="290" y="52"/>
                    </a:lnTo>
                    <a:lnTo>
                      <a:pt x="290" y="52"/>
                    </a:lnTo>
                    <a:lnTo>
                      <a:pt x="292" y="50"/>
                    </a:lnTo>
                    <a:lnTo>
                      <a:pt x="292" y="47"/>
                    </a:lnTo>
                    <a:lnTo>
                      <a:pt x="293" y="44"/>
                    </a:lnTo>
                    <a:lnTo>
                      <a:pt x="294" y="43"/>
                    </a:lnTo>
                    <a:lnTo>
                      <a:pt x="294" y="43"/>
                    </a:lnTo>
                    <a:lnTo>
                      <a:pt x="292" y="37"/>
                    </a:lnTo>
                    <a:lnTo>
                      <a:pt x="292" y="37"/>
                    </a:lnTo>
                    <a:lnTo>
                      <a:pt x="289" y="36"/>
                    </a:lnTo>
                    <a:lnTo>
                      <a:pt x="286" y="36"/>
                    </a:lnTo>
                    <a:lnTo>
                      <a:pt x="282" y="36"/>
                    </a:lnTo>
                    <a:lnTo>
                      <a:pt x="280" y="32"/>
                    </a:lnTo>
                    <a:lnTo>
                      <a:pt x="280" y="32"/>
                    </a:lnTo>
                    <a:lnTo>
                      <a:pt x="279" y="27"/>
                    </a:lnTo>
                    <a:lnTo>
                      <a:pt x="277" y="24"/>
                    </a:lnTo>
                    <a:lnTo>
                      <a:pt x="277" y="22"/>
                    </a:lnTo>
                    <a:lnTo>
                      <a:pt x="276" y="19"/>
                    </a:lnTo>
                    <a:lnTo>
                      <a:pt x="276" y="19"/>
                    </a:lnTo>
                    <a:lnTo>
                      <a:pt x="270" y="10"/>
                    </a:lnTo>
                    <a:lnTo>
                      <a:pt x="267" y="9"/>
                    </a:lnTo>
                    <a:lnTo>
                      <a:pt x="265" y="9"/>
                    </a:lnTo>
                    <a:lnTo>
                      <a:pt x="265" y="9"/>
                    </a:lnTo>
                    <a:lnTo>
                      <a:pt x="257" y="10"/>
                    </a:lnTo>
                    <a:lnTo>
                      <a:pt x="247" y="10"/>
                    </a:lnTo>
                    <a:lnTo>
                      <a:pt x="247" y="10"/>
                    </a:lnTo>
                    <a:lnTo>
                      <a:pt x="240" y="15"/>
                    </a:lnTo>
                    <a:lnTo>
                      <a:pt x="232" y="17"/>
                    </a:lnTo>
                    <a:lnTo>
                      <a:pt x="223" y="20"/>
                    </a:lnTo>
                    <a:lnTo>
                      <a:pt x="218" y="20"/>
                    </a:lnTo>
                    <a:lnTo>
                      <a:pt x="218" y="20"/>
                    </a:lnTo>
                    <a:lnTo>
                      <a:pt x="212" y="19"/>
                    </a:lnTo>
                    <a:lnTo>
                      <a:pt x="205" y="19"/>
                    </a:lnTo>
                    <a:lnTo>
                      <a:pt x="189" y="20"/>
                    </a:lnTo>
                    <a:lnTo>
                      <a:pt x="189" y="20"/>
                    </a:lnTo>
                    <a:lnTo>
                      <a:pt x="183" y="19"/>
                    </a:lnTo>
                    <a:lnTo>
                      <a:pt x="179" y="17"/>
                    </a:lnTo>
                    <a:lnTo>
                      <a:pt x="175" y="15"/>
                    </a:lnTo>
                    <a:lnTo>
                      <a:pt x="171" y="15"/>
                    </a:lnTo>
                    <a:lnTo>
                      <a:pt x="171" y="15"/>
                    </a:lnTo>
                    <a:lnTo>
                      <a:pt x="166" y="13"/>
                    </a:lnTo>
                    <a:lnTo>
                      <a:pt x="164" y="12"/>
                    </a:lnTo>
                    <a:lnTo>
                      <a:pt x="161" y="9"/>
                    </a:lnTo>
                    <a:lnTo>
                      <a:pt x="156" y="7"/>
                    </a:lnTo>
                    <a:lnTo>
                      <a:pt x="156" y="7"/>
                    </a:lnTo>
                    <a:lnTo>
                      <a:pt x="152" y="7"/>
                    </a:lnTo>
                    <a:lnTo>
                      <a:pt x="149" y="6"/>
                    </a:lnTo>
                    <a:lnTo>
                      <a:pt x="145" y="3"/>
                    </a:lnTo>
                    <a:lnTo>
                      <a:pt x="132" y="2"/>
                    </a:lnTo>
                    <a:lnTo>
                      <a:pt x="132" y="2"/>
                    </a:lnTo>
                    <a:lnTo>
                      <a:pt x="124" y="0"/>
                    </a:lnTo>
                    <a:lnTo>
                      <a:pt x="117" y="2"/>
                    </a:lnTo>
                    <a:lnTo>
                      <a:pt x="110" y="3"/>
                    </a:lnTo>
                    <a:lnTo>
                      <a:pt x="102" y="6"/>
                    </a:lnTo>
                    <a:lnTo>
                      <a:pt x="91" y="10"/>
                    </a:lnTo>
                    <a:lnTo>
                      <a:pt x="84" y="16"/>
                    </a:lnTo>
                    <a:lnTo>
                      <a:pt x="84" y="16"/>
                    </a:lnTo>
                    <a:lnTo>
                      <a:pt x="80" y="19"/>
                    </a:lnTo>
                    <a:lnTo>
                      <a:pt x="75" y="19"/>
                    </a:lnTo>
                    <a:lnTo>
                      <a:pt x="64" y="19"/>
                    </a:lnTo>
                    <a:lnTo>
                      <a:pt x="54" y="17"/>
                    </a:lnTo>
                    <a:lnTo>
                      <a:pt x="48" y="19"/>
                    </a:lnTo>
                    <a:lnTo>
                      <a:pt x="48" y="19"/>
                    </a:lnTo>
                    <a:lnTo>
                      <a:pt x="47" y="20"/>
                    </a:lnTo>
                    <a:lnTo>
                      <a:pt x="47" y="23"/>
                    </a:lnTo>
                    <a:lnTo>
                      <a:pt x="45" y="27"/>
                    </a:lnTo>
                    <a:lnTo>
                      <a:pt x="41" y="30"/>
                    </a:lnTo>
                    <a:lnTo>
                      <a:pt x="41" y="30"/>
                    </a:lnTo>
                    <a:lnTo>
                      <a:pt x="33" y="32"/>
                    </a:lnTo>
                    <a:lnTo>
                      <a:pt x="23" y="32"/>
                    </a:lnTo>
                    <a:lnTo>
                      <a:pt x="14" y="32"/>
                    </a:lnTo>
                    <a:lnTo>
                      <a:pt x="7" y="33"/>
                    </a:lnTo>
                    <a:lnTo>
                      <a:pt x="7" y="33"/>
                    </a:lnTo>
                    <a:lnTo>
                      <a:pt x="3" y="36"/>
                    </a:lnTo>
                    <a:lnTo>
                      <a:pt x="1" y="40"/>
                    </a:lnTo>
                    <a:lnTo>
                      <a:pt x="1" y="44"/>
                    </a:lnTo>
                    <a:lnTo>
                      <a:pt x="1" y="44"/>
                    </a:lnTo>
                    <a:lnTo>
                      <a:pt x="4" y="46"/>
                    </a:lnTo>
                    <a:lnTo>
                      <a:pt x="4" y="46"/>
                    </a:lnTo>
                    <a:lnTo>
                      <a:pt x="7" y="46"/>
                    </a:lnTo>
                    <a:lnTo>
                      <a:pt x="10" y="46"/>
                    </a:lnTo>
                    <a:lnTo>
                      <a:pt x="10" y="49"/>
                    </a:lnTo>
                    <a:lnTo>
                      <a:pt x="10" y="50"/>
                    </a:lnTo>
                    <a:lnTo>
                      <a:pt x="10" y="50"/>
                    </a:lnTo>
                    <a:lnTo>
                      <a:pt x="10" y="52"/>
                    </a:lnTo>
                    <a:lnTo>
                      <a:pt x="11" y="56"/>
                    </a:lnTo>
                    <a:lnTo>
                      <a:pt x="13" y="59"/>
                    </a:lnTo>
                    <a:lnTo>
                      <a:pt x="11" y="61"/>
                    </a:lnTo>
                    <a:lnTo>
                      <a:pt x="11" y="61"/>
                    </a:lnTo>
                    <a:lnTo>
                      <a:pt x="10" y="64"/>
                    </a:lnTo>
                    <a:lnTo>
                      <a:pt x="10" y="67"/>
                    </a:lnTo>
                    <a:lnTo>
                      <a:pt x="10" y="70"/>
                    </a:lnTo>
                    <a:lnTo>
                      <a:pt x="13" y="73"/>
                    </a:lnTo>
                    <a:lnTo>
                      <a:pt x="13" y="73"/>
                    </a:lnTo>
                    <a:lnTo>
                      <a:pt x="14" y="76"/>
                    </a:lnTo>
                    <a:lnTo>
                      <a:pt x="16" y="79"/>
                    </a:lnTo>
                    <a:lnTo>
                      <a:pt x="14" y="80"/>
                    </a:lnTo>
                    <a:lnTo>
                      <a:pt x="13" y="81"/>
                    </a:lnTo>
                    <a:lnTo>
                      <a:pt x="13" y="81"/>
                    </a:lnTo>
                    <a:lnTo>
                      <a:pt x="11" y="81"/>
                    </a:lnTo>
                    <a:lnTo>
                      <a:pt x="11" y="83"/>
                    </a:lnTo>
                    <a:lnTo>
                      <a:pt x="14" y="86"/>
                    </a:lnTo>
                    <a:lnTo>
                      <a:pt x="18" y="87"/>
                    </a:lnTo>
                    <a:lnTo>
                      <a:pt x="20" y="90"/>
                    </a:lnTo>
                    <a:lnTo>
                      <a:pt x="20" y="90"/>
                    </a:lnTo>
                    <a:lnTo>
                      <a:pt x="21" y="91"/>
                    </a:lnTo>
                    <a:lnTo>
                      <a:pt x="26" y="93"/>
                    </a:lnTo>
                    <a:lnTo>
                      <a:pt x="28" y="94"/>
                    </a:lnTo>
                    <a:lnTo>
                      <a:pt x="31" y="96"/>
                    </a:lnTo>
                    <a:lnTo>
                      <a:pt x="31" y="96"/>
                    </a:lnTo>
                    <a:lnTo>
                      <a:pt x="31" y="98"/>
                    </a:lnTo>
                    <a:lnTo>
                      <a:pt x="33" y="98"/>
                    </a:lnTo>
                    <a:lnTo>
                      <a:pt x="38" y="98"/>
                    </a:lnTo>
                    <a:lnTo>
                      <a:pt x="38" y="98"/>
                    </a:lnTo>
                    <a:lnTo>
                      <a:pt x="41" y="98"/>
                    </a:lnTo>
                    <a:lnTo>
                      <a:pt x="44" y="101"/>
                    </a:lnTo>
                    <a:lnTo>
                      <a:pt x="48" y="108"/>
                    </a:lnTo>
                    <a:lnTo>
                      <a:pt x="48" y="108"/>
                    </a:lnTo>
                    <a:lnTo>
                      <a:pt x="50" y="110"/>
                    </a:lnTo>
                    <a:lnTo>
                      <a:pt x="53" y="111"/>
                    </a:lnTo>
                    <a:lnTo>
                      <a:pt x="60" y="111"/>
                    </a:lnTo>
                    <a:lnTo>
                      <a:pt x="67" y="108"/>
                    </a:lnTo>
                    <a:lnTo>
                      <a:pt x="68" y="107"/>
                    </a:lnTo>
                    <a:lnTo>
                      <a:pt x="70" y="106"/>
                    </a:lnTo>
                    <a:lnTo>
                      <a:pt x="70" y="106"/>
                    </a:lnTo>
                    <a:lnTo>
                      <a:pt x="70" y="101"/>
                    </a:lnTo>
                    <a:lnTo>
                      <a:pt x="73" y="100"/>
                    </a:lnTo>
                    <a:lnTo>
                      <a:pt x="77" y="98"/>
                    </a:lnTo>
                    <a:lnTo>
                      <a:pt x="82" y="98"/>
                    </a:lnTo>
                    <a:lnTo>
                      <a:pt x="82" y="98"/>
                    </a:lnTo>
                    <a:lnTo>
                      <a:pt x="88" y="101"/>
                    </a:lnTo>
                    <a:lnTo>
                      <a:pt x="95" y="106"/>
                    </a:lnTo>
                    <a:lnTo>
                      <a:pt x="104" y="111"/>
                    </a:lnTo>
                    <a:lnTo>
                      <a:pt x="104" y="111"/>
                    </a:lnTo>
                    <a:lnTo>
                      <a:pt x="108" y="113"/>
                    </a:lnTo>
                    <a:lnTo>
                      <a:pt x="112" y="111"/>
                    </a:lnTo>
                    <a:lnTo>
                      <a:pt x="121" y="108"/>
                    </a:lnTo>
                    <a:lnTo>
                      <a:pt x="121" y="108"/>
                    </a:lnTo>
                    <a:lnTo>
                      <a:pt x="125" y="108"/>
                    </a:lnTo>
                    <a:lnTo>
                      <a:pt x="129" y="106"/>
                    </a:lnTo>
                    <a:lnTo>
                      <a:pt x="135" y="100"/>
                    </a:lnTo>
                    <a:lnTo>
                      <a:pt x="135" y="100"/>
                    </a:lnTo>
                    <a:lnTo>
                      <a:pt x="138" y="100"/>
                    </a:lnTo>
                    <a:lnTo>
                      <a:pt x="141" y="101"/>
                    </a:lnTo>
                    <a:lnTo>
                      <a:pt x="145" y="103"/>
                    </a:lnTo>
                    <a:lnTo>
                      <a:pt x="148" y="103"/>
                    </a:lnTo>
                    <a:lnTo>
                      <a:pt x="148" y="103"/>
                    </a:lnTo>
                    <a:lnTo>
                      <a:pt x="155" y="100"/>
                    </a:lnTo>
                    <a:lnTo>
                      <a:pt x="158" y="98"/>
                    </a:lnTo>
                    <a:lnTo>
                      <a:pt x="161" y="100"/>
                    </a:lnTo>
                    <a:lnTo>
                      <a:pt x="161" y="100"/>
                    </a:lnTo>
                    <a:lnTo>
                      <a:pt x="161" y="100"/>
                    </a:lnTo>
                    <a:lnTo>
                      <a:pt x="161" y="101"/>
                    </a:lnTo>
                    <a:lnTo>
                      <a:pt x="158" y="106"/>
                    </a:lnTo>
                    <a:lnTo>
                      <a:pt x="156" y="108"/>
                    </a:lnTo>
                    <a:lnTo>
                      <a:pt x="155" y="110"/>
                    </a:lnTo>
                    <a:lnTo>
                      <a:pt x="156" y="113"/>
                    </a:lnTo>
                    <a:lnTo>
                      <a:pt x="156" y="113"/>
                    </a:lnTo>
                    <a:lnTo>
                      <a:pt x="156" y="114"/>
                    </a:lnTo>
                    <a:lnTo>
                      <a:pt x="156" y="117"/>
                    </a:lnTo>
                    <a:lnTo>
                      <a:pt x="156" y="117"/>
                    </a:lnTo>
                    <a:lnTo>
                      <a:pt x="162" y="116"/>
                    </a:lnTo>
                    <a:lnTo>
                      <a:pt x="165" y="113"/>
                    </a:lnTo>
                    <a:lnTo>
                      <a:pt x="165" y="110"/>
                    </a:lnTo>
                    <a:lnTo>
                      <a:pt x="166" y="107"/>
                    </a:lnTo>
                    <a:lnTo>
                      <a:pt x="166" y="107"/>
                    </a:lnTo>
                    <a:lnTo>
                      <a:pt x="168" y="103"/>
                    </a:lnTo>
                    <a:lnTo>
                      <a:pt x="169" y="101"/>
                    </a:lnTo>
                    <a:lnTo>
                      <a:pt x="172" y="103"/>
                    </a:lnTo>
                    <a:lnTo>
                      <a:pt x="172" y="103"/>
                    </a:lnTo>
                    <a:lnTo>
                      <a:pt x="175" y="104"/>
                    </a:lnTo>
                    <a:lnTo>
                      <a:pt x="178" y="104"/>
                    </a:lnTo>
                    <a:lnTo>
                      <a:pt x="182" y="104"/>
                    </a:lnTo>
                    <a:lnTo>
                      <a:pt x="186" y="103"/>
                    </a:lnTo>
                    <a:lnTo>
                      <a:pt x="186" y="103"/>
                    </a:lnTo>
                    <a:lnTo>
                      <a:pt x="193" y="100"/>
                    </a:lnTo>
                    <a:lnTo>
                      <a:pt x="195" y="100"/>
                    </a:lnTo>
                    <a:lnTo>
                      <a:pt x="196" y="101"/>
                    </a:lnTo>
                    <a:lnTo>
                      <a:pt x="196" y="101"/>
                    </a:lnTo>
                    <a:lnTo>
                      <a:pt x="199" y="103"/>
                    </a:lnTo>
                    <a:lnTo>
                      <a:pt x="203" y="103"/>
                    </a:lnTo>
                    <a:lnTo>
                      <a:pt x="215" y="101"/>
                    </a:lnTo>
                    <a:lnTo>
                      <a:pt x="215" y="101"/>
                    </a:lnTo>
                    <a:lnTo>
                      <a:pt x="222" y="100"/>
                    </a:lnTo>
                    <a:lnTo>
                      <a:pt x="226" y="98"/>
                    </a:lnTo>
                    <a:lnTo>
                      <a:pt x="230" y="96"/>
                    </a:lnTo>
                    <a:lnTo>
                      <a:pt x="236" y="96"/>
                    </a:lnTo>
                    <a:lnTo>
                      <a:pt x="236" y="96"/>
                    </a:lnTo>
                    <a:lnTo>
                      <a:pt x="243" y="94"/>
                    </a:lnTo>
                    <a:lnTo>
                      <a:pt x="249" y="94"/>
                    </a:lnTo>
                    <a:lnTo>
                      <a:pt x="255" y="93"/>
                    </a:lnTo>
                    <a:lnTo>
                      <a:pt x="260" y="94"/>
                    </a:lnTo>
                    <a:lnTo>
                      <a:pt x="260" y="94"/>
                    </a:lnTo>
                    <a:lnTo>
                      <a:pt x="263" y="91"/>
                    </a:lnTo>
                    <a:lnTo>
                      <a:pt x="265" y="90"/>
                    </a:lnTo>
                    <a:lnTo>
                      <a:pt x="267" y="89"/>
                    </a:lnTo>
                    <a:lnTo>
                      <a:pt x="267" y="89"/>
                    </a:lnTo>
                    <a:lnTo>
                      <a:pt x="273" y="89"/>
                    </a:lnTo>
                    <a:lnTo>
                      <a:pt x="276" y="91"/>
                    </a:lnTo>
                    <a:lnTo>
                      <a:pt x="279" y="91"/>
                    </a:lnTo>
                    <a:lnTo>
                      <a:pt x="282" y="91"/>
                    </a:lnTo>
                    <a:lnTo>
                      <a:pt x="282" y="91"/>
                    </a:lnTo>
                    <a:lnTo>
                      <a:pt x="283" y="91"/>
                    </a:lnTo>
                    <a:lnTo>
                      <a:pt x="286" y="93"/>
                    </a:lnTo>
                    <a:lnTo>
                      <a:pt x="292" y="96"/>
                    </a:lnTo>
                    <a:lnTo>
                      <a:pt x="296" y="97"/>
                    </a:lnTo>
                    <a:lnTo>
                      <a:pt x="297" y="97"/>
                    </a:lnTo>
                    <a:lnTo>
                      <a:pt x="299" y="94"/>
                    </a:lnTo>
                    <a:lnTo>
                      <a:pt x="299" y="94"/>
                    </a:lnTo>
                    <a:lnTo>
                      <a:pt x="299" y="91"/>
                    </a:lnTo>
                    <a:lnTo>
                      <a:pt x="296" y="87"/>
                    </a:lnTo>
                    <a:lnTo>
                      <a:pt x="293" y="84"/>
                    </a:lnTo>
                    <a:lnTo>
                      <a:pt x="292" y="81"/>
                    </a:lnTo>
                    <a:lnTo>
                      <a:pt x="292" y="81"/>
                    </a:lnTo>
                    <a:close/>
                    <a:moveTo>
                      <a:pt x="24" y="20"/>
                    </a:moveTo>
                    <a:lnTo>
                      <a:pt x="24" y="20"/>
                    </a:lnTo>
                    <a:lnTo>
                      <a:pt x="30" y="20"/>
                    </a:lnTo>
                    <a:lnTo>
                      <a:pt x="36" y="20"/>
                    </a:lnTo>
                    <a:lnTo>
                      <a:pt x="41" y="20"/>
                    </a:lnTo>
                    <a:lnTo>
                      <a:pt x="45" y="19"/>
                    </a:lnTo>
                    <a:lnTo>
                      <a:pt x="45" y="19"/>
                    </a:lnTo>
                    <a:lnTo>
                      <a:pt x="47" y="17"/>
                    </a:lnTo>
                    <a:lnTo>
                      <a:pt x="45" y="16"/>
                    </a:lnTo>
                    <a:lnTo>
                      <a:pt x="43" y="13"/>
                    </a:lnTo>
                    <a:lnTo>
                      <a:pt x="34" y="9"/>
                    </a:lnTo>
                    <a:lnTo>
                      <a:pt x="34" y="9"/>
                    </a:lnTo>
                    <a:lnTo>
                      <a:pt x="31" y="5"/>
                    </a:lnTo>
                    <a:lnTo>
                      <a:pt x="30" y="0"/>
                    </a:lnTo>
                    <a:lnTo>
                      <a:pt x="30" y="0"/>
                    </a:lnTo>
                    <a:lnTo>
                      <a:pt x="27" y="2"/>
                    </a:lnTo>
                    <a:lnTo>
                      <a:pt x="23" y="2"/>
                    </a:lnTo>
                    <a:lnTo>
                      <a:pt x="23" y="2"/>
                    </a:lnTo>
                    <a:lnTo>
                      <a:pt x="18" y="0"/>
                    </a:lnTo>
                    <a:lnTo>
                      <a:pt x="14" y="0"/>
                    </a:lnTo>
                    <a:lnTo>
                      <a:pt x="7" y="2"/>
                    </a:lnTo>
                    <a:lnTo>
                      <a:pt x="7" y="2"/>
                    </a:lnTo>
                    <a:lnTo>
                      <a:pt x="6" y="3"/>
                    </a:lnTo>
                    <a:lnTo>
                      <a:pt x="7" y="6"/>
                    </a:lnTo>
                    <a:lnTo>
                      <a:pt x="9" y="12"/>
                    </a:lnTo>
                    <a:lnTo>
                      <a:pt x="9" y="12"/>
                    </a:lnTo>
                    <a:lnTo>
                      <a:pt x="7" y="15"/>
                    </a:lnTo>
                    <a:lnTo>
                      <a:pt x="6" y="16"/>
                    </a:lnTo>
                    <a:lnTo>
                      <a:pt x="4" y="17"/>
                    </a:lnTo>
                    <a:lnTo>
                      <a:pt x="4" y="20"/>
                    </a:lnTo>
                    <a:lnTo>
                      <a:pt x="4" y="20"/>
                    </a:lnTo>
                    <a:lnTo>
                      <a:pt x="3" y="23"/>
                    </a:lnTo>
                    <a:lnTo>
                      <a:pt x="0" y="26"/>
                    </a:lnTo>
                    <a:lnTo>
                      <a:pt x="0" y="26"/>
                    </a:lnTo>
                    <a:lnTo>
                      <a:pt x="4" y="29"/>
                    </a:lnTo>
                    <a:lnTo>
                      <a:pt x="10" y="30"/>
                    </a:lnTo>
                    <a:lnTo>
                      <a:pt x="10" y="30"/>
                    </a:lnTo>
                    <a:lnTo>
                      <a:pt x="14" y="29"/>
                    </a:lnTo>
                    <a:lnTo>
                      <a:pt x="17" y="26"/>
                    </a:lnTo>
                    <a:lnTo>
                      <a:pt x="20" y="23"/>
                    </a:lnTo>
                    <a:lnTo>
                      <a:pt x="24" y="20"/>
                    </a:lnTo>
                    <a:lnTo>
                      <a:pt x="24" y="2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698" name="Poland">
                <a:extLst>
                  <a:ext uri="{FF2B5EF4-FFF2-40B4-BE49-F238E27FC236}">
                    <a16:creationId xmlns:a16="http://schemas.microsoft.com/office/drawing/2014/main" id="{38409701-6DE2-2E49-B860-5E58819B067F}"/>
                  </a:ext>
                </a:extLst>
              </p:cNvPr>
              <p:cNvSpPr>
                <a:spLocks/>
              </p:cNvSpPr>
              <p:nvPr/>
            </p:nvSpPr>
            <p:spPr bwMode="auto">
              <a:xfrm>
                <a:off x="4660787" y="2844753"/>
                <a:ext cx="226408" cy="184973"/>
              </a:xfrm>
              <a:custGeom>
                <a:avLst/>
                <a:gdLst/>
                <a:ahLst/>
                <a:cxnLst>
                  <a:cxn ang="0">
                    <a:pos x="3" y="33"/>
                  </a:cxn>
                  <a:cxn ang="0">
                    <a:pos x="2" y="41"/>
                  </a:cxn>
                  <a:cxn ang="0">
                    <a:pos x="2" y="48"/>
                  </a:cxn>
                  <a:cxn ang="0">
                    <a:pos x="6" y="55"/>
                  </a:cxn>
                  <a:cxn ang="0">
                    <a:pos x="8" y="64"/>
                  </a:cxn>
                  <a:cxn ang="0">
                    <a:pos x="12" y="77"/>
                  </a:cxn>
                  <a:cxn ang="0">
                    <a:pos x="12" y="84"/>
                  </a:cxn>
                  <a:cxn ang="0">
                    <a:pos x="22" y="89"/>
                  </a:cxn>
                  <a:cxn ang="0">
                    <a:pos x="32" y="97"/>
                  </a:cxn>
                  <a:cxn ang="0">
                    <a:pos x="36" y="101"/>
                  </a:cxn>
                  <a:cxn ang="0">
                    <a:pos x="40" y="101"/>
                  </a:cxn>
                  <a:cxn ang="0">
                    <a:pos x="50" y="99"/>
                  </a:cxn>
                  <a:cxn ang="0">
                    <a:pos x="53" y="101"/>
                  </a:cxn>
                  <a:cxn ang="0">
                    <a:pos x="56" y="107"/>
                  </a:cxn>
                  <a:cxn ang="0">
                    <a:pos x="64" y="108"/>
                  </a:cxn>
                  <a:cxn ang="0">
                    <a:pos x="70" y="115"/>
                  </a:cxn>
                  <a:cxn ang="0">
                    <a:pos x="74" y="118"/>
                  </a:cxn>
                  <a:cxn ang="0">
                    <a:pos x="82" y="117"/>
                  </a:cxn>
                  <a:cxn ang="0">
                    <a:pos x="92" y="118"/>
                  </a:cxn>
                  <a:cxn ang="0">
                    <a:pos x="99" y="118"/>
                  </a:cxn>
                  <a:cxn ang="0">
                    <a:pos x="107" y="119"/>
                  </a:cxn>
                  <a:cxn ang="0">
                    <a:pos x="121" y="122"/>
                  </a:cxn>
                  <a:cxn ang="0">
                    <a:pos x="131" y="125"/>
                  </a:cxn>
                  <a:cxn ang="0">
                    <a:pos x="130" y="114"/>
                  </a:cxn>
                  <a:cxn ang="0">
                    <a:pos x="146" y="98"/>
                  </a:cxn>
                  <a:cxn ang="0">
                    <a:pos x="150" y="95"/>
                  </a:cxn>
                  <a:cxn ang="0">
                    <a:pos x="153" y="89"/>
                  </a:cxn>
                  <a:cxn ang="0">
                    <a:pos x="146" y="77"/>
                  </a:cxn>
                  <a:cxn ang="0">
                    <a:pos x="144" y="62"/>
                  </a:cxn>
                  <a:cxn ang="0">
                    <a:pos x="140" y="57"/>
                  </a:cxn>
                  <a:cxn ang="0">
                    <a:pos x="140" y="52"/>
                  </a:cxn>
                  <a:cxn ang="0">
                    <a:pos x="148" y="47"/>
                  </a:cxn>
                  <a:cxn ang="0">
                    <a:pos x="150" y="35"/>
                  </a:cxn>
                  <a:cxn ang="0">
                    <a:pos x="146" y="31"/>
                  </a:cxn>
                  <a:cxn ang="0">
                    <a:pos x="146" y="21"/>
                  </a:cxn>
                  <a:cxn ang="0">
                    <a:pos x="144" y="17"/>
                  </a:cxn>
                  <a:cxn ang="0">
                    <a:pos x="133" y="11"/>
                  </a:cxn>
                  <a:cxn ang="0">
                    <a:pos x="121" y="11"/>
                  </a:cxn>
                  <a:cxn ang="0">
                    <a:pos x="90" y="10"/>
                  </a:cxn>
                  <a:cxn ang="0">
                    <a:pos x="79" y="10"/>
                  </a:cxn>
                  <a:cxn ang="0">
                    <a:pos x="70" y="10"/>
                  </a:cxn>
                  <a:cxn ang="0">
                    <a:pos x="66" y="1"/>
                  </a:cxn>
                  <a:cxn ang="0">
                    <a:pos x="52" y="3"/>
                  </a:cxn>
                  <a:cxn ang="0">
                    <a:pos x="32" y="11"/>
                  </a:cxn>
                  <a:cxn ang="0">
                    <a:pos x="25" y="14"/>
                  </a:cxn>
                  <a:cxn ang="0">
                    <a:pos x="8" y="18"/>
                  </a:cxn>
                  <a:cxn ang="0">
                    <a:pos x="5" y="23"/>
                  </a:cxn>
                  <a:cxn ang="0">
                    <a:pos x="2" y="25"/>
                  </a:cxn>
                </a:cxnLst>
                <a:rect l="0" t="0" r="r" b="b"/>
                <a:pathLst>
                  <a:path w="153" h="125">
                    <a:moveTo>
                      <a:pt x="2" y="25"/>
                    </a:moveTo>
                    <a:lnTo>
                      <a:pt x="2" y="25"/>
                    </a:lnTo>
                    <a:lnTo>
                      <a:pt x="3" y="33"/>
                    </a:lnTo>
                    <a:lnTo>
                      <a:pt x="2" y="38"/>
                    </a:lnTo>
                    <a:lnTo>
                      <a:pt x="2" y="41"/>
                    </a:lnTo>
                    <a:lnTo>
                      <a:pt x="2" y="41"/>
                    </a:lnTo>
                    <a:lnTo>
                      <a:pt x="0" y="44"/>
                    </a:lnTo>
                    <a:lnTo>
                      <a:pt x="0" y="45"/>
                    </a:lnTo>
                    <a:lnTo>
                      <a:pt x="2" y="48"/>
                    </a:lnTo>
                    <a:lnTo>
                      <a:pt x="2" y="48"/>
                    </a:lnTo>
                    <a:lnTo>
                      <a:pt x="5" y="51"/>
                    </a:lnTo>
                    <a:lnTo>
                      <a:pt x="6" y="55"/>
                    </a:lnTo>
                    <a:lnTo>
                      <a:pt x="6" y="55"/>
                    </a:lnTo>
                    <a:lnTo>
                      <a:pt x="8" y="60"/>
                    </a:lnTo>
                    <a:lnTo>
                      <a:pt x="8" y="64"/>
                    </a:lnTo>
                    <a:lnTo>
                      <a:pt x="8" y="64"/>
                    </a:lnTo>
                    <a:lnTo>
                      <a:pt x="9" y="72"/>
                    </a:lnTo>
                    <a:lnTo>
                      <a:pt x="12" y="77"/>
                    </a:lnTo>
                    <a:lnTo>
                      <a:pt x="12" y="77"/>
                    </a:lnTo>
                    <a:lnTo>
                      <a:pt x="13" y="81"/>
                    </a:lnTo>
                    <a:lnTo>
                      <a:pt x="12" y="84"/>
                    </a:lnTo>
                    <a:lnTo>
                      <a:pt x="12" y="84"/>
                    </a:lnTo>
                    <a:lnTo>
                      <a:pt x="22" y="89"/>
                    </a:lnTo>
                    <a:lnTo>
                      <a:pt x="22" y="89"/>
                    </a:lnTo>
                    <a:lnTo>
                      <a:pt x="30" y="94"/>
                    </a:lnTo>
                    <a:lnTo>
                      <a:pt x="32" y="95"/>
                    </a:lnTo>
                    <a:lnTo>
                      <a:pt x="32" y="97"/>
                    </a:lnTo>
                    <a:lnTo>
                      <a:pt x="32" y="97"/>
                    </a:lnTo>
                    <a:lnTo>
                      <a:pt x="33" y="99"/>
                    </a:lnTo>
                    <a:lnTo>
                      <a:pt x="36" y="101"/>
                    </a:lnTo>
                    <a:lnTo>
                      <a:pt x="39" y="102"/>
                    </a:lnTo>
                    <a:lnTo>
                      <a:pt x="40" y="101"/>
                    </a:lnTo>
                    <a:lnTo>
                      <a:pt x="40" y="101"/>
                    </a:lnTo>
                    <a:lnTo>
                      <a:pt x="43" y="99"/>
                    </a:lnTo>
                    <a:lnTo>
                      <a:pt x="45" y="99"/>
                    </a:lnTo>
                    <a:lnTo>
                      <a:pt x="50" y="99"/>
                    </a:lnTo>
                    <a:lnTo>
                      <a:pt x="50" y="99"/>
                    </a:lnTo>
                    <a:lnTo>
                      <a:pt x="52" y="99"/>
                    </a:lnTo>
                    <a:lnTo>
                      <a:pt x="53" y="101"/>
                    </a:lnTo>
                    <a:lnTo>
                      <a:pt x="55" y="105"/>
                    </a:lnTo>
                    <a:lnTo>
                      <a:pt x="55" y="105"/>
                    </a:lnTo>
                    <a:lnTo>
                      <a:pt x="56" y="107"/>
                    </a:lnTo>
                    <a:lnTo>
                      <a:pt x="59" y="107"/>
                    </a:lnTo>
                    <a:lnTo>
                      <a:pt x="64" y="108"/>
                    </a:lnTo>
                    <a:lnTo>
                      <a:pt x="64" y="108"/>
                    </a:lnTo>
                    <a:lnTo>
                      <a:pt x="66" y="109"/>
                    </a:lnTo>
                    <a:lnTo>
                      <a:pt x="67" y="112"/>
                    </a:lnTo>
                    <a:lnTo>
                      <a:pt x="70" y="115"/>
                    </a:lnTo>
                    <a:lnTo>
                      <a:pt x="72" y="118"/>
                    </a:lnTo>
                    <a:lnTo>
                      <a:pt x="72" y="118"/>
                    </a:lnTo>
                    <a:lnTo>
                      <a:pt x="74" y="118"/>
                    </a:lnTo>
                    <a:lnTo>
                      <a:pt x="77" y="117"/>
                    </a:lnTo>
                    <a:lnTo>
                      <a:pt x="80" y="117"/>
                    </a:lnTo>
                    <a:lnTo>
                      <a:pt x="82" y="117"/>
                    </a:lnTo>
                    <a:lnTo>
                      <a:pt x="82" y="117"/>
                    </a:lnTo>
                    <a:lnTo>
                      <a:pt x="87" y="118"/>
                    </a:lnTo>
                    <a:lnTo>
                      <a:pt x="92" y="118"/>
                    </a:lnTo>
                    <a:lnTo>
                      <a:pt x="96" y="118"/>
                    </a:lnTo>
                    <a:lnTo>
                      <a:pt x="96" y="118"/>
                    </a:lnTo>
                    <a:lnTo>
                      <a:pt x="99" y="118"/>
                    </a:lnTo>
                    <a:lnTo>
                      <a:pt x="101" y="118"/>
                    </a:lnTo>
                    <a:lnTo>
                      <a:pt x="104" y="119"/>
                    </a:lnTo>
                    <a:lnTo>
                      <a:pt x="107" y="119"/>
                    </a:lnTo>
                    <a:lnTo>
                      <a:pt x="107" y="119"/>
                    </a:lnTo>
                    <a:lnTo>
                      <a:pt x="116" y="119"/>
                    </a:lnTo>
                    <a:lnTo>
                      <a:pt x="121" y="122"/>
                    </a:lnTo>
                    <a:lnTo>
                      <a:pt x="121" y="122"/>
                    </a:lnTo>
                    <a:lnTo>
                      <a:pt x="124" y="124"/>
                    </a:lnTo>
                    <a:lnTo>
                      <a:pt x="131" y="125"/>
                    </a:lnTo>
                    <a:lnTo>
                      <a:pt x="131" y="125"/>
                    </a:lnTo>
                    <a:lnTo>
                      <a:pt x="131" y="119"/>
                    </a:lnTo>
                    <a:lnTo>
                      <a:pt x="130" y="114"/>
                    </a:lnTo>
                    <a:lnTo>
                      <a:pt x="130" y="114"/>
                    </a:lnTo>
                    <a:lnTo>
                      <a:pt x="137" y="107"/>
                    </a:lnTo>
                    <a:lnTo>
                      <a:pt x="146" y="98"/>
                    </a:lnTo>
                    <a:lnTo>
                      <a:pt x="146" y="98"/>
                    </a:lnTo>
                    <a:lnTo>
                      <a:pt x="148" y="97"/>
                    </a:lnTo>
                    <a:lnTo>
                      <a:pt x="150" y="95"/>
                    </a:lnTo>
                    <a:lnTo>
                      <a:pt x="153" y="92"/>
                    </a:lnTo>
                    <a:lnTo>
                      <a:pt x="153" y="92"/>
                    </a:lnTo>
                    <a:lnTo>
                      <a:pt x="153" y="89"/>
                    </a:lnTo>
                    <a:lnTo>
                      <a:pt x="150" y="85"/>
                    </a:lnTo>
                    <a:lnTo>
                      <a:pt x="146" y="77"/>
                    </a:lnTo>
                    <a:lnTo>
                      <a:pt x="146" y="77"/>
                    </a:lnTo>
                    <a:lnTo>
                      <a:pt x="144" y="71"/>
                    </a:lnTo>
                    <a:lnTo>
                      <a:pt x="144" y="62"/>
                    </a:lnTo>
                    <a:lnTo>
                      <a:pt x="144" y="62"/>
                    </a:lnTo>
                    <a:lnTo>
                      <a:pt x="144" y="61"/>
                    </a:lnTo>
                    <a:lnTo>
                      <a:pt x="143" y="58"/>
                    </a:lnTo>
                    <a:lnTo>
                      <a:pt x="140" y="57"/>
                    </a:lnTo>
                    <a:lnTo>
                      <a:pt x="140" y="55"/>
                    </a:lnTo>
                    <a:lnTo>
                      <a:pt x="140" y="55"/>
                    </a:lnTo>
                    <a:lnTo>
                      <a:pt x="140" y="52"/>
                    </a:lnTo>
                    <a:lnTo>
                      <a:pt x="143" y="51"/>
                    </a:lnTo>
                    <a:lnTo>
                      <a:pt x="148" y="47"/>
                    </a:lnTo>
                    <a:lnTo>
                      <a:pt x="148" y="47"/>
                    </a:lnTo>
                    <a:lnTo>
                      <a:pt x="150" y="44"/>
                    </a:lnTo>
                    <a:lnTo>
                      <a:pt x="150" y="40"/>
                    </a:lnTo>
                    <a:lnTo>
                      <a:pt x="150" y="35"/>
                    </a:lnTo>
                    <a:lnTo>
                      <a:pt x="148" y="33"/>
                    </a:lnTo>
                    <a:lnTo>
                      <a:pt x="148" y="33"/>
                    </a:lnTo>
                    <a:lnTo>
                      <a:pt x="146" y="31"/>
                    </a:lnTo>
                    <a:lnTo>
                      <a:pt x="146" y="28"/>
                    </a:lnTo>
                    <a:lnTo>
                      <a:pt x="144" y="24"/>
                    </a:lnTo>
                    <a:lnTo>
                      <a:pt x="146" y="21"/>
                    </a:lnTo>
                    <a:lnTo>
                      <a:pt x="146" y="21"/>
                    </a:lnTo>
                    <a:lnTo>
                      <a:pt x="146" y="18"/>
                    </a:lnTo>
                    <a:lnTo>
                      <a:pt x="144" y="17"/>
                    </a:lnTo>
                    <a:lnTo>
                      <a:pt x="140" y="14"/>
                    </a:lnTo>
                    <a:lnTo>
                      <a:pt x="133" y="11"/>
                    </a:lnTo>
                    <a:lnTo>
                      <a:pt x="133" y="11"/>
                    </a:lnTo>
                    <a:lnTo>
                      <a:pt x="133" y="11"/>
                    </a:lnTo>
                    <a:lnTo>
                      <a:pt x="133" y="11"/>
                    </a:lnTo>
                    <a:lnTo>
                      <a:pt x="121" y="11"/>
                    </a:lnTo>
                    <a:lnTo>
                      <a:pt x="109" y="11"/>
                    </a:lnTo>
                    <a:lnTo>
                      <a:pt x="90" y="10"/>
                    </a:lnTo>
                    <a:lnTo>
                      <a:pt x="90" y="10"/>
                    </a:lnTo>
                    <a:lnTo>
                      <a:pt x="83" y="7"/>
                    </a:lnTo>
                    <a:lnTo>
                      <a:pt x="83" y="7"/>
                    </a:lnTo>
                    <a:lnTo>
                      <a:pt x="79" y="10"/>
                    </a:lnTo>
                    <a:lnTo>
                      <a:pt x="74" y="11"/>
                    </a:lnTo>
                    <a:lnTo>
                      <a:pt x="74" y="11"/>
                    </a:lnTo>
                    <a:lnTo>
                      <a:pt x="70" y="10"/>
                    </a:lnTo>
                    <a:lnTo>
                      <a:pt x="67" y="7"/>
                    </a:lnTo>
                    <a:lnTo>
                      <a:pt x="66" y="1"/>
                    </a:lnTo>
                    <a:lnTo>
                      <a:pt x="66" y="1"/>
                    </a:lnTo>
                    <a:lnTo>
                      <a:pt x="64" y="0"/>
                    </a:lnTo>
                    <a:lnTo>
                      <a:pt x="62" y="0"/>
                    </a:lnTo>
                    <a:lnTo>
                      <a:pt x="52" y="3"/>
                    </a:lnTo>
                    <a:lnTo>
                      <a:pt x="40" y="6"/>
                    </a:lnTo>
                    <a:lnTo>
                      <a:pt x="35" y="8"/>
                    </a:lnTo>
                    <a:lnTo>
                      <a:pt x="32" y="11"/>
                    </a:lnTo>
                    <a:lnTo>
                      <a:pt x="32" y="11"/>
                    </a:lnTo>
                    <a:lnTo>
                      <a:pt x="27" y="13"/>
                    </a:lnTo>
                    <a:lnTo>
                      <a:pt x="25" y="14"/>
                    </a:lnTo>
                    <a:lnTo>
                      <a:pt x="16" y="17"/>
                    </a:lnTo>
                    <a:lnTo>
                      <a:pt x="9" y="17"/>
                    </a:lnTo>
                    <a:lnTo>
                      <a:pt x="8" y="18"/>
                    </a:lnTo>
                    <a:lnTo>
                      <a:pt x="6" y="20"/>
                    </a:lnTo>
                    <a:lnTo>
                      <a:pt x="6" y="20"/>
                    </a:lnTo>
                    <a:lnTo>
                      <a:pt x="5" y="23"/>
                    </a:lnTo>
                    <a:lnTo>
                      <a:pt x="2" y="23"/>
                    </a:lnTo>
                    <a:lnTo>
                      <a:pt x="2" y="23"/>
                    </a:lnTo>
                    <a:lnTo>
                      <a:pt x="2" y="25"/>
                    </a:lnTo>
                    <a:lnTo>
                      <a:pt x="2" y="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699" name="Bosnia and Herzegovina">
                <a:extLst>
                  <a:ext uri="{FF2B5EF4-FFF2-40B4-BE49-F238E27FC236}">
                    <a16:creationId xmlns:a16="http://schemas.microsoft.com/office/drawing/2014/main" id="{4B71C1BD-9C1C-FA47-9C02-D938958CD70F}"/>
                  </a:ext>
                </a:extLst>
              </p:cNvPr>
              <p:cNvSpPr>
                <a:spLocks/>
              </p:cNvSpPr>
              <p:nvPr/>
            </p:nvSpPr>
            <p:spPr bwMode="auto">
              <a:xfrm>
                <a:off x="4693343" y="3148110"/>
                <a:ext cx="84348" cy="79908"/>
              </a:xfrm>
              <a:custGeom>
                <a:avLst/>
                <a:gdLst/>
                <a:ahLst/>
                <a:cxnLst>
                  <a:cxn ang="0">
                    <a:pos x="42" y="49"/>
                  </a:cxn>
                  <a:cxn ang="0">
                    <a:pos x="42" y="49"/>
                  </a:cxn>
                  <a:cxn ang="0">
                    <a:pos x="44" y="45"/>
                  </a:cxn>
                  <a:cxn ang="0">
                    <a:pos x="47" y="38"/>
                  </a:cxn>
                  <a:cxn ang="0">
                    <a:pos x="51" y="34"/>
                  </a:cxn>
                  <a:cxn ang="0">
                    <a:pos x="55" y="31"/>
                  </a:cxn>
                  <a:cxn ang="0">
                    <a:pos x="55" y="31"/>
                  </a:cxn>
                  <a:cxn ang="0">
                    <a:pos x="55" y="28"/>
                  </a:cxn>
                  <a:cxn ang="0">
                    <a:pos x="57" y="22"/>
                  </a:cxn>
                  <a:cxn ang="0">
                    <a:pos x="57" y="10"/>
                  </a:cxn>
                  <a:cxn ang="0">
                    <a:pos x="57" y="10"/>
                  </a:cxn>
                  <a:cxn ang="0">
                    <a:pos x="47" y="4"/>
                  </a:cxn>
                  <a:cxn ang="0">
                    <a:pos x="42" y="3"/>
                  </a:cxn>
                  <a:cxn ang="0">
                    <a:pos x="42" y="3"/>
                  </a:cxn>
                  <a:cxn ang="0">
                    <a:pos x="31" y="1"/>
                  </a:cxn>
                  <a:cxn ang="0">
                    <a:pos x="17" y="0"/>
                  </a:cxn>
                  <a:cxn ang="0">
                    <a:pos x="17" y="0"/>
                  </a:cxn>
                  <a:cxn ang="0">
                    <a:pos x="14" y="0"/>
                  </a:cxn>
                  <a:cxn ang="0">
                    <a:pos x="13" y="1"/>
                  </a:cxn>
                  <a:cxn ang="0">
                    <a:pos x="10" y="3"/>
                  </a:cxn>
                  <a:cxn ang="0">
                    <a:pos x="7" y="3"/>
                  </a:cxn>
                  <a:cxn ang="0">
                    <a:pos x="7" y="3"/>
                  </a:cxn>
                  <a:cxn ang="0">
                    <a:pos x="4" y="1"/>
                  </a:cxn>
                  <a:cxn ang="0">
                    <a:pos x="3" y="1"/>
                  </a:cxn>
                  <a:cxn ang="0">
                    <a:pos x="0" y="4"/>
                  </a:cxn>
                  <a:cxn ang="0">
                    <a:pos x="0" y="7"/>
                  </a:cxn>
                  <a:cxn ang="0">
                    <a:pos x="0" y="7"/>
                  </a:cxn>
                  <a:cxn ang="0">
                    <a:pos x="1" y="8"/>
                  </a:cxn>
                  <a:cxn ang="0">
                    <a:pos x="4" y="11"/>
                  </a:cxn>
                  <a:cxn ang="0">
                    <a:pos x="7" y="14"/>
                  </a:cxn>
                  <a:cxn ang="0">
                    <a:pos x="7" y="17"/>
                  </a:cxn>
                  <a:cxn ang="0">
                    <a:pos x="7" y="17"/>
                  </a:cxn>
                  <a:cxn ang="0">
                    <a:pos x="8" y="20"/>
                  </a:cxn>
                  <a:cxn ang="0">
                    <a:pos x="10" y="21"/>
                  </a:cxn>
                  <a:cxn ang="0">
                    <a:pos x="14" y="25"/>
                  </a:cxn>
                  <a:cxn ang="0">
                    <a:pos x="18" y="30"/>
                  </a:cxn>
                  <a:cxn ang="0">
                    <a:pos x="21" y="32"/>
                  </a:cxn>
                  <a:cxn ang="0">
                    <a:pos x="21" y="32"/>
                  </a:cxn>
                  <a:cxn ang="0">
                    <a:pos x="21" y="35"/>
                  </a:cxn>
                  <a:cxn ang="0">
                    <a:pos x="25" y="38"/>
                  </a:cxn>
                  <a:cxn ang="0">
                    <a:pos x="30" y="42"/>
                  </a:cxn>
                  <a:cxn ang="0">
                    <a:pos x="34" y="48"/>
                  </a:cxn>
                  <a:cxn ang="0">
                    <a:pos x="34" y="48"/>
                  </a:cxn>
                  <a:cxn ang="0">
                    <a:pos x="42" y="54"/>
                  </a:cxn>
                  <a:cxn ang="0">
                    <a:pos x="42" y="54"/>
                  </a:cxn>
                  <a:cxn ang="0">
                    <a:pos x="42" y="49"/>
                  </a:cxn>
                  <a:cxn ang="0">
                    <a:pos x="42" y="49"/>
                  </a:cxn>
                </a:cxnLst>
                <a:rect l="0" t="0" r="r" b="b"/>
                <a:pathLst>
                  <a:path w="57" h="54">
                    <a:moveTo>
                      <a:pt x="42" y="49"/>
                    </a:moveTo>
                    <a:lnTo>
                      <a:pt x="42" y="49"/>
                    </a:lnTo>
                    <a:lnTo>
                      <a:pt x="44" y="45"/>
                    </a:lnTo>
                    <a:lnTo>
                      <a:pt x="47" y="38"/>
                    </a:lnTo>
                    <a:lnTo>
                      <a:pt x="51" y="34"/>
                    </a:lnTo>
                    <a:lnTo>
                      <a:pt x="55" y="31"/>
                    </a:lnTo>
                    <a:lnTo>
                      <a:pt x="55" y="31"/>
                    </a:lnTo>
                    <a:lnTo>
                      <a:pt x="55" y="28"/>
                    </a:lnTo>
                    <a:lnTo>
                      <a:pt x="57" y="22"/>
                    </a:lnTo>
                    <a:lnTo>
                      <a:pt x="57" y="10"/>
                    </a:lnTo>
                    <a:lnTo>
                      <a:pt x="57" y="10"/>
                    </a:lnTo>
                    <a:lnTo>
                      <a:pt x="47" y="4"/>
                    </a:lnTo>
                    <a:lnTo>
                      <a:pt x="42" y="3"/>
                    </a:lnTo>
                    <a:lnTo>
                      <a:pt x="42" y="3"/>
                    </a:lnTo>
                    <a:lnTo>
                      <a:pt x="31" y="1"/>
                    </a:lnTo>
                    <a:lnTo>
                      <a:pt x="17" y="0"/>
                    </a:lnTo>
                    <a:lnTo>
                      <a:pt x="17" y="0"/>
                    </a:lnTo>
                    <a:lnTo>
                      <a:pt x="14" y="0"/>
                    </a:lnTo>
                    <a:lnTo>
                      <a:pt x="13" y="1"/>
                    </a:lnTo>
                    <a:lnTo>
                      <a:pt x="10" y="3"/>
                    </a:lnTo>
                    <a:lnTo>
                      <a:pt x="7" y="3"/>
                    </a:lnTo>
                    <a:lnTo>
                      <a:pt x="7" y="3"/>
                    </a:lnTo>
                    <a:lnTo>
                      <a:pt x="4" y="1"/>
                    </a:lnTo>
                    <a:lnTo>
                      <a:pt x="3" y="1"/>
                    </a:lnTo>
                    <a:lnTo>
                      <a:pt x="0" y="4"/>
                    </a:lnTo>
                    <a:lnTo>
                      <a:pt x="0" y="7"/>
                    </a:lnTo>
                    <a:lnTo>
                      <a:pt x="0" y="7"/>
                    </a:lnTo>
                    <a:lnTo>
                      <a:pt x="1" y="8"/>
                    </a:lnTo>
                    <a:lnTo>
                      <a:pt x="4" y="11"/>
                    </a:lnTo>
                    <a:lnTo>
                      <a:pt x="7" y="14"/>
                    </a:lnTo>
                    <a:lnTo>
                      <a:pt x="7" y="17"/>
                    </a:lnTo>
                    <a:lnTo>
                      <a:pt x="7" y="17"/>
                    </a:lnTo>
                    <a:lnTo>
                      <a:pt x="8" y="20"/>
                    </a:lnTo>
                    <a:lnTo>
                      <a:pt x="10" y="21"/>
                    </a:lnTo>
                    <a:lnTo>
                      <a:pt x="14" y="25"/>
                    </a:lnTo>
                    <a:lnTo>
                      <a:pt x="18" y="30"/>
                    </a:lnTo>
                    <a:lnTo>
                      <a:pt x="21" y="32"/>
                    </a:lnTo>
                    <a:lnTo>
                      <a:pt x="21" y="32"/>
                    </a:lnTo>
                    <a:lnTo>
                      <a:pt x="21" y="35"/>
                    </a:lnTo>
                    <a:lnTo>
                      <a:pt x="25" y="38"/>
                    </a:lnTo>
                    <a:lnTo>
                      <a:pt x="30" y="42"/>
                    </a:lnTo>
                    <a:lnTo>
                      <a:pt x="34" y="48"/>
                    </a:lnTo>
                    <a:lnTo>
                      <a:pt x="34" y="48"/>
                    </a:lnTo>
                    <a:lnTo>
                      <a:pt x="42" y="54"/>
                    </a:lnTo>
                    <a:lnTo>
                      <a:pt x="42" y="54"/>
                    </a:lnTo>
                    <a:lnTo>
                      <a:pt x="42" y="49"/>
                    </a:lnTo>
                    <a:lnTo>
                      <a:pt x="42" y="4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00" name="Croatia">
                <a:extLst>
                  <a:ext uri="{FF2B5EF4-FFF2-40B4-BE49-F238E27FC236}">
                    <a16:creationId xmlns:a16="http://schemas.microsoft.com/office/drawing/2014/main" id="{F1A457BD-FE0D-574E-847D-087D8CAB4932}"/>
                  </a:ext>
                </a:extLst>
              </p:cNvPr>
              <p:cNvSpPr>
                <a:spLocks/>
              </p:cNvSpPr>
              <p:nvPr/>
            </p:nvSpPr>
            <p:spPr bwMode="auto">
              <a:xfrm>
                <a:off x="4650429" y="3108155"/>
                <a:ext cx="127261" cy="110985"/>
              </a:xfrm>
              <a:custGeom>
                <a:avLst/>
                <a:gdLst/>
                <a:ahLst/>
                <a:cxnLst>
                  <a:cxn ang="0">
                    <a:pos x="50" y="59"/>
                  </a:cxn>
                  <a:cxn ang="0">
                    <a:pos x="43" y="52"/>
                  </a:cxn>
                  <a:cxn ang="0">
                    <a:pos x="37" y="47"/>
                  </a:cxn>
                  <a:cxn ang="0">
                    <a:pos x="36" y="44"/>
                  </a:cxn>
                  <a:cxn ang="0">
                    <a:pos x="33" y="38"/>
                  </a:cxn>
                  <a:cxn ang="0">
                    <a:pos x="29" y="34"/>
                  </a:cxn>
                  <a:cxn ang="0">
                    <a:pos x="29" y="31"/>
                  </a:cxn>
                  <a:cxn ang="0">
                    <a:pos x="33" y="28"/>
                  </a:cxn>
                  <a:cxn ang="0">
                    <a:pos x="36" y="30"/>
                  </a:cxn>
                  <a:cxn ang="0">
                    <a:pos x="42" y="28"/>
                  </a:cxn>
                  <a:cxn ang="0">
                    <a:pos x="46" y="27"/>
                  </a:cxn>
                  <a:cxn ang="0">
                    <a:pos x="60" y="28"/>
                  </a:cxn>
                  <a:cxn ang="0">
                    <a:pos x="71" y="30"/>
                  </a:cxn>
                  <a:cxn ang="0">
                    <a:pos x="86" y="37"/>
                  </a:cxn>
                  <a:cxn ang="0">
                    <a:pos x="84" y="32"/>
                  </a:cxn>
                  <a:cxn ang="0">
                    <a:pos x="83" y="27"/>
                  </a:cxn>
                  <a:cxn ang="0">
                    <a:pos x="80" y="21"/>
                  </a:cxn>
                  <a:cxn ang="0">
                    <a:pos x="79" y="20"/>
                  </a:cxn>
                  <a:cxn ang="0">
                    <a:pos x="76" y="12"/>
                  </a:cxn>
                  <a:cxn ang="0">
                    <a:pos x="70" y="14"/>
                  </a:cxn>
                  <a:cxn ang="0">
                    <a:pos x="66" y="14"/>
                  </a:cxn>
                  <a:cxn ang="0">
                    <a:pos x="57" y="12"/>
                  </a:cxn>
                  <a:cxn ang="0">
                    <a:pos x="53" y="10"/>
                  </a:cxn>
                  <a:cxn ang="0">
                    <a:pos x="40" y="0"/>
                  </a:cxn>
                  <a:cxn ang="0">
                    <a:pos x="36" y="4"/>
                  </a:cxn>
                  <a:cxn ang="0">
                    <a:pos x="30" y="7"/>
                  </a:cxn>
                  <a:cxn ang="0">
                    <a:pos x="29" y="11"/>
                  </a:cxn>
                  <a:cxn ang="0">
                    <a:pos x="27" y="14"/>
                  </a:cxn>
                  <a:cxn ang="0">
                    <a:pos x="25" y="15"/>
                  </a:cxn>
                  <a:cxn ang="0">
                    <a:pos x="22" y="21"/>
                  </a:cxn>
                  <a:cxn ang="0">
                    <a:pos x="20" y="22"/>
                  </a:cxn>
                  <a:cxn ang="0">
                    <a:pos x="13" y="21"/>
                  </a:cxn>
                  <a:cxn ang="0">
                    <a:pos x="12" y="21"/>
                  </a:cxn>
                  <a:cxn ang="0">
                    <a:pos x="0" y="22"/>
                  </a:cxn>
                  <a:cxn ang="0">
                    <a:pos x="2" y="30"/>
                  </a:cxn>
                  <a:cxn ang="0">
                    <a:pos x="3" y="30"/>
                  </a:cxn>
                  <a:cxn ang="0">
                    <a:pos x="13" y="32"/>
                  </a:cxn>
                  <a:cxn ang="0">
                    <a:pos x="15" y="35"/>
                  </a:cxn>
                  <a:cxn ang="0">
                    <a:pos x="20" y="47"/>
                  </a:cxn>
                  <a:cxn ang="0">
                    <a:pos x="29" y="58"/>
                  </a:cxn>
                  <a:cxn ang="0">
                    <a:pos x="37" y="61"/>
                  </a:cxn>
                  <a:cxn ang="0">
                    <a:pos x="42" y="65"/>
                  </a:cxn>
                  <a:cxn ang="0">
                    <a:pos x="43" y="67"/>
                  </a:cxn>
                  <a:cxn ang="0">
                    <a:pos x="50" y="71"/>
                  </a:cxn>
                  <a:cxn ang="0">
                    <a:pos x="56" y="72"/>
                  </a:cxn>
                  <a:cxn ang="0">
                    <a:pos x="63" y="75"/>
                  </a:cxn>
                  <a:cxn ang="0">
                    <a:pos x="59" y="69"/>
                  </a:cxn>
                  <a:cxn ang="0">
                    <a:pos x="50" y="62"/>
                  </a:cxn>
                  <a:cxn ang="0">
                    <a:pos x="50" y="59"/>
                  </a:cxn>
                </a:cxnLst>
                <a:rect l="0" t="0" r="r" b="b"/>
                <a:pathLst>
                  <a:path w="86" h="75">
                    <a:moveTo>
                      <a:pt x="50" y="59"/>
                    </a:moveTo>
                    <a:lnTo>
                      <a:pt x="50" y="59"/>
                    </a:lnTo>
                    <a:lnTo>
                      <a:pt x="47" y="57"/>
                    </a:lnTo>
                    <a:lnTo>
                      <a:pt x="43" y="52"/>
                    </a:lnTo>
                    <a:lnTo>
                      <a:pt x="39" y="48"/>
                    </a:lnTo>
                    <a:lnTo>
                      <a:pt x="37" y="47"/>
                    </a:lnTo>
                    <a:lnTo>
                      <a:pt x="36" y="44"/>
                    </a:lnTo>
                    <a:lnTo>
                      <a:pt x="36" y="44"/>
                    </a:lnTo>
                    <a:lnTo>
                      <a:pt x="36" y="41"/>
                    </a:lnTo>
                    <a:lnTo>
                      <a:pt x="33" y="38"/>
                    </a:lnTo>
                    <a:lnTo>
                      <a:pt x="30" y="35"/>
                    </a:lnTo>
                    <a:lnTo>
                      <a:pt x="29" y="34"/>
                    </a:lnTo>
                    <a:lnTo>
                      <a:pt x="29" y="34"/>
                    </a:lnTo>
                    <a:lnTo>
                      <a:pt x="29" y="31"/>
                    </a:lnTo>
                    <a:lnTo>
                      <a:pt x="32" y="28"/>
                    </a:lnTo>
                    <a:lnTo>
                      <a:pt x="33" y="28"/>
                    </a:lnTo>
                    <a:lnTo>
                      <a:pt x="36" y="30"/>
                    </a:lnTo>
                    <a:lnTo>
                      <a:pt x="36" y="30"/>
                    </a:lnTo>
                    <a:lnTo>
                      <a:pt x="39" y="30"/>
                    </a:lnTo>
                    <a:lnTo>
                      <a:pt x="42" y="28"/>
                    </a:lnTo>
                    <a:lnTo>
                      <a:pt x="43" y="27"/>
                    </a:lnTo>
                    <a:lnTo>
                      <a:pt x="46" y="27"/>
                    </a:lnTo>
                    <a:lnTo>
                      <a:pt x="46" y="27"/>
                    </a:lnTo>
                    <a:lnTo>
                      <a:pt x="60" y="28"/>
                    </a:lnTo>
                    <a:lnTo>
                      <a:pt x="71" y="30"/>
                    </a:lnTo>
                    <a:lnTo>
                      <a:pt x="71" y="30"/>
                    </a:lnTo>
                    <a:lnTo>
                      <a:pt x="76" y="31"/>
                    </a:lnTo>
                    <a:lnTo>
                      <a:pt x="86" y="37"/>
                    </a:lnTo>
                    <a:lnTo>
                      <a:pt x="86" y="37"/>
                    </a:lnTo>
                    <a:lnTo>
                      <a:pt x="84" y="32"/>
                    </a:lnTo>
                    <a:lnTo>
                      <a:pt x="84" y="32"/>
                    </a:lnTo>
                    <a:lnTo>
                      <a:pt x="83" y="27"/>
                    </a:lnTo>
                    <a:lnTo>
                      <a:pt x="83" y="24"/>
                    </a:lnTo>
                    <a:lnTo>
                      <a:pt x="80" y="21"/>
                    </a:lnTo>
                    <a:lnTo>
                      <a:pt x="80" y="21"/>
                    </a:lnTo>
                    <a:lnTo>
                      <a:pt x="79" y="20"/>
                    </a:lnTo>
                    <a:lnTo>
                      <a:pt x="77" y="18"/>
                    </a:lnTo>
                    <a:lnTo>
                      <a:pt x="76" y="12"/>
                    </a:lnTo>
                    <a:lnTo>
                      <a:pt x="76" y="12"/>
                    </a:lnTo>
                    <a:lnTo>
                      <a:pt x="70" y="14"/>
                    </a:lnTo>
                    <a:lnTo>
                      <a:pt x="70" y="14"/>
                    </a:lnTo>
                    <a:lnTo>
                      <a:pt x="66" y="14"/>
                    </a:lnTo>
                    <a:lnTo>
                      <a:pt x="62" y="14"/>
                    </a:lnTo>
                    <a:lnTo>
                      <a:pt x="57" y="12"/>
                    </a:lnTo>
                    <a:lnTo>
                      <a:pt x="53" y="10"/>
                    </a:lnTo>
                    <a:lnTo>
                      <a:pt x="53" y="10"/>
                    </a:lnTo>
                    <a:lnTo>
                      <a:pt x="47" y="4"/>
                    </a:lnTo>
                    <a:lnTo>
                      <a:pt x="40" y="0"/>
                    </a:lnTo>
                    <a:lnTo>
                      <a:pt x="40" y="0"/>
                    </a:lnTo>
                    <a:lnTo>
                      <a:pt x="36" y="4"/>
                    </a:lnTo>
                    <a:lnTo>
                      <a:pt x="30" y="7"/>
                    </a:lnTo>
                    <a:lnTo>
                      <a:pt x="30" y="7"/>
                    </a:lnTo>
                    <a:lnTo>
                      <a:pt x="29" y="8"/>
                    </a:lnTo>
                    <a:lnTo>
                      <a:pt x="29" y="11"/>
                    </a:lnTo>
                    <a:lnTo>
                      <a:pt x="29" y="12"/>
                    </a:lnTo>
                    <a:lnTo>
                      <a:pt x="27" y="14"/>
                    </a:lnTo>
                    <a:lnTo>
                      <a:pt x="27" y="14"/>
                    </a:lnTo>
                    <a:lnTo>
                      <a:pt x="25" y="15"/>
                    </a:lnTo>
                    <a:lnTo>
                      <a:pt x="23" y="17"/>
                    </a:lnTo>
                    <a:lnTo>
                      <a:pt x="22" y="21"/>
                    </a:lnTo>
                    <a:lnTo>
                      <a:pt x="22" y="21"/>
                    </a:lnTo>
                    <a:lnTo>
                      <a:pt x="20" y="22"/>
                    </a:lnTo>
                    <a:lnTo>
                      <a:pt x="17" y="21"/>
                    </a:lnTo>
                    <a:lnTo>
                      <a:pt x="13" y="21"/>
                    </a:lnTo>
                    <a:lnTo>
                      <a:pt x="12" y="21"/>
                    </a:lnTo>
                    <a:lnTo>
                      <a:pt x="12" y="21"/>
                    </a:lnTo>
                    <a:lnTo>
                      <a:pt x="0" y="22"/>
                    </a:lnTo>
                    <a:lnTo>
                      <a:pt x="0" y="22"/>
                    </a:lnTo>
                    <a:lnTo>
                      <a:pt x="0" y="28"/>
                    </a:lnTo>
                    <a:lnTo>
                      <a:pt x="2" y="30"/>
                    </a:lnTo>
                    <a:lnTo>
                      <a:pt x="3" y="30"/>
                    </a:lnTo>
                    <a:lnTo>
                      <a:pt x="3" y="30"/>
                    </a:lnTo>
                    <a:lnTo>
                      <a:pt x="10" y="31"/>
                    </a:lnTo>
                    <a:lnTo>
                      <a:pt x="13" y="32"/>
                    </a:lnTo>
                    <a:lnTo>
                      <a:pt x="15" y="35"/>
                    </a:lnTo>
                    <a:lnTo>
                      <a:pt x="15" y="35"/>
                    </a:lnTo>
                    <a:lnTo>
                      <a:pt x="17" y="41"/>
                    </a:lnTo>
                    <a:lnTo>
                      <a:pt x="20" y="47"/>
                    </a:lnTo>
                    <a:lnTo>
                      <a:pt x="29" y="58"/>
                    </a:lnTo>
                    <a:lnTo>
                      <a:pt x="29" y="58"/>
                    </a:lnTo>
                    <a:lnTo>
                      <a:pt x="33" y="59"/>
                    </a:lnTo>
                    <a:lnTo>
                      <a:pt x="37" y="61"/>
                    </a:lnTo>
                    <a:lnTo>
                      <a:pt x="40" y="62"/>
                    </a:lnTo>
                    <a:lnTo>
                      <a:pt x="42" y="65"/>
                    </a:lnTo>
                    <a:lnTo>
                      <a:pt x="42" y="65"/>
                    </a:lnTo>
                    <a:lnTo>
                      <a:pt x="43" y="67"/>
                    </a:lnTo>
                    <a:lnTo>
                      <a:pt x="46" y="69"/>
                    </a:lnTo>
                    <a:lnTo>
                      <a:pt x="50" y="71"/>
                    </a:lnTo>
                    <a:lnTo>
                      <a:pt x="56" y="72"/>
                    </a:lnTo>
                    <a:lnTo>
                      <a:pt x="56" y="72"/>
                    </a:lnTo>
                    <a:lnTo>
                      <a:pt x="59" y="72"/>
                    </a:lnTo>
                    <a:lnTo>
                      <a:pt x="63" y="75"/>
                    </a:lnTo>
                    <a:lnTo>
                      <a:pt x="63" y="75"/>
                    </a:lnTo>
                    <a:lnTo>
                      <a:pt x="59" y="69"/>
                    </a:lnTo>
                    <a:lnTo>
                      <a:pt x="54" y="65"/>
                    </a:lnTo>
                    <a:lnTo>
                      <a:pt x="50" y="62"/>
                    </a:lnTo>
                    <a:lnTo>
                      <a:pt x="50" y="59"/>
                    </a:lnTo>
                    <a:lnTo>
                      <a:pt x="50" y="5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01" name="Albania">
                <a:extLst>
                  <a:ext uri="{FF2B5EF4-FFF2-40B4-BE49-F238E27FC236}">
                    <a16:creationId xmlns:a16="http://schemas.microsoft.com/office/drawing/2014/main" id="{5B8E74A5-F45A-7B40-BC69-720FC6DC8217}"/>
                  </a:ext>
                </a:extLst>
              </p:cNvPr>
              <p:cNvSpPr>
                <a:spLocks/>
              </p:cNvSpPr>
              <p:nvPr/>
            </p:nvSpPr>
            <p:spPr bwMode="auto">
              <a:xfrm>
                <a:off x="4773251" y="3223578"/>
                <a:ext cx="44394" cy="85827"/>
              </a:xfrm>
              <a:custGeom>
                <a:avLst/>
                <a:gdLst/>
                <a:ahLst/>
                <a:cxnLst>
                  <a:cxn ang="0">
                    <a:pos x="20" y="50"/>
                  </a:cxn>
                  <a:cxn ang="0">
                    <a:pos x="20" y="50"/>
                  </a:cxn>
                  <a:cxn ang="0">
                    <a:pos x="21" y="50"/>
                  </a:cxn>
                  <a:cxn ang="0">
                    <a:pos x="21" y="48"/>
                  </a:cxn>
                  <a:cxn ang="0">
                    <a:pos x="23" y="45"/>
                  </a:cxn>
                  <a:cxn ang="0">
                    <a:pos x="23" y="44"/>
                  </a:cxn>
                  <a:cxn ang="0">
                    <a:pos x="23" y="44"/>
                  </a:cxn>
                  <a:cxn ang="0">
                    <a:pos x="27" y="40"/>
                  </a:cxn>
                  <a:cxn ang="0">
                    <a:pos x="28" y="35"/>
                  </a:cxn>
                  <a:cxn ang="0">
                    <a:pos x="28" y="35"/>
                  </a:cxn>
                  <a:cxn ang="0">
                    <a:pos x="30" y="34"/>
                  </a:cxn>
                  <a:cxn ang="0">
                    <a:pos x="30" y="34"/>
                  </a:cxn>
                  <a:cxn ang="0">
                    <a:pos x="23" y="30"/>
                  </a:cxn>
                  <a:cxn ang="0">
                    <a:pos x="20" y="24"/>
                  </a:cxn>
                  <a:cxn ang="0">
                    <a:pos x="20" y="24"/>
                  </a:cxn>
                  <a:cxn ang="0">
                    <a:pos x="20" y="17"/>
                  </a:cxn>
                  <a:cxn ang="0">
                    <a:pos x="21" y="8"/>
                  </a:cxn>
                  <a:cxn ang="0">
                    <a:pos x="21" y="8"/>
                  </a:cxn>
                  <a:cxn ang="0">
                    <a:pos x="14" y="3"/>
                  </a:cxn>
                  <a:cxn ang="0">
                    <a:pos x="8" y="0"/>
                  </a:cxn>
                  <a:cxn ang="0">
                    <a:pos x="8" y="0"/>
                  </a:cxn>
                  <a:cxn ang="0">
                    <a:pos x="6" y="1"/>
                  </a:cxn>
                  <a:cxn ang="0">
                    <a:pos x="3" y="4"/>
                  </a:cxn>
                  <a:cxn ang="0">
                    <a:pos x="1" y="7"/>
                  </a:cxn>
                  <a:cxn ang="0">
                    <a:pos x="0" y="11"/>
                  </a:cxn>
                  <a:cxn ang="0">
                    <a:pos x="0" y="11"/>
                  </a:cxn>
                  <a:cxn ang="0">
                    <a:pos x="4" y="14"/>
                  </a:cxn>
                  <a:cxn ang="0">
                    <a:pos x="6" y="16"/>
                  </a:cxn>
                  <a:cxn ang="0">
                    <a:pos x="7" y="18"/>
                  </a:cxn>
                  <a:cxn ang="0">
                    <a:pos x="4" y="21"/>
                  </a:cxn>
                  <a:cxn ang="0">
                    <a:pos x="4" y="21"/>
                  </a:cxn>
                  <a:cxn ang="0">
                    <a:pos x="1" y="27"/>
                  </a:cxn>
                  <a:cxn ang="0">
                    <a:pos x="1" y="34"/>
                  </a:cxn>
                  <a:cxn ang="0">
                    <a:pos x="1" y="41"/>
                  </a:cxn>
                  <a:cxn ang="0">
                    <a:pos x="3" y="44"/>
                  </a:cxn>
                  <a:cxn ang="0">
                    <a:pos x="4" y="45"/>
                  </a:cxn>
                  <a:cxn ang="0">
                    <a:pos x="4" y="45"/>
                  </a:cxn>
                  <a:cxn ang="0">
                    <a:pos x="7" y="48"/>
                  </a:cxn>
                  <a:cxn ang="0">
                    <a:pos x="10" y="53"/>
                  </a:cxn>
                  <a:cxn ang="0">
                    <a:pos x="11" y="57"/>
                  </a:cxn>
                  <a:cxn ang="0">
                    <a:pos x="14" y="58"/>
                  </a:cxn>
                  <a:cxn ang="0">
                    <a:pos x="14" y="58"/>
                  </a:cxn>
                  <a:cxn ang="0">
                    <a:pos x="17" y="54"/>
                  </a:cxn>
                  <a:cxn ang="0">
                    <a:pos x="18" y="51"/>
                  </a:cxn>
                  <a:cxn ang="0">
                    <a:pos x="20" y="50"/>
                  </a:cxn>
                  <a:cxn ang="0">
                    <a:pos x="20" y="50"/>
                  </a:cxn>
                </a:cxnLst>
                <a:rect l="0" t="0" r="r" b="b"/>
                <a:pathLst>
                  <a:path w="30" h="58">
                    <a:moveTo>
                      <a:pt x="20" y="50"/>
                    </a:moveTo>
                    <a:lnTo>
                      <a:pt x="20" y="50"/>
                    </a:lnTo>
                    <a:lnTo>
                      <a:pt x="21" y="50"/>
                    </a:lnTo>
                    <a:lnTo>
                      <a:pt x="21" y="48"/>
                    </a:lnTo>
                    <a:lnTo>
                      <a:pt x="23" y="45"/>
                    </a:lnTo>
                    <a:lnTo>
                      <a:pt x="23" y="44"/>
                    </a:lnTo>
                    <a:lnTo>
                      <a:pt x="23" y="44"/>
                    </a:lnTo>
                    <a:lnTo>
                      <a:pt x="27" y="40"/>
                    </a:lnTo>
                    <a:lnTo>
                      <a:pt x="28" y="35"/>
                    </a:lnTo>
                    <a:lnTo>
                      <a:pt x="28" y="35"/>
                    </a:lnTo>
                    <a:lnTo>
                      <a:pt x="30" y="34"/>
                    </a:lnTo>
                    <a:lnTo>
                      <a:pt x="30" y="34"/>
                    </a:lnTo>
                    <a:lnTo>
                      <a:pt x="23" y="30"/>
                    </a:lnTo>
                    <a:lnTo>
                      <a:pt x="20" y="24"/>
                    </a:lnTo>
                    <a:lnTo>
                      <a:pt x="20" y="24"/>
                    </a:lnTo>
                    <a:lnTo>
                      <a:pt x="20" y="17"/>
                    </a:lnTo>
                    <a:lnTo>
                      <a:pt x="21" y="8"/>
                    </a:lnTo>
                    <a:lnTo>
                      <a:pt x="21" y="8"/>
                    </a:lnTo>
                    <a:lnTo>
                      <a:pt x="14" y="3"/>
                    </a:lnTo>
                    <a:lnTo>
                      <a:pt x="8" y="0"/>
                    </a:lnTo>
                    <a:lnTo>
                      <a:pt x="8" y="0"/>
                    </a:lnTo>
                    <a:lnTo>
                      <a:pt x="6" y="1"/>
                    </a:lnTo>
                    <a:lnTo>
                      <a:pt x="3" y="4"/>
                    </a:lnTo>
                    <a:lnTo>
                      <a:pt x="1" y="7"/>
                    </a:lnTo>
                    <a:lnTo>
                      <a:pt x="0" y="11"/>
                    </a:lnTo>
                    <a:lnTo>
                      <a:pt x="0" y="11"/>
                    </a:lnTo>
                    <a:lnTo>
                      <a:pt x="4" y="14"/>
                    </a:lnTo>
                    <a:lnTo>
                      <a:pt x="6" y="16"/>
                    </a:lnTo>
                    <a:lnTo>
                      <a:pt x="7" y="18"/>
                    </a:lnTo>
                    <a:lnTo>
                      <a:pt x="4" y="21"/>
                    </a:lnTo>
                    <a:lnTo>
                      <a:pt x="4" y="21"/>
                    </a:lnTo>
                    <a:lnTo>
                      <a:pt x="1" y="27"/>
                    </a:lnTo>
                    <a:lnTo>
                      <a:pt x="1" y="34"/>
                    </a:lnTo>
                    <a:lnTo>
                      <a:pt x="1" y="41"/>
                    </a:lnTo>
                    <a:lnTo>
                      <a:pt x="3" y="44"/>
                    </a:lnTo>
                    <a:lnTo>
                      <a:pt x="4" y="45"/>
                    </a:lnTo>
                    <a:lnTo>
                      <a:pt x="4" y="45"/>
                    </a:lnTo>
                    <a:lnTo>
                      <a:pt x="7" y="48"/>
                    </a:lnTo>
                    <a:lnTo>
                      <a:pt x="10" y="53"/>
                    </a:lnTo>
                    <a:lnTo>
                      <a:pt x="11" y="57"/>
                    </a:lnTo>
                    <a:lnTo>
                      <a:pt x="14" y="58"/>
                    </a:lnTo>
                    <a:lnTo>
                      <a:pt x="14" y="58"/>
                    </a:lnTo>
                    <a:lnTo>
                      <a:pt x="17" y="54"/>
                    </a:lnTo>
                    <a:lnTo>
                      <a:pt x="18" y="51"/>
                    </a:lnTo>
                    <a:lnTo>
                      <a:pt x="20" y="50"/>
                    </a:lnTo>
                    <a:lnTo>
                      <a:pt x="20" y="5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02" name="Austria">
                <a:extLst>
                  <a:ext uri="{FF2B5EF4-FFF2-40B4-BE49-F238E27FC236}">
                    <a16:creationId xmlns:a16="http://schemas.microsoft.com/office/drawing/2014/main" id="{DE9FFCB3-423D-D049-9346-0E078AF3579E}"/>
                  </a:ext>
                </a:extLst>
              </p:cNvPr>
              <p:cNvSpPr>
                <a:spLocks/>
              </p:cNvSpPr>
              <p:nvPr/>
            </p:nvSpPr>
            <p:spPr bwMode="auto">
              <a:xfrm>
                <a:off x="4554243" y="3031207"/>
                <a:ext cx="174614" cy="81389"/>
              </a:xfrm>
              <a:custGeom>
                <a:avLst/>
                <a:gdLst/>
                <a:ahLst/>
                <a:cxnLst>
                  <a:cxn ang="0">
                    <a:pos x="99" y="5"/>
                  </a:cxn>
                  <a:cxn ang="0">
                    <a:pos x="91" y="0"/>
                  </a:cxn>
                  <a:cxn ang="0">
                    <a:pos x="85" y="0"/>
                  </a:cxn>
                  <a:cxn ang="0">
                    <a:pos x="82" y="8"/>
                  </a:cxn>
                  <a:cxn ang="0">
                    <a:pos x="80" y="9"/>
                  </a:cxn>
                  <a:cxn ang="0">
                    <a:pos x="68" y="9"/>
                  </a:cxn>
                  <a:cxn ang="0">
                    <a:pos x="64" y="12"/>
                  </a:cxn>
                  <a:cxn ang="0">
                    <a:pos x="60" y="15"/>
                  </a:cxn>
                  <a:cxn ang="0">
                    <a:pos x="58" y="16"/>
                  </a:cxn>
                  <a:cxn ang="0">
                    <a:pos x="53" y="20"/>
                  </a:cxn>
                  <a:cxn ang="0">
                    <a:pos x="53" y="25"/>
                  </a:cxn>
                  <a:cxn ang="0">
                    <a:pos x="51" y="30"/>
                  </a:cxn>
                  <a:cxn ang="0">
                    <a:pos x="47" y="29"/>
                  </a:cxn>
                  <a:cxn ang="0">
                    <a:pos x="38" y="29"/>
                  </a:cxn>
                  <a:cxn ang="0">
                    <a:pos x="30" y="32"/>
                  </a:cxn>
                  <a:cxn ang="0">
                    <a:pos x="28" y="33"/>
                  </a:cxn>
                  <a:cxn ang="0">
                    <a:pos x="21" y="33"/>
                  </a:cxn>
                  <a:cxn ang="0">
                    <a:pos x="16" y="32"/>
                  </a:cxn>
                  <a:cxn ang="0">
                    <a:pos x="11" y="35"/>
                  </a:cxn>
                  <a:cxn ang="0">
                    <a:pos x="10" y="36"/>
                  </a:cxn>
                  <a:cxn ang="0">
                    <a:pos x="4" y="33"/>
                  </a:cxn>
                  <a:cxn ang="0">
                    <a:pos x="3" y="32"/>
                  </a:cxn>
                  <a:cxn ang="0">
                    <a:pos x="0" y="36"/>
                  </a:cxn>
                  <a:cxn ang="0">
                    <a:pos x="0" y="40"/>
                  </a:cxn>
                  <a:cxn ang="0">
                    <a:pos x="6" y="45"/>
                  </a:cxn>
                  <a:cxn ang="0">
                    <a:pos x="8" y="45"/>
                  </a:cxn>
                  <a:cxn ang="0">
                    <a:pos x="14" y="45"/>
                  </a:cxn>
                  <a:cxn ang="0">
                    <a:pos x="18" y="47"/>
                  </a:cxn>
                  <a:cxn ang="0">
                    <a:pos x="24" y="46"/>
                  </a:cxn>
                  <a:cxn ang="0">
                    <a:pos x="28" y="43"/>
                  </a:cxn>
                  <a:cxn ang="0">
                    <a:pos x="35" y="42"/>
                  </a:cxn>
                  <a:cxn ang="0">
                    <a:pos x="41" y="42"/>
                  </a:cxn>
                  <a:cxn ang="0">
                    <a:pos x="44" y="49"/>
                  </a:cxn>
                  <a:cxn ang="0">
                    <a:pos x="50" y="50"/>
                  </a:cxn>
                  <a:cxn ang="0">
                    <a:pos x="60" y="50"/>
                  </a:cxn>
                  <a:cxn ang="0">
                    <a:pos x="77" y="55"/>
                  </a:cxn>
                  <a:cxn ang="0">
                    <a:pos x="80" y="53"/>
                  </a:cxn>
                  <a:cxn ang="0">
                    <a:pos x="87" y="50"/>
                  </a:cxn>
                  <a:cxn ang="0">
                    <a:pos x="91" y="49"/>
                  </a:cxn>
                  <a:cxn ang="0">
                    <a:pos x="98" y="47"/>
                  </a:cxn>
                  <a:cxn ang="0">
                    <a:pos x="102" y="46"/>
                  </a:cxn>
                  <a:cxn ang="0">
                    <a:pos x="102" y="46"/>
                  </a:cxn>
                  <a:cxn ang="0">
                    <a:pos x="104" y="42"/>
                  </a:cxn>
                  <a:cxn ang="0">
                    <a:pos x="105" y="40"/>
                  </a:cxn>
                  <a:cxn ang="0">
                    <a:pos x="107" y="36"/>
                  </a:cxn>
                  <a:cxn ang="0">
                    <a:pos x="107" y="35"/>
                  </a:cxn>
                  <a:cxn ang="0">
                    <a:pos x="108" y="30"/>
                  </a:cxn>
                  <a:cxn ang="0">
                    <a:pos x="109" y="29"/>
                  </a:cxn>
                  <a:cxn ang="0">
                    <a:pos x="114" y="29"/>
                  </a:cxn>
                  <a:cxn ang="0">
                    <a:pos x="117" y="25"/>
                  </a:cxn>
                  <a:cxn ang="0">
                    <a:pos x="117" y="22"/>
                  </a:cxn>
                  <a:cxn ang="0">
                    <a:pos x="118" y="20"/>
                  </a:cxn>
                  <a:cxn ang="0">
                    <a:pos x="112" y="6"/>
                  </a:cxn>
                  <a:cxn ang="0">
                    <a:pos x="107" y="8"/>
                  </a:cxn>
                  <a:cxn ang="0">
                    <a:pos x="99" y="5"/>
                  </a:cxn>
                </a:cxnLst>
                <a:rect l="0" t="0" r="r" b="b"/>
                <a:pathLst>
                  <a:path w="118" h="55">
                    <a:moveTo>
                      <a:pt x="99" y="5"/>
                    </a:moveTo>
                    <a:lnTo>
                      <a:pt x="99" y="5"/>
                    </a:lnTo>
                    <a:lnTo>
                      <a:pt x="95" y="2"/>
                    </a:lnTo>
                    <a:lnTo>
                      <a:pt x="91" y="0"/>
                    </a:lnTo>
                    <a:lnTo>
                      <a:pt x="85" y="0"/>
                    </a:lnTo>
                    <a:lnTo>
                      <a:pt x="85" y="0"/>
                    </a:lnTo>
                    <a:lnTo>
                      <a:pt x="84" y="3"/>
                    </a:lnTo>
                    <a:lnTo>
                      <a:pt x="82" y="8"/>
                    </a:lnTo>
                    <a:lnTo>
                      <a:pt x="82" y="8"/>
                    </a:lnTo>
                    <a:lnTo>
                      <a:pt x="80" y="9"/>
                    </a:lnTo>
                    <a:lnTo>
                      <a:pt x="77" y="9"/>
                    </a:lnTo>
                    <a:lnTo>
                      <a:pt x="68" y="9"/>
                    </a:lnTo>
                    <a:lnTo>
                      <a:pt x="68" y="9"/>
                    </a:lnTo>
                    <a:lnTo>
                      <a:pt x="64" y="12"/>
                    </a:lnTo>
                    <a:lnTo>
                      <a:pt x="61" y="13"/>
                    </a:lnTo>
                    <a:lnTo>
                      <a:pt x="60" y="15"/>
                    </a:lnTo>
                    <a:lnTo>
                      <a:pt x="60" y="15"/>
                    </a:lnTo>
                    <a:lnTo>
                      <a:pt x="58" y="16"/>
                    </a:lnTo>
                    <a:lnTo>
                      <a:pt x="55" y="18"/>
                    </a:lnTo>
                    <a:lnTo>
                      <a:pt x="53" y="20"/>
                    </a:lnTo>
                    <a:lnTo>
                      <a:pt x="53" y="25"/>
                    </a:lnTo>
                    <a:lnTo>
                      <a:pt x="53" y="25"/>
                    </a:lnTo>
                    <a:lnTo>
                      <a:pt x="54" y="29"/>
                    </a:lnTo>
                    <a:lnTo>
                      <a:pt x="51" y="30"/>
                    </a:lnTo>
                    <a:lnTo>
                      <a:pt x="50" y="30"/>
                    </a:lnTo>
                    <a:lnTo>
                      <a:pt x="47" y="29"/>
                    </a:lnTo>
                    <a:lnTo>
                      <a:pt x="47" y="29"/>
                    </a:lnTo>
                    <a:lnTo>
                      <a:pt x="38" y="29"/>
                    </a:lnTo>
                    <a:lnTo>
                      <a:pt x="34" y="30"/>
                    </a:lnTo>
                    <a:lnTo>
                      <a:pt x="30" y="32"/>
                    </a:lnTo>
                    <a:lnTo>
                      <a:pt x="30" y="32"/>
                    </a:lnTo>
                    <a:lnTo>
                      <a:pt x="28" y="33"/>
                    </a:lnTo>
                    <a:lnTo>
                      <a:pt x="26" y="35"/>
                    </a:lnTo>
                    <a:lnTo>
                      <a:pt x="21" y="33"/>
                    </a:lnTo>
                    <a:lnTo>
                      <a:pt x="21" y="33"/>
                    </a:lnTo>
                    <a:lnTo>
                      <a:pt x="16" y="32"/>
                    </a:lnTo>
                    <a:lnTo>
                      <a:pt x="14" y="33"/>
                    </a:lnTo>
                    <a:lnTo>
                      <a:pt x="11" y="35"/>
                    </a:lnTo>
                    <a:lnTo>
                      <a:pt x="11" y="35"/>
                    </a:lnTo>
                    <a:lnTo>
                      <a:pt x="10" y="36"/>
                    </a:lnTo>
                    <a:lnTo>
                      <a:pt x="7" y="35"/>
                    </a:lnTo>
                    <a:lnTo>
                      <a:pt x="4" y="33"/>
                    </a:lnTo>
                    <a:lnTo>
                      <a:pt x="3" y="32"/>
                    </a:lnTo>
                    <a:lnTo>
                      <a:pt x="3" y="32"/>
                    </a:lnTo>
                    <a:lnTo>
                      <a:pt x="0" y="33"/>
                    </a:lnTo>
                    <a:lnTo>
                      <a:pt x="0" y="36"/>
                    </a:lnTo>
                    <a:lnTo>
                      <a:pt x="0" y="40"/>
                    </a:lnTo>
                    <a:lnTo>
                      <a:pt x="0" y="40"/>
                    </a:lnTo>
                    <a:lnTo>
                      <a:pt x="3" y="43"/>
                    </a:lnTo>
                    <a:lnTo>
                      <a:pt x="6" y="45"/>
                    </a:lnTo>
                    <a:lnTo>
                      <a:pt x="8" y="45"/>
                    </a:lnTo>
                    <a:lnTo>
                      <a:pt x="8" y="45"/>
                    </a:lnTo>
                    <a:lnTo>
                      <a:pt x="11" y="45"/>
                    </a:lnTo>
                    <a:lnTo>
                      <a:pt x="14" y="45"/>
                    </a:lnTo>
                    <a:lnTo>
                      <a:pt x="18" y="47"/>
                    </a:lnTo>
                    <a:lnTo>
                      <a:pt x="18" y="47"/>
                    </a:lnTo>
                    <a:lnTo>
                      <a:pt x="21" y="47"/>
                    </a:lnTo>
                    <a:lnTo>
                      <a:pt x="24" y="46"/>
                    </a:lnTo>
                    <a:lnTo>
                      <a:pt x="28" y="43"/>
                    </a:lnTo>
                    <a:lnTo>
                      <a:pt x="28" y="43"/>
                    </a:lnTo>
                    <a:lnTo>
                      <a:pt x="31" y="43"/>
                    </a:lnTo>
                    <a:lnTo>
                      <a:pt x="35" y="42"/>
                    </a:lnTo>
                    <a:lnTo>
                      <a:pt x="41" y="42"/>
                    </a:lnTo>
                    <a:lnTo>
                      <a:pt x="41" y="42"/>
                    </a:lnTo>
                    <a:lnTo>
                      <a:pt x="43" y="45"/>
                    </a:lnTo>
                    <a:lnTo>
                      <a:pt x="44" y="49"/>
                    </a:lnTo>
                    <a:lnTo>
                      <a:pt x="44" y="49"/>
                    </a:lnTo>
                    <a:lnTo>
                      <a:pt x="50" y="50"/>
                    </a:lnTo>
                    <a:lnTo>
                      <a:pt x="60" y="50"/>
                    </a:lnTo>
                    <a:lnTo>
                      <a:pt x="60" y="50"/>
                    </a:lnTo>
                    <a:lnTo>
                      <a:pt x="70" y="53"/>
                    </a:lnTo>
                    <a:lnTo>
                      <a:pt x="77" y="55"/>
                    </a:lnTo>
                    <a:lnTo>
                      <a:pt x="77" y="55"/>
                    </a:lnTo>
                    <a:lnTo>
                      <a:pt x="80" y="53"/>
                    </a:lnTo>
                    <a:lnTo>
                      <a:pt x="82" y="52"/>
                    </a:lnTo>
                    <a:lnTo>
                      <a:pt x="87" y="50"/>
                    </a:lnTo>
                    <a:lnTo>
                      <a:pt x="91" y="49"/>
                    </a:lnTo>
                    <a:lnTo>
                      <a:pt x="91" y="49"/>
                    </a:lnTo>
                    <a:lnTo>
                      <a:pt x="95" y="49"/>
                    </a:lnTo>
                    <a:lnTo>
                      <a:pt x="98" y="47"/>
                    </a:lnTo>
                    <a:lnTo>
                      <a:pt x="102" y="46"/>
                    </a:lnTo>
                    <a:lnTo>
                      <a:pt x="102" y="46"/>
                    </a:lnTo>
                    <a:lnTo>
                      <a:pt x="102" y="46"/>
                    </a:lnTo>
                    <a:lnTo>
                      <a:pt x="102" y="46"/>
                    </a:lnTo>
                    <a:lnTo>
                      <a:pt x="102" y="43"/>
                    </a:lnTo>
                    <a:lnTo>
                      <a:pt x="104" y="42"/>
                    </a:lnTo>
                    <a:lnTo>
                      <a:pt x="104" y="42"/>
                    </a:lnTo>
                    <a:lnTo>
                      <a:pt x="105" y="40"/>
                    </a:lnTo>
                    <a:lnTo>
                      <a:pt x="107" y="39"/>
                    </a:lnTo>
                    <a:lnTo>
                      <a:pt x="107" y="36"/>
                    </a:lnTo>
                    <a:lnTo>
                      <a:pt x="107" y="35"/>
                    </a:lnTo>
                    <a:lnTo>
                      <a:pt x="107" y="35"/>
                    </a:lnTo>
                    <a:lnTo>
                      <a:pt x="108" y="33"/>
                    </a:lnTo>
                    <a:lnTo>
                      <a:pt x="108" y="30"/>
                    </a:lnTo>
                    <a:lnTo>
                      <a:pt x="108" y="29"/>
                    </a:lnTo>
                    <a:lnTo>
                      <a:pt x="109" y="29"/>
                    </a:lnTo>
                    <a:lnTo>
                      <a:pt x="109" y="29"/>
                    </a:lnTo>
                    <a:lnTo>
                      <a:pt x="114" y="29"/>
                    </a:lnTo>
                    <a:lnTo>
                      <a:pt x="115" y="27"/>
                    </a:lnTo>
                    <a:lnTo>
                      <a:pt x="117" y="25"/>
                    </a:lnTo>
                    <a:lnTo>
                      <a:pt x="117" y="25"/>
                    </a:lnTo>
                    <a:lnTo>
                      <a:pt x="117" y="22"/>
                    </a:lnTo>
                    <a:lnTo>
                      <a:pt x="118" y="20"/>
                    </a:lnTo>
                    <a:lnTo>
                      <a:pt x="118" y="20"/>
                    </a:lnTo>
                    <a:lnTo>
                      <a:pt x="114" y="12"/>
                    </a:lnTo>
                    <a:lnTo>
                      <a:pt x="112" y="6"/>
                    </a:lnTo>
                    <a:lnTo>
                      <a:pt x="112" y="6"/>
                    </a:lnTo>
                    <a:lnTo>
                      <a:pt x="107" y="8"/>
                    </a:lnTo>
                    <a:lnTo>
                      <a:pt x="104" y="8"/>
                    </a:lnTo>
                    <a:lnTo>
                      <a:pt x="99" y="5"/>
                    </a:lnTo>
                    <a:lnTo>
                      <a:pt x="99" y="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03" name="Hungary">
                <a:extLst>
                  <a:ext uri="{FF2B5EF4-FFF2-40B4-BE49-F238E27FC236}">
                    <a16:creationId xmlns:a16="http://schemas.microsoft.com/office/drawing/2014/main" id="{6A24B29B-9771-5449-88C6-D3FA655C04B8}"/>
                  </a:ext>
                </a:extLst>
              </p:cNvPr>
              <p:cNvSpPr>
                <a:spLocks/>
              </p:cNvSpPr>
              <p:nvPr/>
            </p:nvSpPr>
            <p:spPr bwMode="auto">
              <a:xfrm>
                <a:off x="4705181" y="3043045"/>
                <a:ext cx="152418" cy="85827"/>
              </a:xfrm>
              <a:custGeom>
                <a:avLst/>
                <a:gdLst/>
                <a:ahLst/>
                <a:cxnLst>
                  <a:cxn ang="0">
                    <a:pos x="100" y="11"/>
                  </a:cxn>
                  <a:cxn ang="0">
                    <a:pos x="97" y="8"/>
                  </a:cxn>
                  <a:cxn ang="0">
                    <a:pos x="87" y="5"/>
                  </a:cxn>
                  <a:cxn ang="0">
                    <a:pos x="83" y="2"/>
                  </a:cxn>
                  <a:cxn ang="0">
                    <a:pos x="71" y="0"/>
                  </a:cxn>
                  <a:cxn ang="0">
                    <a:pos x="69" y="1"/>
                  </a:cxn>
                  <a:cxn ang="0">
                    <a:pos x="60" y="8"/>
                  </a:cxn>
                  <a:cxn ang="0">
                    <a:pos x="57" y="10"/>
                  </a:cxn>
                  <a:cxn ang="0">
                    <a:pos x="42" y="12"/>
                  </a:cxn>
                  <a:cxn ang="0">
                    <a:pos x="40" y="15"/>
                  </a:cxn>
                  <a:cxn ang="0">
                    <a:pos x="39" y="15"/>
                  </a:cxn>
                  <a:cxn ang="0">
                    <a:pos x="30" y="18"/>
                  </a:cxn>
                  <a:cxn ang="0">
                    <a:pos x="19" y="15"/>
                  </a:cxn>
                  <a:cxn ang="0">
                    <a:pos x="16" y="12"/>
                  </a:cxn>
                  <a:cxn ang="0">
                    <a:pos x="15" y="14"/>
                  </a:cxn>
                  <a:cxn ang="0">
                    <a:pos x="15" y="17"/>
                  </a:cxn>
                  <a:cxn ang="0">
                    <a:pos x="12" y="21"/>
                  </a:cxn>
                  <a:cxn ang="0">
                    <a:pos x="7" y="21"/>
                  </a:cxn>
                  <a:cxn ang="0">
                    <a:pos x="6" y="22"/>
                  </a:cxn>
                  <a:cxn ang="0">
                    <a:pos x="5" y="27"/>
                  </a:cxn>
                  <a:cxn ang="0">
                    <a:pos x="5" y="28"/>
                  </a:cxn>
                  <a:cxn ang="0">
                    <a:pos x="3" y="32"/>
                  </a:cxn>
                  <a:cxn ang="0">
                    <a:pos x="2" y="34"/>
                  </a:cxn>
                  <a:cxn ang="0">
                    <a:pos x="0" y="38"/>
                  </a:cxn>
                  <a:cxn ang="0">
                    <a:pos x="2" y="41"/>
                  </a:cxn>
                  <a:cxn ang="0">
                    <a:pos x="3" y="44"/>
                  </a:cxn>
                  <a:cxn ang="0">
                    <a:pos x="3" y="44"/>
                  </a:cxn>
                  <a:cxn ang="0">
                    <a:pos x="16" y="54"/>
                  </a:cxn>
                  <a:cxn ang="0">
                    <a:pos x="20" y="56"/>
                  </a:cxn>
                  <a:cxn ang="0">
                    <a:pos x="29" y="58"/>
                  </a:cxn>
                  <a:cxn ang="0">
                    <a:pos x="33" y="58"/>
                  </a:cxn>
                  <a:cxn ang="0">
                    <a:pos x="56" y="51"/>
                  </a:cxn>
                  <a:cxn ang="0">
                    <a:pos x="62" y="52"/>
                  </a:cxn>
                  <a:cxn ang="0">
                    <a:pos x="67" y="54"/>
                  </a:cxn>
                  <a:cxn ang="0">
                    <a:pos x="76" y="47"/>
                  </a:cxn>
                  <a:cxn ang="0">
                    <a:pos x="80" y="41"/>
                  </a:cxn>
                  <a:cxn ang="0">
                    <a:pos x="91" y="22"/>
                  </a:cxn>
                  <a:cxn ang="0">
                    <a:pos x="101" y="15"/>
                  </a:cxn>
                  <a:cxn ang="0">
                    <a:pos x="103" y="14"/>
                  </a:cxn>
                  <a:cxn ang="0">
                    <a:pos x="103" y="11"/>
                  </a:cxn>
                  <a:cxn ang="0">
                    <a:pos x="100" y="11"/>
                  </a:cxn>
                </a:cxnLst>
                <a:rect l="0" t="0" r="r" b="b"/>
                <a:pathLst>
                  <a:path w="103" h="58">
                    <a:moveTo>
                      <a:pt x="100" y="11"/>
                    </a:moveTo>
                    <a:lnTo>
                      <a:pt x="100" y="11"/>
                    </a:lnTo>
                    <a:lnTo>
                      <a:pt x="97" y="8"/>
                    </a:lnTo>
                    <a:lnTo>
                      <a:pt x="97" y="8"/>
                    </a:lnTo>
                    <a:lnTo>
                      <a:pt x="90" y="7"/>
                    </a:lnTo>
                    <a:lnTo>
                      <a:pt x="87" y="5"/>
                    </a:lnTo>
                    <a:lnTo>
                      <a:pt x="87" y="5"/>
                    </a:lnTo>
                    <a:lnTo>
                      <a:pt x="83" y="2"/>
                    </a:lnTo>
                    <a:lnTo>
                      <a:pt x="79" y="1"/>
                    </a:lnTo>
                    <a:lnTo>
                      <a:pt x="71" y="0"/>
                    </a:lnTo>
                    <a:lnTo>
                      <a:pt x="71" y="0"/>
                    </a:lnTo>
                    <a:lnTo>
                      <a:pt x="69" y="1"/>
                    </a:lnTo>
                    <a:lnTo>
                      <a:pt x="64" y="4"/>
                    </a:lnTo>
                    <a:lnTo>
                      <a:pt x="60" y="8"/>
                    </a:lnTo>
                    <a:lnTo>
                      <a:pt x="57" y="10"/>
                    </a:lnTo>
                    <a:lnTo>
                      <a:pt x="57" y="10"/>
                    </a:lnTo>
                    <a:lnTo>
                      <a:pt x="47" y="11"/>
                    </a:lnTo>
                    <a:lnTo>
                      <a:pt x="42" y="12"/>
                    </a:lnTo>
                    <a:lnTo>
                      <a:pt x="40" y="14"/>
                    </a:lnTo>
                    <a:lnTo>
                      <a:pt x="40" y="15"/>
                    </a:lnTo>
                    <a:lnTo>
                      <a:pt x="40" y="15"/>
                    </a:lnTo>
                    <a:lnTo>
                      <a:pt x="39" y="15"/>
                    </a:lnTo>
                    <a:lnTo>
                      <a:pt x="37" y="17"/>
                    </a:lnTo>
                    <a:lnTo>
                      <a:pt x="30" y="18"/>
                    </a:lnTo>
                    <a:lnTo>
                      <a:pt x="23" y="17"/>
                    </a:lnTo>
                    <a:lnTo>
                      <a:pt x="19" y="15"/>
                    </a:lnTo>
                    <a:lnTo>
                      <a:pt x="19" y="15"/>
                    </a:lnTo>
                    <a:lnTo>
                      <a:pt x="16" y="12"/>
                    </a:lnTo>
                    <a:lnTo>
                      <a:pt x="16" y="12"/>
                    </a:lnTo>
                    <a:lnTo>
                      <a:pt x="15" y="14"/>
                    </a:lnTo>
                    <a:lnTo>
                      <a:pt x="15" y="17"/>
                    </a:lnTo>
                    <a:lnTo>
                      <a:pt x="15" y="17"/>
                    </a:lnTo>
                    <a:lnTo>
                      <a:pt x="13" y="19"/>
                    </a:lnTo>
                    <a:lnTo>
                      <a:pt x="12" y="21"/>
                    </a:lnTo>
                    <a:lnTo>
                      <a:pt x="7" y="21"/>
                    </a:lnTo>
                    <a:lnTo>
                      <a:pt x="7" y="21"/>
                    </a:lnTo>
                    <a:lnTo>
                      <a:pt x="6" y="21"/>
                    </a:lnTo>
                    <a:lnTo>
                      <a:pt x="6" y="22"/>
                    </a:lnTo>
                    <a:lnTo>
                      <a:pt x="6" y="25"/>
                    </a:lnTo>
                    <a:lnTo>
                      <a:pt x="5" y="27"/>
                    </a:lnTo>
                    <a:lnTo>
                      <a:pt x="5" y="27"/>
                    </a:lnTo>
                    <a:lnTo>
                      <a:pt x="5" y="28"/>
                    </a:lnTo>
                    <a:lnTo>
                      <a:pt x="5" y="31"/>
                    </a:lnTo>
                    <a:lnTo>
                      <a:pt x="3" y="32"/>
                    </a:lnTo>
                    <a:lnTo>
                      <a:pt x="2" y="34"/>
                    </a:lnTo>
                    <a:lnTo>
                      <a:pt x="2" y="34"/>
                    </a:lnTo>
                    <a:lnTo>
                      <a:pt x="0" y="35"/>
                    </a:lnTo>
                    <a:lnTo>
                      <a:pt x="0" y="38"/>
                    </a:lnTo>
                    <a:lnTo>
                      <a:pt x="0" y="38"/>
                    </a:lnTo>
                    <a:lnTo>
                      <a:pt x="2" y="41"/>
                    </a:lnTo>
                    <a:lnTo>
                      <a:pt x="3" y="44"/>
                    </a:lnTo>
                    <a:lnTo>
                      <a:pt x="3" y="44"/>
                    </a:lnTo>
                    <a:lnTo>
                      <a:pt x="3" y="44"/>
                    </a:lnTo>
                    <a:lnTo>
                      <a:pt x="3" y="44"/>
                    </a:lnTo>
                    <a:lnTo>
                      <a:pt x="10" y="48"/>
                    </a:lnTo>
                    <a:lnTo>
                      <a:pt x="16" y="54"/>
                    </a:lnTo>
                    <a:lnTo>
                      <a:pt x="16" y="54"/>
                    </a:lnTo>
                    <a:lnTo>
                      <a:pt x="20" y="56"/>
                    </a:lnTo>
                    <a:lnTo>
                      <a:pt x="25" y="58"/>
                    </a:lnTo>
                    <a:lnTo>
                      <a:pt x="29" y="58"/>
                    </a:lnTo>
                    <a:lnTo>
                      <a:pt x="33" y="58"/>
                    </a:lnTo>
                    <a:lnTo>
                      <a:pt x="33" y="58"/>
                    </a:lnTo>
                    <a:lnTo>
                      <a:pt x="56" y="51"/>
                    </a:lnTo>
                    <a:lnTo>
                      <a:pt x="56" y="51"/>
                    </a:lnTo>
                    <a:lnTo>
                      <a:pt x="62" y="52"/>
                    </a:lnTo>
                    <a:lnTo>
                      <a:pt x="62" y="52"/>
                    </a:lnTo>
                    <a:lnTo>
                      <a:pt x="67" y="54"/>
                    </a:lnTo>
                    <a:lnTo>
                      <a:pt x="67" y="54"/>
                    </a:lnTo>
                    <a:lnTo>
                      <a:pt x="70" y="51"/>
                    </a:lnTo>
                    <a:lnTo>
                      <a:pt x="76" y="47"/>
                    </a:lnTo>
                    <a:lnTo>
                      <a:pt x="76" y="47"/>
                    </a:lnTo>
                    <a:lnTo>
                      <a:pt x="80" y="41"/>
                    </a:lnTo>
                    <a:lnTo>
                      <a:pt x="84" y="34"/>
                    </a:lnTo>
                    <a:lnTo>
                      <a:pt x="91" y="22"/>
                    </a:lnTo>
                    <a:lnTo>
                      <a:pt x="91" y="22"/>
                    </a:lnTo>
                    <a:lnTo>
                      <a:pt x="101" y="15"/>
                    </a:lnTo>
                    <a:lnTo>
                      <a:pt x="101" y="15"/>
                    </a:lnTo>
                    <a:lnTo>
                      <a:pt x="103" y="14"/>
                    </a:lnTo>
                    <a:lnTo>
                      <a:pt x="103" y="12"/>
                    </a:lnTo>
                    <a:lnTo>
                      <a:pt x="103" y="11"/>
                    </a:lnTo>
                    <a:lnTo>
                      <a:pt x="100" y="11"/>
                    </a:lnTo>
                    <a:lnTo>
                      <a:pt x="100" y="1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04" name="Czech Republic">
                <a:extLst>
                  <a:ext uri="{FF2B5EF4-FFF2-40B4-BE49-F238E27FC236}">
                    <a16:creationId xmlns:a16="http://schemas.microsoft.com/office/drawing/2014/main" id="{0E4B98FA-7AF5-3D46-AFD7-ABF10292C6E0}"/>
                  </a:ext>
                </a:extLst>
              </p:cNvPr>
              <p:cNvSpPr>
                <a:spLocks/>
              </p:cNvSpPr>
              <p:nvPr/>
            </p:nvSpPr>
            <p:spPr bwMode="auto">
              <a:xfrm>
                <a:off x="4617874" y="2969055"/>
                <a:ext cx="146499" cy="76949"/>
              </a:xfrm>
              <a:custGeom>
                <a:avLst/>
                <a:gdLst/>
                <a:ahLst/>
                <a:cxnLst>
                  <a:cxn ang="0">
                    <a:pos x="93" y="24"/>
                  </a:cxn>
                  <a:cxn ang="0">
                    <a:pos x="85" y="23"/>
                  </a:cxn>
                  <a:cxn ang="0">
                    <a:pos x="84" y="21"/>
                  </a:cxn>
                  <a:cxn ang="0">
                    <a:pos x="81" y="15"/>
                  </a:cxn>
                  <a:cxn ang="0">
                    <a:pos x="79" y="15"/>
                  </a:cxn>
                  <a:cxn ang="0">
                    <a:pos x="72" y="15"/>
                  </a:cxn>
                  <a:cxn ang="0">
                    <a:pos x="69" y="17"/>
                  </a:cxn>
                  <a:cxn ang="0">
                    <a:pos x="65" y="17"/>
                  </a:cxn>
                  <a:cxn ang="0">
                    <a:pos x="61" y="13"/>
                  </a:cxn>
                  <a:cxn ang="0">
                    <a:pos x="61" y="11"/>
                  </a:cxn>
                  <a:cxn ang="0">
                    <a:pos x="51" y="5"/>
                  </a:cxn>
                  <a:cxn ang="0">
                    <a:pos x="41" y="0"/>
                  </a:cxn>
                  <a:cxn ang="0">
                    <a:pos x="41" y="3"/>
                  </a:cxn>
                  <a:cxn ang="0">
                    <a:pos x="39" y="3"/>
                  </a:cxn>
                  <a:cxn ang="0">
                    <a:pos x="34" y="1"/>
                  </a:cxn>
                  <a:cxn ang="0">
                    <a:pos x="32" y="3"/>
                  </a:cxn>
                  <a:cxn ang="0">
                    <a:pos x="27" y="5"/>
                  </a:cxn>
                  <a:cxn ang="0">
                    <a:pos x="20" y="8"/>
                  </a:cxn>
                  <a:cxn ang="0">
                    <a:pos x="15" y="11"/>
                  </a:cxn>
                  <a:cxn ang="0">
                    <a:pos x="2" y="15"/>
                  </a:cxn>
                  <a:cxn ang="0">
                    <a:pos x="0" y="17"/>
                  </a:cxn>
                  <a:cxn ang="0">
                    <a:pos x="4" y="24"/>
                  </a:cxn>
                  <a:cxn ang="0">
                    <a:pos x="5" y="31"/>
                  </a:cxn>
                  <a:cxn ang="0">
                    <a:pos x="8" y="37"/>
                  </a:cxn>
                  <a:cxn ang="0">
                    <a:pos x="18" y="44"/>
                  </a:cxn>
                  <a:cxn ang="0">
                    <a:pos x="25" y="50"/>
                  </a:cxn>
                  <a:cxn ang="0">
                    <a:pos x="25" y="51"/>
                  </a:cxn>
                  <a:cxn ang="0">
                    <a:pos x="37" y="51"/>
                  </a:cxn>
                  <a:cxn ang="0">
                    <a:pos x="39" y="50"/>
                  </a:cxn>
                  <a:cxn ang="0">
                    <a:pos x="42" y="42"/>
                  </a:cxn>
                  <a:cxn ang="0">
                    <a:pos x="48" y="42"/>
                  </a:cxn>
                  <a:cxn ang="0">
                    <a:pos x="56" y="47"/>
                  </a:cxn>
                  <a:cxn ang="0">
                    <a:pos x="61" y="50"/>
                  </a:cxn>
                  <a:cxn ang="0">
                    <a:pos x="69" y="48"/>
                  </a:cxn>
                  <a:cxn ang="0">
                    <a:pos x="69" y="52"/>
                  </a:cxn>
                  <a:cxn ang="0">
                    <a:pos x="72" y="48"/>
                  </a:cxn>
                  <a:cxn ang="0">
                    <a:pos x="75" y="47"/>
                  </a:cxn>
                  <a:cxn ang="0">
                    <a:pos x="86" y="42"/>
                  </a:cxn>
                  <a:cxn ang="0">
                    <a:pos x="89" y="40"/>
                  </a:cxn>
                  <a:cxn ang="0">
                    <a:pos x="99" y="31"/>
                  </a:cxn>
                  <a:cxn ang="0">
                    <a:pos x="96" y="27"/>
                  </a:cxn>
                  <a:cxn ang="0">
                    <a:pos x="93" y="24"/>
                  </a:cxn>
                </a:cxnLst>
                <a:rect l="0" t="0" r="r" b="b"/>
                <a:pathLst>
                  <a:path w="99" h="52">
                    <a:moveTo>
                      <a:pt x="93" y="24"/>
                    </a:moveTo>
                    <a:lnTo>
                      <a:pt x="93" y="24"/>
                    </a:lnTo>
                    <a:lnTo>
                      <a:pt x="88" y="23"/>
                    </a:lnTo>
                    <a:lnTo>
                      <a:pt x="85" y="23"/>
                    </a:lnTo>
                    <a:lnTo>
                      <a:pt x="84" y="21"/>
                    </a:lnTo>
                    <a:lnTo>
                      <a:pt x="84" y="21"/>
                    </a:lnTo>
                    <a:lnTo>
                      <a:pt x="82" y="17"/>
                    </a:lnTo>
                    <a:lnTo>
                      <a:pt x="81" y="15"/>
                    </a:lnTo>
                    <a:lnTo>
                      <a:pt x="79" y="15"/>
                    </a:lnTo>
                    <a:lnTo>
                      <a:pt x="79" y="15"/>
                    </a:lnTo>
                    <a:lnTo>
                      <a:pt x="74" y="15"/>
                    </a:lnTo>
                    <a:lnTo>
                      <a:pt x="72" y="15"/>
                    </a:lnTo>
                    <a:lnTo>
                      <a:pt x="69" y="17"/>
                    </a:lnTo>
                    <a:lnTo>
                      <a:pt x="69" y="17"/>
                    </a:lnTo>
                    <a:lnTo>
                      <a:pt x="68" y="18"/>
                    </a:lnTo>
                    <a:lnTo>
                      <a:pt x="65" y="17"/>
                    </a:lnTo>
                    <a:lnTo>
                      <a:pt x="62" y="15"/>
                    </a:lnTo>
                    <a:lnTo>
                      <a:pt x="61" y="13"/>
                    </a:lnTo>
                    <a:lnTo>
                      <a:pt x="61" y="13"/>
                    </a:lnTo>
                    <a:lnTo>
                      <a:pt x="61" y="11"/>
                    </a:lnTo>
                    <a:lnTo>
                      <a:pt x="59" y="10"/>
                    </a:lnTo>
                    <a:lnTo>
                      <a:pt x="51" y="5"/>
                    </a:lnTo>
                    <a:lnTo>
                      <a:pt x="51" y="5"/>
                    </a:lnTo>
                    <a:lnTo>
                      <a:pt x="41" y="0"/>
                    </a:lnTo>
                    <a:lnTo>
                      <a:pt x="41" y="0"/>
                    </a:lnTo>
                    <a:lnTo>
                      <a:pt x="41" y="3"/>
                    </a:lnTo>
                    <a:lnTo>
                      <a:pt x="41" y="3"/>
                    </a:lnTo>
                    <a:lnTo>
                      <a:pt x="39" y="3"/>
                    </a:lnTo>
                    <a:lnTo>
                      <a:pt x="37" y="3"/>
                    </a:lnTo>
                    <a:lnTo>
                      <a:pt x="34" y="1"/>
                    </a:lnTo>
                    <a:lnTo>
                      <a:pt x="32" y="3"/>
                    </a:lnTo>
                    <a:lnTo>
                      <a:pt x="32" y="3"/>
                    </a:lnTo>
                    <a:lnTo>
                      <a:pt x="29" y="4"/>
                    </a:lnTo>
                    <a:lnTo>
                      <a:pt x="27" y="5"/>
                    </a:lnTo>
                    <a:lnTo>
                      <a:pt x="22" y="7"/>
                    </a:lnTo>
                    <a:lnTo>
                      <a:pt x="20" y="8"/>
                    </a:lnTo>
                    <a:lnTo>
                      <a:pt x="20" y="8"/>
                    </a:lnTo>
                    <a:lnTo>
                      <a:pt x="15" y="11"/>
                    </a:lnTo>
                    <a:lnTo>
                      <a:pt x="11" y="13"/>
                    </a:lnTo>
                    <a:lnTo>
                      <a:pt x="2" y="15"/>
                    </a:lnTo>
                    <a:lnTo>
                      <a:pt x="2" y="15"/>
                    </a:lnTo>
                    <a:lnTo>
                      <a:pt x="0" y="17"/>
                    </a:lnTo>
                    <a:lnTo>
                      <a:pt x="1" y="18"/>
                    </a:lnTo>
                    <a:lnTo>
                      <a:pt x="4" y="24"/>
                    </a:lnTo>
                    <a:lnTo>
                      <a:pt x="4" y="24"/>
                    </a:lnTo>
                    <a:lnTo>
                      <a:pt x="5" y="31"/>
                    </a:lnTo>
                    <a:lnTo>
                      <a:pt x="7" y="34"/>
                    </a:lnTo>
                    <a:lnTo>
                      <a:pt x="8" y="37"/>
                    </a:lnTo>
                    <a:lnTo>
                      <a:pt x="8" y="37"/>
                    </a:lnTo>
                    <a:lnTo>
                      <a:pt x="18" y="44"/>
                    </a:lnTo>
                    <a:lnTo>
                      <a:pt x="25" y="50"/>
                    </a:lnTo>
                    <a:lnTo>
                      <a:pt x="25" y="50"/>
                    </a:lnTo>
                    <a:lnTo>
                      <a:pt x="25" y="51"/>
                    </a:lnTo>
                    <a:lnTo>
                      <a:pt x="25" y="51"/>
                    </a:lnTo>
                    <a:lnTo>
                      <a:pt x="34" y="51"/>
                    </a:lnTo>
                    <a:lnTo>
                      <a:pt x="37" y="51"/>
                    </a:lnTo>
                    <a:lnTo>
                      <a:pt x="39" y="50"/>
                    </a:lnTo>
                    <a:lnTo>
                      <a:pt x="39" y="50"/>
                    </a:lnTo>
                    <a:lnTo>
                      <a:pt x="41" y="45"/>
                    </a:lnTo>
                    <a:lnTo>
                      <a:pt x="42" y="42"/>
                    </a:lnTo>
                    <a:lnTo>
                      <a:pt x="42" y="42"/>
                    </a:lnTo>
                    <a:lnTo>
                      <a:pt x="48" y="42"/>
                    </a:lnTo>
                    <a:lnTo>
                      <a:pt x="52" y="44"/>
                    </a:lnTo>
                    <a:lnTo>
                      <a:pt x="56" y="47"/>
                    </a:lnTo>
                    <a:lnTo>
                      <a:pt x="56" y="47"/>
                    </a:lnTo>
                    <a:lnTo>
                      <a:pt x="61" y="50"/>
                    </a:lnTo>
                    <a:lnTo>
                      <a:pt x="64" y="50"/>
                    </a:lnTo>
                    <a:lnTo>
                      <a:pt x="69" y="48"/>
                    </a:lnTo>
                    <a:lnTo>
                      <a:pt x="69" y="48"/>
                    </a:lnTo>
                    <a:lnTo>
                      <a:pt x="69" y="52"/>
                    </a:lnTo>
                    <a:lnTo>
                      <a:pt x="69" y="52"/>
                    </a:lnTo>
                    <a:lnTo>
                      <a:pt x="72" y="48"/>
                    </a:lnTo>
                    <a:lnTo>
                      <a:pt x="75" y="47"/>
                    </a:lnTo>
                    <a:lnTo>
                      <a:pt x="75" y="47"/>
                    </a:lnTo>
                    <a:lnTo>
                      <a:pt x="82" y="45"/>
                    </a:lnTo>
                    <a:lnTo>
                      <a:pt x="86" y="42"/>
                    </a:lnTo>
                    <a:lnTo>
                      <a:pt x="89" y="40"/>
                    </a:lnTo>
                    <a:lnTo>
                      <a:pt x="89" y="40"/>
                    </a:lnTo>
                    <a:lnTo>
                      <a:pt x="93" y="35"/>
                    </a:lnTo>
                    <a:lnTo>
                      <a:pt x="99" y="31"/>
                    </a:lnTo>
                    <a:lnTo>
                      <a:pt x="99" y="31"/>
                    </a:lnTo>
                    <a:lnTo>
                      <a:pt x="96" y="27"/>
                    </a:lnTo>
                    <a:lnTo>
                      <a:pt x="93" y="24"/>
                    </a:lnTo>
                    <a:lnTo>
                      <a:pt x="93" y="2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05" name="Slovakia">
                <a:extLst>
                  <a:ext uri="{FF2B5EF4-FFF2-40B4-BE49-F238E27FC236}">
                    <a16:creationId xmlns:a16="http://schemas.microsoft.com/office/drawing/2014/main" id="{A43F63A3-8426-F644-A569-E68C856209A8}"/>
                  </a:ext>
                </a:extLst>
              </p:cNvPr>
              <p:cNvSpPr>
                <a:spLocks/>
              </p:cNvSpPr>
              <p:nvPr/>
            </p:nvSpPr>
            <p:spPr bwMode="auto">
              <a:xfrm>
                <a:off x="4719978" y="3014929"/>
                <a:ext cx="134661" cy="54753"/>
              </a:xfrm>
              <a:custGeom>
                <a:avLst/>
                <a:gdLst/>
                <a:ahLst/>
                <a:cxnLst>
                  <a:cxn ang="0">
                    <a:pos x="67" y="4"/>
                  </a:cxn>
                  <a:cxn ang="0">
                    <a:pos x="61" y="3"/>
                  </a:cxn>
                  <a:cxn ang="0">
                    <a:pos x="56" y="3"/>
                  </a:cxn>
                  <a:cxn ang="0">
                    <a:pos x="52" y="3"/>
                  </a:cxn>
                  <a:cxn ang="0">
                    <a:pos x="42" y="2"/>
                  </a:cxn>
                  <a:cxn ang="0">
                    <a:pos x="40" y="2"/>
                  </a:cxn>
                  <a:cxn ang="0">
                    <a:pos x="34" y="3"/>
                  </a:cxn>
                  <a:cxn ang="0">
                    <a:pos x="32" y="3"/>
                  </a:cxn>
                  <a:cxn ang="0">
                    <a:pos x="30" y="0"/>
                  </a:cxn>
                  <a:cxn ang="0">
                    <a:pos x="20" y="9"/>
                  </a:cxn>
                  <a:cxn ang="0">
                    <a:pos x="17" y="11"/>
                  </a:cxn>
                  <a:cxn ang="0">
                    <a:pos x="6" y="16"/>
                  </a:cxn>
                  <a:cxn ang="0">
                    <a:pos x="3" y="17"/>
                  </a:cxn>
                  <a:cxn ang="0">
                    <a:pos x="0" y="21"/>
                  </a:cxn>
                  <a:cxn ang="0">
                    <a:pos x="9" y="34"/>
                  </a:cxn>
                  <a:cxn ang="0">
                    <a:pos x="13" y="36"/>
                  </a:cxn>
                  <a:cxn ang="0">
                    <a:pos x="27" y="36"/>
                  </a:cxn>
                  <a:cxn ang="0">
                    <a:pos x="30" y="34"/>
                  </a:cxn>
                  <a:cxn ang="0">
                    <a:pos x="30" y="33"/>
                  </a:cxn>
                  <a:cxn ang="0">
                    <a:pos x="37" y="30"/>
                  </a:cxn>
                  <a:cxn ang="0">
                    <a:pos x="47" y="29"/>
                  </a:cxn>
                  <a:cxn ang="0">
                    <a:pos x="54" y="23"/>
                  </a:cxn>
                  <a:cxn ang="0">
                    <a:pos x="61" y="19"/>
                  </a:cxn>
                  <a:cxn ang="0">
                    <a:pos x="69" y="20"/>
                  </a:cxn>
                  <a:cxn ang="0">
                    <a:pos x="77" y="24"/>
                  </a:cxn>
                  <a:cxn ang="0">
                    <a:pos x="80" y="26"/>
                  </a:cxn>
                  <a:cxn ang="0">
                    <a:pos x="87" y="27"/>
                  </a:cxn>
                  <a:cxn ang="0">
                    <a:pos x="83" y="21"/>
                  </a:cxn>
                  <a:cxn ang="0">
                    <a:pos x="84" y="19"/>
                  </a:cxn>
                  <a:cxn ang="0">
                    <a:pos x="90" y="10"/>
                  </a:cxn>
                  <a:cxn ang="0">
                    <a:pos x="91" y="10"/>
                  </a:cxn>
                  <a:cxn ang="0">
                    <a:pos x="84" y="9"/>
                  </a:cxn>
                  <a:cxn ang="0">
                    <a:pos x="81" y="7"/>
                  </a:cxn>
                  <a:cxn ang="0">
                    <a:pos x="67" y="4"/>
                  </a:cxn>
                </a:cxnLst>
                <a:rect l="0" t="0" r="r" b="b"/>
                <a:pathLst>
                  <a:path w="91" h="37">
                    <a:moveTo>
                      <a:pt x="67" y="4"/>
                    </a:moveTo>
                    <a:lnTo>
                      <a:pt x="67" y="4"/>
                    </a:lnTo>
                    <a:lnTo>
                      <a:pt x="64" y="4"/>
                    </a:lnTo>
                    <a:lnTo>
                      <a:pt x="61" y="3"/>
                    </a:lnTo>
                    <a:lnTo>
                      <a:pt x="59" y="3"/>
                    </a:lnTo>
                    <a:lnTo>
                      <a:pt x="56" y="3"/>
                    </a:lnTo>
                    <a:lnTo>
                      <a:pt x="56" y="3"/>
                    </a:lnTo>
                    <a:lnTo>
                      <a:pt x="52" y="3"/>
                    </a:lnTo>
                    <a:lnTo>
                      <a:pt x="47" y="3"/>
                    </a:lnTo>
                    <a:lnTo>
                      <a:pt x="42" y="2"/>
                    </a:lnTo>
                    <a:lnTo>
                      <a:pt x="42" y="2"/>
                    </a:lnTo>
                    <a:lnTo>
                      <a:pt x="40" y="2"/>
                    </a:lnTo>
                    <a:lnTo>
                      <a:pt x="37" y="2"/>
                    </a:lnTo>
                    <a:lnTo>
                      <a:pt x="34" y="3"/>
                    </a:lnTo>
                    <a:lnTo>
                      <a:pt x="32" y="3"/>
                    </a:lnTo>
                    <a:lnTo>
                      <a:pt x="32" y="3"/>
                    </a:lnTo>
                    <a:lnTo>
                      <a:pt x="30" y="0"/>
                    </a:lnTo>
                    <a:lnTo>
                      <a:pt x="30" y="0"/>
                    </a:lnTo>
                    <a:lnTo>
                      <a:pt x="24" y="4"/>
                    </a:lnTo>
                    <a:lnTo>
                      <a:pt x="20" y="9"/>
                    </a:lnTo>
                    <a:lnTo>
                      <a:pt x="20" y="9"/>
                    </a:lnTo>
                    <a:lnTo>
                      <a:pt x="17" y="11"/>
                    </a:lnTo>
                    <a:lnTo>
                      <a:pt x="13" y="14"/>
                    </a:lnTo>
                    <a:lnTo>
                      <a:pt x="6" y="16"/>
                    </a:lnTo>
                    <a:lnTo>
                      <a:pt x="6" y="16"/>
                    </a:lnTo>
                    <a:lnTo>
                      <a:pt x="3" y="17"/>
                    </a:lnTo>
                    <a:lnTo>
                      <a:pt x="0" y="21"/>
                    </a:lnTo>
                    <a:lnTo>
                      <a:pt x="0" y="21"/>
                    </a:lnTo>
                    <a:lnTo>
                      <a:pt x="5" y="27"/>
                    </a:lnTo>
                    <a:lnTo>
                      <a:pt x="9" y="34"/>
                    </a:lnTo>
                    <a:lnTo>
                      <a:pt x="9" y="34"/>
                    </a:lnTo>
                    <a:lnTo>
                      <a:pt x="13" y="36"/>
                    </a:lnTo>
                    <a:lnTo>
                      <a:pt x="20" y="37"/>
                    </a:lnTo>
                    <a:lnTo>
                      <a:pt x="27" y="36"/>
                    </a:lnTo>
                    <a:lnTo>
                      <a:pt x="29" y="34"/>
                    </a:lnTo>
                    <a:lnTo>
                      <a:pt x="30" y="34"/>
                    </a:lnTo>
                    <a:lnTo>
                      <a:pt x="30" y="34"/>
                    </a:lnTo>
                    <a:lnTo>
                      <a:pt x="30" y="33"/>
                    </a:lnTo>
                    <a:lnTo>
                      <a:pt x="32" y="31"/>
                    </a:lnTo>
                    <a:lnTo>
                      <a:pt x="37" y="30"/>
                    </a:lnTo>
                    <a:lnTo>
                      <a:pt x="47" y="29"/>
                    </a:lnTo>
                    <a:lnTo>
                      <a:pt x="47" y="29"/>
                    </a:lnTo>
                    <a:lnTo>
                      <a:pt x="50" y="27"/>
                    </a:lnTo>
                    <a:lnTo>
                      <a:pt x="54" y="23"/>
                    </a:lnTo>
                    <a:lnTo>
                      <a:pt x="59" y="20"/>
                    </a:lnTo>
                    <a:lnTo>
                      <a:pt x="61" y="19"/>
                    </a:lnTo>
                    <a:lnTo>
                      <a:pt x="61" y="19"/>
                    </a:lnTo>
                    <a:lnTo>
                      <a:pt x="69" y="20"/>
                    </a:lnTo>
                    <a:lnTo>
                      <a:pt x="73" y="21"/>
                    </a:lnTo>
                    <a:lnTo>
                      <a:pt x="77" y="24"/>
                    </a:lnTo>
                    <a:lnTo>
                      <a:pt x="77" y="24"/>
                    </a:lnTo>
                    <a:lnTo>
                      <a:pt x="80" y="26"/>
                    </a:lnTo>
                    <a:lnTo>
                      <a:pt x="87" y="27"/>
                    </a:lnTo>
                    <a:lnTo>
                      <a:pt x="87" y="27"/>
                    </a:lnTo>
                    <a:lnTo>
                      <a:pt x="84" y="24"/>
                    </a:lnTo>
                    <a:lnTo>
                      <a:pt x="83" y="21"/>
                    </a:lnTo>
                    <a:lnTo>
                      <a:pt x="83" y="21"/>
                    </a:lnTo>
                    <a:lnTo>
                      <a:pt x="84" y="19"/>
                    </a:lnTo>
                    <a:lnTo>
                      <a:pt x="86" y="16"/>
                    </a:lnTo>
                    <a:lnTo>
                      <a:pt x="90" y="10"/>
                    </a:lnTo>
                    <a:lnTo>
                      <a:pt x="90" y="10"/>
                    </a:lnTo>
                    <a:lnTo>
                      <a:pt x="91" y="10"/>
                    </a:lnTo>
                    <a:lnTo>
                      <a:pt x="91" y="10"/>
                    </a:lnTo>
                    <a:lnTo>
                      <a:pt x="84" y="9"/>
                    </a:lnTo>
                    <a:lnTo>
                      <a:pt x="81" y="7"/>
                    </a:lnTo>
                    <a:lnTo>
                      <a:pt x="81" y="7"/>
                    </a:lnTo>
                    <a:lnTo>
                      <a:pt x="76" y="4"/>
                    </a:lnTo>
                    <a:lnTo>
                      <a:pt x="67" y="4"/>
                    </a:lnTo>
                    <a:lnTo>
                      <a:pt x="67" y="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06" name="Netherlands">
                <a:extLst>
                  <a:ext uri="{FF2B5EF4-FFF2-40B4-BE49-F238E27FC236}">
                    <a16:creationId xmlns:a16="http://schemas.microsoft.com/office/drawing/2014/main" id="{FDD3FFFF-8561-FB46-96F9-9CC1D9C860B7}"/>
                  </a:ext>
                </a:extLst>
              </p:cNvPr>
              <p:cNvSpPr>
                <a:spLocks/>
              </p:cNvSpPr>
              <p:nvPr/>
            </p:nvSpPr>
            <p:spPr bwMode="auto">
              <a:xfrm>
                <a:off x="4400345" y="2893587"/>
                <a:ext cx="96186" cy="82868"/>
              </a:xfrm>
              <a:custGeom>
                <a:avLst/>
                <a:gdLst/>
                <a:ahLst/>
                <a:cxnLst>
                  <a:cxn ang="0">
                    <a:pos x="21" y="44"/>
                  </a:cxn>
                  <a:cxn ang="0">
                    <a:pos x="26" y="42"/>
                  </a:cxn>
                  <a:cxn ang="0">
                    <a:pos x="31" y="45"/>
                  </a:cxn>
                  <a:cxn ang="0">
                    <a:pos x="37" y="48"/>
                  </a:cxn>
                  <a:cxn ang="0">
                    <a:pos x="43" y="52"/>
                  </a:cxn>
                  <a:cxn ang="0">
                    <a:pos x="47" y="56"/>
                  </a:cxn>
                  <a:cxn ang="0">
                    <a:pos x="48" y="44"/>
                  </a:cxn>
                  <a:cxn ang="0">
                    <a:pos x="48" y="41"/>
                  </a:cxn>
                  <a:cxn ang="0">
                    <a:pos x="48" y="37"/>
                  </a:cxn>
                  <a:cxn ang="0">
                    <a:pos x="50" y="37"/>
                  </a:cxn>
                  <a:cxn ang="0">
                    <a:pos x="57" y="34"/>
                  </a:cxn>
                  <a:cxn ang="0">
                    <a:pos x="58" y="32"/>
                  </a:cxn>
                  <a:cxn ang="0">
                    <a:pos x="60" y="28"/>
                  </a:cxn>
                  <a:cxn ang="0">
                    <a:pos x="63" y="27"/>
                  </a:cxn>
                  <a:cxn ang="0">
                    <a:pos x="60" y="22"/>
                  </a:cxn>
                  <a:cxn ang="0">
                    <a:pos x="57" y="18"/>
                  </a:cxn>
                  <a:cxn ang="0">
                    <a:pos x="58" y="15"/>
                  </a:cxn>
                  <a:cxn ang="0">
                    <a:pos x="65" y="11"/>
                  </a:cxn>
                  <a:cxn ang="0">
                    <a:pos x="65" y="5"/>
                  </a:cxn>
                  <a:cxn ang="0">
                    <a:pos x="64" y="0"/>
                  </a:cxn>
                  <a:cxn ang="0">
                    <a:pos x="60" y="1"/>
                  </a:cxn>
                  <a:cxn ang="0">
                    <a:pos x="57" y="0"/>
                  </a:cxn>
                  <a:cxn ang="0">
                    <a:pos x="44" y="1"/>
                  </a:cxn>
                  <a:cxn ang="0">
                    <a:pos x="40" y="4"/>
                  </a:cxn>
                  <a:cxn ang="0">
                    <a:pos x="37" y="10"/>
                  </a:cxn>
                  <a:cxn ang="0">
                    <a:pos x="37" y="12"/>
                  </a:cxn>
                  <a:cxn ang="0">
                    <a:pos x="37" y="15"/>
                  </a:cxn>
                  <a:cxn ang="0">
                    <a:pos x="31" y="15"/>
                  </a:cxn>
                  <a:cxn ang="0">
                    <a:pos x="30" y="14"/>
                  </a:cxn>
                  <a:cxn ang="0">
                    <a:pos x="26" y="12"/>
                  </a:cxn>
                  <a:cxn ang="0">
                    <a:pos x="23" y="17"/>
                  </a:cxn>
                  <a:cxn ang="0">
                    <a:pos x="21" y="21"/>
                  </a:cxn>
                  <a:cxn ang="0">
                    <a:pos x="16" y="27"/>
                  </a:cxn>
                  <a:cxn ang="0">
                    <a:pos x="16" y="29"/>
                  </a:cxn>
                  <a:cxn ang="0">
                    <a:pos x="11" y="38"/>
                  </a:cxn>
                  <a:cxn ang="0">
                    <a:pos x="3" y="45"/>
                  </a:cxn>
                  <a:cxn ang="0">
                    <a:pos x="0" y="47"/>
                  </a:cxn>
                  <a:cxn ang="0">
                    <a:pos x="6" y="48"/>
                  </a:cxn>
                  <a:cxn ang="0">
                    <a:pos x="19" y="45"/>
                  </a:cxn>
                  <a:cxn ang="0">
                    <a:pos x="21" y="44"/>
                  </a:cxn>
                </a:cxnLst>
                <a:rect l="0" t="0" r="r" b="b"/>
                <a:pathLst>
                  <a:path w="65" h="56">
                    <a:moveTo>
                      <a:pt x="21" y="44"/>
                    </a:moveTo>
                    <a:lnTo>
                      <a:pt x="21" y="44"/>
                    </a:lnTo>
                    <a:lnTo>
                      <a:pt x="23" y="42"/>
                    </a:lnTo>
                    <a:lnTo>
                      <a:pt x="26" y="42"/>
                    </a:lnTo>
                    <a:lnTo>
                      <a:pt x="30" y="44"/>
                    </a:lnTo>
                    <a:lnTo>
                      <a:pt x="31" y="45"/>
                    </a:lnTo>
                    <a:lnTo>
                      <a:pt x="31" y="45"/>
                    </a:lnTo>
                    <a:lnTo>
                      <a:pt x="37" y="48"/>
                    </a:lnTo>
                    <a:lnTo>
                      <a:pt x="43" y="52"/>
                    </a:lnTo>
                    <a:lnTo>
                      <a:pt x="43" y="52"/>
                    </a:lnTo>
                    <a:lnTo>
                      <a:pt x="47" y="56"/>
                    </a:lnTo>
                    <a:lnTo>
                      <a:pt x="47" y="56"/>
                    </a:lnTo>
                    <a:lnTo>
                      <a:pt x="47" y="49"/>
                    </a:lnTo>
                    <a:lnTo>
                      <a:pt x="48" y="44"/>
                    </a:lnTo>
                    <a:lnTo>
                      <a:pt x="48" y="44"/>
                    </a:lnTo>
                    <a:lnTo>
                      <a:pt x="48" y="41"/>
                    </a:lnTo>
                    <a:lnTo>
                      <a:pt x="48" y="38"/>
                    </a:lnTo>
                    <a:lnTo>
                      <a:pt x="48" y="37"/>
                    </a:lnTo>
                    <a:lnTo>
                      <a:pt x="50" y="37"/>
                    </a:lnTo>
                    <a:lnTo>
                      <a:pt x="50" y="37"/>
                    </a:lnTo>
                    <a:lnTo>
                      <a:pt x="56" y="35"/>
                    </a:lnTo>
                    <a:lnTo>
                      <a:pt x="57" y="34"/>
                    </a:lnTo>
                    <a:lnTo>
                      <a:pt x="58" y="32"/>
                    </a:lnTo>
                    <a:lnTo>
                      <a:pt x="58" y="32"/>
                    </a:lnTo>
                    <a:lnTo>
                      <a:pt x="58" y="29"/>
                    </a:lnTo>
                    <a:lnTo>
                      <a:pt x="60" y="28"/>
                    </a:lnTo>
                    <a:lnTo>
                      <a:pt x="63" y="27"/>
                    </a:lnTo>
                    <a:lnTo>
                      <a:pt x="63" y="27"/>
                    </a:lnTo>
                    <a:lnTo>
                      <a:pt x="61" y="24"/>
                    </a:lnTo>
                    <a:lnTo>
                      <a:pt x="60" y="22"/>
                    </a:lnTo>
                    <a:lnTo>
                      <a:pt x="57" y="18"/>
                    </a:lnTo>
                    <a:lnTo>
                      <a:pt x="57" y="18"/>
                    </a:lnTo>
                    <a:lnTo>
                      <a:pt x="57" y="17"/>
                    </a:lnTo>
                    <a:lnTo>
                      <a:pt x="58" y="15"/>
                    </a:lnTo>
                    <a:lnTo>
                      <a:pt x="61" y="14"/>
                    </a:lnTo>
                    <a:lnTo>
                      <a:pt x="65" y="11"/>
                    </a:lnTo>
                    <a:lnTo>
                      <a:pt x="65" y="11"/>
                    </a:lnTo>
                    <a:lnTo>
                      <a:pt x="65" y="5"/>
                    </a:lnTo>
                    <a:lnTo>
                      <a:pt x="64" y="0"/>
                    </a:lnTo>
                    <a:lnTo>
                      <a:pt x="64" y="0"/>
                    </a:lnTo>
                    <a:lnTo>
                      <a:pt x="63" y="1"/>
                    </a:lnTo>
                    <a:lnTo>
                      <a:pt x="60" y="1"/>
                    </a:lnTo>
                    <a:lnTo>
                      <a:pt x="60" y="1"/>
                    </a:lnTo>
                    <a:lnTo>
                      <a:pt x="57" y="0"/>
                    </a:lnTo>
                    <a:lnTo>
                      <a:pt x="54" y="0"/>
                    </a:lnTo>
                    <a:lnTo>
                      <a:pt x="44" y="1"/>
                    </a:lnTo>
                    <a:lnTo>
                      <a:pt x="44" y="1"/>
                    </a:lnTo>
                    <a:lnTo>
                      <a:pt x="40" y="4"/>
                    </a:lnTo>
                    <a:lnTo>
                      <a:pt x="37" y="7"/>
                    </a:lnTo>
                    <a:lnTo>
                      <a:pt x="37" y="10"/>
                    </a:lnTo>
                    <a:lnTo>
                      <a:pt x="37" y="12"/>
                    </a:lnTo>
                    <a:lnTo>
                      <a:pt x="37" y="12"/>
                    </a:lnTo>
                    <a:lnTo>
                      <a:pt x="38" y="14"/>
                    </a:lnTo>
                    <a:lnTo>
                      <a:pt x="37" y="15"/>
                    </a:lnTo>
                    <a:lnTo>
                      <a:pt x="36" y="15"/>
                    </a:lnTo>
                    <a:lnTo>
                      <a:pt x="31" y="15"/>
                    </a:lnTo>
                    <a:lnTo>
                      <a:pt x="30" y="14"/>
                    </a:lnTo>
                    <a:lnTo>
                      <a:pt x="30" y="14"/>
                    </a:lnTo>
                    <a:lnTo>
                      <a:pt x="29" y="11"/>
                    </a:lnTo>
                    <a:lnTo>
                      <a:pt x="26" y="12"/>
                    </a:lnTo>
                    <a:lnTo>
                      <a:pt x="23" y="14"/>
                    </a:lnTo>
                    <a:lnTo>
                      <a:pt x="23" y="17"/>
                    </a:lnTo>
                    <a:lnTo>
                      <a:pt x="23" y="17"/>
                    </a:lnTo>
                    <a:lnTo>
                      <a:pt x="21" y="21"/>
                    </a:lnTo>
                    <a:lnTo>
                      <a:pt x="19" y="24"/>
                    </a:lnTo>
                    <a:lnTo>
                      <a:pt x="16" y="27"/>
                    </a:lnTo>
                    <a:lnTo>
                      <a:pt x="16" y="29"/>
                    </a:lnTo>
                    <a:lnTo>
                      <a:pt x="16" y="29"/>
                    </a:lnTo>
                    <a:lnTo>
                      <a:pt x="14" y="35"/>
                    </a:lnTo>
                    <a:lnTo>
                      <a:pt x="11" y="38"/>
                    </a:lnTo>
                    <a:lnTo>
                      <a:pt x="3" y="45"/>
                    </a:lnTo>
                    <a:lnTo>
                      <a:pt x="3" y="45"/>
                    </a:lnTo>
                    <a:lnTo>
                      <a:pt x="0" y="47"/>
                    </a:lnTo>
                    <a:lnTo>
                      <a:pt x="0" y="47"/>
                    </a:lnTo>
                    <a:lnTo>
                      <a:pt x="6" y="48"/>
                    </a:lnTo>
                    <a:lnTo>
                      <a:pt x="6" y="48"/>
                    </a:lnTo>
                    <a:lnTo>
                      <a:pt x="14" y="47"/>
                    </a:lnTo>
                    <a:lnTo>
                      <a:pt x="19" y="45"/>
                    </a:lnTo>
                    <a:lnTo>
                      <a:pt x="21" y="44"/>
                    </a:lnTo>
                    <a:lnTo>
                      <a:pt x="21" y="4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07" name="Luxembourg">
                <a:extLst>
                  <a:ext uri="{FF2B5EF4-FFF2-40B4-BE49-F238E27FC236}">
                    <a16:creationId xmlns:a16="http://schemas.microsoft.com/office/drawing/2014/main" id="{ADE5E3BF-2098-694E-8C1A-5824ED949804}"/>
                  </a:ext>
                </a:extLst>
              </p:cNvPr>
              <p:cNvSpPr>
                <a:spLocks/>
              </p:cNvSpPr>
              <p:nvPr/>
            </p:nvSpPr>
            <p:spPr bwMode="auto">
              <a:xfrm>
                <a:off x="4463977" y="2998651"/>
                <a:ext cx="14798" cy="22197"/>
              </a:xfrm>
              <a:custGeom>
                <a:avLst/>
                <a:gdLst/>
                <a:ahLst/>
                <a:cxnLst>
                  <a:cxn ang="0">
                    <a:pos x="5" y="0"/>
                  </a:cxn>
                  <a:cxn ang="0">
                    <a:pos x="5" y="0"/>
                  </a:cxn>
                  <a:cxn ang="0">
                    <a:pos x="3" y="1"/>
                  </a:cxn>
                  <a:cxn ang="0">
                    <a:pos x="1" y="4"/>
                  </a:cxn>
                  <a:cxn ang="0">
                    <a:pos x="0" y="8"/>
                  </a:cxn>
                  <a:cxn ang="0">
                    <a:pos x="0" y="14"/>
                  </a:cxn>
                  <a:cxn ang="0">
                    <a:pos x="0" y="14"/>
                  </a:cxn>
                  <a:cxn ang="0">
                    <a:pos x="10" y="15"/>
                  </a:cxn>
                  <a:cxn ang="0">
                    <a:pos x="10" y="15"/>
                  </a:cxn>
                  <a:cxn ang="0">
                    <a:pos x="8" y="10"/>
                  </a:cxn>
                  <a:cxn ang="0">
                    <a:pos x="7" y="5"/>
                  </a:cxn>
                  <a:cxn ang="0">
                    <a:pos x="5" y="1"/>
                  </a:cxn>
                  <a:cxn ang="0">
                    <a:pos x="5" y="1"/>
                  </a:cxn>
                  <a:cxn ang="0">
                    <a:pos x="5" y="0"/>
                  </a:cxn>
                  <a:cxn ang="0">
                    <a:pos x="5" y="0"/>
                  </a:cxn>
                </a:cxnLst>
                <a:rect l="0" t="0" r="r" b="b"/>
                <a:pathLst>
                  <a:path w="10" h="15">
                    <a:moveTo>
                      <a:pt x="5" y="0"/>
                    </a:moveTo>
                    <a:lnTo>
                      <a:pt x="5" y="0"/>
                    </a:lnTo>
                    <a:lnTo>
                      <a:pt x="3" y="1"/>
                    </a:lnTo>
                    <a:lnTo>
                      <a:pt x="1" y="4"/>
                    </a:lnTo>
                    <a:lnTo>
                      <a:pt x="0" y="8"/>
                    </a:lnTo>
                    <a:lnTo>
                      <a:pt x="0" y="14"/>
                    </a:lnTo>
                    <a:lnTo>
                      <a:pt x="0" y="14"/>
                    </a:lnTo>
                    <a:lnTo>
                      <a:pt x="10" y="15"/>
                    </a:lnTo>
                    <a:lnTo>
                      <a:pt x="10" y="15"/>
                    </a:lnTo>
                    <a:lnTo>
                      <a:pt x="8" y="10"/>
                    </a:lnTo>
                    <a:lnTo>
                      <a:pt x="7" y="5"/>
                    </a:lnTo>
                    <a:lnTo>
                      <a:pt x="5" y="1"/>
                    </a:lnTo>
                    <a:lnTo>
                      <a:pt x="5" y="1"/>
                    </a:lnTo>
                    <a:lnTo>
                      <a:pt x="5" y="0"/>
                    </a:lnTo>
                    <a:lnTo>
                      <a:pt x="5"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08" name="Belgium">
                <a:extLst>
                  <a:ext uri="{FF2B5EF4-FFF2-40B4-BE49-F238E27FC236}">
                    <a16:creationId xmlns:a16="http://schemas.microsoft.com/office/drawing/2014/main" id="{4F77FD46-77B0-9D42-8FC3-B662888A2B5C}"/>
                  </a:ext>
                </a:extLst>
              </p:cNvPr>
              <p:cNvSpPr>
                <a:spLocks/>
              </p:cNvSpPr>
              <p:nvPr/>
            </p:nvSpPr>
            <p:spPr bwMode="auto">
              <a:xfrm>
                <a:off x="4384068" y="2955738"/>
                <a:ext cx="91747" cy="63631"/>
              </a:xfrm>
              <a:custGeom>
                <a:avLst/>
                <a:gdLst/>
                <a:ahLst/>
                <a:cxnLst>
                  <a:cxn ang="0">
                    <a:pos x="3" y="12"/>
                  </a:cxn>
                  <a:cxn ang="0">
                    <a:pos x="7" y="17"/>
                  </a:cxn>
                  <a:cxn ang="0">
                    <a:pos x="8" y="17"/>
                  </a:cxn>
                  <a:cxn ang="0">
                    <a:pos x="11" y="19"/>
                  </a:cxn>
                  <a:cxn ang="0">
                    <a:pos x="17" y="22"/>
                  </a:cxn>
                  <a:cxn ang="0">
                    <a:pos x="25" y="27"/>
                  </a:cxn>
                  <a:cxn ang="0">
                    <a:pos x="27" y="29"/>
                  </a:cxn>
                  <a:cxn ang="0">
                    <a:pos x="28" y="33"/>
                  </a:cxn>
                  <a:cxn ang="0">
                    <a:pos x="31" y="33"/>
                  </a:cxn>
                  <a:cxn ang="0">
                    <a:pos x="37" y="29"/>
                  </a:cxn>
                  <a:cxn ang="0">
                    <a:pos x="38" y="30"/>
                  </a:cxn>
                  <a:cxn ang="0">
                    <a:pos x="41" y="37"/>
                  </a:cxn>
                  <a:cxn ang="0">
                    <a:pos x="42" y="37"/>
                  </a:cxn>
                  <a:cxn ang="0">
                    <a:pos x="47" y="40"/>
                  </a:cxn>
                  <a:cxn ang="0">
                    <a:pos x="51" y="43"/>
                  </a:cxn>
                  <a:cxn ang="0">
                    <a:pos x="54" y="43"/>
                  </a:cxn>
                  <a:cxn ang="0">
                    <a:pos x="54" y="37"/>
                  </a:cxn>
                  <a:cxn ang="0">
                    <a:pos x="57" y="30"/>
                  </a:cxn>
                  <a:cxn ang="0">
                    <a:pos x="59" y="29"/>
                  </a:cxn>
                  <a:cxn ang="0">
                    <a:pos x="62" y="24"/>
                  </a:cxn>
                  <a:cxn ang="0">
                    <a:pos x="61" y="22"/>
                  </a:cxn>
                  <a:cxn ang="0">
                    <a:pos x="58" y="17"/>
                  </a:cxn>
                  <a:cxn ang="0">
                    <a:pos x="58" y="14"/>
                  </a:cxn>
                  <a:cxn ang="0">
                    <a:pos x="58" y="14"/>
                  </a:cxn>
                  <a:cxn ang="0">
                    <a:pos x="54" y="10"/>
                  </a:cxn>
                  <a:cxn ang="0">
                    <a:pos x="42" y="3"/>
                  </a:cxn>
                  <a:cxn ang="0">
                    <a:pos x="41" y="2"/>
                  </a:cxn>
                  <a:cxn ang="0">
                    <a:pos x="34" y="0"/>
                  </a:cxn>
                  <a:cxn ang="0">
                    <a:pos x="32" y="2"/>
                  </a:cxn>
                  <a:cxn ang="0">
                    <a:pos x="25" y="5"/>
                  </a:cxn>
                  <a:cxn ang="0">
                    <a:pos x="17" y="6"/>
                  </a:cxn>
                  <a:cxn ang="0">
                    <a:pos x="11" y="5"/>
                  </a:cxn>
                  <a:cxn ang="0">
                    <a:pos x="0" y="9"/>
                  </a:cxn>
                  <a:cxn ang="0">
                    <a:pos x="1" y="10"/>
                  </a:cxn>
                  <a:cxn ang="0">
                    <a:pos x="3" y="12"/>
                  </a:cxn>
                </a:cxnLst>
                <a:rect l="0" t="0" r="r" b="b"/>
                <a:pathLst>
                  <a:path w="62" h="43">
                    <a:moveTo>
                      <a:pt x="3" y="12"/>
                    </a:moveTo>
                    <a:lnTo>
                      <a:pt x="3" y="12"/>
                    </a:lnTo>
                    <a:lnTo>
                      <a:pt x="5" y="16"/>
                    </a:lnTo>
                    <a:lnTo>
                      <a:pt x="7" y="17"/>
                    </a:lnTo>
                    <a:lnTo>
                      <a:pt x="8" y="17"/>
                    </a:lnTo>
                    <a:lnTo>
                      <a:pt x="8" y="17"/>
                    </a:lnTo>
                    <a:lnTo>
                      <a:pt x="10" y="17"/>
                    </a:lnTo>
                    <a:lnTo>
                      <a:pt x="11" y="19"/>
                    </a:lnTo>
                    <a:lnTo>
                      <a:pt x="17" y="22"/>
                    </a:lnTo>
                    <a:lnTo>
                      <a:pt x="17" y="22"/>
                    </a:lnTo>
                    <a:lnTo>
                      <a:pt x="22" y="24"/>
                    </a:lnTo>
                    <a:lnTo>
                      <a:pt x="25" y="27"/>
                    </a:lnTo>
                    <a:lnTo>
                      <a:pt x="27" y="29"/>
                    </a:lnTo>
                    <a:lnTo>
                      <a:pt x="27" y="29"/>
                    </a:lnTo>
                    <a:lnTo>
                      <a:pt x="27" y="32"/>
                    </a:lnTo>
                    <a:lnTo>
                      <a:pt x="28" y="33"/>
                    </a:lnTo>
                    <a:lnTo>
                      <a:pt x="31" y="33"/>
                    </a:lnTo>
                    <a:lnTo>
                      <a:pt x="31" y="33"/>
                    </a:lnTo>
                    <a:lnTo>
                      <a:pt x="35" y="30"/>
                    </a:lnTo>
                    <a:lnTo>
                      <a:pt x="37" y="29"/>
                    </a:lnTo>
                    <a:lnTo>
                      <a:pt x="38" y="30"/>
                    </a:lnTo>
                    <a:lnTo>
                      <a:pt x="38" y="30"/>
                    </a:lnTo>
                    <a:lnTo>
                      <a:pt x="40" y="34"/>
                    </a:lnTo>
                    <a:lnTo>
                      <a:pt x="41" y="37"/>
                    </a:lnTo>
                    <a:lnTo>
                      <a:pt x="42" y="37"/>
                    </a:lnTo>
                    <a:lnTo>
                      <a:pt x="42" y="37"/>
                    </a:lnTo>
                    <a:lnTo>
                      <a:pt x="45" y="39"/>
                    </a:lnTo>
                    <a:lnTo>
                      <a:pt x="47" y="40"/>
                    </a:lnTo>
                    <a:lnTo>
                      <a:pt x="48" y="42"/>
                    </a:lnTo>
                    <a:lnTo>
                      <a:pt x="51" y="43"/>
                    </a:lnTo>
                    <a:lnTo>
                      <a:pt x="51" y="43"/>
                    </a:lnTo>
                    <a:lnTo>
                      <a:pt x="54" y="43"/>
                    </a:lnTo>
                    <a:lnTo>
                      <a:pt x="54" y="43"/>
                    </a:lnTo>
                    <a:lnTo>
                      <a:pt x="54" y="37"/>
                    </a:lnTo>
                    <a:lnTo>
                      <a:pt x="55" y="33"/>
                    </a:lnTo>
                    <a:lnTo>
                      <a:pt x="57" y="30"/>
                    </a:lnTo>
                    <a:lnTo>
                      <a:pt x="59" y="29"/>
                    </a:lnTo>
                    <a:lnTo>
                      <a:pt x="59" y="29"/>
                    </a:lnTo>
                    <a:lnTo>
                      <a:pt x="61" y="27"/>
                    </a:lnTo>
                    <a:lnTo>
                      <a:pt x="62" y="24"/>
                    </a:lnTo>
                    <a:lnTo>
                      <a:pt x="62" y="24"/>
                    </a:lnTo>
                    <a:lnTo>
                      <a:pt x="61" y="22"/>
                    </a:lnTo>
                    <a:lnTo>
                      <a:pt x="59" y="20"/>
                    </a:lnTo>
                    <a:lnTo>
                      <a:pt x="58" y="17"/>
                    </a:lnTo>
                    <a:lnTo>
                      <a:pt x="58" y="14"/>
                    </a:lnTo>
                    <a:lnTo>
                      <a:pt x="58" y="14"/>
                    </a:lnTo>
                    <a:lnTo>
                      <a:pt x="58" y="14"/>
                    </a:lnTo>
                    <a:lnTo>
                      <a:pt x="58" y="14"/>
                    </a:lnTo>
                    <a:lnTo>
                      <a:pt x="54" y="10"/>
                    </a:lnTo>
                    <a:lnTo>
                      <a:pt x="54" y="10"/>
                    </a:lnTo>
                    <a:lnTo>
                      <a:pt x="48" y="6"/>
                    </a:lnTo>
                    <a:lnTo>
                      <a:pt x="42" y="3"/>
                    </a:lnTo>
                    <a:lnTo>
                      <a:pt x="42" y="3"/>
                    </a:lnTo>
                    <a:lnTo>
                      <a:pt x="41" y="2"/>
                    </a:lnTo>
                    <a:lnTo>
                      <a:pt x="37" y="0"/>
                    </a:lnTo>
                    <a:lnTo>
                      <a:pt x="34" y="0"/>
                    </a:lnTo>
                    <a:lnTo>
                      <a:pt x="32" y="2"/>
                    </a:lnTo>
                    <a:lnTo>
                      <a:pt x="32" y="2"/>
                    </a:lnTo>
                    <a:lnTo>
                      <a:pt x="30" y="3"/>
                    </a:lnTo>
                    <a:lnTo>
                      <a:pt x="25" y="5"/>
                    </a:lnTo>
                    <a:lnTo>
                      <a:pt x="17" y="6"/>
                    </a:lnTo>
                    <a:lnTo>
                      <a:pt x="17" y="6"/>
                    </a:lnTo>
                    <a:lnTo>
                      <a:pt x="11" y="5"/>
                    </a:lnTo>
                    <a:lnTo>
                      <a:pt x="11" y="5"/>
                    </a:lnTo>
                    <a:lnTo>
                      <a:pt x="5" y="7"/>
                    </a:lnTo>
                    <a:lnTo>
                      <a:pt x="0" y="9"/>
                    </a:lnTo>
                    <a:lnTo>
                      <a:pt x="0" y="9"/>
                    </a:lnTo>
                    <a:lnTo>
                      <a:pt x="1" y="10"/>
                    </a:lnTo>
                    <a:lnTo>
                      <a:pt x="3" y="12"/>
                    </a:lnTo>
                    <a:lnTo>
                      <a:pt x="3" y="1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09" name="Romania">
                <a:extLst>
                  <a:ext uri="{FF2B5EF4-FFF2-40B4-BE49-F238E27FC236}">
                    <a16:creationId xmlns:a16="http://schemas.microsoft.com/office/drawing/2014/main" id="{D8FD4305-F84E-C84C-AC81-8DB32A3322B5}"/>
                  </a:ext>
                </a:extLst>
              </p:cNvPr>
              <p:cNvSpPr>
                <a:spLocks/>
              </p:cNvSpPr>
              <p:nvPr/>
            </p:nvSpPr>
            <p:spPr bwMode="auto">
              <a:xfrm>
                <a:off x="4802846" y="3053403"/>
                <a:ext cx="214569" cy="139100"/>
              </a:xfrm>
              <a:custGeom>
                <a:avLst/>
                <a:gdLst/>
                <a:ahLst/>
                <a:cxnLst>
                  <a:cxn ang="0">
                    <a:pos x="131" y="62"/>
                  </a:cxn>
                  <a:cxn ang="0">
                    <a:pos x="124" y="59"/>
                  </a:cxn>
                  <a:cxn ang="0">
                    <a:pos x="124" y="58"/>
                  </a:cxn>
                  <a:cxn ang="0">
                    <a:pos x="124" y="58"/>
                  </a:cxn>
                  <a:cxn ang="0">
                    <a:pos x="121" y="48"/>
                  </a:cxn>
                  <a:cxn ang="0">
                    <a:pos x="122" y="40"/>
                  </a:cxn>
                  <a:cxn ang="0">
                    <a:pos x="122" y="38"/>
                  </a:cxn>
                  <a:cxn ang="0">
                    <a:pos x="119" y="30"/>
                  </a:cxn>
                  <a:cxn ang="0">
                    <a:pos x="111" y="17"/>
                  </a:cxn>
                  <a:cxn ang="0">
                    <a:pos x="101" y="0"/>
                  </a:cxn>
                  <a:cxn ang="0">
                    <a:pos x="94" y="3"/>
                  </a:cxn>
                  <a:cxn ang="0">
                    <a:pos x="89" y="7"/>
                  </a:cxn>
                  <a:cxn ang="0">
                    <a:pos x="84" y="8"/>
                  </a:cxn>
                  <a:cxn ang="0">
                    <a:pos x="78" y="7"/>
                  </a:cxn>
                  <a:cxn ang="0">
                    <a:pos x="77" y="8"/>
                  </a:cxn>
                  <a:cxn ang="0">
                    <a:pos x="69" y="11"/>
                  </a:cxn>
                  <a:cxn ang="0">
                    <a:pos x="69" y="11"/>
                  </a:cxn>
                  <a:cxn ang="0">
                    <a:pos x="60" y="8"/>
                  </a:cxn>
                  <a:cxn ang="0">
                    <a:pos x="51" y="7"/>
                  </a:cxn>
                  <a:cxn ang="0">
                    <a:pos x="44" y="5"/>
                  </a:cxn>
                  <a:cxn ang="0">
                    <a:pos x="37" y="5"/>
                  </a:cxn>
                  <a:cxn ang="0">
                    <a:pos x="35" y="8"/>
                  </a:cxn>
                  <a:cxn ang="0">
                    <a:pos x="25" y="15"/>
                  </a:cxn>
                  <a:cxn ang="0">
                    <a:pos x="18" y="27"/>
                  </a:cxn>
                  <a:cxn ang="0">
                    <a:pos x="10" y="40"/>
                  </a:cxn>
                  <a:cxn ang="0">
                    <a:pos x="4" y="45"/>
                  </a:cxn>
                  <a:cxn ang="0">
                    <a:pos x="0" y="47"/>
                  </a:cxn>
                  <a:cxn ang="0">
                    <a:pos x="1" y="49"/>
                  </a:cxn>
                  <a:cxn ang="0">
                    <a:pos x="5" y="54"/>
                  </a:cxn>
                  <a:cxn ang="0">
                    <a:pos x="5" y="57"/>
                  </a:cxn>
                  <a:cxn ang="0">
                    <a:pos x="8" y="62"/>
                  </a:cxn>
                  <a:cxn ang="0">
                    <a:pos x="11" y="62"/>
                  </a:cxn>
                  <a:cxn ang="0">
                    <a:pos x="13" y="64"/>
                  </a:cxn>
                  <a:cxn ang="0">
                    <a:pos x="13" y="71"/>
                  </a:cxn>
                  <a:cxn ang="0">
                    <a:pos x="14" y="72"/>
                  </a:cxn>
                  <a:cxn ang="0">
                    <a:pos x="28" y="75"/>
                  </a:cxn>
                  <a:cxn ang="0">
                    <a:pos x="31" y="78"/>
                  </a:cxn>
                  <a:cxn ang="0">
                    <a:pos x="32" y="81"/>
                  </a:cxn>
                  <a:cxn ang="0">
                    <a:pos x="32" y="85"/>
                  </a:cxn>
                  <a:cxn ang="0">
                    <a:pos x="38" y="88"/>
                  </a:cxn>
                  <a:cxn ang="0">
                    <a:pos x="41" y="91"/>
                  </a:cxn>
                  <a:cxn ang="0">
                    <a:pos x="50" y="92"/>
                  </a:cxn>
                  <a:cxn ang="0">
                    <a:pos x="58" y="92"/>
                  </a:cxn>
                  <a:cxn ang="0">
                    <a:pos x="75" y="94"/>
                  </a:cxn>
                  <a:cxn ang="0">
                    <a:pos x="87" y="88"/>
                  </a:cxn>
                  <a:cxn ang="0">
                    <a:pos x="91" y="86"/>
                  </a:cxn>
                  <a:cxn ang="0">
                    <a:pos x="106" y="85"/>
                  </a:cxn>
                  <a:cxn ang="0">
                    <a:pos x="114" y="86"/>
                  </a:cxn>
                  <a:cxn ang="0">
                    <a:pos x="119" y="89"/>
                  </a:cxn>
                  <a:cxn ang="0">
                    <a:pos x="122" y="91"/>
                  </a:cxn>
                  <a:cxn ang="0">
                    <a:pos x="128" y="94"/>
                  </a:cxn>
                  <a:cxn ang="0">
                    <a:pos x="128" y="85"/>
                  </a:cxn>
                  <a:cxn ang="0">
                    <a:pos x="131" y="77"/>
                  </a:cxn>
                  <a:cxn ang="0">
                    <a:pos x="136" y="72"/>
                  </a:cxn>
                  <a:cxn ang="0">
                    <a:pos x="139" y="71"/>
                  </a:cxn>
                  <a:cxn ang="0">
                    <a:pos x="145" y="68"/>
                  </a:cxn>
                  <a:cxn ang="0">
                    <a:pos x="145" y="64"/>
                  </a:cxn>
                  <a:cxn ang="0">
                    <a:pos x="145" y="62"/>
                  </a:cxn>
                  <a:cxn ang="0">
                    <a:pos x="139" y="58"/>
                  </a:cxn>
                  <a:cxn ang="0">
                    <a:pos x="131" y="62"/>
                  </a:cxn>
                </a:cxnLst>
                <a:rect l="0" t="0" r="r" b="b"/>
                <a:pathLst>
                  <a:path w="145" h="94">
                    <a:moveTo>
                      <a:pt x="131" y="62"/>
                    </a:moveTo>
                    <a:lnTo>
                      <a:pt x="131" y="62"/>
                    </a:lnTo>
                    <a:lnTo>
                      <a:pt x="125" y="61"/>
                    </a:lnTo>
                    <a:lnTo>
                      <a:pt x="124" y="59"/>
                    </a:lnTo>
                    <a:lnTo>
                      <a:pt x="124" y="58"/>
                    </a:lnTo>
                    <a:lnTo>
                      <a:pt x="124" y="58"/>
                    </a:lnTo>
                    <a:lnTo>
                      <a:pt x="124" y="58"/>
                    </a:lnTo>
                    <a:lnTo>
                      <a:pt x="124" y="58"/>
                    </a:lnTo>
                    <a:lnTo>
                      <a:pt x="122" y="54"/>
                    </a:lnTo>
                    <a:lnTo>
                      <a:pt x="121" y="48"/>
                    </a:lnTo>
                    <a:lnTo>
                      <a:pt x="121" y="44"/>
                    </a:lnTo>
                    <a:lnTo>
                      <a:pt x="122" y="40"/>
                    </a:lnTo>
                    <a:lnTo>
                      <a:pt x="122" y="40"/>
                    </a:lnTo>
                    <a:lnTo>
                      <a:pt x="122" y="38"/>
                    </a:lnTo>
                    <a:lnTo>
                      <a:pt x="122" y="35"/>
                    </a:lnTo>
                    <a:lnTo>
                      <a:pt x="119" y="30"/>
                    </a:lnTo>
                    <a:lnTo>
                      <a:pt x="111" y="17"/>
                    </a:lnTo>
                    <a:lnTo>
                      <a:pt x="111" y="17"/>
                    </a:lnTo>
                    <a:lnTo>
                      <a:pt x="101" y="0"/>
                    </a:lnTo>
                    <a:lnTo>
                      <a:pt x="101" y="0"/>
                    </a:lnTo>
                    <a:lnTo>
                      <a:pt x="95" y="1"/>
                    </a:lnTo>
                    <a:lnTo>
                      <a:pt x="94" y="3"/>
                    </a:lnTo>
                    <a:lnTo>
                      <a:pt x="94" y="3"/>
                    </a:lnTo>
                    <a:lnTo>
                      <a:pt x="89" y="7"/>
                    </a:lnTo>
                    <a:lnTo>
                      <a:pt x="84" y="8"/>
                    </a:lnTo>
                    <a:lnTo>
                      <a:pt x="84" y="8"/>
                    </a:lnTo>
                    <a:lnTo>
                      <a:pt x="79" y="7"/>
                    </a:lnTo>
                    <a:lnTo>
                      <a:pt x="78" y="7"/>
                    </a:lnTo>
                    <a:lnTo>
                      <a:pt x="77" y="8"/>
                    </a:lnTo>
                    <a:lnTo>
                      <a:pt x="77" y="8"/>
                    </a:lnTo>
                    <a:lnTo>
                      <a:pt x="72" y="11"/>
                    </a:lnTo>
                    <a:lnTo>
                      <a:pt x="69" y="11"/>
                    </a:lnTo>
                    <a:lnTo>
                      <a:pt x="69" y="11"/>
                    </a:lnTo>
                    <a:lnTo>
                      <a:pt x="69" y="11"/>
                    </a:lnTo>
                    <a:lnTo>
                      <a:pt x="65" y="8"/>
                    </a:lnTo>
                    <a:lnTo>
                      <a:pt x="60" y="8"/>
                    </a:lnTo>
                    <a:lnTo>
                      <a:pt x="60" y="8"/>
                    </a:lnTo>
                    <a:lnTo>
                      <a:pt x="51" y="7"/>
                    </a:lnTo>
                    <a:lnTo>
                      <a:pt x="44" y="5"/>
                    </a:lnTo>
                    <a:lnTo>
                      <a:pt x="44" y="5"/>
                    </a:lnTo>
                    <a:lnTo>
                      <a:pt x="37" y="5"/>
                    </a:lnTo>
                    <a:lnTo>
                      <a:pt x="37" y="5"/>
                    </a:lnTo>
                    <a:lnTo>
                      <a:pt x="37" y="7"/>
                    </a:lnTo>
                    <a:lnTo>
                      <a:pt x="35" y="8"/>
                    </a:lnTo>
                    <a:lnTo>
                      <a:pt x="35" y="8"/>
                    </a:lnTo>
                    <a:lnTo>
                      <a:pt x="25" y="15"/>
                    </a:lnTo>
                    <a:lnTo>
                      <a:pt x="25" y="15"/>
                    </a:lnTo>
                    <a:lnTo>
                      <a:pt x="18" y="27"/>
                    </a:lnTo>
                    <a:lnTo>
                      <a:pt x="14" y="34"/>
                    </a:lnTo>
                    <a:lnTo>
                      <a:pt x="10" y="40"/>
                    </a:lnTo>
                    <a:lnTo>
                      <a:pt x="10" y="40"/>
                    </a:lnTo>
                    <a:lnTo>
                      <a:pt x="4" y="45"/>
                    </a:lnTo>
                    <a:lnTo>
                      <a:pt x="1" y="47"/>
                    </a:lnTo>
                    <a:lnTo>
                      <a:pt x="0" y="47"/>
                    </a:lnTo>
                    <a:lnTo>
                      <a:pt x="0" y="47"/>
                    </a:lnTo>
                    <a:lnTo>
                      <a:pt x="1" y="49"/>
                    </a:lnTo>
                    <a:lnTo>
                      <a:pt x="3" y="51"/>
                    </a:lnTo>
                    <a:lnTo>
                      <a:pt x="5" y="54"/>
                    </a:lnTo>
                    <a:lnTo>
                      <a:pt x="5" y="57"/>
                    </a:lnTo>
                    <a:lnTo>
                      <a:pt x="5" y="57"/>
                    </a:lnTo>
                    <a:lnTo>
                      <a:pt x="7" y="61"/>
                    </a:lnTo>
                    <a:lnTo>
                      <a:pt x="8" y="62"/>
                    </a:lnTo>
                    <a:lnTo>
                      <a:pt x="11" y="62"/>
                    </a:lnTo>
                    <a:lnTo>
                      <a:pt x="11" y="62"/>
                    </a:lnTo>
                    <a:lnTo>
                      <a:pt x="13" y="62"/>
                    </a:lnTo>
                    <a:lnTo>
                      <a:pt x="13" y="64"/>
                    </a:lnTo>
                    <a:lnTo>
                      <a:pt x="13" y="67"/>
                    </a:lnTo>
                    <a:lnTo>
                      <a:pt x="13" y="71"/>
                    </a:lnTo>
                    <a:lnTo>
                      <a:pt x="14" y="72"/>
                    </a:lnTo>
                    <a:lnTo>
                      <a:pt x="14" y="72"/>
                    </a:lnTo>
                    <a:lnTo>
                      <a:pt x="24" y="74"/>
                    </a:lnTo>
                    <a:lnTo>
                      <a:pt x="28" y="75"/>
                    </a:lnTo>
                    <a:lnTo>
                      <a:pt x="31" y="77"/>
                    </a:lnTo>
                    <a:lnTo>
                      <a:pt x="31" y="78"/>
                    </a:lnTo>
                    <a:lnTo>
                      <a:pt x="31" y="78"/>
                    </a:lnTo>
                    <a:lnTo>
                      <a:pt x="32" y="81"/>
                    </a:lnTo>
                    <a:lnTo>
                      <a:pt x="32" y="85"/>
                    </a:lnTo>
                    <a:lnTo>
                      <a:pt x="32" y="85"/>
                    </a:lnTo>
                    <a:lnTo>
                      <a:pt x="35" y="86"/>
                    </a:lnTo>
                    <a:lnTo>
                      <a:pt x="38" y="88"/>
                    </a:lnTo>
                    <a:lnTo>
                      <a:pt x="40" y="89"/>
                    </a:lnTo>
                    <a:lnTo>
                      <a:pt x="41" y="91"/>
                    </a:lnTo>
                    <a:lnTo>
                      <a:pt x="41" y="91"/>
                    </a:lnTo>
                    <a:lnTo>
                      <a:pt x="50" y="92"/>
                    </a:lnTo>
                    <a:lnTo>
                      <a:pt x="58" y="92"/>
                    </a:lnTo>
                    <a:lnTo>
                      <a:pt x="58" y="92"/>
                    </a:lnTo>
                    <a:lnTo>
                      <a:pt x="75" y="94"/>
                    </a:lnTo>
                    <a:lnTo>
                      <a:pt x="75" y="94"/>
                    </a:lnTo>
                    <a:lnTo>
                      <a:pt x="81" y="92"/>
                    </a:lnTo>
                    <a:lnTo>
                      <a:pt x="87" y="88"/>
                    </a:lnTo>
                    <a:lnTo>
                      <a:pt x="87" y="88"/>
                    </a:lnTo>
                    <a:lnTo>
                      <a:pt x="91" y="86"/>
                    </a:lnTo>
                    <a:lnTo>
                      <a:pt x="97" y="85"/>
                    </a:lnTo>
                    <a:lnTo>
                      <a:pt x="106" y="85"/>
                    </a:lnTo>
                    <a:lnTo>
                      <a:pt x="106" y="85"/>
                    </a:lnTo>
                    <a:lnTo>
                      <a:pt x="114" y="86"/>
                    </a:lnTo>
                    <a:lnTo>
                      <a:pt x="116" y="88"/>
                    </a:lnTo>
                    <a:lnTo>
                      <a:pt x="119" y="89"/>
                    </a:lnTo>
                    <a:lnTo>
                      <a:pt x="119" y="89"/>
                    </a:lnTo>
                    <a:lnTo>
                      <a:pt x="122" y="91"/>
                    </a:lnTo>
                    <a:lnTo>
                      <a:pt x="128" y="94"/>
                    </a:lnTo>
                    <a:lnTo>
                      <a:pt x="128" y="94"/>
                    </a:lnTo>
                    <a:lnTo>
                      <a:pt x="128" y="85"/>
                    </a:lnTo>
                    <a:lnTo>
                      <a:pt x="128" y="85"/>
                    </a:lnTo>
                    <a:lnTo>
                      <a:pt x="129" y="81"/>
                    </a:lnTo>
                    <a:lnTo>
                      <a:pt x="131" y="77"/>
                    </a:lnTo>
                    <a:lnTo>
                      <a:pt x="133" y="74"/>
                    </a:lnTo>
                    <a:lnTo>
                      <a:pt x="136" y="72"/>
                    </a:lnTo>
                    <a:lnTo>
                      <a:pt x="136" y="72"/>
                    </a:lnTo>
                    <a:lnTo>
                      <a:pt x="139" y="71"/>
                    </a:lnTo>
                    <a:lnTo>
                      <a:pt x="142" y="71"/>
                    </a:lnTo>
                    <a:lnTo>
                      <a:pt x="145" y="68"/>
                    </a:lnTo>
                    <a:lnTo>
                      <a:pt x="145" y="64"/>
                    </a:lnTo>
                    <a:lnTo>
                      <a:pt x="145" y="64"/>
                    </a:lnTo>
                    <a:lnTo>
                      <a:pt x="145" y="62"/>
                    </a:lnTo>
                    <a:lnTo>
                      <a:pt x="145" y="62"/>
                    </a:lnTo>
                    <a:lnTo>
                      <a:pt x="139" y="58"/>
                    </a:lnTo>
                    <a:lnTo>
                      <a:pt x="139" y="58"/>
                    </a:lnTo>
                    <a:lnTo>
                      <a:pt x="135" y="61"/>
                    </a:lnTo>
                    <a:lnTo>
                      <a:pt x="131" y="62"/>
                    </a:lnTo>
                    <a:lnTo>
                      <a:pt x="131" y="6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0" name="Moldova">
                <a:extLst>
                  <a:ext uri="{FF2B5EF4-FFF2-40B4-BE49-F238E27FC236}">
                    <a16:creationId xmlns:a16="http://schemas.microsoft.com/office/drawing/2014/main" id="{6CCC62FE-5428-3043-809D-B8FAC7C04E8F}"/>
                  </a:ext>
                </a:extLst>
              </p:cNvPr>
              <p:cNvSpPr>
                <a:spLocks/>
              </p:cNvSpPr>
              <p:nvPr/>
            </p:nvSpPr>
            <p:spPr bwMode="auto">
              <a:xfrm>
                <a:off x="4952305" y="3048964"/>
                <a:ext cx="73989" cy="90267"/>
              </a:xfrm>
              <a:custGeom>
                <a:avLst/>
                <a:gdLst/>
                <a:ahLst/>
                <a:cxnLst>
                  <a:cxn ang="0">
                    <a:pos x="35" y="15"/>
                  </a:cxn>
                  <a:cxn ang="0">
                    <a:pos x="35" y="15"/>
                  </a:cxn>
                  <a:cxn ang="0">
                    <a:pos x="34" y="11"/>
                  </a:cxn>
                  <a:cxn ang="0">
                    <a:pos x="31" y="8"/>
                  </a:cxn>
                  <a:cxn ang="0">
                    <a:pos x="27" y="7"/>
                  </a:cxn>
                  <a:cxn ang="0">
                    <a:pos x="24" y="7"/>
                  </a:cxn>
                  <a:cxn ang="0">
                    <a:pos x="24" y="7"/>
                  </a:cxn>
                  <a:cxn ang="0">
                    <a:pos x="21" y="6"/>
                  </a:cxn>
                  <a:cxn ang="0">
                    <a:pos x="18" y="3"/>
                  </a:cxn>
                  <a:cxn ang="0">
                    <a:pos x="14" y="0"/>
                  </a:cxn>
                  <a:cxn ang="0">
                    <a:pos x="11" y="0"/>
                  </a:cxn>
                  <a:cxn ang="0">
                    <a:pos x="11" y="0"/>
                  </a:cxn>
                  <a:cxn ang="0">
                    <a:pos x="0" y="3"/>
                  </a:cxn>
                  <a:cxn ang="0">
                    <a:pos x="0" y="3"/>
                  </a:cxn>
                  <a:cxn ang="0">
                    <a:pos x="10" y="20"/>
                  </a:cxn>
                  <a:cxn ang="0">
                    <a:pos x="10" y="20"/>
                  </a:cxn>
                  <a:cxn ang="0">
                    <a:pos x="18" y="33"/>
                  </a:cxn>
                  <a:cxn ang="0">
                    <a:pos x="21" y="38"/>
                  </a:cxn>
                  <a:cxn ang="0">
                    <a:pos x="21" y="41"/>
                  </a:cxn>
                  <a:cxn ang="0">
                    <a:pos x="21" y="43"/>
                  </a:cxn>
                  <a:cxn ang="0">
                    <a:pos x="21" y="43"/>
                  </a:cxn>
                  <a:cxn ang="0">
                    <a:pos x="20" y="47"/>
                  </a:cxn>
                  <a:cxn ang="0">
                    <a:pos x="20" y="51"/>
                  </a:cxn>
                  <a:cxn ang="0">
                    <a:pos x="21" y="57"/>
                  </a:cxn>
                  <a:cxn ang="0">
                    <a:pos x="23" y="61"/>
                  </a:cxn>
                  <a:cxn ang="0">
                    <a:pos x="23" y="61"/>
                  </a:cxn>
                  <a:cxn ang="0">
                    <a:pos x="28" y="54"/>
                  </a:cxn>
                  <a:cxn ang="0">
                    <a:pos x="31" y="50"/>
                  </a:cxn>
                  <a:cxn ang="0">
                    <a:pos x="32" y="47"/>
                  </a:cxn>
                  <a:cxn ang="0">
                    <a:pos x="32" y="47"/>
                  </a:cxn>
                  <a:cxn ang="0">
                    <a:pos x="34" y="41"/>
                  </a:cxn>
                  <a:cxn ang="0">
                    <a:pos x="35" y="40"/>
                  </a:cxn>
                  <a:cxn ang="0">
                    <a:pos x="38" y="40"/>
                  </a:cxn>
                  <a:cxn ang="0">
                    <a:pos x="38" y="40"/>
                  </a:cxn>
                  <a:cxn ang="0">
                    <a:pos x="47" y="41"/>
                  </a:cxn>
                  <a:cxn ang="0">
                    <a:pos x="48" y="43"/>
                  </a:cxn>
                  <a:cxn ang="0">
                    <a:pos x="50" y="41"/>
                  </a:cxn>
                  <a:cxn ang="0">
                    <a:pos x="50" y="41"/>
                  </a:cxn>
                  <a:cxn ang="0">
                    <a:pos x="48" y="37"/>
                  </a:cxn>
                  <a:cxn ang="0">
                    <a:pos x="45" y="31"/>
                  </a:cxn>
                  <a:cxn ang="0">
                    <a:pos x="45" y="31"/>
                  </a:cxn>
                  <a:cxn ang="0">
                    <a:pos x="41" y="24"/>
                  </a:cxn>
                  <a:cxn ang="0">
                    <a:pos x="35" y="15"/>
                  </a:cxn>
                  <a:cxn ang="0">
                    <a:pos x="35" y="15"/>
                  </a:cxn>
                </a:cxnLst>
                <a:rect l="0" t="0" r="r" b="b"/>
                <a:pathLst>
                  <a:path w="50" h="61">
                    <a:moveTo>
                      <a:pt x="35" y="15"/>
                    </a:moveTo>
                    <a:lnTo>
                      <a:pt x="35" y="15"/>
                    </a:lnTo>
                    <a:lnTo>
                      <a:pt x="34" y="11"/>
                    </a:lnTo>
                    <a:lnTo>
                      <a:pt x="31" y="8"/>
                    </a:lnTo>
                    <a:lnTo>
                      <a:pt x="27" y="7"/>
                    </a:lnTo>
                    <a:lnTo>
                      <a:pt x="24" y="7"/>
                    </a:lnTo>
                    <a:lnTo>
                      <a:pt x="24" y="7"/>
                    </a:lnTo>
                    <a:lnTo>
                      <a:pt x="21" y="6"/>
                    </a:lnTo>
                    <a:lnTo>
                      <a:pt x="18" y="3"/>
                    </a:lnTo>
                    <a:lnTo>
                      <a:pt x="14" y="0"/>
                    </a:lnTo>
                    <a:lnTo>
                      <a:pt x="11" y="0"/>
                    </a:lnTo>
                    <a:lnTo>
                      <a:pt x="11" y="0"/>
                    </a:lnTo>
                    <a:lnTo>
                      <a:pt x="0" y="3"/>
                    </a:lnTo>
                    <a:lnTo>
                      <a:pt x="0" y="3"/>
                    </a:lnTo>
                    <a:lnTo>
                      <a:pt x="10" y="20"/>
                    </a:lnTo>
                    <a:lnTo>
                      <a:pt x="10" y="20"/>
                    </a:lnTo>
                    <a:lnTo>
                      <a:pt x="18" y="33"/>
                    </a:lnTo>
                    <a:lnTo>
                      <a:pt x="21" y="38"/>
                    </a:lnTo>
                    <a:lnTo>
                      <a:pt x="21" y="41"/>
                    </a:lnTo>
                    <a:lnTo>
                      <a:pt x="21" y="43"/>
                    </a:lnTo>
                    <a:lnTo>
                      <a:pt x="21" y="43"/>
                    </a:lnTo>
                    <a:lnTo>
                      <a:pt x="20" y="47"/>
                    </a:lnTo>
                    <a:lnTo>
                      <a:pt x="20" y="51"/>
                    </a:lnTo>
                    <a:lnTo>
                      <a:pt x="21" y="57"/>
                    </a:lnTo>
                    <a:lnTo>
                      <a:pt x="23" y="61"/>
                    </a:lnTo>
                    <a:lnTo>
                      <a:pt x="23" y="61"/>
                    </a:lnTo>
                    <a:lnTo>
                      <a:pt x="28" y="54"/>
                    </a:lnTo>
                    <a:lnTo>
                      <a:pt x="31" y="50"/>
                    </a:lnTo>
                    <a:lnTo>
                      <a:pt x="32" y="47"/>
                    </a:lnTo>
                    <a:lnTo>
                      <a:pt x="32" y="47"/>
                    </a:lnTo>
                    <a:lnTo>
                      <a:pt x="34" y="41"/>
                    </a:lnTo>
                    <a:lnTo>
                      <a:pt x="35" y="40"/>
                    </a:lnTo>
                    <a:lnTo>
                      <a:pt x="38" y="40"/>
                    </a:lnTo>
                    <a:lnTo>
                      <a:pt x="38" y="40"/>
                    </a:lnTo>
                    <a:lnTo>
                      <a:pt x="47" y="41"/>
                    </a:lnTo>
                    <a:lnTo>
                      <a:pt x="48" y="43"/>
                    </a:lnTo>
                    <a:lnTo>
                      <a:pt x="50" y="41"/>
                    </a:lnTo>
                    <a:lnTo>
                      <a:pt x="50" y="41"/>
                    </a:lnTo>
                    <a:lnTo>
                      <a:pt x="48" y="37"/>
                    </a:lnTo>
                    <a:lnTo>
                      <a:pt x="45" y="31"/>
                    </a:lnTo>
                    <a:lnTo>
                      <a:pt x="45" y="31"/>
                    </a:lnTo>
                    <a:lnTo>
                      <a:pt x="41" y="24"/>
                    </a:lnTo>
                    <a:lnTo>
                      <a:pt x="35" y="15"/>
                    </a:lnTo>
                    <a:lnTo>
                      <a:pt x="35" y="1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11" name="Bulgaria">
                <a:extLst>
                  <a:ext uri="{FF2B5EF4-FFF2-40B4-BE49-F238E27FC236}">
                    <a16:creationId xmlns:a16="http://schemas.microsoft.com/office/drawing/2014/main" id="{2D4625D8-31A4-F44C-B54D-D22BEE8EE39A}"/>
                  </a:ext>
                </a:extLst>
              </p:cNvPr>
              <p:cNvSpPr>
                <a:spLocks/>
              </p:cNvSpPr>
              <p:nvPr/>
            </p:nvSpPr>
            <p:spPr bwMode="auto">
              <a:xfrm>
                <a:off x="4844280" y="3179184"/>
                <a:ext cx="147978" cy="79908"/>
              </a:xfrm>
              <a:custGeom>
                <a:avLst/>
                <a:gdLst/>
                <a:ahLst/>
                <a:cxnLst>
                  <a:cxn ang="0">
                    <a:pos x="78" y="0"/>
                  </a:cxn>
                  <a:cxn ang="0">
                    <a:pos x="63" y="1"/>
                  </a:cxn>
                  <a:cxn ang="0">
                    <a:pos x="59" y="3"/>
                  </a:cxn>
                  <a:cxn ang="0">
                    <a:pos x="47" y="9"/>
                  </a:cxn>
                  <a:cxn ang="0">
                    <a:pos x="30" y="7"/>
                  </a:cxn>
                  <a:cxn ang="0">
                    <a:pos x="22" y="7"/>
                  </a:cxn>
                  <a:cxn ang="0">
                    <a:pos x="13" y="6"/>
                  </a:cxn>
                  <a:cxn ang="0">
                    <a:pos x="10" y="3"/>
                  </a:cxn>
                  <a:cxn ang="0">
                    <a:pos x="4" y="0"/>
                  </a:cxn>
                  <a:cxn ang="0">
                    <a:pos x="3" y="1"/>
                  </a:cxn>
                  <a:cxn ang="0">
                    <a:pos x="2" y="3"/>
                  </a:cxn>
                  <a:cxn ang="0">
                    <a:pos x="0" y="9"/>
                  </a:cxn>
                  <a:cxn ang="0">
                    <a:pos x="3" y="11"/>
                  </a:cxn>
                  <a:cxn ang="0">
                    <a:pos x="9" y="21"/>
                  </a:cxn>
                  <a:cxn ang="0">
                    <a:pos x="7" y="23"/>
                  </a:cxn>
                  <a:cxn ang="0">
                    <a:pos x="6" y="23"/>
                  </a:cxn>
                  <a:cxn ang="0">
                    <a:pos x="3" y="28"/>
                  </a:cxn>
                  <a:cxn ang="0">
                    <a:pos x="2" y="33"/>
                  </a:cxn>
                  <a:cxn ang="0">
                    <a:pos x="3" y="37"/>
                  </a:cxn>
                  <a:cxn ang="0">
                    <a:pos x="12" y="47"/>
                  </a:cxn>
                  <a:cxn ang="0">
                    <a:pos x="13" y="50"/>
                  </a:cxn>
                  <a:cxn ang="0">
                    <a:pos x="14" y="51"/>
                  </a:cxn>
                  <a:cxn ang="0">
                    <a:pos x="33" y="51"/>
                  </a:cxn>
                  <a:cxn ang="0">
                    <a:pos x="36" y="51"/>
                  </a:cxn>
                  <a:cxn ang="0">
                    <a:pos x="53" y="54"/>
                  </a:cxn>
                  <a:cxn ang="0">
                    <a:pos x="59" y="54"/>
                  </a:cxn>
                  <a:cxn ang="0">
                    <a:pos x="60" y="51"/>
                  </a:cxn>
                  <a:cxn ang="0">
                    <a:pos x="60" y="50"/>
                  </a:cxn>
                  <a:cxn ang="0">
                    <a:pos x="67" y="47"/>
                  </a:cxn>
                  <a:cxn ang="0">
                    <a:pos x="66" y="44"/>
                  </a:cxn>
                  <a:cxn ang="0">
                    <a:pos x="67" y="43"/>
                  </a:cxn>
                  <a:cxn ang="0">
                    <a:pos x="78" y="41"/>
                  </a:cxn>
                  <a:cxn ang="0">
                    <a:pos x="83" y="43"/>
                  </a:cxn>
                  <a:cxn ang="0">
                    <a:pos x="90" y="41"/>
                  </a:cxn>
                  <a:cxn ang="0">
                    <a:pos x="88" y="38"/>
                  </a:cxn>
                  <a:cxn ang="0">
                    <a:pos x="87" y="37"/>
                  </a:cxn>
                  <a:cxn ang="0">
                    <a:pos x="84" y="31"/>
                  </a:cxn>
                  <a:cxn ang="0">
                    <a:pos x="83" y="26"/>
                  </a:cxn>
                  <a:cxn ang="0">
                    <a:pos x="84" y="26"/>
                  </a:cxn>
                  <a:cxn ang="0">
                    <a:pos x="90" y="19"/>
                  </a:cxn>
                  <a:cxn ang="0">
                    <a:pos x="97" y="11"/>
                  </a:cxn>
                  <a:cxn ang="0">
                    <a:pos x="100" y="10"/>
                  </a:cxn>
                  <a:cxn ang="0">
                    <a:pos x="100" y="9"/>
                  </a:cxn>
                  <a:cxn ang="0">
                    <a:pos x="91" y="4"/>
                  </a:cxn>
                  <a:cxn ang="0">
                    <a:pos x="88" y="3"/>
                  </a:cxn>
                  <a:cxn ang="0">
                    <a:pos x="78" y="0"/>
                  </a:cxn>
                </a:cxnLst>
                <a:rect l="0" t="0" r="r" b="b"/>
                <a:pathLst>
                  <a:path w="100" h="54">
                    <a:moveTo>
                      <a:pt x="78" y="0"/>
                    </a:moveTo>
                    <a:lnTo>
                      <a:pt x="78" y="0"/>
                    </a:lnTo>
                    <a:lnTo>
                      <a:pt x="69" y="0"/>
                    </a:lnTo>
                    <a:lnTo>
                      <a:pt x="63" y="1"/>
                    </a:lnTo>
                    <a:lnTo>
                      <a:pt x="59" y="3"/>
                    </a:lnTo>
                    <a:lnTo>
                      <a:pt x="59" y="3"/>
                    </a:lnTo>
                    <a:lnTo>
                      <a:pt x="53" y="7"/>
                    </a:lnTo>
                    <a:lnTo>
                      <a:pt x="47" y="9"/>
                    </a:lnTo>
                    <a:lnTo>
                      <a:pt x="47" y="9"/>
                    </a:lnTo>
                    <a:lnTo>
                      <a:pt x="30" y="7"/>
                    </a:lnTo>
                    <a:lnTo>
                      <a:pt x="30" y="7"/>
                    </a:lnTo>
                    <a:lnTo>
                      <a:pt x="22" y="7"/>
                    </a:lnTo>
                    <a:lnTo>
                      <a:pt x="13" y="6"/>
                    </a:lnTo>
                    <a:lnTo>
                      <a:pt x="13" y="6"/>
                    </a:lnTo>
                    <a:lnTo>
                      <a:pt x="12" y="4"/>
                    </a:lnTo>
                    <a:lnTo>
                      <a:pt x="10" y="3"/>
                    </a:lnTo>
                    <a:lnTo>
                      <a:pt x="7" y="1"/>
                    </a:lnTo>
                    <a:lnTo>
                      <a:pt x="4" y="0"/>
                    </a:lnTo>
                    <a:lnTo>
                      <a:pt x="4" y="0"/>
                    </a:lnTo>
                    <a:lnTo>
                      <a:pt x="3" y="1"/>
                    </a:lnTo>
                    <a:lnTo>
                      <a:pt x="3" y="1"/>
                    </a:lnTo>
                    <a:lnTo>
                      <a:pt x="2" y="3"/>
                    </a:lnTo>
                    <a:lnTo>
                      <a:pt x="0" y="6"/>
                    </a:lnTo>
                    <a:lnTo>
                      <a:pt x="0" y="9"/>
                    </a:lnTo>
                    <a:lnTo>
                      <a:pt x="3" y="11"/>
                    </a:lnTo>
                    <a:lnTo>
                      <a:pt x="3" y="11"/>
                    </a:lnTo>
                    <a:lnTo>
                      <a:pt x="7" y="19"/>
                    </a:lnTo>
                    <a:lnTo>
                      <a:pt x="9" y="21"/>
                    </a:lnTo>
                    <a:lnTo>
                      <a:pt x="9" y="21"/>
                    </a:lnTo>
                    <a:lnTo>
                      <a:pt x="7" y="23"/>
                    </a:lnTo>
                    <a:lnTo>
                      <a:pt x="7" y="23"/>
                    </a:lnTo>
                    <a:lnTo>
                      <a:pt x="6" y="23"/>
                    </a:lnTo>
                    <a:lnTo>
                      <a:pt x="4" y="24"/>
                    </a:lnTo>
                    <a:lnTo>
                      <a:pt x="3" y="28"/>
                    </a:lnTo>
                    <a:lnTo>
                      <a:pt x="3" y="28"/>
                    </a:lnTo>
                    <a:lnTo>
                      <a:pt x="2" y="33"/>
                    </a:lnTo>
                    <a:lnTo>
                      <a:pt x="3" y="37"/>
                    </a:lnTo>
                    <a:lnTo>
                      <a:pt x="3" y="37"/>
                    </a:lnTo>
                    <a:lnTo>
                      <a:pt x="7" y="41"/>
                    </a:lnTo>
                    <a:lnTo>
                      <a:pt x="12" y="47"/>
                    </a:lnTo>
                    <a:lnTo>
                      <a:pt x="12" y="47"/>
                    </a:lnTo>
                    <a:lnTo>
                      <a:pt x="13" y="50"/>
                    </a:lnTo>
                    <a:lnTo>
                      <a:pt x="14" y="51"/>
                    </a:lnTo>
                    <a:lnTo>
                      <a:pt x="14" y="51"/>
                    </a:lnTo>
                    <a:lnTo>
                      <a:pt x="26" y="51"/>
                    </a:lnTo>
                    <a:lnTo>
                      <a:pt x="33" y="51"/>
                    </a:lnTo>
                    <a:lnTo>
                      <a:pt x="36" y="51"/>
                    </a:lnTo>
                    <a:lnTo>
                      <a:pt x="36" y="51"/>
                    </a:lnTo>
                    <a:lnTo>
                      <a:pt x="46" y="54"/>
                    </a:lnTo>
                    <a:lnTo>
                      <a:pt x="53" y="54"/>
                    </a:lnTo>
                    <a:lnTo>
                      <a:pt x="53" y="54"/>
                    </a:lnTo>
                    <a:lnTo>
                      <a:pt x="59" y="54"/>
                    </a:lnTo>
                    <a:lnTo>
                      <a:pt x="59" y="53"/>
                    </a:lnTo>
                    <a:lnTo>
                      <a:pt x="60" y="51"/>
                    </a:lnTo>
                    <a:lnTo>
                      <a:pt x="60" y="51"/>
                    </a:lnTo>
                    <a:lnTo>
                      <a:pt x="60" y="50"/>
                    </a:lnTo>
                    <a:lnTo>
                      <a:pt x="61" y="48"/>
                    </a:lnTo>
                    <a:lnTo>
                      <a:pt x="67" y="47"/>
                    </a:lnTo>
                    <a:lnTo>
                      <a:pt x="67" y="47"/>
                    </a:lnTo>
                    <a:lnTo>
                      <a:pt x="66" y="44"/>
                    </a:lnTo>
                    <a:lnTo>
                      <a:pt x="67" y="43"/>
                    </a:lnTo>
                    <a:lnTo>
                      <a:pt x="67" y="43"/>
                    </a:lnTo>
                    <a:lnTo>
                      <a:pt x="74" y="41"/>
                    </a:lnTo>
                    <a:lnTo>
                      <a:pt x="78" y="41"/>
                    </a:lnTo>
                    <a:lnTo>
                      <a:pt x="83" y="43"/>
                    </a:lnTo>
                    <a:lnTo>
                      <a:pt x="83" y="43"/>
                    </a:lnTo>
                    <a:lnTo>
                      <a:pt x="87" y="43"/>
                    </a:lnTo>
                    <a:lnTo>
                      <a:pt x="90" y="41"/>
                    </a:lnTo>
                    <a:lnTo>
                      <a:pt x="90" y="41"/>
                    </a:lnTo>
                    <a:lnTo>
                      <a:pt x="88" y="38"/>
                    </a:lnTo>
                    <a:lnTo>
                      <a:pt x="87" y="37"/>
                    </a:lnTo>
                    <a:lnTo>
                      <a:pt x="87" y="37"/>
                    </a:lnTo>
                    <a:lnTo>
                      <a:pt x="86" y="36"/>
                    </a:lnTo>
                    <a:lnTo>
                      <a:pt x="84" y="31"/>
                    </a:lnTo>
                    <a:lnTo>
                      <a:pt x="83" y="27"/>
                    </a:lnTo>
                    <a:lnTo>
                      <a:pt x="83" y="26"/>
                    </a:lnTo>
                    <a:lnTo>
                      <a:pt x="84" y="26"/>
                    </a:lnTo>
                    <a:lnTo>
                      <a:pt x="84" y="26"/>
                    </a:lnTo>
                    <a:lnTo>
                      <a:pt x="87" y="23"/>
                    </a:lnTo>
                    <a:lnTo>
                      <a:pt x="90" y="19"/>
                    </a:lnTo>
                    <a:lnTo>
                      <a:pt x="93" y="14"/>
                    </a:lnTo>
                    <a:lnTo>
                      <a:pt x="97" y="11"/>
                    </a:lnTo>
                    <a:lnTo>
                      <a:pt x="97" y="11"/>
                    </a:lnTo>
                    <a:lnTo>
                      <a:pt x="100" y="10"/>
                    </a:lnTo>
                    <a:lnTo>
                      <a:pt x="100" y="9"/>
                    </a:lnTo>
                    <a:lnTo>
                      <a:pt x="100" y="9"/>
                    </a:lnTo>
                    <a:lnTo>
                      <a:pt x="94" y="6"/>
                    </a:lnTo>
                    <a:lnTo>
                      <a:pt x="91" y="4"/>
                    </a:lnTo>
                    <a:lnTo>
                      <a:pt x="91" y="4"/>
                    </a:lnTo>
                    <a:lnTo>
                      <a:pt x="88" y="3"/>
                    </a:lnTo>
                    <a:lnTo>
                      <a:pt x="86" y="1"/>
                    </a:lnTo>
                    <a:lnTo>
                      <a:pt x="78" y="0"/>
                    </a:lnTo>
                    <a:lnTo>
                      <a:pt x="78"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2" name="Macedonia">
                <a:extLst>
                  <a:ext uri="{FF2B5EF4-FFF2-40B4-BE49-F238E27FC236}">
                    <a16:creationId xmlns:a16="http://schemas.microsoft.com/office/drawing/2014/main" id="{BE903FD6-A651-A847-A02E-78AA3A930C7C}"/>
                  </a:ext>
                </a:extLst>
              </p:cNvPr>
              <p:cNvSpPr>
                <a:spLocks/>
              </p:cNvSpPr>
              <p:nvPr/>
            </p:nvSpPr>
            <p:spPr bwMode="auto">
              <a:xfrm>
                <a:off x="4802846" y="3229498"/>
                <a:ext cx="62150" cy="44394"/>
              </a:xfrm>
              <a:custGeom>
                <a:avLst/>
                <a:gdLst/>
                <a:ahLst/>
                <a:cxnLst>
                  <a:cxn ang="0">
                    <a:pos x="10" y="30"/>
                  </a:cxn>
                  <a:cxn ang="0">
                    <a:pos x="10" y="30"/>
                  </a:cxn>
                  <a:cxn ang="0">
                    <a:pos x="10" y="30"/>
                  </a:cxn>
                  <a:cxn ang="0">
                    <a:pos x="10" y="30"/>
                  </a:cxn>
                  <a:cxn ang="0">
                    <a:pos x="10" y="30"/>
                  </a:cxn>
                  <a:cxn ang="0">
                    <a:pos x="10" y="30"/>
                  </a:cxn>
                  <a:cxn ang="0">
                    <a:pos x="10" y="30"/>
                  </a:cxn>
                  <a:cxn ang="0">
                    <a:pos x="11" y="30"/>
                  </a:cxn>
                  <a:cxn ang="0">
                    <a:pos x="11" y="30"/>
                  </a:cxn>
                  <a:cxn ang="0">
                    <a:pos x="11" y="30"/>
                  </a:cxn>
                  <a:cxn ang="0">
                    <a:pos x="11" y="30"/>
                  </a:cxn>
                  <a:cxn ang="0">
                    <a:pos x="15" y="30"/>
                  </a:cxn>
                  <a:cxn ang="0">
                    <a:pos x="15" y="30"/>
                  </a:cxn>
                  <a:cxn ang="0">
                    <a:pos x="17" y="30"/>
                  </a:cxn>
                  <a:cxn ang="0">
                    <a:pos x="17" y="30"/>
                  </a:cxn>
                  <a:cxn ang="0">
                    <a:pos x="18" y="30"/>
                  </a:cxn>
                  <a:cxn ang="0">
                    <a:pos x="18" y="30"/>
                  </a:cxn>
                  <a:cxn ang="0">
                    <a:pos x="18" y="30"/>
                  </a:cxn>
                  <a:cxn ang="0">
                    <a:pos x="18" y="30"/>
                  </a:cxn>
                  <a:cxn ang="0">
                    <a:pos x="20" y="30"/>
                  </a:cxn>
                  <a:cxn ang="0">
                    <a:pos x="20" y="30"/>
                  </a:cxn>
                  <a:cxn ang="0">
                    <a:pos x="23" y="29"/>
                  </a:cxn>
                  <a:cxn ang="0">
                    <a:pos x="24" y="26"/>
                  </a:cxn>
                  <a:cxn ang="0">
                    <a:pos x="25" y="24"/>
                  </a:cxn>
                  <a:cxn ang="0">
                    <a:pos x="27" y="24"/>
                  </a:cxn>
                  <a:cxn ang="0">
                    <a:pos x="27" y="24"/>
                  </a:cxn>
                  <a:cxn ang="0">
                    <a:pos x="30" y="24"/>
                  </a:cxn>
                  <a:cxn ang="0">
                    <a:pos x="35" y="23"/>
                  </a:cxn>
                  <a:cxn ang="0">
                    <a:pos x="42" y="19"/>
                  </a:cxn>
                  <a:cxn ang="0">
                    <a:pos x="42" y="19"/>
                  </a:cxn>
                  <a:cxn ang="0">
                    <a:pos x="42" y="17"/>
                  </a:cxn>
                  <a:cxn ang="0">
                    <a:pos x="42" y="17"/>
                  </a:cxn>
                  <a:cxn ang="0">
                    <a:pos x="41" y="16"/>
                  </a:cxn>
                  <a:cxn ang="0">
                    <a:pos x="40" y="13"/>
                  </a:cxn>
                  <a:cxn ang="0">
                    <a:pos x="40" y="13"/>
                  </a:cxn>
                  <a:cxn ang="0">
                    <a:pos x="35" y="7"/>
                  </a:cxn>
                  <a:cxn ang="0">
                    <a:pos x="31" y="3"/>
                  </a:cxn>
                  <a:cxn ang="0">
                    <a:pos x="31" y="3"/>
                  </a:cxn>
                  <a:cxn ang="0">
                    <a:pos x="30" y="2"/>
                  </a:cxn>
                  <a:cxn ang="0">
                    <a:pos x="30" y="2"/>
                  </a:cxn>
                  <a:cxn ang="0">
                    <a:pos x="30" y="2"/>
                  </a:cxn>
                  <a:cxn ang="0">
                    <a:pos x="30" y="2"/>
                  </a:cxn>
                  <a:cxn ang="0">
                    <a:pos x="30" y="0"/>
                  </a:cxn>
                  <a:cxn ang="0">
                    <a:pos x="30" y="0"/>
                  </a:cxn>
                  <a:cxn ang="0">
                    <a:pos x="3" y="4"/>
                  </a:cxn>
                  <a:cxn ang="0">
                    <a:pos x="3" y="4"/>
                  </a:cxn>
                  <a:cxn ang="0">
                    <a:pos x="1" y="4"/>
                  </a:cxn>
                  <a:cxn ang="0">
                    <a:pos x="1" y="4"/>
                  </a:cxn>
                  <a:cxn ang="0">
                    <a:pos x="0" y="13"/>
                  </a:cxn>
                  <a:cxn ang="0">
                    <a:pos x="0" y="20"/>
                  </a:cxn>
                  <a:cxn ang="0">
                    <a:pos x="0" y="20"/>
                  </a:cxn>
                  <a:cxn ang="0">
                    <a:pos x="3" y="26"/>
                  </a:cxn>
                  <a:cxn ang="0">
                    <a:pos x="10" y="30"/>
                  </a:cxn>
                  <a:cxn ang="0">
                    <a:pos x="10" y="30"/>
                  </a:cxn>
                </a:cxnLst>
                <a:rect l="0" t="0" r="r" b="b"/>
                <a:pathLst>
                  <a:path w="42" h="30">
                    <a:moveTo>
                      <a:pt x="10" y="30"/>
                    </a:moveTo>
                    <a:lnTo>
                      <a:pt x="10" y="30"/>
                    </a:lnTo>
                    <a:lnTo>
                      <a:pt x="10" y="30"/>
                    </a:lnTo>
                    <a:lnTo>
                      <a:pt x="10" y="30"/>
                    </a:lnTo>
                    <a:lnTo>
                      <a:pt x="10" y="30"/>
                    </a:lnTo>
                    <a:lnTo>
                      <a:pt x="10" y="30"/>
                    </a:lnTo>
                    <a:lnTo>
                      <a:pt x="10" y="30"/>
                    </a:lnTo>
                    <a:lnTo>
                      <a:pt x="11" y="30"/>
                    </a:lnTo>
                    <a:lnTo>
                      <a:pt x="11" y="30"/>
                    </a:lnTo>
                    <a:lnTo>
                      <a:pt x="11" y="30"/>
                    </a:lnTo>
                    <a:lnTo>
                      <a:pt x="11" y="30"/>
                    </a:lnTo>
                    <a:lnTo>
                      <a:pt x="15" y="30"/>
                    </a:lnTo>
                    <a:lnTo>
                      <a:pt x="15" y="30"/>
                    </a:lnTo>
                    <a:lnTo>
                      <a:pt x="17" y="30"/>
                    </a:lnTo>
                    <a:lnTo>
                      <a:pt x="17" y="30"/>
                    </a:lnTo>
                    <a:lnTo>
                      <a:pt x="18" y="30"/>
                    </a:lnTo>
                    <a:lnTo>
                      <a:pt x="18" y="30"/>
                    </a:lnTo>
                    <a:lnTo>
                      <a:pt x="18" y="30"/>
                    </a:lnTo>
                    <a:lnTo>
                      <a:pt x="18" y="30"/>
                    </a:lnTo>
                    <a:lnTo>
                      <a:pt x="20" y="30"/>
                    </a:lnTo>
                    <a:lnTo>
                      <a:pt x="20" y="30"/>
                    </a:lnTo>
                    <a:lnTo>
                      <a:pt x="23" y="29"/>
                    </a:lnTo>
                    <a:lnTo>
                      <a:pt x="24" y="26"/>
                    </a:lnTo>
                    <a:lnTo>
                      <a:pt x="25" y="24"/>
                    </a:lnTo>
                    <a:lnTo>
                      <a:pt x="27" y="24"/>
                    </a:lnTo>
                    <a:lnTo>
                      <a:pt x="27" y="24"/>
                    </a:lnTo>
                    <a:lnTo>
                      <a:pt x="30" y="24"/>
                    </a:lnTo>
                    <a:lnTo>
                      <a:pt x="35" y="23"/>
                    </a:lnTo>
                    <a:lnTo>
                      <a:pt x="42" y="19"/>
                    </a:lnTo>
                    <a:lnTo>
                      <a:pt x="42" y="19"/>
                    </a:lnTo>
                    <a:lnTo>
                      <a:pt x="42" y="17"/>
                    </a:lnTo>
                    <a:lnTo>
                      <a:pt x="42" y="17"/>
                    </a:lnTo>
                    <a:lnTo>
                      <a:pt x="41" y="16"/>
                    </a:lnTo>
                    <a:lnTo>
                      <a:pt x="40" y="13"/>
                    </a:lnTo>
                    <a:lnTo>
                      <a:pt x="40" y="13"/>
                    </a:lnTo>
                    <a:lnTo>
                      <a:pt x="35" y="7"/>
                    </a:lnTo>
                    <a:lnTo>
                      <a:pt x="31" y="3"/>
                    </a:lnTo>
                    <a:lnTo>
                      <a:pt x="31" y="3"/>
                    </a:lnTo>
                    <a:lnTo>
                      <a:pt x="30" y="2"/>
                    </a:lnTo>
                    <a:lnTo>
                      <a:pt x="30" y="2"/>
                    </a:lnTo>
                    <a:lnTo>
                      <a:pt x="30" y="2"/>
                    </a:lnTo>
                    <a:lnTo>
                      <a:pt x="30" y="2"/>
                    </a:lnTo>
                    <a:lnTo>
                      <a:pt x="30" y="0"/>
                    </a:lnTo>
                    <a:lnTo>
                      <a:pt x="30" y="0"/>
                    </a:lnTo>
                    <a:lnTo>
                      <a:pt x="3" y="4"/>
                    </a:lnTo>
                    <a:lnTo>
                      <a:pt x="3" y="4"/>
                    </a:lnTo>
                    <a:lnTo>
                      <a:pt x="1" y="4"/>
                    </a:lnTo>
                    <a:lnTo>
                      <a:pt x="1" y="4"/>
                    </a:lnTo>
                    <a:lnTo>
                      <a:pt x="0" y="13"/>
                    </a:lnTo>
                    <a:lnTo>
                      <a:pt x="0" y="20"/>
                    </a:lnTo>
                    <a:lnTo>
                      <a:pt x="0" y="20"/>
                    </a:lnTo>
                    <a:lnTo>
                      <a:pt x="3" y="26"/>
                    </a:lnTo>
                    <a:lnTo>
                      <a:pt x="10" y="30"/>
                    </a:lnTo>
                    <a:lnTo>
                      <a:pt x="10" y="3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13" name="Ukraine">
                <a:extLst>
                  <a:ext uri="{FF2B5EF4-FFF2-40B4-BE49-F238E27FC236}">
                    <a16:creationId xmlns:a16="http://schemas.microsoft.com/office/drawing/2014/main" id="{FACAD71C-ADF8-E348-9BE3-19171A0D49A5}"/>
                  </a:ext>
                </a:extLst>
              </p:cNvPr>
              <p:cNvSpPr>
                <a:spLocks/>
              </p:cNvSpPr>
              <p:nvPr/>
            </p:nvSpPr>
            <p:spPr bwMode="auto">
              <a:xfrm>
                <a:off x="4842801" y="2926142"/>
                <a:ext cx="423218" cy="242684"/>
              </a:xfrm>
              <a:custGeom>
                <a:avLst/>
                <a:gdLst/>
                <a:ahLst/>
                <a:cxnLst>
                  <a:cxn ang="0">
                    <a:pos x="264" y="96"/>
                  </a:cxn>
                  <a:cxn ang="0">
                    <a:pos x="280" y="94"/>
                  </a:cxn>
                  <a:cxn ang="0">
                    <a:pos x="280" y="83"/>
                  </a:cxn>
                  <a:cxn ang="0">
                    <a:pos x="283" y="77"/>
                  </a:cxn>
                  <a:cxn ang="0">
                    <a:pos x="283" y="73"/>
                  </a:cxn>
                  <a:cxn ang="0">
                    <a:pos x="286" y="64"/>
                  </a:cxn>
                  <a:cxn ang="0">
                    <a:pos x="277" y="59"/>
                  </a:cxn>
                  <a:cxn ang="0">
                    <a:pos x="259" y="53"/>
                  </a:cxn>
                  <a:cxn ang="0">
                    <a:pos x="247" y="49"/>
                  </a:cxn>
                  <a:cxn ang="0">
                    <a:pos x="235" y="44"/>
                  </a:cxn>
                  <a:cxn ang="0">
                    <a:pos x="222" y="43"/>
                  </a:cxn>
                  <a:cxn ang="0">
                    <a:pos x="212" y="40"/>
                  </a:cxn>
                  <a:cxn ang="0">
                    <a:pos x="205" y="26"/>
                  </a:cxn>
                  <a:cxn ang="0">
                    <a:pos x="193" y="23"/>
                  </a:cxn>
                  <a:cxn ang="0">
                    <a:pos x="190" y="12"/>
                  </a:cxn>
                  <a:cxn ang="0">
                    <a:pos x="180" y="0"/>
                  </a:cxn>
                  <a:cxn ang="0">
                    <a:pos x="163" y="2"/>
                  </a:cxn>
                  <a:cxn ang="0">
                    <a:pos x="156" y="5"/>
                  </a:cxn>
                  <a:cxn ang="0">
                    <a:pos x="142" y="6"/>
                  </a:cxn>
                  <a:cxn ang="0">
                    <a:pos x="132" y="16"/>
                  </a:cxn>
                  <a:cxn ang="0">
                    <a:pos x="126" y="20"/>
                  </a:cxn>
                  <a:cxn ang="0">
                    <a:pos x="109" y="17"/>
                  </a:cxn>
                  <a:cxn ang="0">
                    <a:pos x="98" y="16"/>
                  </a:cxn>
                  <a:cxn ang="0">
                    <a:pos x="89" y="17"/>
                  </a:cxn>
                  <a:cxn ang="0">
                    <a:pos x="71" y="13"/>
                  </a:cxn>
                  <a:cxn ang="0">
                    <a:pos x="41" y="9"/>
                  </a:cxn>
                  <a:cxn ang="0">
                    <a:pos x="30" y="15"/>
                  </a:cxn>
                  <a:cxn ang="0">
                    <a:pos x="23" y="22"/>
                  </a:cxn>
                  <a:cxn ang="0">
                    <a:pos x="30" y="37"/>
                  </a:cxn>
                  <a:cxn ang="0">
                    <a:pos x="14" y="52"/>
                  </a:cxn>
                  <a:cxn ang="0">
                    <a:pos x="7" y="70"/>
                  </a:cxn>
                  <a:cxn ang="0">
                    <a:pos x="0" y="81"/>
                  </a:cxn>
                  <a:cxn ang="0">
                    <a:pos x="10" y="91"/>
                  </a:cxn>
                  <a:cxn ang="0">
                    <a:pos x="33" y="94"/>
                  </a:cxn>
                  <a:cxn ang="0">
                    <a:pos x="42" y="97"/>
                  </a:cxn>
                  <a:cxn ang="0">
                    <a:pos x="52" y="93"/>
                  </a:cxn>
                  <a:cxn ang="0">
                    <a:pos x="67" y="89"/>
                  </a:cxn>
                  <a:cxn ang="0">
                    <a:pos x="88" y="83"/>
                  </a:cxn>
                  <a:cxn ang="0">
                    <a:pos x="101" y="90"/>
                  </a:cxn>
                  <a:cxn ang="0">
                    <a:pos x="115" y="107"/>
                  </a:cxn>
                  <a:cxn ang="0">
                    <a:pos x="124" y="124"/>
                  </a:cxn>
                  <a:cxn ang="0">
                    <a:pos x="109" y="123"/>
                  </a:cxn>
                  <a:cxn ang="0">
                    <a:pos x="102" y="137"/>
                  </a:cxn>
                  <a:cxn ang="0">
                    <a:pos x="104" y="148"/>
                  </a:cxn>
                  <a:cxn ang="0">
                    <a:pos x="118" y="148"/>
                  </a:cxn>
                  <a:cxn ang="0">
                    <a:pos x="125" y="137"/>
                  </a:cxn>
                  <a:cxn ang="0">
                    <a:pos x="139" y="120"/>
                  </a:cxn>
                  <a:cxn ang="0">
                    <a:pos x="159" y="118"/>
                  </a:cxn>
                  <a:cxn ang="0">
                    <a:pos x="159" y="128"/>
                  </a:cxn>
                  <a:cxn ang="0">
                    <a:pos x="183" y="130"/>
                  </a:cxn>
                  <a:cxn ang="0">
                    <a:pos x="173" y="138"/>
                  </a:cxn>
                  <a:cxn ang="0">
                    <a:pos x="171" y="147"/>
                  </a:cxn>
                  <a:cxn ang="0">
                    <a:pos x="179" y="161"/>
                  </a:cxn>
                  <a:cxn ang="0">
                    <a:pos x="193" y="160"/>
                  </a:cxn>
                  <a:cxn ang="0">
                    <a:pos x="209" y="154"/>
                  </a:cxn>
                  <a:cxn ang="0">
                    <a:pos x="230" y="151"/>
                  </a:cxn>
                  <a:cxn ang="0">
                    <a:pos x="213" y="147"/>
                  </a:cxn>
                  <a:cxn ang="0">
                    <a:pos x="203" y="141"/>
                  </a:cxn>
                  <a:cxn ang="0">
                    <a:pos x="207" y="126"/>
                  </a:cxn>
                  <a:cxn ang="0">
                    <a:pos x="242" y="114"/>
                  </a:cxn>
                  <a:cxn ang="0">
                    <a:pos x="253" y="104"/>
                  </a:cxn>
                </a:cxnLst>
                <a:rect l="0" t="0" r="r" b="b"/>
                <a:pathLst>
                  <a:path w="286" h="164">
                    <a:moveTo>
                      <a:pt x="254" y="103"/>
                    </a:moveTo>
                    <a:lnTo>
                      <a:pt x="254" y="103"/>
                    </a:lnTo>
                    <a:lnTo>
                      <a:pt x="257" y="101"/>
                    </a:lnTo>
                    <a:lnTo>
                      <a:pt x="260" y="98"/>
                    </a:lnTo>
                    <a:lnTo>
                      <a:pt x="264" y="96"/>
                    </a:lnTo>
                    <a:lnTo>
                      <a:pt x="267" y="94"/>
                    </a:lnTo>
                    <a:lnTo>
                      <a:pt x="267" y="94"/>
                    </a:lnTo>
                    <a:lnTo>
                      <a:pt x="274" y="96"/>
                    </a:lnTo>
                    <a:lnTo>
                      <a:pt x="279" y="96"/>
                    </a:lnTo>
                    <a:lnTo>
                      <a:pt x="280" y="94"/>
                    </a:lnTo>
                    <a:lnTo>
                      <a:pt x="280" y="94"/>
                    </a:lnTo>
                    <a:lnTo>
                      <a:pt x="281" y="90"/>
                    </a:lnTo>
                    <a:lnTo>
                      <a:pt x="283" y="86"/>
                    </a:lnTo>
                    <a:lnTo>
                      <a:pt x="283" y="86"/>
                    </a:lnTo>
                    <a:lnTo>
                      <a:pt x="280" y="83"/>
                    </a:lnTo>
                    <a:lnTo>
                      <a:pt x="280" y="80"/>
                    </a:lnTo>
                    <a:lnTo>
                      <a:pt x="280" y="79"/>
                    </a:lnTo>
                    <a:lnTo>
                      <a:pt x="280" y="79"/>
                    </a:lnTo>
                    <a:lnTo>
                      <a:pt x="280" y="79"/>
                    </a:lnTo>
                    <a:lnTo>
                      <a:pt x="283" y="77"/>
                    </a:lnTo>
                    <a:lnTo>
                      <a:pt x="284" y="77"/>
                    </a:lnTo>
                    <a:lnTo>
                      <a:pt x="286" y="76"/>
                    </a:lnTo>
                    <a:lnTo>
                      <a:pt x="286" y="76"/>
                    </a:lnTo>
                    <a:lnTo>
                      <a:pt x="284" y="74"/>
                    </a:lnTo>
                    <a:lnTo>
                      <a:pt x="283" y="73"/>
                    </a:lnTo>
                    <a:lnTo>
                      <a:pt x="281" y="70"/>
                    </a:lnTo>
                    <a:lnTo>
                      <a:pt x="281" y="70"/>
                    </a:lnTo>
                    <a:lnTo>
                      <a:pt x="284" y="67"/>
                    </a:lnTo>
                    <a:lnTo>
                      <a:pt x="286" y="66"/>
                    </a:lnTo>
                    <a:lnTo>
                      <a:pt x="286" y="64"/>
                    </a:lnTo>
                    <a:lnTo>
                      <a:pt x="286" y="64"/>
                    </a:lnTo>
                    <a:lnTo>
                      <a:pt x="284" y="62"/>
                    </a:lnTo>
                    <a:lnTo>
                      <a:pt x="283" y="62"/>
                    </a:lnTo>
                    <a:lnTo>
                      <a:pt x="277" y="59"/>
                    </a:lnTo>
                    <a:lnTo>
                      <a:pt x="277" y="59"/>
                    </a:lnTo>
                    <a:lnTo>
                      <a:pt x="273" y="57"/>
                    </a:lnTo>
                    <a:lnTo>
                      <a:pt x="270" y="56"/>
                    </a:lnTo>
                    <a:lnTo>
                      <a:pt x="263" y="54"/>
                    </a:lnTo>
                    <a:lnTo>
                      <a:pt x="263" y="54"/>
                    </a:lnTo>
                    <a:lnTo>
                      <a:pt x="259" y="53"/>
                    </a:lnTo>
                    <a:lnTo>
                      <a:pt x="254" y="53"/>
                    </a:lnTo>
                    <a:lnTo>
                      <a:pt x="252" y="53"/>
                    </a:lnTo>
                    <a:lnTo>
                      <a:pt x="250" y="53"/>
                    </a:lnTo>
                    <a:lnTo>
                      <a:pt x="250" y="53"/>
                    </a:lnTo>
                    <a:lnTo>
                      <a:pt x="247" y="49"/>
                    </a:lnTo>
                    <a:lnTo>
                      <a:pt x="243" y="44"/>
                    </a:lnTo>
                    <a:lnTo>
                      <a:pt x="243" y="44"/>
                    </a:lnTo>
                    <a:lnTo>
                      <a:pt x="242" y="43"/>
                    </a:lnTo>
                    <a:lnTo>
                      <a:pt x="239" y="43"/>
                    </a:lnTo>
                    <a:lnTo>
                      <a:pt x="235" y="44"/>
                    </a:lnTo>
                    <a:lnTo>
                      <a:pt x="235" y="44"/>
                    </a:lnTo>
                    <a:lnTo>
                      <a:pt x="230" y="46"/>
                    </a:lnTo>
                    <a:lnTo>
                      <a:pt x="226" y="46"/>
                    </a:lnTo>
                    <a:lnTo>
                      <a:pt x="226" y="46"/>
                    </a:lnTo>
                    <a:lnTo>
                      <a:pt x="222" y="43"/>
                    </a:lnTo>
                    <a:lnTo>
                      <a:pt x="220" y="42"/>
                    </a:lnTo>
                    <a:lnTo>
                      <a:pt x="217" y="42"/>
                    </a:lnTo>
                    <a:lnTo>
                      <a:pt x="217" y="42"/>
                    </a:lnTo>
                    <a:lnTo>
                      <a:pt x="213" y="42"/>
                    </a:lnTo>
                    <a:lnTo>
                      <a:pt x="212" y="40"/>
                    </a:lnTo>
                    <a:lnTo>
                      <a:pt x="212" y="39"/>
                    </a:lnTo>
                    <a:lnTo>
                      <a:pt x="212" y="39"/>
                    </a:lnTo>
                    <a:lnTo>
                      <a:pt x="212" y="36"/>
                    </a:lnTo>
                    <a:lnTo>
                      <a:pt x="210" y="32"/>
                    </a:lnTo>
                    <a:lnTo>
                      <a:pt x="205" y="26"/>
                    </a:lnTo>
                    <a:lnTo>
                      <a:pt x="205" y="26"/>
                    </a:lnTo>
                    <a:lnTo>
                      <a:pt x="199" y="26"/>
                    </a:lnTo>
                    <a:lnTo>
                      <a:pt x="195" y="25"/>
                    </a:lnTo>
                    <a:lnTo>
                      <a:pt x="193" y="23"/>
                    </a:lnTo>
                    <a:lnTo>
                      <a:pt x="193" y="23"/>
                    </a:lnTo>
                    <a:lnTo>
                      <a:pt x="190" y="19"/>
                    </a:lnTo>
                    <a:lnTo>
                      <a:pt x="189" y="16"/>
                    </a:lnTo>
                    <a:lnTo>
                      <a:pt x="189" y="15"/>
                    </a:lnTo>
                    <a:lnTo>
                      <a:pt x="189" y="15"/>
                    </a:lnTo>
                    <a:lnTo>
                      <a:pt x="190" y="12"/>
                    </a:lnTo>
                    <a:lnTo>
                      <a:pt x="189" y="9"/>
                    </a:lnTo>
                    <a:lnTo>
                      <a:pt x="188" y="2"/>
                    </a:lnTo>
                    <a:lnTo>
                      <a:pt x="188" y="2"/>
                    </a:lnTo>
                    <a:lnTo>
                      <a:pt x="185" y="0"/>
                    </a:lnTo>
                    <a:lnTo>
                      <a:pt x="180" y="0"/>
                    </a:lnTo>
                    <a:lnTo>
                      <a:pt x="175" y="0"/>
                    </a:lnTo>
                    <a:lnTo>
                      <a:pt x="175" y="0"/>
                    </a:lnTo>
                    <a:lnTo>
                      <a:pt x="169" y="0"/>
                    </a:lnTo>
                    <a:lnTo>
                      <a:pt x="166" y="0"/>
                    </a:lnTo>
                    <a:lnTo>
                      <a:pt x="163" y="2"/>
                    </a:lnTo>
                    <a:lnTo>
                      <a:pt x="163" y="2"/>
                    </a:lnTo>
                    <a:lnTo>
                      <a:pt x="161" y="3"/>
                    </a:lnTo>
                    <a:lnTo>
                      <a:pt x="158" y="5"/>
                    </a:lnTo>
                    <a:lnTo>
                      <a:pt x="156" y="5"/>
                    </a:lnTo>
                    <a:lnTo>
                      <a:pt x="156" y="5"/>
                    </a:lnTo>
                    <a:lnTo>
                      <a:pt x="153" y="5"/>
                    </a:lnTo>
                    <a:lnTo>
                      <a:pt x="152" y="3"/>
                    </a:lnTo>
                    <a:lnTo>
                      <a:pt x="152" y="3"/>
                    </a:lnTo>
                    <a:lnTo>
                      <a:pt x="145" y="5"/>
                    </a:lnTo>
                    <a:lnTo>
                      <a:pt x="142" y="6"/>
                    </a:lnTo>
                    <a:lnTo>
                      <a:pt x="142" y="6"/>
                    </a:lnTo>
                    <a:lnTo>
                      <a:pt x="136" y="9"/>
                    </a:lnTo>
                    <a:lnTo>
                      <a:pt x="134" y="13"/>
                    </a:lnTo>
                    <a:lnTo>
                      <a:pt x="132" y="16"/>
                    </a:lnTo>
                    <a:lnTo>
                      <a:pt x="132" y="16"/>
                    </a:lnTo>
                    <a:lnTo>
                      <a:pt x="131" y="20"/>
                    </a:lnTo>
                    <a:lnTo>
                      <a:pt x="131" y="22"/>
                    </a:lnTo>
                    <a:lnTo>
                      <a:pt x="129" y="22"/>
                    </a:lnTo>
                    <a:lnTo>
                      <a:pt x="129" y="22"/>
                    </a:lnTo>
                    <a:lnTo>
                      <a:pt x="126" y="20"/>
                    </a:lnTo>
                    <a:lnTo>
                      <a:pt x="122" y="19"/>
                    </a:lnTo>
                    <a:lnTo>
                      <a:pt x="115" y="20"/>
                    </a:lnTo>
                    <a:lnTo>
                      <a:pt x="115" y="20"/>
                    </a:lnTo>
                    <a:lnTo>
                      <a:pt x="112" y="20"/>
                    </a:lnTo>
                    <a:lnTo>
                      <a:pt x="109" y="17"/>
                    </a:lnTo>
                    <a:lnTo>
                      <a:pt x="106" y="16"/>
                    </a:lnTo>
                    <a:lnTo>
                      <a:pt x="104" y="17"/>
                    </a:lnTo>
                    <a:lnTo>
                      <a:pt x="104" y="17"/>
                    </a:lnTo>
                    <a:lnTo>
                      <a:pt x="101" y="17"/>
                    </a:lnTo>
                    <a:lnTo>
                      <a:pt x="98" y="16"/>
                    </a:lnTo>
                    <a:lnTo>
                      <a:pt x="95" y="16"/>
                    </a:lnTo>
                    <a:lnTo>
                      <a:pt x="94" y="16"/>
                    </a:lnTo>
                    <a:lnTo>
                      <a:pt x="94" y="16"/>
                    </a:lnTo>
                    <a:lnTo>
                      <a:pt x="92" y="17"/>
                    </a:lnTo>
                    <a:lnTo>
                      <a:pt x="89" y="17"/>
                    </a:lnTo>
                    <a:lnTo>
                      <a:pt x="82" y="15"/>
                    </a:lnTo>
                    <a:lnTo>
                      <a:pt x="82" y="15"/>
                    </a:lnTo>
                    <a:lnTo>
                      <a:pt x="79" y="13"/>
                    </a:lnTo>
                    <a:lnTo>
                      <a:pt x="75" y="13"/>
                    </a:lnTo>
                    <a:lnTo>
                      <a:pt x="71" y="13"/>
                    </a:lnTo>
                    <a:lnTo>
                      <a:pt x="68" y="12"/>
                    </a:lnTo>
                    <a:lnTo>
                      <a:pt x="68" y="12"/>
                    </a:lnTo>
                    <a:lnTo>
                      <a:pt x="64" y="10"/>
                    </a:lnTo>
                    <a:lnTo>
                      <a:pt x="55" y="9"/>
                    </a:lnTo>
                    <a:lnTo>
                      <a:pt x="41" y="9"/>
                    </a:lnTo>
                    <a:lnTo>
                      <a:pt x="41" y="9"/>
                    </a:lnTo>
                    <a:lnTo>
                      <a:pt x="37" y="9"/>
                    </a:lnTo>
                    <a:lnTo>
                      <a:pt x="34" y="10"/>
                    </a:lnTo>
                    <a:lnTo>
                      <a:pt x="30" y="15"/>
                    </a:lnTo>
                    <a:lnTo>
                      <a:pt x="30" y="15"/>
                    </a:lnTo>
                    <a:lnTo>
                      <a:pt x="28" y="16"/>
                    </a:lnTo>
                    <a:lnTo>
                      <a:pt x="25" y="17"/>
                    </a:lnTo>
                    <a:lnTo>
                      <a:pt x="21" y="17"/>
                    </a:lnTo>
                    <a:lnTo>
                      <a:pt x="21" y="17"/>
                    </a:lnTo>
                    <a:lnTo>
                      <a:pt x="23" y="22"/>
                    </a:lnTo>
                    <a:lnTo>
                      <a:pt x="23" y="22"/>
                    </a:lnTo>
                    <a:lnTo>
                      <a:pt x="27" y="30"/>
                    </a:lnTo>
                    <a:lnTo>
                      <a:pt x="30" y="34"/>
                    </a:lnTo>
                    <a:lnTo>
                      <a:pt x="30" y="37"/>
                    </a:lnTo>
                    <a:lnTo>
                      <a:pt x="30" y="37"/>
                    </a:lnTo>
                    <a:lnTo>
                      <a:pt x="27" y="40"/>
                    </a:lnTo>
                    <a:lnTo>
                      <a:pt x="25" y="42"/>
                    </a:lnTo>
                    <a:lnTo>
                      <a:pt x="23" y="43"/>
                    </a:lnTo>
                    <a:lnTo>
                      <a:pt x="23" y="43"/>
                    </a:lnTo>
                    <a:lnTo>
                      <a:pt x="14" y="52"/>
                    </a:lnTo>
                    <a:lnTo>
                      <a:pt x="7" y="59"/>
                    </a:lnTo>
                    <a:lnTo>
                      <a:pt x="7" y="59"/>
                    </a:lnTo>
                    <a:lnTo>
                      <a:pt x="8" y="64"/>
                    </a:lnTo>
                    <a:lnTo>
                      <a:pt x="8" y="67"/>
                    </a:lnTo>
                    <a:lnTo>
                      <a:pt x="7" y="70"/>
                    </a:lnTo>
                    <a:lnTo>
                      <a:pt x="7" y="70"/>
                    </a:lnTo>
                    <a:lnTo>
                      <a:pt x="3" y="76"/>
                    </a:lnTo>
                    <a:lnTo>
                      <a:pt x="1" y="79"/>
                    </a:lnTo>
                    <a:lnTo>
                      <a:pt x="0" y="81"/>
                    </a:lnTo>
                    <a:lnTo>
                      <a:pt x="0" y="81"/>
                    </a:lnTo>
                    <a:lnTo>
                      <a:pt x="1" y="84"/>
                    </a:lnTo>
                    <a:lnTo>
                      <a:pt x="3" y="86"/>
                    </a:lnTo>
                    <a:lnTo>
                      <a:pt x="7" y="90"/>
                    </a:lnTo>
                    <a:lnTo>
                      <a:pt x="7" y="90"/>
                    </a:lnTo>
                    <a:lnTo>
                      <a:pt x="10" y="91"/>
                    </a:lnTo>
                    <a:lnTo>
                      <a:pt x="10" y="91"/>
                    </a:lnTo>
                    <a:lnTo>
                      <a:pt x="17" y="91"/>
                    </a:lnTo>
                    <a:lnTo>
                      <a:pt x="17" y="91"/>
                    </a:lnTo>
                    <a:lnTo>
                      <a:pt x="24" y="93"/>
                    </a:lnTo>
                    <a:lnTo>
                      <a:pt x="33" y="94"/>
                    </a:lnTo>
                    <a:lnTo>
                      <a:pt x="33" y="94"/>
                    </a:lnTo>
                    <a:lnTo>
                      <a:pt x="38" y="94"/>
                    </a:lnTo>
                    <a:lnTo>
                      <a:pt x="42" y="97"/>
                    </a:lnTo>
                    <a:lnTo>
                      <a:pt x="42" y="97"/>
                    </a:lnTo>
                    <a:lnTo>
                      <a:pt x="42" y="97"/>
                    </a:lnTo>
                    <a:lnTo>
                      <a:pt x="45" y="97"/>
                    </a:lnTo>
                    <a:lnTo>
                      <a:pt x="50" y="94"/>
                    </a:lnTo>
                    <a:lnTo>
                      <a:pt x="50" y="94"/>
                    </a:lnTo>
                    <a:lnTo>
                      <a:pt x="51" y="93"/>
                    </a:lnTo>
                    <a:lnTo>
                      <a:pt x="52" y="93"/>
                    </a:lnTo>
                    <a:lnTo>
                      <a:pt x="57" y="94"/>
                    </a:lnTo>
                    <a:lnTo>
                      <a:pt x="57" y="94"/>
                    </a:lnTo>
                    <a:lnTo>
                      <a:pt x="62" y="93"/>
                    </a:lnTo>
                    <a:lnTo>
                      <a:pt x="67" y="89"/>
                    </a:lnTo>
                    <a:lnTo>
                      <a:pt x="67" y="89"/>
                    </a:lnTo>
                    <a:lnTo>
                      <a:pt x="70" y="87"/>
                    </a:lnTo>
                    <a:lnTo>
                      <a:pt x="75" y="84"/>
                    </a:lnTo>
                    <a:lnTo>
                      <a:pt x="85" y="83"/>
                    </a:lnTo>
                    <a:lnTo>
                      <a:pt x="85" y="83"/>
                    </a:lnTo>
                    <a:lnTo>
                      <a:pt x="88" y="83"/>
                    </a:lnTo>
                    <a:lnTo>
                      <a:pt x="92" y="86"/>
                    </a:lnTo>
                    <a:lnTo>
                      <a:pt x="95" y="89"/>
                    </a:lnTo>
                    <a:lnTo>
                      <a:pt x="98" y="90"/>
                    </a:lnTo>
                    <a:lnTo>
                      <a:pt x="98" y="90"/>
                    </a:lnTo>
                    <a:lnTo>
                      <a:pt x="101" y="90"/>
                    </a:lnTo>
                    <a:lnTo>
                      <a:pt x="105" y="91"/>
                    </a:lnTo>
                    <a:lnTo>
                      <a:pt x="108" y="94"/>
                    </a:lnTo>
                    <a:lnTo>
                      <a:pt x="109" y="98"/>
                    </a:lnTo>
                    <a:lnTo>
                      <a:pt x="109" y="98"/>
                    </a:lnTo>
                    <a:lnTo>
                      <a:pt x="115" y="107"/>
                    </a:lnTo>
                    <a:lnTo>
                      <a:pt x="119" y="114"/>
                    </a:lnTo>
                    <a:lnTo>
                      <a:pt x="119" y="114"/>
                    </a:lnTo>
                    <a:lnTo>
                      <a:pt x="122" y="120"/>
                    </a:lnTo>
                    <a:lnTo>
                      <a:pt x="124" y="124"/>
                    </a:lnTo>
                    <a:lnTo>
                      <a:pt x="124" y="124"/>
                    </a:lnTo>
                    <a:lnTo>
                      <a:pt x="122" y="126"/>
                    </a:lnTo>
                    <a:lnTo>
                      <a:pt x="121" y="124"/>
                    </a:lnTo>
                    <a:lnTo>
                      <a:pt x="112" y="123"/>
                    </a:lnTo>
                    <a:lnTo>
                      <a:pt x="112" y="123"/>
                    </a:lnTo>
                    <a:lnTo>
                      <a:pt x="109" y="123"/>
                    </a:lnTo>
                    <a:lnTo>
                      <a:pt x="108" y="124"/>
                    </a:lnTo>
                    <a:lnTo>
                      <a:pt x="106" y="130"/>
                    </a:lnTo>
                    <a:lnTo>
                      <a:pt x="106" y="130"/>
                    </a:lnTo>
                    <a:lnTo>
                      <a:pt x="105" y="133"/>
                    </a:lnTo>
                    <a:lnTo>
                      <a:pt x="102" y="137"/>
                    </a:lnTo>
                    <a:lnTo>
                      <a:pt x="97" y="144"/>
                    </a:lnTo>
                    <a:lnTo>
                      <a:pt x="97" y="144"/>
                    </a:lnTo>
                    <a:lnTo>
                      <a:pt x="97" y="145"/>
                    </a:lnTo>
                    <a:lnTo>
                      <a:pt x="98" y="147"/>
                    </a:lnTo>
                    <a:lnTo>
                      <a:pt x="104" y="148"/>
                    </a:lnTo>
                    <a:lnTo>
                      <a:pt x="104" y="148"/>
                    </a:lnTo>
                    <a:lnTo>
                      <a:pt x="108" y="147"/>
                    </a:lnTo>
                    <a:lnTo>
                      <a:pt x="112" y="144"/>
                    </a:lnTo>
                    <a:lnTo>
                      <a:pt x="112" y="144"/>
                    </a:lnTo>
                    <a:lnTo>
                      <a:pt x="118" y="148"/>
                    </a:lnTo>
                    <a:lnTo>
                      <a:pt x="118" y="148"/>
                    </a:lnTo>
                    <a:lnTo>
                      <a:pt x="118" y="144"/>
                    </a:lnTo>
                    <a:lnTo>
                      <a:pt x="119" y="141"/>
                    </a:lnTo>
                    <a:lnTo>
                      <a:pt x="125" y="137"/>
                    </a:lnTo>
                    <a:lnTo>
                      <a:pt x="125" y="137"/>
                    </a:lnTo>
                    <a:lnTo>
                      <a:pt x="129" y="131"/>
                    </a:lnTo>
                    <a:lnTo>
                      <a:pt x="132" y="127"/>
                    </a:lnTo>
                    <a:lnTo>
                      <a:pt x="135" y="123"/>
                    </a:lnTo>
                    <a:lnTo>
                      <a:pt x="139" y="120"/>
                    </a:lnTo>
                    <a:lnTo>
                      <a:pt x="139" y="120"/>
                    </a:lnTo>
                    <a:lnTo>
                      <a:pt x="146" y="118"/>
                    </a:lnTo>
                    <a:lnTo>
                      <a:pt x="151" y="117"/>
                    </a:lnTo>
                    <a:lnTo>
                      <a:pt x="156" y="117"/>
                    </a:lnTo>
                    <a:lnTo>
                      <a:pt x="156" y="117"/>
                    </a:lnTo>
                    <a:lnTo>
                      <a:pt x="159" y="118"/>
                    </a:lnTo>
                    <a:lnTo>
                      <a:pt x="161" y="120"/>
                    </a:lnTo>
                    <a:lnTo>
                      <a:pt x="159" y="123"/>
                    </a:lnTo>
                    <a:lnTo>
                      <a:pt x="156" y="126"/>
                    </a:lnTo>
                    <a:lnTo>
                      <a:pt x="156" y="127"/>
                    </a:lnTo>
                    <a:lnTo>
                      <a:pt x="159" y="128"/>
                    </a:lnTo>
                    <a:lnTo>
                      <a:pt x="159" y="128"/>
                    </a:lnTo>
                    <a:lnTo>
                      <a:pt x="165" y="130"/>
                    </a:lnTo>
                    <a:lnTo>
                      <a:pt x="173" y="130"/>
                    </a:lnTo>
                    <a:lnTo>
                      <a:pt x="180" y="130"/>
                    </a:lnTo>
                    <a:lnTo>
                      <a:pt x="183" y="130"/>
                    </a:lnTo>
                    <a:lnTo>
                      <a:pt x="185" y="131"/>
                    </a:lnTo>
                    <a:lnTo>
                      <a:pt x="185" y="131"/>
                    </a:lnTo>
                    <a:lnTo>
                      <a:pt x="183" y="134"/>
                    </a:lnTo>
                    <a:lnTo>
                      <a:pt x="182" y="135"/>
                    </a:lnTo>
                    <a:lnTo>
                      <a:pt x="173" y="138"/>
                    </a:lnTo>
                    <a:lnTo>
                      <a:pt x="166" y="141"/>
                    </a:lnTo>
                    <a:lnTo>
                      <a:pt x="163" y="144"/>
                    </a:lnTo>
                    <a:lnTo>
                      <a:pt x="163" y="144"/>
                    </a:lnTo>
                    <a:lnTo>
                      <a:pt x="165" y="145"/>
                    </a:lnTo>
                    <a:lnTo>
                      <a:pt x="171" y="147"/>
                    </a:lnTo>
                    <a:lnTo>
                      <a:pt x="179" y="151"/>
                    </a:lnTo>
                    <a:lnTo>
                      <a:pt x="179" y="151"/>
                    </a:lnTo>
                    <a:lnTo>
                      <a:pt x="180" y="154"/>
                    </a:lnTo>
                    <a:lnTo>
                      <a:pt x="180" y="157"/>
                    </a:lnTo>
                    <a:lnTo>
                      <a:pt x="179" y="161"/>
                    </a:lnTo>
                    <a:lnTo>
                      <a:pt x="180" y="164"/>
                    </a:lnTo>
                    <a:lnTo>
                      <a:pt x="180" y="164"/>
                    </a:lnTo>
                    <a:lnTo>
                      <a:pt x="182" y="164"/>
                    </a:lnTo>
                    <a:lnTo>
                      <a:pt x="185" y="164"/>
                    </a:lnTo>
                    <a:lnTo>
                      <a:pt x="193" y="160"/>
                    </a:lnTo>
                    <a:lnTo>
                      <a:pt x="193" y="160"/>
                    </a:lnTo>
                    <a:lnTo>
                      <a:pt x="196" y="158"/>
                    </a:lnTo>
                    <a:lnTo>
                      <a:pt x="200" y="157"/>
                    </a:lnTo>
                    <a:lnTo>
                      <a:pt x="205" y="155"/>
                    </a:lnTo>
                    <a:lnTo>
                      <a:pt x="209" y="154"/>
                    </a:lnTo>
                    <a:lnTo>
                      <a:pt x="209" y="154"/>
                    </a:lnTo>
                    <a:lnTo>
                      <a:pt x="215" y="151"/>
                    </a:lnTo>
                    <a:lnTo>
                      <a:pt x="220" y="151"/>
                    </a:lnTo>
                    <a:lnTo>
                      <a:pt x="226" y="151"/>
                    </a:lnTo>
                    <a:lnTo>
                      <a:pt x="230" y="151"/>
                    </a:lnTo>
                    <a:lnTo>
                      <a:pt x="230" y="151"/>
                    </a:lnTo>
                    <a:lnTo>
                      <a:pt x="230" y="148"/>
                    </a:lnTo>
                    <a:lnTo>
                      <a:pt x="227" y="147"/>
                    </a:lnTo>
                    <a:lnTo>
                      <a:pt x="222" y="147"/>
                    </a:lnTo>
                    <a:lnTo>
                      <a:pt x="213" y="147"/>
                    </a:lnTo>
                    <a:lnTo>
                      <a:pt x="213" y="147"/>
                    </a:lnTo>
                    <a:lnTo>
                      <a:pt x="209" y="145"/>
                    </a:lnTo>
                    <a:lnTo>
                      <a:pt x="206" y="145"/>
                    </a:lnTo>
                    <a:lnTo>
                      <a:pt x="205" y="143"/>
                    </a:lnTo>
                    <a:lnTo>
                      <a:pt x="203" y="141"/>
                    </a:lnTo>
                    <a:lnTo>
                      <a:pt x="200" y="137"/>
                    </a:lnTo>
                    <a:lnTo>
                      <a:pt x="200" y="133"/>
                    </a:lnTo>
                    <a:lnTo>
                      <a:pt x="200" y="133"/>
                    </a:lnTo>
                    <a:lnTo>
                      <a:pt x="203" y="130"/>
                    </a:lnTo>
                    <a:lnTo>
                      <a:pt x="207" y="126"/>
                    </a:lnTo>
                    <a:lnTo>
                      <a:pt x="215" y="123"/>
                    </a:lnTo>
                    <a:lnTo>
                      <a:pt x="220" y="120"/>
                    </a:lnTo>
                    <a:lnTo>
                      <a:pt x="220" y="120"/>
                    </a:lnTo>
                    <a:lnTo>
                      <a:pt x="232" y="118"/>
                    </a:lnTo>
                    <a:lnTo>
                      <a:pt x="242" y="114"/>
                    </a:lnTo>
                    <a:lnTo>
                      <a:pt x="242" y="114"/>
                    </a:lnTo>
                    <a:lnTo>
                      <a:pt x="254" y="111"/>
                    </a:lnTo>
                    <a:lnTo>
                      <a:pt x="254" y="111"/>
                    </a:lnTo>
                    <a:lnTo>
                      <a:pt x="253" y="106"/>
                    </a:lnTo>
                    <a:lnTo>
                      <a:pt x="253" y="104"/>
                    </a:lnTo>
                    <a:lnTo>
                      <a:pt x="254" y="103"/>
                    </a:lnTo>
                    <a:lnTo>
                      <a:pt x="254" y="10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4" name="Belarus">
                <a:extLst>
                  <a:ext uri="{FF2B5EF4-FFF2-40B4-BE49-F238E27FC236}">
                    <a16:creationId xmlns:a16="http://schemas.microsoft.com/office/drawing/2014/main" id="{DE2AB201-0871-DD4D-87E0-317F7704DF42}"/>
                  </a:ext>
                </a:extLst>
              </p:cNvPr>
              <p:cNvSpPr>
                <a:spLocks/>
              </p:cNvSpPr>
              <p:nvPr/>
            </p:nvSpPr>
            <p:spPr bwMode="auto">
              <a:xfrm>
                <a:off x="4867957" y="2800360"/>
                <a:ext cx="220488" cy="158338"/>
              </a:xfrm>
              <a:custGeom>
                <a:avLst/>
                <a:gdLst/>
                <a:ahLst/>
                <a:cxnLst>
                  <a:cxn ang="0">
                    <a:pos x="138" y="51"/>
                  </a:cxn>
                  <a:cxn ang="0">
                    <a:pos x="131" y="44"/>
                  </a:cxn>
                  <a:cxn ang="0">
                    <a:pos x="128" y="40"/>
                  </a:cxn>
                  <a:cxn ang="0">
                    <a:pos x="124" y="34"/>
                  </a:cxn>
                  <a:cxn ang="0">
                    <a:pos x="122" y="23"/>
                  </a:cxn>
                  <a:cxn ang="0">
                    <a:pos x="122" y="13"/>
                  </a:cxn>
                  <a:cxn ang="0">
                    <a:pos x="114" y="9"/>
                  </a:cxn>
                  <a:cxn ang="0">
                    <a:pos x="105" y="7"/>
                  </a:cxn>
                  <a:cxn ang="0">
                    <a:pos x="97" y="7"/>
                  </a:cxn>
                  <a:cxn ang="0">
                    <a:pos x="91" y="3"/>
                  </a:cxn>
                  <a:cxn ang="0">
                    <a:pos x="87" y="4"/>
                  </a:cxn>
                  <a:cxn ang="0">
                    <a:pos x="81" y="1"/>
                  </a:cxn>
                  <a:cxn ang="0">
                    <a:pos x="75" y="1"/>
                  </a:cxn>
                  <a:cxn ang="0">
                    <a:pos x="71" y="7"/>
                  </a:cxn>
                  <a:cxn ang="0">
                    <a:pos x="62" y="7"/>
                  </a:cxn>
                  <a:cxn ang="0">
                    <a:pos x="58" y="9"/>
                  </a:cxn>
                  <a:cxn ang="0">
                    <a:pos x="54" y="17"/>
                  </a:cxn>
                  <a:cxn ang="0">
                    <a:pos x="51" y="24"/>
                  </a:cxn>
                  <a:cxn ang="0">
                    <a:pos x="48" y="26"/>
                  </a:cxn>
                  <a:cxn ang="0">
                    <a:pos x="47" y="28"/>
                  </a:cxn>
                  <a:cxn ang="0">
                    <a:pos x="38" y="36"/>
                  </a:cxn>
                  <a:cxn ang="0">
                    <a:pos x="35" y="43"/>
                  </a:cxn>
                  <a:cxn ang="0">
                    <a:pos x="27" y="46"/>
                  </a:cxn>
                  <a:cxn ang="0">
                    <a:pos x="23" y="50"/>
                  </a:cxn>
                  <a:cxn ang="0">
                    <a:pos x="17" y="50"/>
                  </a:cxn>
                  <a:cxn ang="0">
                    <a:pos x="6" y="51"/>
                  </a:cxn>
                  <a:cxn ang="0">
                    <a:pos x="6" y="58"/>
                  </a:cxn>
                  <a:cxn ang="0">
                    <a:pos x="8" y="63"/>
                  </a:cxn>
                  <a:cxn ang="0">
                    <a:pos x="10" y="74"/>
                  </a:cxn>
                  <a:cxn ang="0">
                    <a:pos x="3" y="81"/>
                  </a:cxn>
                  <a:cxn ang="0">
                    <a:pos x="0" y="85"/>
                  </a:cxn>
                  <a:cxn ang="0">
                    <a:pos x="4" y="91"/>
                  </a:cxn>
                  <a:cxn ang="0">
                    <a:pos x="4" y="102"/>
                  </a:cxn>
                  <a:cxn ang="0">
                    <a:pos x="11" y="101"/>
                  </a:cxn>
                  <a:cxn ang="0">
                    <a:pos x="17" y="95"/>
                  </a:cxn>
                  <a:cxn ang="0">
                    <a:pos x="24" y="94"/>
                  </a:cxn>
                  <a:cxn ang="0">
                    <a:pos x="51" y="97"/>
                  </a:cxn>
                  <a:cxn ang="0">
                    <a:pos x="58" y="98"/>
                  </a:cxn>
                  <a:cxn ang="0">
                    <a:pos x="65" y="100"/>
                  </a:cxn>
                  <a:cxn ang="0">
                    <a:pos x="77" y="101"/>
                  </a:cxn>
                  <a:cxn ang="0">
                    <a:pos x="81" y="101"/>
                  </a:cxn>
                  <a:cxn ang="0">
                    <a:pos x="87" y="102"/>
                  </a:cxn>
                  <a:cxn ang="0">
                    <a:pos x="95" y="105"/>
                  </a:cxn>
                  <a:cxn ang="0">
                    <a:pos x="105" y="104"/>
                  </a:cxn>
                  <a:cxn ang="0">
                    <a:pos x="112" y="107"/>
                  </a:cxn>
                  <a:cxn ang="0">
                    <a:pos x="115" y="101"/>
                  </a:cxn>
                  <a:cxn ang="0">
                    <a:pos x="119" y="94"/>
                  </a:cxn>
                  <a:cxn ang="0">
                    <a:pos x="128" y="90"/>
                  </a:cxn>
                  <a:cxn ang="0">
                    <a:pos x="132" y="81"/>
                  </a:cxn>
                  <a:cxn ang="0">
                    <a:pos x="129" y="70"/>
                  </a:cxn>
                  <a:cxn ang="0">
                    <a:pos x="132" y="67"/>
                  </a:cxn>
                  <a:cxn ang="0">
                    <a:pos x="141" y="68"/>
                  </a:cxn>
                  <a:cxn ang="0">
                    <a:pos x="149" y="64"/>
                  </a:cxn>
                  <a:cxn ang="0">
                    <a:pos x="148" y="58"/>
                  </a:cxn>
                  <a:cxn ang="0">
                    <a:pos x="141" y="53"/>
                  </a:cxn>
                </a:cxnLst>
                <a:rect l="0" t="0" r="r" b="b"/>
                <a:pathLst>
                  <a:path w="149" h="107">
                    <a:moveTo>
                      <a:pt x="141" y="53"/>
                    </a:moveTo>
                    <a:lnTo>
                      <a:pt x="141" y="53"/>
                    </a:lnTo>
                    <a:lnTo>
                      <a:pt x="138" y="51"/>
                    </a:lnTo>
                    <a:lnTo>
                      <a:pt x="136" y="48"/>
                    </a:lnTo>
                    <a:lnTo>
                      <a:pt x="134" y="46"/>
                    </a:lnTo>
                    <a:lnTo>
                      <a:pt x="131" y="44"/>
                    </a:lnTo>
                    <a:lnTo>
                      <a:pt x="131" y="44"/>
                    </a:lnTo>
                    <a:lnTo>
                      <a:pt x="129" y="43"/>
                    </a:lnTo>
                    <a:lnTo>
                      <a:pt x="128" y="40"/>
                    </a:lnTo>
                    <a:lnTo>
                      <a:pt x="126" y="37"/>
                    </a:lnTo>
                    <a:lnTo>
                      <a:pt x="124" y="34"/>
                    </a:lnTo>
                    <a:lnTo>
                      <a:pt x="124" y="34"/>
                    </a:lnTo>
                    <a:lnTo>
                      <a:pt x="122" y="31"/>
                    </a:lnTo>
                    <a:lnTo>
                      <a:pt x="122" y="28"/>
                    </a:lnTo>
                    <a:lnTo>
                      <a:pt x="122" y="23"/>
                    </a:lnTo>
                    <a:lnTo>
                      <a:pt x="122" y="23"/>
                    </a:lnTo>
                    <a:lnTo>
                      <a:pt x="122" y="16"/>
                    </a:lnTo>
                    <a:lnTo>
                      <a:pt x="122" y="13"/>
                    </a:lnTo>
                    <a:lnTo>
                      <a:pt x="121" y="11"/>
                    </a:lnTo>
                    <a:lnTo>
                      <a:pt x="121" y="11"/>
                    </a:lnTo>
                    <a:lnTo>
                      <a:pt x="114" y="9"/>
                    </a:lnTo>
                    <a:lnTo>
                      <a:pt x="109" y="7"/>
                    </a:lnTo>
                    <a:lnTo>
                      <a:pt x="105" y="7"/>
                    </a:lnTo>
                    <a:lnTo>
                      <a:pt x="105" y="7"/>
                    </a:lnTo>
                    <a:lnTo>
                      <a:pt x="101" y="9"/>
                    </a:lnTo>
                    <a:lnTo>
                      <a:pt x="98" y="9"/>
                    </a:lnTo>
                    <a:lnTo>
                      <a:pt x="97" y="7"/>
                    </a:lnTo>
                    <a:lnTo>
                      <a:pt x="97" y="7"/>
                    </a:lnTo>
                    <a:lnTo>
                      <a:pt x="94" y="4"/>
                    </a:lnTo>
                    <a:lnTo>
                      <a:pt x="91" y="3"/>
                    </a:lnTo>
                    <a:lnTo>
                      <a:pt x="89" y="3"/>
                    </a:lnTo>
                    <a:lnTo>
                      <a:pt x="89" y="3"/>
                    </a:lnTo>
                    <a:lnTo>
                      <a:pt x="87" y="4"/>
                    </a:lnTo>
                    <a:lnTo>
                      <a:pt x="84" y="3"/>
                    </a:lnTo>
                    <a:lnTo>
                      <a:pt x="81" y="1"/>
                    </a:lnTo>
                    <a:lnTo>
                      <a:pt x="81" y="1"/>
                    </a:lnTo>
                    <a:lnTo>
                      <a:pt x="80" y="0"/>
                    </a:lnTo>
                    <a:lnTo>
                      <a:pt x="80" y="0"/>
                    </a:lnTo>
                    <a:lnTo>
                      <a:pt x="75" y="1"/>
                    </a:lnTo>
                    <a:lnTo>
                      <a:pt x="75" y="1"/>
                    </a:lnTo>
                    <a:lnTo>
                      <a:pt x="72" y="6"/>
                    </a:lnTo>
                    <a:lnTo>
                      <a:pt x="71" y="7"/>
                    </a:lnTo>
                    <a:lnTo>
                      <a:pt x="68" y="7"/>
                    </a:lnTo>
                    <a:lnTo>
                      <a:pt x="68" y="7"/>
                    </a:lnTo>
                    <a:lnTo>
                      <a:pt x="62" y="7"/>
                    </a:lnTo>
                    <a:lnTo>
                      <a:pt x="61" y="7"/>
                    </a:lnTo>
                    <a:lnTo>
                      <a:pt x="58" y="9"/>
                    </a:lnTo>
                    <a:lnTo>
                      <a:pt x="58" y="9"/>
                    </a:lnTo>
                    <a:lnTo>
                      <a:pt x="54" y="13"/>
                    </a:lnTo>
                    <a:lnTo>
                      <a:pt x="54" y="17"/>
                    </a:lnTo>
                    <a:lnTo>
                      <a:pt x="54" y="17"/>
                    </a:lnTo>
                    <a:lnTo>
                      <a:pt x="54" y="21"/>
                    </a:lnTo>
                    <a:lnTo>
                      <a:pt x="53" y="23"/>
                    </a:lnTo>
                    <a:lnTo>
                      <a:pt x="51" y="24"/>
                    </a:lnTo>
                    <a:lnTo>
                      <a:pt x="51" y="24"/>
                    </a:lnTo>
                    <a:lnTo>
                      <a:pt x="50" y="24"/>
                    </a:lnTo>
                    <a:lnTo>
                      <a:pt x="48" y="26"/>
                    </a:lnTo>
                    <a:lnTo>
                      <a:pt x="48" y="27"/>
                    </a:lnTo>
                    <a:lnTo>
                      <a:pt x="47" y="28"/>
                    </a:lnTo>
                    <a:lnTo>
                      <a:pt x="47" y="28"/>
                    </a:lnTo>
                    <a:lnTo>
                      <a:pt x="41" y="31"/>
                    </a:lnTo>
                    <a:lnTo>
                      <a:pt x="38" y="36"/>
                    </a:lnTo>
                    <a:lnTo>
                      <a:pt x="38" y="36"/>
                    </a:lnTo>
                    <a:lnTo>
                      <a:pt x="37" y="40"/>
                    </a:lnTo>
                    <a:lnTo>
                      <a:pt x="37" y="43"/>
                    </a:lnTo>
                    <a:lnTo>
                      <a:pt x="35" y="43"/>
                    </a:lnTo>
                    <a:lnTo>
                      <a:pt x="35" y="43"/>
                    </a:lnTo>
                    <a:lnTo>
                      <a:pt x="31" y="44"/>
                    </a:lnTo>
                    <a:lnTo>
                      <a:pt x="27" y="46"/>
                    </a:lnTo>
                    <a:lnTo>
                      <a:pt x="25" y="47"/>
                    </a:lnTo>
                    <a:lnTo>
                      <a:pt x="25" y="47"/>
                    </a:lnTo>
                    <a:lnTo>
                      <a:pt x="23" y="50"/>
                    </a:lnTo>
                    <a:lnTo>
                      <a:pt x="20" y="50"/>
                    </a:lnTo>
                    <a:lnTo>
                      <a:pt x="17" y="50"/>
                    </a:lnTo>
                    <a:lnTo>
                      <a:pt x="17" y="50"/>
                    </a:lnTo>
                    <a:lnTo>
                      <a:pt x="6" y="50"/>
                    </a:lnTo>
                    <a:lnTo>
                      <a:pt x="6" y="50"/>
                    </a:lnTo>
                    <a:lnTo>
                      <a:pt x="6" y="51"/>
                    </a:lnTo>
                    <a:lnTo>
                      <a:pt x="6" y="51"/>
                    </a:lnTo>
                    <a:lnTo>
                      <a:pt x="4" y="54"/>
                    </a:lnTo>
                    <a:lnTo>
                      <a:pt x="6" y="58"/>
                    </a:lnTo>
                    <a:lnTo>
                      <a:pt x="6" y="61"/>
                    </a:lnTo>
                    <a:lnTo>
                      <a:pt x="8" y="63"/>
                    </a:lnTo>
                    <a:lnTo>
                      <a:pt x="8" y="63"/>
                    </a:lnTo>
                    <a:lnTo>
                      <a:pt x="10" y="65"/>
                    </a:lnTo>
                    <a:lnTo>
                      <a:pt x="10" y="70"/>
                    </a:lnTo>
                    <a:lnTo>
                      <a:pt x="10" y="74"/>
                    </a:lnTo>
                    <a:lnTo>
                      <a:pt x="8" y="77"/>
                    </a:lnTo>
                    <a:lnTo>
                      <a:pt x="8" y="77"/>
                    </a:lnTo>
                    <a:lnTo>
                      <a:pt x="3" y="81"/>
                    </a:lnTo>
                    <a:lnTo>
                      <a:pt x="0" y="82"/>
                    </a:lnTo>
                    <a:lnTo>
                      <a:pt x="0" y="85"/>
                    </a:lnTo>
                    <a:lnTo>
                      <a:pt x="0" y="85"/>
                    </a:lnTo>
                    <a:lnTo>
                      <a:pt x="0" y="87"/>
                    </a:lnTo>
                    <a:lnTo>
                      <a:pt x="3" y="88"/>
                    </a:lnTo>
                    <a:lnTo>
                      <a:pt x="4" y="91"/>
                    </a:lnTo>
                    <a:lnTo>
                      <a:pt x="4" y="92"/>
                    </a:lnTo>
                    <a:lnTo>
                      <a:pt x="4" y="92"/>
                    </a:lnTo>
                    <a:lnTo>
                      <a:pt x="4" y="102"/>
                    </a:lnTo>
                    <a:lnTo>
                      <a:pt x="4" y="102"/>
                    </a:lnTo>
                    <a:lnTo>
                      <a:pt x="8" y="102"/>
                    </a:lnTo>
                    <a:lnTo>
                      <a:pt x="11" y="101"/>
                    </a:lnTo>
                    <a:lnTo>
                      <a:pt x="13" y="100"/>
                    </a:lnTo>
                    <a:lnTo>
                      <a:pt x="13" y="100"/>
                    </a:lnTo>
                    <a:lnTo>
                      <a:pt x="17" y="95"/>
                    </a:lnTo>
                    <a:lnTo>
                      <a:pt x="20" y="94"/>
                    </a:lnTo>
                    <a:lnTo>
                      <a:pt x="24" y="94"/>
                    </a:lnTo>
                    <a:lnTo>
                      <a:pt x="24" y="94"/>
                    </a:lnTo>
                    <a:lnTo>
                      <a:pt x="38" y="94"/>
                    </a:lnTo>
                    <a:lnTo>
                      <a:pt x="47" y="95"/>
                    </a:lnTo>
                    <a:lnTo>
                      <a:pt x="51" y="97"/>
                    </a:lnTo>
                    <a:lnTo>
                      <a:pt x="51" y="97"/>
                    </a:lnTo>
                    <a:lnTo>
                      <a:pt x="54" y="98"/>
                    </a:lnTo>
                    <a:lnTo>
                      <a:pt x="58" y="98"/>
                    </a:lnTo>
                    <a:lnTo>
                      <a:pt x="62" y="98"/>
                    </a:lnTo>
                    <a:lnTo>
                      <a:pt x="65" y="100"/>
                    </a:lnTo>
                    <a:lnTo>
                      <a:pt x="65" y="100"/>
                    </a:lnTo>
                    <a:lnTo>
                      <a:pt x="72" y="102"/>
                    </a:lnTo>
                    <a:lnTo>
                      <a:pt x="75" y="102"/>
                    </a:lnTo>
                    <a:lnTo>
                      <a:pt x="77" y="101"/>
                    </a:lnTo>
                    <a:lnTo>
                      <a:pt x="77" y="101"/>
                    </a:lnTo>
                    <a:lnTo>
                      <a:pt x="78" y="101"/>
                    </a:lnTo>
                    <a:lnTo>
                      <a:pt x="81" y="101"/>
                    </a:lnTo>
                    <a:lnTo>
                      <a:pt x="84" y="102"/>
                    </a:lnTo>
                    <a:lnTo>
                      <a:pt x="87" y="102"/>
                    </a:lnTo>
                    <a:lnTo>
                      <a:pt x="87" y="102"/>
                    </a:lnTo>
                    <a:lnTo>
                      <a:pt x="89" y="101"/>
                    </a:lnTo>
                    <a:lnTo>
                      <a:pt x="92" y="102"/>
                    </a:lnTo>
                    <a:lnTo>
                      <a:pt x="95" y="105"/>
                    </a:lnTo>
                    <a:lnTo>
                      <a:pt x="98" y="105"/>
                    </a:lnTo>
                    <a:lnTo>
                      <a:pt x="98" y="105"/>
                    </a:lnTo>
                    <a:lnTo>
                      <a:pt x="105" y="104"/>
                    </a:lnTo>
                    <a:lnTo>
                      <a:pt x="109" y="105"/>
                    </a:lnTo>
                    <a:lnTo>
                      <a:pt x="112" y="107"/>
                    </a:lnTo>
                    <a:lnTo>
                      <a:pt x="112" y="107"/>
                    </a:lnTo>
                    <a:lnTo>
                      <a:pt x="114" y="107"/>
                    </a:lnTo>
                    <a:lnTo>
                      <a:pt x="114" y="105"/>
                    </a:lnTo>
                    <a:lnTo>
                      <a:pt x="115" y="101"/>
                    </a:lnTo>
                    <a:lnTo>
                      <a:pt x="115" y="101"/>
                    </a:lnTo>
                    <a:lnTo>
                      <a:pt x="117" y="98"/>
                    </a:lnTo>
                    <a:lnTo>
                      <a:pt x="119" y="94"/>
                    </a:lnTo>
                    <a:lnTo>
                      <a:pt x="125" y="91"/>
                    </a:lnTo>
                    <a:lnTo>
                      <a:pt x="125" y="91"/>
                    </a:lnTo>
                    <a:lnTo>
                      <a:pt x="128" y="90"/>
                    </a:lnTo>
                    <a:lnTo>
                      <a:pt x="135" y="88"/>
                    </a:lnTo>
                    <a:lnTo>
                      <a:pt x="135" y="88"/>
                    </a:lnTo>
                    <a:lnTo>
                      <a:pt x="132" y="81"/>
                    </a:lnTo>
                    <a:lnTo>
                      <a:pt x="132" y="81"/>
                    </a:lnTo>
                    <a:lnTo>
                      <a:pt x="129" y="73"/>
                    </a:lnTo>
                    <a:lnTo>
                      <a:pt x="129" y="70"/>
                    </a:lnTo>
                    <a:lnTo>
                      <a:pt x="129" y="67"/>
                    </a:lnTo>
                    <a:lnTo>
                      <a:pt x="129" y="67"/>
                    </a:lnTo>
                    <a:lnTo>
                      <a:pt x="132" y="67"/>
                    </a:lnTo>
                    <a:lnTo>
                      <a:pt x="135" y="67"/>
                    </a:lnTo>
                    <a:lnTo>
                      <a:pt x="138" y="68"/>
                    </a:lnTo>
                    <a:lnTo>
                      <a:pt x="141" y="68"/>
                    </a:lnTo>
                    <a:lnTo>
                      <a:pt x="141" y="68"/>
                    </a:lnTo>
                    <a:lnTo>
                      <a:pt x="146" y="65"/>
                    </a:lnTo>
                    <a:lnTo>
                      <a:pt x="149" y="64"/>
                    </a:lnTo>
                    <a:lnTo>
                      <a:pt x="149" y="61"/>
                    </a:lnTo>
                    <a:lnTo>
                      <a:pt x="149" y="61"/>
                    </a:lnTo>
                    <a:lnTo>
                      <a:pt x="148" y="58"/>
                    </a:lnTo>
                    <a:lnTo>
                      <a:pt x="146" y="55"/>
                    </a:lnTo>
                    <a:lnTo>
                      <a:pt x="141" y="53"/>
                    </a:lnTo>
                    <a:lnTo>
                      <a:pt x="141" y="5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15" name="Latvia">
                <a:extLst>
                  <a:ext uri="{FF2B5EF4-FFF2-40B4-BE49-F238E27FC236}">
                    <a16:creationId xmlns:a16="http://schemas.microsoft.com/office/drawing/2014/main" id="{3AA8DB73-F3CD-FB41-B00D-4CD1A765C97A}"/>
                  </a:ext>
                </a:extLst>
              </p:cNvPr>
              <p:cNvSpPr>
                <a:spLocks/>
              </p:cNvSpPr>
              <p:nvPr/>
            </p:nvSpPr>
            <p:spPr bwMode="auto">
              <a:xfrm>
                <a:off x="4813205" y="2736730"/>
                <a:ext cx="173135" cy="82868"/>
              </a:xfrm>
              <a:custGeom>
                <a:avLst/>
                <a:gdLst/>
                <a:ahLst/>
                <a:cxnLst>
                  <a:cxn ang="0">
                    <a:pos x="38" y="39"/>
                  </a:cxn>
                  <a:cxn ang="0">
                    <a:pos x="54" y="39"/>
                  </a:cxn>
                  <a:cxn ang="0">
                    <a:pos x="58" y="39"/>
                  </a:cxn>
                  <a:cxn ang="0">
                    <a:pos x="64" y="40"/>
                  </a:cxn>
                  <a:cxn ang="0">
                    <a:pos x="68" y="42"/>
                  </a:cxn>
                  <a:cxn ang="0">
                    <a:pos x="71" y="43"/>
                  </a:cxn>
                  <a:cxn ang="0">
                    <a:pos x="84" y="50"/>
                  </a:cxn>
                  <a:cxn ang="0">
                    <a:pos x="91" y="56"/>
                  </a:cxn>
                  <a:cxn ang="0">
                    <a:pos x="95" y="52"/>
                  </a:cxn>
                  <a:cxn ang="0">
                    <a:pos x="98" y="50"/>
                  </a:cxn>
                  <a:cxn ang="0">
                    <a:pos x="105" y="50"/>
                  </a:cxn>
                  <a:cxn ang="0">
                    <a:pos x="108" y="50"/>
                  </a:cxn>
                  <a:cxn ang="0">
                    <a:pos x="112" y="44"/>
                  </a:cxn>
                  <a:cxn ang="0">
                    <a:pos x="117" y="43"/>
                  </a:cxn>
                  <a:cxn ang="0">
                    <a:pos x="115" y="37"/>
                  </a:cxn>
                  <a:cxn ang="0">
                    <a:pos x="114" y="33"/>
                  </a:cxn>
                  <a:cxn ang="0">
                    <a:pos x="108" y="26"/>
                  </a:cxn>
                  <a:cxn ang="0">
                    <a:pos x="108" y="23"/>
                  </a:cxn>
                  <a:cxn ang="0">
                    <a:pos x="108" y="17"/>
                  </a:cxn>
                  <a:cxn ang="0">
                    <a:pos x="107" y="15"/>
                  </a:cxn>
                  <a:cxn ang="0">
                    <a:pos x="104" y="10"/>
                  </a:cxn>
                  <a:cxn ang="0">
                    <a:pos x="88" y="10"/>
                  </a:cxn>
                  <a:cxn ang="0">
                    <a:pos x="85" y="9"/>
                  </a:cxn>
                  <a:cxn ang="0">
                    <a:pos x="72" y="0"/>
                  </a:cxn>
                  <a:cxn ang="0">
                    <a:pos x="65" y="0"/>
                  </a:cxn>
                  <a:cxn ang="0">
                    <a:pos x="55" y="0"/>
                  </a:cxn>
                  <a:cxn ang="0">
                    <a:pos x="53" y="7"/>
                  </a:cxn>
                  <a:cxn ang="0">
                    <a:pos x="54" y="16"/>
                  </a:cxn>
                  <a:cxn ang="0">
                    <a:pos x="53" y="20"/>
                  </a:cxn>
                  <a:cxn ang="0">
                    <a:pos x="41" y="23"/>
                  </a:cxn>
                  <a:cxn ang="0">
                    <a:pos x="37" y="20"/>
                  </a:cxn>
                  <a:cxn ang="0">
                    <a:pos x="27" y="6"/>
                  </a:cxn>
                  <a:cxn ang="0">
                    <a:pos x="25" y="5"/>
                  </a:cxn>
                  <a:cxn ang="0">
                    <a:pos x="20" y="7"/>
                  </a:cxn>
                  <a:cxn ang="0">
                    <a:pos x="11" y="13"/>
                  </a:cxn>
                  <a:cxn ang="0">
                    <a:pos x="7" y="19"/>
                  </a:cxn>
                  <a:cxn ang="0">
                    <a:pos x="4" y="26"/>
                  </a:cxn>
                  <a:cxn ang="0">
                    <a:pos x="1" y="29"/>
                  </a:cxn>
                  <a:cxn ang="0">
                    <a:pos x="0" y="36"/>
                  </a:cxn>
                  <a:cxn ang="0">
                    <a:pos x="3" y="42"/>
                  </a:cxn>
                  <a:cxn ang="0">
                    <a:pos x="3" y="42"/>
                  </a:cxn>
                  <a:cxn ang="0">
                    <a:pos x="16" y="39"/>
                  </a:cxn>
                  <a:cxn ang="0">
                    <a:pos x="20" y="37"/>
                  </a:cxn>
                  <a:cxn ang="0">
                    <a:pos x="38" y="39"/>
                  </a:cxn>
                </a:cxnLst>
                <a:rect l="0" t="0" r="r" b="b"/>
                <a:pathLst>
                  <a:path w="117" h="56">
                    <a:moveTo>
                      <a:pt x="38" y="39"/>
                    </a:moveTo>
                    <a:lnTo>
                      <a:pt x="38" y="39"/>
                    </a:lnTo>
                    <a:lnTo>
                      <a:pt x="48" y="39"/>
                    </a:lnTo>
                    <a:lnTo>
                      <a:pt x="54" y="39"/>
                    </a:lnTo>
                    <a:lnTo>
                      <a:pt x="58" y="39"/>
                    </a:lnTo>
                    <a:lnTo>
                      <a:pt x="58" y="39"/>
                    </a:lnTo>
                    <a:lnTo>
                      <a:pt x="62" y="39"/>
                    </a:lnTo>
                    <a:lnTo>
                      <a:pt x="64" y="40"/>
                    </a:lnTo>
                    <a:lnTo>
                      <a:pt x="65" y="42"/>
                    </a:lnTo>
                    <a:lnTo>
                      <a:pt x="68" y="42"/>
                    </a:lnTo>
                    <a:lnTo>
                      <a:pt x="68" y="42"/>
                    </a:lnTo>
                    <a:lnTo>
                      <a:pt x="71" y="43"/>
                    </a:lnTo>
                    <a:lnTo>
                      <a:pt x="75" y="44"/>
                    </a:lnTo>
                    <a:lnTo>
                      <a:pt x="84" y="50"/>
                    </a:lnTo>
                    <a:lnTo>
                      <a:pt x="84" y="50"/>
                    </a:lnTo>
                    <a:lnTo>
                      <a:pt x="91" y="56"/>
                    </a:lnTo>
                    <a:lnTo>
                      <a:pt x="91" y="56"/>
                    </a:lnTo>
                    <a:lnTo>
                      <a:pt x="95" y="52"/>
                    </a:lnTo>
                    <a:lnTo>
                      <a:pt x="95" y="52"/>
                    </a:lnTo>
                    <a:lnTo>
                      <a:pt x="98" y="50"/>
                    </a:lnTo>
                    <a:lnTo>
                      <a:pt x="99" y="50"/>
                    </a:lnTo>
                    <a:lnTo>
                      <a:pt x="105" y="50"/>
                    </a:lnTo>
                    <a:lnTo>
                      <a:pt x="105" y="50"/>
                    </a:lnTo>
                    <a:lnTo>
                      <a:pt x="108" y="50"/>
                    </a:lnTo>
                    <a:lnTo>
                      <a:pt x="109" y="49"/>
                    </a:lnTo>
                    <a:lnTo>
                      <a:pt x="112" y="44"/>
                    </a:lnTo>
                    <a:lnTo>
                      <a:pt x="112" y="44"/>
                    </a:lnTo>
                    <a:lnTo>
                      <a:pt x="117" y="43"/>
                    </a:lnTo>
                    <a:lnTo>
                      <a:pt x="117" y="43"/>
                    </a:lnTo>
                    <a:lnTo>
                      <a:pt x="115" y="37"/>
                    </a:lnTo>
                    <a:lnTo>
                      <a:pt x="114" y="33"/>
                    </a:lnTo>
                    <a:lnTo>
                      <a:pt x="114" y="33"/>
                    </a:lnTo>
                    <a:lnTo>
                      <a:pt x="109" y="29"/>
                    </a:lnTo>
                    <a:lnTo>
                      <a:pt x="108" y="26"/>
                    </a:lnTo>
                    <a:lnTo>
                      <a:pt x="108" y="23"/>
                    </a:lnTo>
                    <a:lnTo>
                      <a:pt x="108" y="23"/>
                    </a:lnTo>
                    <a:lnTo>
                      <a:pt x="109" y="19"/>
                    </a:lnTo>
                    <a:lnTo>
                      <a:pt x="108" y="17"/>
                    </a:lnTo>
                    <a:lnTo>
                      <a:pt x="107" y="15"/>
                    </a:lnTo>
                    <a:lnTo>
                      <a:pt x="107" y="15"/>
                    </a:lnTo>
                    <a:lnTo>
                      <a:pt x="104" y="10"/>
                    </a:lnTo>
                    <a:lnTo>
                      <a:pt x="104" y="10"/>
                    </a:lnTo>
                    <a:lnTo>
                      <a:pt x="94" y="10"/>
                    </a:lnTo>
                    <a:lnTo>
                      <a:pt x="88" y="10"/>
                    </a:lnTo>
                    <a:lnTo>
                      <a:pt x="88" y="10"/>
                    </a:lnTo>
                    <a:lnTo>
                      <a:pt x="85" y="9"/>
                    </a:lnTo>
                    <a:lnTo>
                      <a:pt x="80" y="6"/>
                    </a:lnTo>
                    <a:lnTo>
                      <a:pt x="72" y="0"/>
                    </a:lnTo>
                    <a:lnTo>
                      <a:pt x="72" y="0"/>
                    </a:lnTo>
                    <a:lnTo>
                      <a:pt x="65" y="0"/>
                    </a:lnTo>
                    <a:lnTo>
                      <a:pt x="55" y="0"/>
                    </a:lnTo>
                    <a:lnTo>
                      <a:pt x="55" y="0"/>
                    </a:lnTo>
                    <a:lnTo>
                      <a:pt x="53" y="5"/>
                    </a:lnTo>
                    <a:lnTo>
                      <a:pt x="53" y="7"/>
                    </a:lnTo>
                    <a:lnTo>
                      <a:pt x="54" y="16"/>
                    </a:lnTo>
                    <a:lnTo>
                      <a:pt x="54" y="16"/>
                    </a:lnTo>
                    <a:lnTo>
                      <a:pt x="53" y="19"/>
                    </a:lnTo>
                    <a:lnTo>
                      <a:pt x="53" y="20"/>
                    </a:lnTo>
                    <a:lnTo>
                      <a:pt x="48" y="22"/>
                    </a:lnTo>
                    <a:lnTo>
                      <a:pt x="41" y="23"/>
                    </a:lnTo>
                    <a:lnTo>
                      <a:pt x="41" y="23"/>
                    </a:lnTo>
                    <a:lnTo>
                      <a:pt x="37" y="20"/>
                    </a:lnTo>
                    <a:lnTo>
                      <a:pt x="33" y="16"/>
                    </a:lnTo>
                    <a:lnTo>
                      <a:pt x="27" y="6"/>
                    </a:lnTo>
                    <a:lnTo>
                      <a:pt x="27" y="6"/>
                    </a:lnTo>
                    <a:lnTo>
                      <a:pt x="25" y="5"/>
                    </a:lnTo>
                    <a:lnTo>
                      <a:pt x="24" y="5"/>
                    </a:lnTo>
                    <a:lnTo>
                      <a:pt x="20" y="7"/>
                    </a:lnTo>
                    <a:lnTo>
                      <a:pt x="11" y="13"/>
                    </a:lnTo>
                    <a:lnTo>
                      <a:pt x="11" y="13"/>
                    </a:lnTo>
                    <a:lnTo>
                      <a:pt x="8" y="16"/>
                    </a:lnTo>
                    <a:lnTo>
                      <a:pt x="7" y="19"/>
                    </a:lnTo>
                    <a:lnTo>
                      <a:pt x="6" y="23"/>
                    </a:lnTo>
                    <a:lnTo>
                      <a:pt x="4" y="26"/>
                    </a:lnTo>
                    <a:lnTo>
                      <a:pt x="4" y="26"/>
                    </a:lnTo>
                    <a:lnTo>
                      <a:pt x="1" y="29"/>
                    </a:lnTo>
                    <a:lnTo>
                      <a:pt x="0" y="32"/>
                    </a:lnTo>
                    <a:lnTo>
                      <a:pt x="0" y="36"/>
                    </a:lnTo>
                    <a:lnTo>
                      <a:pt x="3" y="42"/>
                    </a:lnTo>
                    <a:lnTo>
                      <a:pt x="3" y="42"/>
                    </a:lnTo>
                    <a:lnTo>
                      <a:pt x="3" y="42"/>
                    </a:lnTo>
                    <a:lnTo>
                      <a:pt x="3" y="42"/>
                    </a:lnTo>
                    <a:lnTo>
                      <a:pt x="10" y="40"/>
                    </a:lnTo>
                    <a:lnTo>
                      <a:pt x="16" y="39"/>
                    </a:lnTo>
                    <a:lnTo>
                      <a:pt x="16" y="39"/>
                    </a:lnTo>
                    <a:lnTo>
                      <a:pt x="20" y="37"/>
                    </a:lnTo>
                    <a:lnTo>
                      <a:pt x="27" y="37"/>
                    </a:lnTo>
                    <a:lnTo>
                      <a:pt x="38" y="39"/>
                    </a:lnTo>
                    <a:lnTo>
                      <a:pt x="38" y="3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16" name="Lithuania">
                <a:extLst>
                  <a:ext uri="{FF2B5EF4-FFF2-40B4-BE49-F238E27FC236}">
                    <a16:creationId xmlns:a16="http://schemas.microsoft.com/office/drawing/2014/main" id="{4A42A0CF-4344-BE4F-A218-B9C839ED1AC1}"/>
                  </a:ext>
                </a:extLst>
              </p:cNvPr>
              <p:cNvSpPr>
                <a:spLocks/>
              </p:cNvSpPr>
              <p:nvPr/>
            </p:nvSpPr>
            <p:spPr bwMode="auto">
              <a:xfrm>
                <a:off x="4813205" y="2791482"/>
                <a:ext cx="134661" cy="82868"/>
              </a:xfrm>
              <a:custGeom>
                <a:avLst/>
                <a:gdLst/>
                <a:ahLst/>
                <a:cxnLst>
                  <a:cxn ang="0">
                    <a:pos x="11" y="27"/>
                  </a:cxn>
                  <a:cxn ang="0">
                    <a:pos x="18" y="32"/>
                  </a:cxn>
                  <a:cxn ang="0">
                    <a:pos x="21" y="32"/>
                  </a:cxn>
                  <a:cxn ang="0">
                    <a:pos x="27" y="33"/>
                  </a:cxn>
                  <a:cxn ang="0">
                    <a:pos x="30" y="36"/>
                  </a:cxn>
                  <a:cxn ang="0">
                    <a:pos x="30" y="43"/>
                  </a:cxn>
                  <a:cxn ang="0">
                    <a:pos x="30" y="47"/>
                  </a:cxn>
                  <a:cxn ang="0">
                    <a:pos x="37" y="50"/>
                  </a:cxn>
                  <a:cxn ang="0">
                    <a:pos x="43" y="56"/>
                  </a:cxn>
                  <a:cxn ang="0">
                    <a:pos x="54" y="56"/>
                  </a:cxn>
                  <a:cxn ang="0">
                    <a:pos x="57" y="56"/>
                  </a:cxn>
                  <a:cxn ang="0">
                    <a:pos x="62" y="53"/>
                  </a:cxn>
                  <a:cxn ang="0">
                    <a:pos x="64" y="52"/>
                  </a:cxn>
                  <a:cxn ang="0">
                    <a:pos x="72" y="49"/>
                  </a:cxn>
                  <a:cxn ang="0">
                    <a:pos x="74" y="49"/>
                  </a:cxn>
                  <a:cxn ang="0">
                    <a:pos x="75" y="42"/>
                  </a:cxn>
                  <a:cxn ang="0">
                    <a:pos x="78" y="37"/>
                  </a:cxn>
                  <a:cxn ang="0">
                    <a:pos x="84" y="34"/>
                  </a:cxn>
                  <a:cxn ang="0">
                    <a:pos x="85" y="32"/>
                  </a:cxn>
                  <a:cxn ang="0">
                    <a:pos x="88" y="30"/>
                  </a:cxn>
                  <a:cxn ang="0">
                    <a:pos x="90" y="29"/>
                  </a:cxn>
                  <a:cxn ang="0">
                    <a:pos x="91" y="23"/>
                  </a:cxn>
                  <a:cxn ang="0">
                    <a:pos x="91" y="22"/>
                  </a:cxn>
                  <a:cxn ang="0">
                    <a:pos x="91" y="19"/>
                  </a:cxn>
                  <a:cxn ang="0">
                    <a:pos x="84" y="13"/>
                  </a:cxn>
                  <a:cxn ang="0">
                    <a:pos x="71" y="6"/>
                  </a:cxn>
                  <a:cxn ang="0">
                    <a:pos x="68" y="5"/>
                  </a:cxn>
                  <a:cxn ang="0">
                    <a:pos x="64" y="3"/>
                  </a:cxn>
                  <a:cxn ang="0">
                    <a:pos x="58" y="2"/>
                  </a:cxn>
                  <a:cxn ang="0">
                    <a:pos x="54" y="2"/>
                  </a:cxn>
                  <a:cxn ang="0">
                    <a:pos x="38" y="2"/>
                  </a:cxn>
                  <a:cxn ang="0">
                    <a:pos x="27" y="0"/>
                  </a:cxn>
                  <a:cxn ang="0">
                    <a:pos x="16" y="2"/>
                  </a:cxn>
                  <a:cxn ang="0">
                    <a:pos x="10" y="3"/>
                  </a:cxn>
                  <a:cxn ang="0">
                    <a:pos x="3" y="5"/>
                  </a:cxn>
                  <a:cxn ang="0">
                    <a:pos x="4" y="15"/>
                  </a:cxn>
                  <a:cxn ang="0">
                    <a:pos x="1" y="22"/>
                  </a:cxn>
                  <a:cxn ang="0">
                    <a:pos x="0" y="24"/>
                  </a:cxn>
                  <a:cxn ang="0">
                    <a:pos x="1" y="27"/>
                  </a:cxn>
                  <a:cxn ang="0">
                    <a:pos x="7" y="26"/>
                  </a:cxn>
                  <a:cxn ang="0">
                    <a:pos x="11" y="27"/>
                  </a:cxn>
                </a:cxnLst>
                <a:rect l="0" t="0" r="r" b="b"/>
                <a:pathLst>
                  <a:path w="91" h="56">
                    <a:moveTo>
                      <a:pt x="11" y="27"/>
                    </a:moveTo>
                    <a:lnTo>
                      <a:pt x="11" y="27"/>
                    </a:lnTo>
                    <a:lnTo>
                      <a:pt x="16" y="30"/>
                    </a:lnTo>
                    <a:lnTo>
                      <a:pt x="18" y="32"/>
                    </a:lnTo>
                    <a:lnTo>
                      <a:pt x="21" y="32"/>
                    </a:lnTo>
                    <a:lnTo>
                      <a:pt x="21" y="32"/>
                    </a:lnTo>
                    <a:lnTo>
                      <a:pt x="23" y="32"/>
                    </a:lnTo>
                    <a:lnTo>
                      <a:pt x="27" y="33"/>
                    </a:lnTo>
                    <a:lnTo>
                      <a:pt x="28" y="34"/>
                    </a:lnTo>
                    <a:lnTo>
                      <a:pt x="30" y="36"/>
                    </a:lnTo>
                    <a:lnTo>
                      <a:pt x="30" y="36"/>
                    </a:lnTo>
                    <a:lnTo>
                      <a:pt x="30" y="43"/>
                    </a:lnTo>
                    <a:lnTo>
                      <a:pt x="30" y="46"/>
                    </a:lnTo>
                    <a:lnTo>
                      <a:pt x="30" y="47"/>
                    </a:lnTo>
                    <a:lnTo>
                      <a:pt x="30" y="47"/>
                    </a:lnTo>
                    <a:lnTo>
                      <a:pt x="37" y="50"/>
                    </a:lnTo>
                    <a:lnTo>
                      <a:pt x="40" y="53"/>
                    </a:lnTo>
                    <a:lnTo>
                      <a:pt x="43" y="56"/>
                    </a:lnTo>
                    <a:lnTo>
                      <a:pt x="43" y="56"/>
                    </a:lnTo>
                    <a:lnTo>
                      <a:pt x="54" y="56"/>
                    </a:lnTo>
                    <a:lnTo>
                      <a:pt x="54" y="56"/>
                    </a:lnTo>
                    <a:lnTo>
                      <a:pt x="57" y="56"/>
                    </a:lnTo>
                    <a:lnTo>
                      <a:pt x="60" y="56"/>
                    </a:lnTo>
                    <a:lnTo>
                      <a:pt x="62" y="53"/>
                    </a:lnTo>
                    <a:lnTo>
                      <a:pt x="62" y="53"/>
                    </a:lnTo>
                    <a:lnTo>
                      <a:pt x="64" y="52"/>
                    </a:lnTo>
                    <a:lnTo>
                      <a:pt x="68" y="50"/>
                    </a:lnTo>
                    <a:lnTo>
                      <a:pt x="72" y="49"/>
                    </a:lnTo>
                    <a:lnTo>
                      <a:pt x="72" y="49"/>
                    </a:lnTo>
                    <a:lnTo>
                      <a:pt x="74" y="49"/>
                    </a:lnTo>
                    <a:lnTo>
                      <a:pt x="74" y="46"/>
                    </a:lnTo>
                    <a:lnTo>
                      <a:pt x="75" y="42"/>
                    </a:lnTo>
                    <a:lnTo>
                      <a:pt x="75" y="42"/>
                    </a:lnTo>
                    <a:lnTo>
                      <a:pt x="78" y="37"/>
                    </a:lnTo>
                    <a:lnTo>
                      <a:pt x="84" y="34"/>
                    </a:lnTo>
                    <a:lnTo>
                      <a:pt x="84" y="34"/>
                    </a:lnTo>
                    <a:lnTo>
                      <a:pt x="85" y="33"/>
                    </a:lnTo>
                    <a:lnTo>
                      <a:pt x="85" y="32"/>
                    </a:lnTo>
                    <a:lnTo>
                      <a:pt x="87" y="30"/>
                    </a:lnTo>
                    <a:lnTo>
                      <a:pt x="88" y="30"/>
                    </a:lnTo>
                    <a:lnTo>
                      <a:pt x="88" y="30"/>
                    </a:lnTo>
                    <a:lnTo>
                      <a:pt x="90" y="29"/>
                    </a:lnTo>
                    <a:lnTo>
                      <a:pt x="91" y="27"/>
                    </a:lnTo>
                    <a:lnTo>
                      <a:pt x="91" y="23"/>
                    </a:lnTo>
                    <a:lnTo>
                      <a:pt x="91" y="23"/>
                    </a:lnTo>
                    <a:lnTo>
                      <a:pt x="91" y="22"/>
                    </a:lnTo>
                    <a:lnTo>
                      <a:pt x="91" y="19"/>
                    </a:lnTo>
                    <a:lnTo>
                      <a:pt x="91" y="19"/>
                    </a:lnTo>
                    <a:lnTo>
                      <a:pt x="84" y="13"/>
                    </a:lnTo>
                    <a:lnTo>
                      <a:pt x="84" y="13"/>
                    </a:lnTo>
                    <a:lnTo>
                      <a:pt x="75" y="7"/>
                    </a:lnTo>
                    <a:lnTo>
                      <a:pt x="71" y="6"/>
                    </a:lnTo>
                    <a:lnTo>
                      <a:pt x="68" y="5"/>
                    </a:lnTo>
                    <a:lnTo>
                      <a:pt x="68" y="5"/>
                    </a:lnTo>
                    <a:lnTo>
                      <a:pt x="65" y="5"/>
                    </a:lnTo>
                    <a:lnTo>
                      <a:pt x="64" y="3"/>
                    </a:lnTo>
                    <a:lnTo>
                      <a:pt x="62" y="2"/>
                    </a:lnTo>
                    <a:lnTo>
                      <a:pt x="58" y="2"/>
                    </a:lnTo>
                    <a:lnTo>
                      <a:pt x="58" y="2"/>
                    </a:lnTo>
                    <a:lnTo>
                      <a:pt x="54" y="2"/>
                    </a:lnTo>
                    <a:lnTo>
                      <a:pt x="48" y="2"/>
                    </a:lnTo>
                    <a:lnTo>
                      <a:pt x="38" y="2"/>
                    </a:lnTo>
                    <a:lnTo>
                      <a:pt x="38" y="2"/>
                    </a:lnTo>
                    <a:lnTo>
                      <a:pt x="27" y="0"/>
                    </a:lnTo>
                    <a:lnTo>
                      <a:pt x="20" y="0"/>
                    </a:lnTo>
                    <a:lnTo>
                      <a:pt x="16" y="2"/>
                    </a:lnTo>
                    <a:lnTo>
                      <a:pt x="16" y="2"/>
                    </a:lnTo>
                    <a:lnTo>
                      <a:pt x="10" y="3"/>
                    </a:lnTo>
                    <a:lnTo>
                      <a:pt x="3" y="5"/>
                    </a:lnTo>
                    <a:lnTo>
                      <a:pt x="3" y="5"/>
                    </a:lnTo>
                    <a:lnTo>
                      <a:pt x="4" y="10"/>
                    </a:lnTo>
                    <a:lnTo>
                      <a:pt x="4" y="15"/>
                    </a:lnTo>
                    <a:lnTo>
                      <a:pt x="3" y="19"/>
                    </a:lnTo>
                    <a:lnTo>
                      <a:pt x="1" y="22"/>
                    </a:lnTo>
                    <a:lnTo>
                      <a:pt x="1" y="22"/>
                    </a:lnTo>
                    <a:lnTo>
                      <a:pt x="0" y="24"/>
                    </a:lnTo>
                    <a:lnTo>
                      <a:pt x="0" y="24"/>
                    </a:lnTo>
                    <a:lnTo>
                      <a:pt x="1" y="27"/>
                    </a:lnTo>
                    <a:lnTo>
                      <a:pt x="1" y="27"/>
                    </a:lnTo>
                    <a:lnTo>
                      <a:pt x="7" y="26"/>
                    </a:lnTo>
                    <a:lnTo>
                      <a:pt x="10" y="26"/>
                    </a:lnTo>
                    <a:lnTo>
                      <a:pt x="11" y="27"/>
                    </a:lnTo>
                    <a:lnTo>
                      <a:pt x="11" y="2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7" name="Switzerland">
                <a:extLst>
                  <a:ext uri="{FF2B5EF4-FFF2-40B4-BE49-F238E27FC236}">
                    <a16:creationId xmlns:a16="http://schemas.microsoft.com/office/drawing/2014/main" id="{06CBB11B-733A-B04F-8C09-83424C5FF1E7}"/>
                  </a:ext>
                </a:extLst>
              </p:cNvPr>
              <p:cNvSpPr>
                <a:spLocks/>
              </p:cNvSpPr>
              <p:nvPr/>
            </p:nvSpPr>
            <p:spPr bwMode="auto">
              <a:xfrm>
                <a:off x="4471374" y="3074120"/>
                <a:ext cx="108024" cy="56232"/>
              </a:xfrm>
              <a:custGeom>
                <a:avLst/>
                <a:gdLst/>
                <a:ahLst/>
                <a:cxnLst>
                  <a:cxn ang="0">
                    <a:pos x="64" y="16"/>
                  </a:cxn>
                  <a:cxn ang="0">
                    <a:pos x="59" y="14"/>
                  </a:cxn>
                  <a:cxn ang="0">
                    <a:pos x="56" y="11"/>
                  </a:cxn>
                  <a:cxn ang="0">
                    <a:pos x="56" y="4"/>
                  </a:cxn>
                  <a:cxn ang="0">
                    <a:pos x="47" y="1"/>
                  </a:cxn>
                  <a:cxn ang="0">
                    <a:pos x="42" y="0"/>
                  </a:cxn>
                  <a:cxn ang="0">
                    <a:pos x="36" y="1"/>
                  </a:cxn>
                  <a:cxn ang="0">
                    <a:pos x="23" y="1"/>
                  </a:cxn>
                  <a:cxn ang="0">
                    <a:pos x="22" y="3"/>
                  </a:cxn>
                  <a:cxn ang="0">
                    <a:pos x="20" y="4"/>
                  </a:cxn>
                  <a:cxn ang="0">
                    <a:pos x="16" y="6"/>
                  </a:cxn>
                  <a:cxn ang="0">
                    <a:pos x="12" y="11"/>
                  </a:cxn>
                  <a:cxn ang="0">
                    <a:pos x="10" y="13"/>
                  </a:cxn>
                  <a:cxn ang="0">
                    <a:pos x="5" y="20"/>
                  </a:cxn>
                  <a:cxn ang="0">
                    <a:pos x="2" y="24"/>
                  </a:cxn>
                  <a:cxn ang="0">
                    <a:pos x="0" y="30"/>
                  </a:cxn>
                  <a:cxn ang="0">
                    <a:pos x="5" y="28"/>
                  </a:cxn>
                  <a:cxn ang="0">
                    <a:pos x="6" y="27"/>
                  </a:cxn>
                  <a:cxn ang="0">
                    <a:pos x="10" y="27"/>
                  </a:cxn>
                  <a:cxn ang="0">
                    <a:pos x="12" y="30"/>
                  </a:cxn>
                  <a:cxn ang="0">
                    <a:pos x="13" y="33"/>
                  </a:cxn>
                  <a:cxn ang="0">
                    <a:pos x="15" y="37"/>
                  </a:cxn>
                  <a:cxn ang="0">
                    <a:pos x="15" y="38"/>
                  </a:cxn>
                  <a:cxn ang="0">
                    <a:pos x="27" y="37"/>
                  </a:cxn>
                  <a:cxn ang="0">
                    <a:pos x="30" y="35"/>
                  </a:cxn>
                  <a:cxn ang="0">
                    <a:pos x="36" y="26"/>
                  </a:cxn>
                  <a:cxn ang="0">
                    <a:pos x="37" y="27"/>
                  </a:cxn>
                  <a:cxn ang="0">
                    <a:pos x="45" y="37"/>
                  </a:cxn>
                  <a:cxn ang="0">
                    <a:pos x="47" y="37"/>
                  </a:cxn>
                  <a:cxn ang="0">
                    <a:pos x="49" y="31"/>
                  </a:cxn>
                  <a:cxn ang="0">
                    <a:pos x="50" y="28"/>
                  </a:cxn>
                  <a:cxn ang="0">
                    <a:pos x="54" y="27"/>
                  </a:cxn>
                  <a:cxn ang="0">
                    <a:pos x="59" y="28"/>
                  </a:cxn>
                  <a:cxn ang="0">
                    <a:pos x="63" y="26"/>
                  </a:cxn>
                  <a:cxn ang="0">
                    <a:pos x="63" y="24"/>
                  </a:cxn>
                  <a:cxn ang="0">
                    <a:pos x="67" y="24"/>
                  </a:cxn>
                  <a:cxn ang="0">
                    <a:pos x="69" y="23"/>
                  </a:cxn>
                  <a:cxn ang="0">
                    <a:pos x="70" y="20"/>
                  </a:cxn>
                  <a:cxn ang="0">
                    <a:pos x="73" y="17"/>
                  </a:cxn>
                  <a:cxn ang="0">
                    <a:pos x="64" y="16"/>
                  </a:cxn>
                </a:cxnLst>
                <a:rect l="0" t="0" r="r" b="b"/>
                <a:pathLst>
                  <a:path w="73" h="38">
                    <a:moveTo>
                      <a:pt x="64" y="16"/>
                    </a:moveTo>
                    <a:lnTo>
                      <a:pt x="64" y="16"/>
                    </a:lnTo>
                    <a:lnTo>
                      <a:pt x="62" y="16"/>
                    </a:lnTo>
                    <a:lnTo>
                      <a:pt x="59" y="14"/>
                    </a:lnTo>
                    <a:lnTo>
                      <a:pt x="56" y="11"/>
                    </a:lnTo>
                    <a:lnTo>
                      <a:pt x="56" y="11"/>
                    </a:lnTo>
                    <a:lnTo>
                      <a:pt x="56" y="8"/>
                    </a:lnTo>
                    <a:lnTo>
                      <a:pt x="56" y="4"/>
                    </a:lnTo>
                    <a:lnTo>
                      <a:pt x="56" y="4"/>
                    </a:lnTo>
                    <a:lnTo>
                      <a:pt x="47" y="1"/>
                    </a:lnTo>
                    <a:lnTo>
                      <a:pt x="47" y="1"/>
                    </a:lnTo>
                    <a:lnTo>
                      <a:pt x="42" y="0"/>
                    </a:lnTo>
                    <a:lnTo>
                      <a:pt x="36" y="1"/>
                    </a:lnTo>
                    <a:lnTo>
                      <a:pt x="36" y="1"/>
                    </a:lnTo>
                    <a:lnTo>
                      <a:pt x="30" y="3"/>
                    </a:lnTo>
                    <a:lnTo>
                      <a:pt x="23" y="1"/>
                    </a:lnTo>
                    <a:lnTo>
                      <a:pt x="23" y="1"/>
                    </a:lnTo>
                    <a:lnTo>
                      <a:pt x="22" y="3"/>
                    </a:lnTo>
                    <a:lnTo>
                      <a:pt x="20" y="4"/>
                    </a:lnTo>
                    <a:lnTo>
                      <a:pt x="20" y="4"/>
                    </a:lnTo>
                    <a:lnTo>
                      <a:pt x="17" y="4"/>
                    </a:lnTo>
                    <a:lnTo>
                      <a:pt x="16" y="6"/>
                    </a:lnTo>
                    <a:lnTo>
                      <a:pt x="13" y="8"/>
                    </a:lnTo>
                    <a:lnTo>
                      <a:pt x="12" y="11"/>
                    </a:lnTo>
                    <a:lnTo>
                      <a:pt x="12" y="11"/>
                    </a:lnTo>
                    <a:lnTo>
                      <a:pt x="10" y="13"/>
                    </a:lnTo>
                    <a:lnTo>
                      <a:pt x="8" y="16"/>
                    </a:lnTo>
                    <a:lnTo>
                      <a:pt x="5" y="20"/>
                    </a:lnTo>
                    <a:lnTo>
                      <a:pt x="2" y="24"/>
                    </a:lnTo>
                    <a:lnTo>
                      <a:pt x="2" y="24"/>
                    </a:lnTo>
                    <a:lnTo>
                      <a:pt x="0" y="28"/>
                    </a:lnTo>
                    <a:lnTo>
                      <a:pt x="0" y="30"/>
                    </a:lnTo>
                    <a:lnTo>
                      <a:pt x="2" y="31"/>
                    </a:lnTo>
                    <a:lnTo>
                      <a:pt x="5" y="28"/>
                    </a:lnTo>
                    <a:lnTo>
                      <a:pt x="5" y="28"/>
                    </a:lnTo>
                    <a:lnTo>
                      <a:pt x="6" y="27"/>
                    </a:lnTo>
                    <a:lnTo>
                      <a:pt x="9" y="27"/>
                    </a:lnTo>
                    <a:lnTo>
                      <a:pt x="10" y="27"/>
                    </a:lnTo>
                    <a:lnTo>
                      <a:pt x="12" y="30"/>
                    </a:lnTo>
                    <a:lnTo>
                      <a:pt x="12" y="30"/>
                    </a:lnTo>
                    <a:lnTo>
                      <a:pt x="12" y="31"/>
                    </a:lnTo>
                    <a:lnTo>
                      <a:pt x="13" y="33"/>
                    </a:lnTo>
                    <a:lnTo>
                      <a:pt x="15" y="35"/>
                    </a:lnTo>
                    <a:lnTo>
                      <a:pt x="15" y="37"/>
                    </a:lnTo>
                    <a:lnTo>
                      <a:pt x="15" y="37"/>
                    </a:lnTo>
                    <a:lnTo>
                      <a:pt x="15" y="38"/>
                    </a:lnTo>
                    <a:lnTo>
                      <a:pt x="15" y="38"/>
                    </a:lnTo>
                    <a:lnTo>
                      <a:pt x="27" y="37"/>
                    </a:lnTo>
                    <a:lnTo>
                      <a:pt x="27" y="37"/>
                    </a:lnTo>
                    <a:lnTo>
                      <a:pt x="30" y="35"/>
                    </a:lnTo>
                    <a:lnTo>
                      <a:pt x="33" y="31"/>
                    </a:lnTo>
                    <a:lnTo>
                      <a:pt x="36" y="26"/>
                    </a:lnTo>
                    <a:lnTo>
                      <a:pt x="36" y="26"/>
                    </a:lnTo>
                    <a:lnTo>
                      <a:pt x="37" y="27"/>
                    </a:lnTo>
                    <a:lnTo>
                      <a:pt x="39" y="30"/>
                    </a:lnTo>
                    <a:lnTo>
                      <a:pt x="45" y="37"/>
                    </a:lnTo>
                    <a:lnTo>
                      <a:pt x="45" y="37"/>
                    </a:lnTo>
                    <a:lnTo>
                      <a:pt x="47" y="37"/>
                    </a:lnTo>
                    <a:lnTo>
                      <a:pt x="49" y="35"/>
                    </a:lnTo>
                    <a:lnTo>
                      <a:pt x="49" y="31"/>
                    </a:lnTo>
                    <a:lnTo>
                      <a:pt x="49" y="31"/>
                    </a:lnTo>
                    <a:lnTo>
                      <a:pt x="50" y="28"/>
                    </a:lnTo>
                    <a:lnTo>
                      <a:pt x="52" y="28"/>
                    </a:lnTo>
                    <a:lnTo>
                      <a:pt x="54" y="27"/>
                    </a:lnTo>
                    <a:lnTo>
                      <a:pt x="54" y="27"/>
                    </a:lnTo>
                    <a:lnTo>
                      <a:pt x="59" y="28"/>
                    </a:lnTo>
                    <a:lnTo>
                      <a:pt x="62" y="27"/>
                    </a:lnTo>
                    <a:lnTo>
                      <a:pt x="63" y="26"/>
                    </a:lnTo>
                    <a:lnTo>
                      <a:pt x="63" y="26"/>
                    </a:lnTo>
                    <a:lnTo>
                      <a:pt x="63" y="24"/>
                    </a:lnTo>
                    <a:lnTo>
                      <a:pt x="64" y="23"/>
                    </a:lnTo>
                    <a:lnTo>
                      <a:pt x="67" y="24"/>
                    </a:lnTo>
                    <a:lnTo>
                      <a:pt x="67" y="24"/>
                    </a:lnTo>
                    <a:lnTo>
                      <a:pt x="69" y="23"/>
                    </a:lnTo>
                    <a:lnTo>
                      <a:pt x="69" y="21"/>
                    </a:lnTo>
                    <a:lnTo>
                      <a:pt x="70" y="20"/>
                    </a:lnTo>
                    <a:lnTo>
                      <a:pt x="73" y="17"/>
                    </a:lnTo>
                    <a:lnTo>
                      <a:pt x="73" y="17"/>
                    </a:lnTo>
                    <a:lnTo>
                      <a:pt x="69" y="16"/>
                    </a:lnTo>
                    <a:lnTo>
                      <a:pt x="64" y="16"/>
                    </a:lnTo>
                    <a:lnTo>
                      <a:pt x="64" y="1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8" name="Germany">
                <a:extLst>
                  <a:ext uri="{FF2B5EF4-FFF2-40B4-BE49-F238E27FC236}">
                    <a16:creationId xmlns:a16="http://schemas.microsoft.com/office/drawing/2014/main" id="{6BF582C3-D8AA-BB40-9625-E75C0A8B01E8}"/>
                  </a:ext>
                </a:extLst>
              </p:cNvPr>
              <p:cNvSpPr>
                <a:spLocks/>
              </p:cNvSpPr>
              <p:nvPr/>
            </p:nvSpPr>
            <p:spPr bwMode="auto">
              <a:xfrm>
                <a:off x="4469895" y="2846233"/>
                <a:ext cx="210129" cy="238246"/>
              </a:xfrm>
              <a:custGeom>
                <a:avLst/>
                <a:gdLst/>
                <a:ahLst/>
                <a:cxnLst>
                  <a:cxn ang="0">
                    <a:pos x="11" y="47"/>
                  </a:cxn>
                  <a:cxn ang="0">
                    <a:pos x="13" y="54"/>
                  </a:cxn>
                  <a:cxn ang="0">
                    <a:pos x="13" y="60"/>
                  </a:cxn>
                  <a:cxn ang="0">
                    <a:pos x="10" y="66"/>
                  </a:cxn>
                  <a:cxn ang="0">
                    <a:pos x="1" y="69"/>
                  </a:cxn>
                  <a:cxn ang="0">
                    <a:pos x="1" y="76"/>
                  </a:cxn>
                  <a:cxn ang="0">
                    <a:pos x="0" y="91"/>
                  </a:cxn>
                  <a:cxn ang="0">
                    <a:pos x="4" y="98"/>
                  </a:cxn>
                  <a:cxn ang="0">
                    <a:pos x="1" y="104"/>
                  </a:cxn>
                  <a:cxn ang="0">
                    <a:pos x="6" y="118"/>
                  </a:cxn>
                  <a:cxn ang="0">
                    <a:pos x="20" y="124"/>
                  </a:cxn>
                  <a:cxn ang="0">
                    <a:pos x="28" y="127"/>
                  </a:cxn>
                  <a:cxn ang="0">
                    <a:pos x="33" y="130"/>
                  </a:cxn>
                  <a:cxn ang="0">
                    <a:pos x="27" y="140"/>
                  </a:cxn>
                  <a:cxn ang="0">
                    <a:pos x="24" y="155"/>
                  </a:cxn>
                  <a:cxn ang="0">
                    <a:pos x="43" y="154"/>
                  </a:cxn>
                  <a:cxn ang="0">
                    <a:pos x="57" y="158"/>
                  </a:cxn>
                  <a:cxn ang="0">
                    <a:pos x="61" y="158"/>
                  </a:cxn>
                  <a:cxn ang="0">
                    <a:pos x="68" y="160"/>
                  </a:cxn>
                  <a:cxn ang="0">
                    <a:pos x="78" y="158"/>
                  </a:cxn>
                  <a:cxn ang="0">
                    <a:pos x="87" y="157"/>
                  </a:cxn>
                  <a:cxn ang="0">
                    <a:pos x="104" y="154"/>
                  </a:cxn>
                  <a:cxn ang="0">
                    <a:pos x="110" y="150"/>
                  </a:cxn>
                  <a:cxn ang="0">
                    <a:pos x="115" y="141"/>
                  </a:cxn>
                  <a:cxn ang="0">
                    <a:pos x="122" y="135"/>
                  </a:cxn>
                  <a:cxn ang="0">
                    <a:pos x="118" y="127"/>
                  </a:cxn>
                  <a:cxn ang="0">
                    <a:pos x="105" y="114"/>
                  </a:cxn>
                  <a:cxn ang="0">
                    <a:pos x="100" y="100"/>
                  </a:cxn>
                  <a:cxn ang="0">
                    <a:pos x="115" y="94"/>
                  </a:cxn>
                  <a:cxn ang="0">
                    <a:pos x="127" y="88"/>
                  </a:cxn>
                  <a:cxn ang="0">
                    <a:pos x="134" y="84"/>
                  </a:cxn>
                  <a:cxn ang="0">
                    <a:pos x="141" y="86"/>
                  </a:cxn>
                  <a:cxn ang="0">
                    <a:pos x="141" y="76"/>
                  </a:cxn>
                  <a:cxn ang="0">
                    <a:pos x="137" y="59"/>
                  </a:cxn>
                  <a:cxn ang="0">
                    <a:pos x="131" y="47"/>
                  </a:cxn>
                  <a:cxn ang="0">
                    <a:pos x="131" y="40"/>
                  </a:cxn>
                  <a:cxn ang="0">
                    <a:pos x="131" y="24"/>
                  </a:cxn>
                  <a:cxn ang="0">
                    <a:pos x="129" y="20"/>
                  </a:cxn>
                  <a:cxn ang="0">
                    <a:pos x="120" y="15"/>
                  </a:cxn>
                  <a:cxn ang="0">
                    <a:pos x="120" y="12"/>
                  </a:cxn>
                  <a:cxn ang="0">
                    <a:pos x="121" y="6"/>
                  </a:cxn>
                  <a:cxn ang="0">
                    <a:pos x="111" y="9"/>
                  </a:cxn>
                  <a:cxn ang="0">
                    <a:pos x="98" y="13"/>
                  </a:cxn>
                  <a:cxn ang="0">
                    <a:pos x="81" y="20"/>
                  </a:cxn>
                  <a:cxn ang="0">
                    <a:pos x="83" y="10"/>
                  </a:cxn>
                  <a:cxn ang="0">
                    <a:pos x="71" y="12"/>
                  </a:cxn>
                  <a:cxn ang="0">
                    <a:pos x="63" y="5"/>
                  </a:cxn>
                  <a:cxn ang="0">
                    <a:pos x="57" y="2"/>
                  </a:cxn>
                  <a:cxn ang="0">
                    <a:pos x="44" y="5"/>
                  </a:cxn>
                  <a:cxn ang="0">
                    <a:pos x="44" y="10"/>
                  </a:cxn>
                  <a:cxn ang="0">
                    <a:pos x="50" y="23"/>
                  </a:cxn>
                  <a:cxn ang="0">
                    <a:pos x="43" y="27"/>
                  </a:cxn>
                  <a:cxn ang="0">
                    <a:pos x="40" y="29"/>
                  </a:cxn>
                  <a:cxn ang="0">
                    <a:pos x="27" y="26"/>
                  </a:cxn>
                  <a:cxn ang="0">
                    <a:pos x="18" y="29"/>
                  </a:cxn>
                  <a:cxn ang="0">
                    <a:pos x="18" y="43"/>
                  </a:cxn>
                </a:cxnLst>
                <a:rect l="0" t="0" r="r" b="b"/>
                <a:pathLst>
                  <a:path w="142" h="161">
                    <a:moveTo>
                      <a:pt x="18" y="43"/>
                    </a:moveTo>
                    <a:lnTo>
                      <a:pt x="18" y="43"/>
                    </a:lnTo>
                    <a:lnTo>
                      <a:pt x="14" y="46"/>
                    </a:lnTo>
                    <a:lnTo>
                      <a:pt x="11" y="47"/>
                    </a:lnTo>
                    <a:lnTo>
                      <a:pt x="10" y="49"/>
                    </a:lnTo>
                    <a:lnTo>
                      <a:pt x="10" y="50"/>
                    </a:lnTo>
                    <a:lnTo>
                      <a:pt x="10" y="50"/>
                    </a:lnTo>
                    <a:lnTo>
                      <a:pt x="13" y="54"/>
                    </a:lnTo>
                    <a:lnTo>
                      <a:pt x="14" y="56"/>
                    </a:lnTo>
                    <a:lnTo>
                      <a:pt x="16" y="59"/>
                    </a:lnTo>
                    <a:lnTo>
                      <a:pt x="16" y="59"/>
                    </a:lnTo>
                    <a:lnTo>
                      <a:pt x="13" y="60"/>
                    </a:lnTo>
                    <a:lnTo>
                      <a:pt x="11" y="61"/>
                    </a:lnTo>
                    <a:lnTo>
                      <a:pt x="11" y="64"/>
                    </a:lnTo>
                    <a:lnTo>
                      <a:pt x="11" y="64"/>
                    </a:lnTo>
                    <a:lnTo>
                      <a:pt x="10" y="66"/>
                    </a:lnTo>
                    <a:lnTo>
                      <a:pt x="9" y="67"/>
                    </a:lnTo>
                    <a:lnTo>
                      <a:pt x="3" y="69"/>
                    </a:lnTo>
                    <a:lnTo>
                      <a:pt x="3" y="69"/>
                    </a:lnTo>
                    <a:lnTo>
                      <a:pt x="1" y="69"/>
                    </a:lnTo>
                    <a:lnTo>
                      <a:pt x="1" y="70"/>
                    </a:lnTo>
                    <a:lnTo>
                      <a:pt x="1" y="73"/>
                    </a:lnTo>
                    <a:lnTo>
                      <a:pt x="1" y="76"/>
                    </a:lnTo>
                    <a:lnTo>
                      <a:pt x="1" y="76"/>
                    </a:lnTo>
                    <a:lnTo>
                      <a:pt x="0" y="83"/>
                    </a:lnTo>
                    <a:lnTo>
                      <a:pt x="0" y="88"/>
                    </a:lnTo>
                    <a:lnTo>
                      <a:pt x="0" y="88"/>
                    </a:lnTo>
                    <a:lnTo>
                      <a:pt x="0" y="91"/>
                    </a:lnTo>
                    <a:lnTo>
                      <a:pt x="1" y="94"/>
                    </a:lnTo>
                    <a:lnTo>
                      <a:pt x="3" y="96"/>
                    </a:lnTo>
                    <a:lnTo>
                      <a:pt x="4" y="98"/>
                    </a:lnTo>
                    <a:lnTo>
                      <a:pt x="4" y="98"/>
                    </a:lnTo>
                    <a:lnTo>
                      <a:pt x="1" y="101"/>
                    </a:lnTo>
                    <a:lnTo>
                      <a:pt x="1" y="103"/>
                    </a:lnTo>
                    <a:lnTo>
                      <a:pt x="1" y="104"/>
                    </a:lnTo>
                    <a:lnTo>
                      <a:pt x="1" y="104"/>
                    </a:lnTo>
                    <a:lnTo>
                      <a:pt x="3" y="108"/>
                    </a:lnTo>
                    <a:lnTo>
                      <a:pt x="4" y="113"/>
                    </a:lnTo>
                    <a:lnTo>
                      <a:pt x="6" y="118"/>
                    </a:lnTo>
                    <a:lnTo>
                      <a:pt x="6" y="118"/>
                    </a:lnTo>
                    <a:lnTo>
                      <a:pt x="10" y="120"/>
                    </a:lnTo>
                    <a:lnTo>
                      <a:pt x="10" y="120"/>
                    </a:lnTo>
                    <a:lnTo>
                      <a:pt x="14" y="123"/>
                    </a:lnTo>
                    <a:lnTo>
                      <a:pt x="20" y="124"/>
                    </a:lnTo>
                    <a:lnTo>
                      <a:pt x="20" y="124"/>
                    </a:lnTo>
                    <a:lnTo>
                      <a:pt x="23" y="125"/>
                    </a:lnTo>
                    <a:lnTo>
                      <a:pt x="26" y="127"/>
                    </a:lnTo>
                    <a:lnTo>
                      <a:pt x="28" y="127"/>
                    </a:lnTo>
                    <a:lnTo>
                      <a:pt x="28" y="127"/>
                    </a:lnTo>
                    <a:lnTo>
                      <a:pt x="30" y="128"/>
                    </a:lnTo>
                    <a:lnTo>
                      <a:pt x="33" y="128"/>
                    </a:lnTo>
                    <a:lnTo>
                      <a:pt x="33" y="130"/>
                    </a:lnTo>
                    <a:lnTo>
                      <a:pt x="31" y="133"/>
                    </a:lnTo>
                    <a:lnTo>
                      <a:pt x="31" y="133"/>
                    </a:lnTo>
                    <a:lnTo>
                      <a:pt x="28" y="135"/>
                    </a:lnTo>
                    <a:lnTo>
                      <a:pt x="27" y="140"/>
                    </a:lnTo>
                    <a:lnTo>
                      <a:pt x="26" y="145"/>
                    </a:lnTo>
                    <a:lnTo>
                      <a:pt x="26" y="145"/>
                    </a:lnTo>
                    <a:lnTo>
                      <a:pt x="24" y="155"/>
                    </a:lnTo>
                    <a:lnTo>
                      <a:pt x="24" y="155"/>
                    </a:lnTo>
                    <a:lnTo>
                      <a:pt x="31" y="157"/>
                    </a:lnTo>
                    <a:lnTo>
                      <a:pt x="37" y="155"/>
                    </a:lnTo>
                    <a:lnTo>
                      <a:pt x="37" y="155"/>
                    </a:lnTo>
                    <a:lnTo>
                      <a:pt x="43" y="154"/>
                    </a:lnTo>
                    <a:lnTo>
                      <a:pt x="48" y="155"/>
                    </a:lnTo>
                    <a:lnTo>
                      <a:pt x="48" y="155"/>
                    </a:lnTo>
                    <a:lnTo>
                      <a:pt x="57" y="158"/>
                    </a:lnTo>
                    <a:lnTo>
                      <a:pt x="57" y="158"/>
                    </a:lnTo>
                    <a:lnTo>
                      <a:pt x="58" y="158"/>
                    </a:lnTo>
                    <a:lnTo>
                      <a:pt x="60" y="157"/>
                    </a:lnTo>
                    <a:lnTo>
                      <a:pt x="60" y="157"/>
                    </a:lnTo>
                    <a:lnTo>
                      <a:pt x="61" y="158"/>
                    </a:lnTo>
                    <a:lnTo>
                      <a:pt x="64" y="160"/>
                    </a:lnTo>
                    <a:lnTo>
                      <a:pt x="67" y="161"/>
                    </a:lnTo>
                    <a:lnTo>
                      <a:pt x="68" y="160"/>
                    </a:lnTo>
                    <a:lnTo>
                      <a:pt x="68" y="160"/>
                    </a:lnTo>
                    <a:lnTo>
                      <a:pt x="71" y="158"/>
                    </a:lnTo>
                    <a:lnTo>
                      <a:pt x="73" y="157"/>
                    </a:lnTo>
                    <a:lnTo>
                      <a:pt x="78" y="158"/>
                    </a:lnTo>
                    <a:lnTo>
                      <a:pt x="78" y="158"/>
                    </a:lnTo>
                    <a:lnTo>
                      <a:pt x="83" y="160"/>
                    </a:lnTo>
                    <a:lnTo>
                      <a:pt x="85" y="158"/>
                    </a:lnTo>
                    <a:lnTo>
                      <a:pt x="87" y="157"/>
                    </a:lnTo>
                    <a:lnTo>
                      <a:pt x="87" y="157"/>
                    </a:lnTo>
                    <a:lnTo>
                      <a:pt x="91" y="155"/>
                    </a:lnTo>
                    <a:lnTo>
                      <a:pt x="95" y="154"/>
                    </a:lnTo>
                    <a:lnTo>
                      <a:pt x="104" y="154"/>
                    </a:lnTo>
                    <a:lnTo>
                      <a:pt x="104" y="154"/>
                    </a:lnTo>
                    <a:lnTo>
                      <a:pt x="107" y="155"/>
                    </a:lnTo>
                    <a:lnTo>
                      <a:pt x="108" y="155"/>
                    </a:lnTo>
                    <a:lnTo>
                      <a:pt x="111" y="154"/>
                    </a:lnTo>
                    <a:lnTo>
                      <a:pt x="110" y="150"/>
                    </a:lnTo>
                    <a:lnTo>
                      <a:pt x="110" y="150"/>
                    </a:lnTo>
                    <a:lnTo>
                      <a:pt x="110" y="145"/>
                    </a:lnTo>
                    <a:lnTo>
                      <a:pt x="112" y="143"/>
                    </a:lnTo>
                    <a:lnTo>
                      <a:pt x="115" y="141"/>
                    </a:lnTo>
                    <a:lnTo>
                      <a:pt x="117" y="140"/>
                    </a:lnTo>
                    <a:lnTo>
                      <a:pt x="117" y="140"/>
                    </a:lnTo>
                    <a:lnTo>
                      <a:pt x="118" y="137"/>
                    </a:lnTo>
                    <a:lnTo>
                      <a:pt x="122" y="135"/>
                    </a:lnTo>
                    <a:lnTo>
                      <a:pt x="125" y="134"/>
                    </a:lnTo>
                    <a:lnTo>
                      <a:pt x="125" y="133"/>
                    </a:lnTo>
                    <a:lnTo>
                      <a:pt x="125" y="133"/>
                    </a:lnTo>
                    <a:lnTo>
                      <a:pt x="118" y="127"/>
                    </a:lnTo>
                    <a:lnTo>
                      <a:pt x="108" y="120"/>
                    </a:lnTo>
                    <a:lnTo>
                      <a:pt x="108" y="120"/>
                    </a:lnTo>
                    <a:lnTo>
                      <a:pt x="107" y="117"/>
                    </a:lnTo>
                    <a:lnTo>
                      <a:pt x="105" y="114"/>
                    </a:lnTo>
                    <a:lnTo>
                      <a:pt x="104" y="107"/>
                    </a:lnTo>
                    <a:lnTo>
                      <a:pt x="104" y="107"/>
                    </a:lnTo>
                    <a:lnTo>
                      <a:pt x="101" y="101"/>
                    </a:lnTo>
                    <a:lnTo>
                      <a:pt x="100" y="100"/>
                    </a:lnTo>
                    <a:lnTo>
                      <a:pt x="102" y="98"/>
                    </a:lnTo>
                    <a:lnTo>
                      <a:pt x="102" y="98"/>
                    </a:lnTo>
                    <a:lnTo>
                      <a:pt x="111" y="96"/>
                    </a:lnTo>
                    <a:lnTo>
                      <a:pt x="115" y="94"/>
                    </a:lnTo>
                    <a:lnTo>
                      <a:pt x="120" y="91"/>
                    </a:lnTo>
                    <a:lnTo>
                      <a:pt x="120" y="91"/>
                    </a:lnTo>
                    <a:lnTo>
                      <a:pt x="122" y="90"/>
                    </a:lnTo>
                    <a:lnTo>
                      <a:pt x="127" y="88"/>
                    </a:lnTo>
                    <a:lnTo>
                      <a:pt x="129" y="87"/>
                    </a:lnTo>
                    <a:lnTo>
                      <a:pt x="132" y="86"/>
                    </a:lnTo>
                    <a:lnTo>
                      <a:pt x="132" y="86"/>
                    </a:lnTo>
                    <a:lnTo>
                      <a:pt x="134" y="84"/>
                    </a:lnTo>
                    <a:lnTo>
                      <a:pt x="137" y="86"/>
                    </a:lnTo>
                    <a:lnTo>
                      <a:pt x="139" y="86"/>
                    </a:lnTo>
                    <a:lnTo>
                      <a:pt x="141" y="86"/>
                    </a:lnTo>
                    <a:lnTo>
                      <a:pt x="141" y="86"/>
                    </a:lnTo>
                    <a:lnTo>
                      <a:pt x="142" y="81"/>
                    </a:lnTo>
                    <a:lnTo>
                      <a:pt x="142" y="79"/>
                    </a:lnTo>
                    <a:lnTo>
                      <a:pt x="141" y="76"/>
                    </a:lnTo>
                    <a:lnTo>
                      <a:pt x="141" y="76"/>
                    </a:lnTo>
                    <a:lnTo>
                      <a:pt x="138" y="71"/>
                    </a:lnTo>
                    <a:lnTo>
                      <a:pt x="137" y="63"/>
                    </a:lnTo>
                    <a:lnTo>
                      <a:pt x="137" y="63"/>
                    </a:lnTo>
                    <a:lnTo>
                      <a:pt x="137" y="59"/>
                    </a:lnTo>
                    <a:lnTo>
                      <a:pt x="135" y="54"/>
                    </a:lnTo>
                    <a:lnTo>
                      <a:pt x="135" y="54"/>
                    </a:lnTo>
                    <a:lnTo>
                      <a:pt x="134" y="50"/>
                    </a:lnTo>
                    <a:lnTo>
                      <a:pt x="131" y="47"/>
                    </a:lnTo>
                    <a:lnTo>
                      <a:pt x="131" y="47"/>
                    </a:lnTo>
                    <a:lnTo>
                      <a:pt x="129" y="44"/>
                    </a:lnTo>
                    <a:lnTo>
                      <a:pt x="129" y="43"/>
                    </a:lnTo>
                    <a:lnTo>
                      <a:pt x="131" y="40"/>
                    </a:lnTo>
                    <a:lnTo>
                      <a:pt x="131" y="40"/>
                    </a:lnTo>
                    <a:lnTo>
                      <a:pt x="131" y="37"/>
                    </a:lnTo>
                    <a:lnTo>
                      <a:pt x="132" y="32"/>
                    </a:lnTo>
                    <a:lnTo>
                      <a:pt x="131" y="24"/>
                    </a:lnTo>
                    <a:lnTo>
                      <a:pt x="131" y="24"/>
                    </a:lnTo>
                    <a:lnTo>
                      <a:pt x="131" y="22"/>
                    </a:lnTo>
                    <a:lnTo>
                      <a:pt x="131" y="22"/>
                    </a:lnTo>
                    <a:lnTo>
                      <a:pt x="129" y="20"/>
                    </a:lnTo>
                    <a:lnTo>
                      <a:pt x="129" y="20"/>
                    </a:lnTo>
                    <a:lnTo>
                      <a:pt x="128" y="17"/>
                    </a:lnTo>
                    <a:lnTo>
                      <a:pt x="127" y="16"/>
                    </a:lnTo>
                    <a:lnTo>
                      <a:pt x="120" y="15"/>
                    </a:lnTo>
                    <a:lnTo>
                      <a:pt x="120" y="15"/>
                    </a:lnTo>
                    <a:lnTo>
                      <a:pt x="118" y="15"/>
                    </a:lnTo>
                    <a:lnTo>
                      <a:pt x="118" y="15"/>
                    </a:lnTo>
                    <a:lnTo>
                      <a:pt x="120" y="12"/>
                    </a:lnTo>
                    <a:lnTo>
                      <a:pt x="121" y="9"/>
                    </a:lnTo>
                    <a:lnTo>
                      <a:pt x="121" y="7"/>
                    </a:lnTo>
                    <a:lnTo>
                      <a:pt x="121" y="6"/>
                    </a:lnTo>
                    <a:lnTo>
                      <a:pt x="121" y="6"/>
                    </a:lnTo>
                    <a:lnTo>
                      <a:pt x="120" y="5"/>
                    </a:lnTo>
                    <a:lnTo>
                      <a:pt x="118" y="5"/>
                    </a:lnTo>
                    <a:lnTo>
                      <a:pt x="115" y="7"/>
                    </a:lnTo>
                    <a:lnTo>
                      <a:pt x="111" y="9"/>
                    </a:lnTo>
                    <a:lnTo>
                      <a:pt x="107" y="9"/>
                    </a:lnTo>
                    <a:lnTo>
                      <a:pt x="107" y="9"/>
                    </a:lnTo>
                    <a:lnTo>
                      <a:pt x="102" y="10"/>
                    </a:lnTo>
                    <a:lnTo>
                      <a:pt x="98" y="13"/>
                    </a:lnTo>
                    <a:lnTo>
                      <a:pt x="90" y="20"/>
                    </a:lnTo>
                    <a:lnTo>
                      <a:pt x="90" y="20"/>
                    </a:lnTo>
                    <a:lnTo>
                      <a:pt x="85" y="22"/>
                    </a:lnTo>
                    <a:lnTo>
                      <a:pt x="81" y="20"/>
                    </a:lnTo>
                    <a:lnTo>
                      <a:pt x="80" y="17"/>
                    </a:lnTo>
                    <a:lnTo>
                      <a:pt x="81" y="13"/>
                    </a:lnTo>
                    <a:lnTo>
                      <a:pt x="81" y="13"/>
                    </a:lnTo>
                    <a:lnTo>
                      <a:pt x="83" y="10"/>
                    </a:lnTo>
                    <a:lnTo>
                      <a:pt x="81" y="9"/>
                    </a:lnTo>
                    <a:lnTo>
                      <a:pt x="75" y="10"/>
                    </a:lnTo>
                    <a:lnTo>
                      <a:pt x="75" y="10"/>
                    </a:lnTo>
                    <a:lnTo>
                      <a:pt x="71" y="12"/>
                    </a:lnTo>
                    <a:lnTo>
                      <a:pt x="67" y="10"/>
                    </a:lnTo>
                    <a:lnTo>
                      <a:pt x="64" y="9"/>
                    </a:lnTo>
                    <a:lnTo>
                      <a:pt x="63" y="5"/>
                    </a:lnTo>
                    <a:lnTo>
                      <a:pt x="63" y="5"/>
                    </a:lnTo>
                    <a:lnTo>
                      <a:pt x="63" y="2"/>
                    </a:lnTo>
                    <a:lnTo>
                      <a:pt x="63" y="2"/>
                    </a:lnTo>
                    <a:lnTo>
                      <a:pt x="57" y="2"/>
                    </a:lnTo>
                    <a:lnTo>
                      <a:pt x="57" y="2"/>
                    </a:lnTo>
                    <a:lnTo>
                      <a:pt x="50" y="0"/>
                    </a:lnTo>
                    <a:lnTo>
                      <a:pt x="41" y="0"/>
                    </a:lnTo>
                    <a:lnTo>
                      <a:pt x="41" y="0"/>
                    </a:lnTo>
                    <a:lnTo>
                      <a:pt x="44" y="5"/>
                    </a:lnTo>
                    <a:lnTo>
                      <a:pt x="44" y="6"/>
                    </a:lnTo>
                    <a:lnTo>
                      <a:pt x="44" y="7"/>
                    </a:lnTo>
                    <a:lnTo>
                      <a:pt x="44" y="7"/>
                    </a:lnTo>
                    <a:lnTo>
                      <a:pt x="44" y="10"/>
                    </a:lnTo>
                    <a:lnTo>
                      <a:pt x="44" y="15"/>
                    </a:lnTo>
                    <a:lnTo>
                      <a:pt x="48" y="22"/>
                    </a:lnTo>
                    <a:lnTo>
                      <a:pt x="48" y="22"/>
                    </a:lnTo>
                    <a:lnTo>
                      <a:pt x="50" y="23"/>
                    </a:lnTo>
                    <a:lnTo>
                      <a:pt x="48" y="24"/>
                    </a:lnTo>
                    <a:lnTo>
                      <a:pt x="47" y="26"/>
                    </a:lnTo>
                    <a:lnTo>
                      <a:pt x="43" y="26"/>
                    </a:lnTo>
                    <a:lnTo>
                      <a:pt x="43" y="27"/>
                    </a:lnTo>
                    <a:lnTo>
                      <a:pt x="41" y="27"/>
                    </a:lnTo>
                    <a:lnTo>
                      <a:pt x="41" y="27"/>
                    </a:lnTo>
                    <a:lnTo>
                      <a:pt x="41" y="29"/>
                    </a:lnTo>
                    <a:lnTo>
                      <a:pt x="40" y="29"/>
                    </a:lnTo>
                    <a:lnTo>
                      <a:pt x="37" y="29"/>
                    </a:lnTo>
                    <a:lnTo>
                      <a:pt x="30" y="26"/>
                    </a:lnTo>
                    <a:lnTo>
                      <a:pt x="30" y="26"/>
                    </a:lnTo>
                    <a:lnTo>
                      <a:pt x="27" y="26"/>
                    </a:lnTo>
                    <a:lnTo>
                      <a:pt x="23" y="26"/>
                    </a:lnTo>
                    <a:lnTo>
                      <a:pt x="18" y="27"/>
                    </a:lnTo>
                    <a:lnTo>
                      <a:pt x="18" y="29"/>
                    </a:lnTo>
                    <a:lnTo>
                      <a:pt x="18" y="29"/>
                    </a:lnTo>
                    <a:lnTo>
                      <a:pt x="17" y="32"/>
                    </a:lnTo>
                    <a:lnTo>
                      <a:pt x="17" y="32"/>
                    </a:lnTo>
                    <a:lnTo>
                      <a:pt x="18" y="37"/>
                    </a:lnTo>
                    <a:lnTo>
                      <a:pt x="18" y="43"/>
                    </a:lnTo>
                    <a:lnTo>
                      <a:pt x="18" y="4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9" name="Finland">
                <a:extLst>
                  <a:ext uri="{FF2B5EF4-FFF2-40B4-BE49-F238E27FC236}">
                    <a16:creationId xmlns:a16="http://schemas.microsoft.com/office/drawing/2014/main" id="{18AD6618-29C4-154C-8412-C3D0A3072B1E}"/>
                  </a:ext>
                </a:extLst>
              </p:cNvPr>
              <p:cNvSpPr>
                <a:spLocks/>
              </p:cNvSpPr>
              <p:nvPr/>
            </p:nvSpPr>
            <p:spPr bwMode="auto">
              <a:xfrm>
                <a:off x="4814684" y="2273558"/>
                <a:ext cx="248604" cy="393622"/>
              </a:xfrm>
              <a:custGeom>
                <a:avLst/>
                <a:gdLst/>
                <a:ahLst/>
                <a:cxnLst>
                  <a:cxn ang="0">
                    <a:pos x="155" y="211"/>
                  </a:cxn>
                  <a:cxn ang="0">
                    <a:pos x="168" y="198"/>
                  </a:cxn>
                  <a:cxn ang="0">
                    <a:pos x="157" y="182"/>
                  </a:cxn>
                  <a:cxn ang="0">
                    <a:pos x="143" y="171"/>
                  </a:cxn>
                  <a:cxn ang="0">
                    <a:pos x="153" y="163"/>
                  </a:cxn>
                  <a:cxn ang="0">
                    <a:pos x="144" y="154"/>
                  </a:cxn>
                  <a:cxn ang="0">
                    <a:pos x="147" y="147"/>
                  </a:cxn>
                  <a:cxn ang="0">
                    <a:pos x="138" y="141"/>
                  </a:cxn>
                  <a:cxn ang="0">
                    <a:pos x="143" y="137"/>
                  </a:cxn>
                  <a:cxn ang="0">
                    <a:pos x="140" y="124"/>
                  </a:cxn>
                  <a:cxn ang="0">
                    <a:pos x="145" y="114"/>
                  </a:cxn>
                  <a:cxn ang="0">
                    <a:pos x="130" y="89"/>
                  </a:cxn>
                  <a:cxn ang="0">
                    <a:pos x="144" y="71"/>
                  </a:cxn>
                  <a:cxn ang="0">
                    <a:pos x="134" y="57"/>
                  </a:cxn>
                  <a:cxn ang="0">
                    <a:pos x="124" y="52"/>
                  </a:cxn>
                  <a:cxn ang="0">
                    <a:pos x="123" y="39"/>
                  </a:cxn>
                  <a:cxn ang="0">
                    <a:pos x="128" y="32"/>
                  </a:cxn>
                  <a:cxn ang="0">
                    <a:pos x="133" y="23"/>
                  </a:cxn>
                  <a:cxn ang="0">
                    <a:pos x="125" y="9"/>
                  </a:cxn>
                  <a:cxn ang="0">
                    <a:pos x="110" y="0"/>
                  </a:cxn>
                  <a:cxn ang="0">
                    <a:pos x="94" y="5"/>
                  </a:cxn>
                  <a:cxn ang="0">
                    <a:pos x="86" y="10"/>
                  </a:cxn>
                  <a:cxn ang="0">
                    <a:pos x="77" y="17"/>
                  </a:cxn>
                  <a:cxn ang="0">
                    <a:pos x="74" y="32"/>
                  </a:cxn>
                  <a:cxn ang="0">
                    <a:pos x="67" y="40"/>
                  </a:cxn>
                  <a:cxn ang="0">
                    <a:pos x="59" y="37"/>
                  </a:cxn>
                  <a:cxn ang="0">
                    <a:pos x="46" y="37"/>
                  </a:cxn>
                  <a:cxn ang="0">
                    <a:pos x="29" y="36"/>
                  </a:cxn>
                  <a:cxn ang="0">
                    <a:pos x="12" y="23"/>
                  </a:cxn>
                  <a:cxn ang="0">
                    <a:pos x="0" y="32"/>
                  </a:cxn>
                  <a:cxn ang="0">
                    <a:pos x="33" y="50"/>
                  </a:cxn>
                  <a:cxn ang="0">
                    <a:pos x="40" y="67"/>
                  </a:cxn>
                  <a:cxn ang="0">
                    <a:pos x="43" y="76"/>
                  </a:cxn>
                  <a:cxn ang="0">
                    <a:pos x="46" y="87"/>
                  </a:cxn>
                  <a:cxn ang="0">
                    <a:pos x="44" y="101"/>
                  </a:cxn>
                  <a:cxn ang="0">
                    <a:pos x="47" y="110"/>
                  </a:cxn>
                  <a:cxn ang="0">
                    <a:pos x="63" y="123"/>
                  </a:cxn>
                  <a:cxn ang="0">
                    <a:pos x="69" y="135"/>
                  </a:cxn>
                  <a:cxn ang="0">
                    <a:pos x="63" y="140"/>
                  </a:cxn>
                  <a:cxn ang="0">
                    <a:pos x="54" y="154"/>
                  </a:cxn>
                  <a:cxn ang="0">
                    <a:pos x="37" y="165"/>
                  </a:cxn>
                  <a:cxn ang="0">
                    <a:pos x="27" y="172"/>
                  </a:cxn>
                  <a:cxn ang="0">
                    <a:pos x="22" y="182"/>
                  </a:cxn>
                  <a:cxn ang="0">
                    <a:pos x="7" y="190"/>
                  </a:cxn>
                  <a:cxn ang="0">
                    <a:pos x="2" y="199"/>
                  </a:cxn>
                  <a:cxn ang="0">
                    <a:pos x="6" y="214"/>
                  </a:cxn>
                  <a:cxn ang="0">
                    <a:pos x="9" y="234"/>
                  </a:cxn>
                  <a:cxn ang="0">
                    <a:pos x="5" y="251"/>
                  </a:cxn>
                  <a:cxn ang="0">
                    <a:pos x="20" y="256"/>
                  </a:cxn>
                  <a:cxn ang="0">
                    <a:pos x="30" y="262"/>
                  </a:cxn>
                  <a:cxn ang="0">
                    <a:pos x="47" y="266"/>
                  </a:cxn>
                  <a:cxn ang="0">
                    <a:pos x="97" y="255"/>
                  </a:cxn>
                  <a:cxn ang="0">
                    <a:pos x="120" y="244"/>
                  </a:cxn>
                  <a:cxn ang="0">
                    <a:pos x="144" y="224"/>
                  </a:cxn>
                </a:cxnLst>
                <a:rect l="0" t="0" r="r" b="b"/>
                <a:pathLst>
                  <a:path w="168" h="266">
                    <a:moveTo>
                      <a:pt x="144" y="224"/>
                    </a:moveTo>
                    <a:lnTo>
                      <a:pt x="144" y="224"/>
                    </a:lnTo>
                    <a:lnTo>
                      <a:pt x="145" y="219"/>
                    </a:lnTo>
                    <a:lnTo>
                      <a:pt x="148" y="217"/>
                    </a:lnTo>
                    <a:lnTo>
                      <a:pt x="155" y="211"/>
                    </a:lnTo>
                    <a:lnTo>
                      <a:pt x="162" y="207"/>
                    </a:lnTo>
                    <a:lnTo>
                      <a:pt x="165" y="204"/>
                    </a:lnTo>
                    <a:lnTo>
                      <a:pt x="168" y="201"/>
                    </a:lnTo>
                    <a:lnTo>
                      <a:pt x="168" y="201"/>
                    </a:lnTo>
                    <a:lnTo>
                      <a:pt x="168" y="198"/>
                    </a:lnTo>
                    <a:lnTo>
                      <a:pt x="168" y="195"/>
                    </a:lnTo>
                    <a:lnTo>
                      <a:pt x="167" y="192"/>
                    </a:lnTo>
                    <a:lnTo>
                      <a:pt x="164" y="188"/>
                    </a:lnTo>
                    <a:lnTo>
                      <a:pt x="164" y="188"/>
                    </a:lnTo>
                    <a:lnTo>
                      <a:pt x="157" y="182"/>
                    </a:lnTo>
                    <a:lnTo>
                      <a:pt x="151" y="178"/>
                    </a:lnTo>
                    <a:lnTo>
                      <a:pt x="145" y="175"/>
                    </a:lnTo>
                    <a:lnTo>
                      <a:pt x="143" y="172"/>
                    </a:lnTo>
                    <a:lnTo>
                      <a:pt x="143" y="172"/>
                    </a:lnTo>
                    <a:lnTo>
                      <a:pt x="143" y="171"/>
                    </a:lnTo>
                    <a:lnTo>
                      <a:pt x="144" y="170"/>
                    </a:lnTo>
                    <a:lnTo>
                      <a:pt x="148" y="168"/>
                    </a:lnTo>
                    <a:lnTo>
                      <a:pt x="151" y="165"/>
                    </a:lnTo>
                    <a:lnTo>
                      <a:pt x="153" y="164"/>
                    </a:lnTo>
                    <a:lnTo>
                      <a:pt x="153" y="163"/>
                    </a:lnTo>
                    <a:lnTo>
                      <a:pt x="153" y="163"/>
                    </a:lnTo>
                    <a:lnTo>
                      <a:pt x="151" y="160"/>
                    </a:lnTo>
                    <a:lnTo>
                      <a:pt x="150" y="158"/>
                    </a:lnTo>
                    <a:lnTo>
                      <a:pt x="147" y="157"/>
                    </a:lnTo>
                    <a:lnTo>
                      <a:pt x="144" y="154"/>
                    </a:lnTo>
                    <a:lnTo>
                      <a:pt x="144" y="154"/>
                    </a:lnTo>
                    <a:lnTo>
                      <a:pt x="144" y="151"/>
                    </a:lnTo>
                    <a:lnTo>
                      <a:pt x="145" y="150"/>
                    </a:lnTo>
                    <a:lnTo>
                      <a:pt x="145" y="148"/>
                    </a:lnTo>
                    <a:lnTo>
                      <a:pt x="147" y="147"/>
                    </a:lnTo>
                    <a:lnTo>
                      <a:pt x="147" y="147"/>
                    </a:lnTo>
                    <a:lnTo>
                      <a:pt x="145" y="145"/>
                    </a:lnTo>
                    <a:lnTo>
                      <a:pt x="143" y="144"/>
                    </a:lnTo>
                    <a:lnTo>
                      <a:pt x="140" y="143"/>
                    </a:lnTo>
                    <a:lnTo>
                      <a:pt x="138" y="141"/>
                    </a:lnTo>
                    <a:lnTo>
                      <a:pt x="138" y="141"/>
                    </a:lnTo>
                    <a:lnTo>
                      <a:pt x="140" y="140"/>
                    </a:lnTo>
                    <a:lnTo>
                      <a:pt x="141" y="138"/>
                    </a:lnTo>
                    <a:lnTo>
                      <a:pt x="143" y="138"/>
                    </a:lnTo>
                    <a:lnTo>
                      <a:pt x="143" y="137"/>
                    </a:lnTo>
                    <a:lnTo>
                      <a:pt x="143" y="137"/>
                    </a:lnTo>
                    <a:lnTo>
                      <a:pt x="140" y="131"/>
                    </a:lnTo>
                    <a:lnTo>
                      <a:pt x="138" y="127"/>
                    </a:lnTo>
                    <a:lnTo>
                      <a:pt x="140" y="124"/>
                    </a:lnTo>
                    <a:lnTo>
                      <a:pt x="140" y="124"/>
                    </a:lnTo>
                    <a:lnTo>
                      <a:pt x="143" y="123"/>
                    </a:lnTo>
                    <a:lnTo>
                      <a:pt x="145" y="121"/>
                    </a:lnTo>
                    <a:lnTo>
                      <a:pt x="147" y="120"/>
                    </a:lnTo>
                    <a:lnTo>
                      <a:pt x="147" y="120"/>
                    </a:lnTo>
                    <a:lnTo>
                      <a:pt x="145" y="114"/>
                    </a:lnTo>
                    <a:lnTo>
                      <a:pt x="145" y="114"/>
                    </a:lnTo>
                    <a:lnTo>
                      <a:pt x="137" y="100"/>
                    </a:lnTo>
                    <a:lnTo>
                      <a:pt x="130" y="90"/>
                    </a:lnTo>
                    <a:lnTo>
                      <a:pt x="130" y="90"/>
                    </a:lnTo>
                    <a:lnTo>
                      <a:pt x="130" y="89"/>
                    </a:lnTo>
                    <a:lnTo>
                      <a:pt x="131" y="86"/>
                    </a:lnTo>
                    <a:lnTo>
                      <a:pt x="135" y="81"/>
                    </a:lnTo>
                    <a:lnTo>
                      <a:pt x="135" y="81"/>
                    </a:lnTo>
                    <a:lnTo>
                      <a:pt x="141" y="76"/>
                    </a:lnTo>
                    <a:lnTo>
                      <a:pt x="144" y="71"/>
                    </a:lnTo>
                    <a:lnTo>
                      <a:pt x="145" y="69"/>
                    </a:lnTo>
                    <a:lnTo>
                      <a:pt x="145" y="69"/>
                    </a:lnTo>
                    <a:lnTo>
                      <a:pt x="143" y="66"/>
                    </a:lnTo>
                    <a:lnTo>
                      <a:pt x="140" y="63"/>
                    </a:lnTo>
                    <a:lnTo>
                      <a:pt x="134" y="57"/>
                    </a:lnTo>
                    <a:lnTo>
                      <a:pt x="134" y="57"/>
                    </a:lnTo>
                    <a:lnTo>
                      <a:pt x="128" y="56"/>
                    </a:lnTo>
                    <a:lnTo>
                      <a:pt x="125" y="54"/>
                    </a:lnTo>
                    <a:lnTo>
                      <a:pt x="124" y="52"/>
                    </a:lnTo>
                    <a:lnTo>
                      <a:pt x="124" y="52"/>
                    </a:lnTo>
                    <a:lnTo>
                      <a:pt x="120" y="46"/>
                    </a:lnTo>
                    <a:lnTo>
                      <a:pt x="120" y="44"/>
                    </a:lnTo>
                    <a:lnTo>
                      <a:pt x="121" y="43"/>
                    </a:lnTo>
                    <a:lnTo>
                      <a:pt x="121" y="43"/>
                    </a:lnTo>
                    <a:lnTo>
                      <a:pt x="123" y="39"/>
                    </a:lnTo>
                    <a:lnTo>
                      <a:pt x="124" y="34"/>
                    </a:lnTo>
                    <a:lnTo>
                      <a:pt x="124" y="34"/>
                    </a:lnTo>
                    <a:lnTo>
                      <a:pt x="124" y="33"/>
                    </a:lnTo>
                    <a:lnTo>
                      <a:pt x="125" y="32"/>
                    </a:lnTo>
                    <a:lnTo>
                      <a:pt x="128" y="32"/>
                    </a:lnTo>
                    <a:lnTo>
                      <a:pt x="130" y="29"/>
                    </a:lnTo>
                    <a:lnTo>
                      <a:pt x="130" y="29"/>
                    </a:lnTo>
                    <a:lnTo>
                      <a:pt x="131" y="26"/>
                    </a:lnTo>
                    <a:lnTo>
                      <a:pt x="133" y="23"/>
                    </a:lnTo>
                    <a:lnTo>
                      <a:pt x="133" y="23"/>
                    </a:lnTo>
                    <a:lnTo>
                      <a:pt x="133" y="15"/>
                    </a:lnTo>
                    <a:lnTo>
                      <a:pt x="133" y="15"/>
                    </a:lnTo>
                    <a:lnTo>
                      <a:pt x="133" y="13"/>
                    </a:lnTo>
                    <a:lnTo>
                      <a:pt x="131" y="12"/>
                    </a:lnTo>
                    <a:lnTo>
                      <a:pt x="125" y="9"/>
                    </a:lnTo>
                    <a:lnTo>
                      <a:pt x="120" y="6"/>
                    </a:lnTo>
                    <a:lnTo>
                      <a:pt x="117" y="3"/>
                    </a:lnTo>
                    <a:lnTo>
                      <a:pt x="117" y="3"/>
                    </a:lnTo>
                    <a:lnTo>
                      <a:pt x="113" y="0"/>
                    </a:lnTo>
                    <a:lnTo>
                      <a:pt x="110" y="0"/>
                    </a:lnTo>
                    <a:lnTo>
                      <a:pt x="106" y="0"/>
                    </a:lnTo>
                    <a:lnTo>
                      <a:pt x="103" y="3"/>
                    </a:lnTo>
                    <a:lnTo>
                      <a:pt x="103" y="3"/>
                    </a:lnTo>
                    <a:lnTo>
                      <a:pt x="100" y="5"/>
                    </a:lnTo>
                    <a:lnTo>
                      <a:pt x="94" y="5"/>
                    </a:lnTo>
                    <a:lnTo>
                      <a:pt x="90" y="5"/>
                    </a:lnTo>
                    <a:lnTo>
                      <a:pt x="89" y="6"/>
                    </a:lnTo>
                    <a:lnTo>
                      <a:pt x="87" y="7"/>
                    </a:lnTo>
                    <a:lnTo>
                      <a:pt x="87" y="7"/>
                    </a:lnTo>
                    <a:lnTo>
                      <a:pt x="86" y="10"/>
                    </a:lnTo>
                    <a:lnTo>
                      <a:pt x="83" y="12"/>
                    </a:lnTo>
                    <a:lnTo>
                      <a:pt x="79" y="15"/>
                    </a:lnTo>
                    <a:lnTo>
                      <a:pt x="79" y="16"/>
                    </a:lnTo>
                    <a:lnTo>
                      <a:pt x="77" y="17"/>
                    </a:lnTo>
                    <a:lnTo>
                      <a:pt x="77" y="17"/>
                    </a:lnTo>
                    <a:lnTo>
                      <a:pt x="79" y="26"/>
                    </a:lnTo>
                    <a:lnTo>
                      <a:pt x="79" y="30"/>
                    </a:lnTo>
                    <a:lnTo>
                      <a:pt x="77" y="32"/>
                    </a:lnTo>
                    <a:lnTo>
                      <a:pt x="74" y="32"/>
                    </a:lnTo>
                    <a:lnTo>
                      <a:pt x="74" y="32"/>
                    </a:lnTo>
                    <a:lnTo>
                      <a:pt x="71" y="32"/>
                    </a:lnTo>
                    <a:lnTo>
                      <a:pt x="70" y="33"/>
                    </a:lnTo>
                    <a:lnTo>
                      <a:pt x="70" y="36"/>
                    </a:lnTo>
                    <a:lnTo>
                      <a:pt x="67" y="40"/>
                    </a:lnTo>
                    <a:lnTo>
                      <a:pt x="67" y="40"/>
                    </a:lnTo>
                    <a:lnTo>
                      <a:pt x="64" y="42"/>
                    </a:lnTo>
                    <a:lnTo>
                      <a:pt x="63" y="40"/>
                    </a:lnTo>
                    <a:lnTo>
                      <a:pt x="61" y="39"/>
                    </a:lnTo>
                    <a:lnTo>
                      <a:pt x="60" y="37"/>
                    </a:lnTo>
                    <a:lnTo>
                      <a:pt x="59" y="37"/>
                    </a:lnTo>
                    <a:lnTo>
                      <a:pt x="59" y="37"/>
                    </a:lnTo>
                    <a:lnTo>
                      <a:pt x="54" y="37"/>
                    </a:lnTo>
                    <a:lnTo>
                      <a:pt x="52" y="37"/>
                    </a:lnTo>
                    <a:lnTo>
                      <a:pt x="49" y="36"/>
                    </a:lnTo>
                    <a:lnTo>
                      <a:pt x="46" y="37"/>
                    </a:lnTo>
                    <a:lnTo>
                      <a:pt x="46" y="37"/>
                    </a:lnTo>
                    <a:lnTo>
                      <a:pt x="43" y="39"/>
                    </a:lnTo>
                    <a:lnTo>
                      <a:pt x="40" y="39"/>
                    </a:lnTo>
                    <a:lnTo>
                      <a:pt x="29" y="36"/>
                    </a:lnTo>
                    <a:lnTo>
                      <a:pt x="29" y="36"/>
                    </a:lnTo>
                    <a:lnTo>
                      <a:pt x="23" y="34"/>
                    </a:lnTo>
                    <a:lnTo>
                      <a:pt x="19" y="30"/>
                    </a:lnTo>
                    <a:lnTo>
                      <a:pt x="16" y="26"/>
                    </a:lnTo>
                    <a:lnTo>
                      <a:pt x="12" y="23"/>
                    </a:lnTo>
                    <a:lnTo>
                      <a:pt x="12" y="23"/>
                    </a:lnTo>
                    <a:lnTo>
                      <a:pt x="9" y="23"/>
                    </a:lnTo>
                    <a:lnTo>
                      <a:pt x="5" y="26"/>
                    </a:lnTo>
                    <a:lnTo>
                      <a:pt x="3" y="27"/>
                    </a:lnTo>
                    <a:lnTo>
                      <a:pt x="0" y="32"/>
                    </a:lnTo>
                    <a:lnTo>
                      <a:pt x="0" y="32"/>
                    </a:lnTo>
                    <a:lnTo>
                      <a:pt x="9" y="37"/>
                    </a:lnTo>
                    <a:lnTo>
                      <a:pt x="13" y="42"/>
                    </a:lnTo>
                    <a:lnTo>
                      <a:pt x="17" y="44"/>
                    </a:lnTo>
                    <a:lnTo>
                      <a:pt x="17" y="44"/>
                    </a:lnTo>
                    <a:lnTo>
                      <a:pt x="33" y="50"/>
                    </a:lnTo>
                    <a:lnTo>
                      <a:pt x="39" y="54"/>
                    </a:lnTo>
                    <a:lnTo>
                      <a:pt x="40" y="56"/>
                    </a:lnTo>
                    <a:lnTo>
                      <a:pt x="42" y="57"/>
                    </a:lnTo>
                    <a:lnTo>
                      <a:pt x="42" y="57"/>
                    </a:lnTo>
                    <a:lnTo>
                      <a:pt x="40" y="67"/>
                    </a:lnTo>
                    <a:lnTo>
                      <a:pt x="40" y="70"/>
                    </a:lnTo>
                    <a:lnTo>
                      <a:pt x="42" y="73"/>
                    </a:lnTo>
                    <a:lnTo>
                      <a:pt x="42" y="73"/>
                    </a:lnTo>
                    <a:lnTo>
                      <a:pt x="43" y="74"/>
                    </a:lnTo>
                    <a:lnTo>
                      <a:pt x="43" y="76"/>
                    </a:lnTo>
                    <a:lnTo>
                      <a:pt x="43" y="80"/>
                    </a:lnTo>
                    <a:lnTo>
                      <a:pt x="43" y="84"/>
                    </a:lnTo>
                    <a:lnTo>
                      <a:pt x="44" y="86"/>
                    </a:lnTo>
                    <a:lnTo>
                      <a:pt x="46" y="87"/>
                    </a:lnTo>
                    <a:lnTo>
                      <a:pt x="46" y="87"/>
                    </a:lnTo>
                    <a:lnTo>
                      <a:pt x="47" y="90"/>
                    </a:lnTo>
                    <a:lnTo>
                      <a:pt x="49" y="96"/>
                    </a:lnTo>
                    <a:lnTo>
                      <a:pt x="47" y="100"/>
                    </a:lnTo>
                    <a:lnTo>
                      <a:pt x="46" y="101"/>
                    </a:lnTo>
                    <a:lnTo>
                      <a:pt x="44" y="101"/>
                    </a:lnTo>
                    <a:lnTo>
                      <a:pt x="44" y="101"/>
                    </a:lnTo>
                    <a:lnTo>
                      <a:pt x="43" y="103"/>
                    </a:lnTo>
                    <a:lnTo>
                      <a:pt x="44" y="104"/>
                    </a:lnTo>
                    <a:lnTo>
                      <a:pt x="47" y="110"/>
                    </a:lnTo>
                    <a:lnTo>
                      <a:pt x="47" y="110"/>
                    </a:lnTo>
                    <a:lnTo>
                      <a:pt x="49" y="113"/>
                    </a:lnTo>
                    <a:lnTo>
                      <a:pt x="50" y="117"/>
                    </a:lnTo>
                    <a:lnTo>
                      <a:pt x="50" y="117"/>
                    </a:lnTo>
                    <a:lnTo>
                      <a:pt x="57" y="120"/>
                    </a:lnTo>
                    <a:lnTo>
                      <a:pt x="63" y="123"/>
                    </a:lnTo>
                    <a:lnTo>
                      <a:pt x="63" y="123"/>
                    </a:lnTo>
                    <a:lnTo>
                      <a:pt x="67" y="126"/>
                    </a:lnTo>
                    <a:lnTo>
                      <a:pt x="69" y="128"/>
                    </a:lnTo>
                    <a:lnTo>
                      <a:pt x="69" y="135"/>
                    </a:lnTo>
                    <a:lnTo>
                      <a:pt x="69" y="135"/>
                    </a:lnTo>
                    <a:lnTo>
                      <a:pt x="69" y="141"/>
                    </a:lnTo>
                    <a:lnTo>
                      <a:pt x="67" y="141"/>
                    </a:lnTo>
                    <a:lnTo>
                      <a:pt x="66" y="141"/>
                    </a:lnTo>
                    <a:lnTo>
                      <a:pt x="66" y="141"/>
                    </a:lnTo>
                    <a:lnTo>
                      <a:pt x="63" y="140"/>
                    </a:lnTo>
                    <a:lnTo>
                      <a:pt x="61" y="141"/>
                    </a:lnTo>
                    <a:lnTo>
                      <a:pt x="59" y="144"/>
                    </a:lnTo>
                    <a:lnTo>
                      <a:pt x="57" y="148"/>
                    </a:lnTo>
                    <a:lnTo>
                      <a:pt x="57" y="148"/>
                    </a:lnTo>
                    <a:lnTo>
                      <a:pt x="54" y="154"/>
                    </a:lnTo>
                    <a:lnTo>
                      <a:pt x="50" y="158"/>
                    </a:lnTo>
                    <a:lnTo>
                      <a:pt x="46" y="163"/>
                    </a:lnTo>
                    <a:lnTo>
                      <a:pt x="40" y="164"/>
                    </a:lnTo>
                    <a:lnTo>
                      <a:pt x="40" y="164"/>
                    </a:lnTo>
                    <a:lnTo>
                      <a:pt x="37" y="165"/>
                    </a:lnTo>
                    <a:lnTo>
                      <a:pt x="36" y="167"/>
                    </a:lnTo>
                    <a:lnTo>
                      <a:pt x="34" y="170"/>
                    </a:lnTo>
                    <a:lnTo>
                      <a:pt x="32" y="171"/>
                    </a:lnTo>
                    <a:lnTo>
                      <a:pt x="32" y="171"/>
                    </a:lnTo>
                    <a:lnTo>
                      <a:pt x="27" y="172"/>
                    </a:lnTo>
                    <a:lnTo>
                      <a:pt x="24" y="174"/>
                    </a:lnTo>
                    <a:lnTo>
                      <a:pt x="23" y="177"/>
                    </a:lnTo>
                    <a:lnTo>
                      <a:pt x="23" y="180"/>
                    </a:lnTo>
                    <a:lnTo>
                      <a:pt x="23" y="180"/>
                    </a:lnTo>
                    <a:lnTo>
                      <a:pt x="22" y="182"/>
                    </a:lnTo>
                    <a:lnTo>
                      <a:pt x="19" y="185"/>
                    </a:lnTo>
                    <a:lnTo>
                      <a:pt x="12" y="185"/>
                    </a:lnTo>
                    <a:lnTo>
                      <a:pt x="12" y="185"/>
                    </a:lnTo>
                    <a:lnTo>
                      <a:pt x="9" y="187"/>
                    </a:lnTo>
                    <a:lnTo>
                      <a:pt x="7" y="190"/>
                    </a:lnTo>
                    <a:lnTo>
                      <a:pt x="6" y="194"/>
                    </a:lnTo>
                    <a:lnTo>
                      <a:pt x="5" y="195"/>
                    </a:lnTo>
                    <a:lnTo>
                      <a:pt x="5" y="195"/>
                    </a:lnTo>
                    <a:lnTo>
                      <a:pt x="3" y="198"/>
                    </a:lnTo>
                    <a:lnTo>
                      <a:pt x="2" y="199"/>
                    </a:lnTo>
                    <a:lnTo>
                      <a:pt x="5" y="205"/>
                    </a:lnTo>
                    <a:lnTo>
                      <a:pt x="5" y="205"/>
                    </a:lnTo>
                    <a:lnTo>
                      <a:pt x="6" y="208"/>
                    </a:lnTo>
                    <a:lnTo>
                      <a:pt x="6" y="211"/>
                    </a:lnTo>
                    <a:lnTo>
                      <a:pt x="6" y="214"/>
                    </a:lnTo>
                    <a:lnTo>
                      <a:pt x="6" y="217"/>
                    </a:lnTo>
                    <a:lnTo>
                      <a:pt x="6" y="217"/>
                    </a:lnTo>
                    <a:lnTo>
                      <a:pt x="10" y="224"/>
                    </a:lnTo>
                    <a:lnTo>
                      <a:pt x="10" y="228"/>
                    </a:lnTo>
                    <a:lnTo>
                      <a:pt x="9" y="234"/>
                    </a:lnTo>
                    <a:lnTo>
                      <a:pt x="9" y="234"/>
                    </a:lnTo>
                    <a:lnTo>
                      <a:pt x="5" y="246"/>
                    </a:lnTo>
                    <a:lnTo>
                      <a:pt x="5" y="249"/>
                    </a:lnTo>
                    <a:lnTo>
                      <a:pt x="5" y="251"/>
                    </a:lnTo>
                    <a:lnTo>
                      <a:pt x="5" y="251"/>
                    </a:lnTo>
                    <a:lnTo>
                      <a:pt x="5" y="251"/>
                    </a:lnTo>
                    <a:lnTo>
                      <a:pt x="7" y="252"/>
                    </a:lnTo>
                    <a:lnTo>
                      <a:pt x="12" y="254"/>
                    </a:lnTo>
                    <a:lnTo>
                      <a:pt x="16" y="256"/>
                    </a:lnTo>
                    <a:lnTo>
                      <a:pt x="20" y="256"/>
                    </a:lnTo>
                    <a:lnTo>
                      <a:pt x="20" y="256"/>
                    </a:lnTo>
                    <a:lnTo>
                      <a:pt x="23" y="258"/>
                    </a:lnTo>
                    <a:lnTo>
                      <a:pt x="24" y="259"/>
                    </a:lnTo>
                    <a:lnTo>
                      <a:pt x="27" y="262"/>
                    </a:lnTo>
                    <a:lnTo>
                      <a:pt x="30" y="262"/>
                    </a:lnTo>
                    <a:lnTo>
                      <a:pt x="30" y="262"/>
                    </a:lnTo>
                    <a:lnTo>
                      <a:pt x="33" y="262"/>
                    </a:lnTo>
                    <a:lnTo>
                      <a:pt x="36" y="264"/>
                    </a:lnTo>
                    <a:lnTo>
                      <a:pt x="40" y="265"/>
                    </a:lnTo>
                    <a:lnTo>
                      <a:pt x="47" y="266"/>
                    </a:lnTo>
                    <a:lnTo>
                      <a:pt x="47" y="266"/>
                    </a:lnTo>
                    <a:lnTo>
                      <a:pt x="59" y="264"/>
                    </a:lnTo>
                    <a:lnTo>
                      <a:pt x="73" y="259"/>
                    </a:lnTo>
                    <a:lnTo>
                      <a:pt x="87" y="256"/>
                    </a:lnTo>
                    <a:lnTo>
                      <a:pt x="97" y="255"/>
                    </a:lnTo>
                    <a:lnTo>
                      <a:pt x="97" y="255"/>
                    </a:lnTo>
                    <a:lnTo>
                      <a:pt x="106" y="254"/>
                    </a:lnTo>
                    <a:lnTo>
                      <a:pt x="111" y="252"/>
                    </a:lnTo>
                    <a:lnTo>
                      <a:pt x="111" y="252"/>
                    </a:lnTo>
                    <a:lnTo>
                      <a:pt x="120" y="244"/>
                    </a:lnTo>
                    <a:lnTo>
                      <a:pt x="120" y="244"/>
                    </a:lnTo>
                    <a:lnTo>
                      <a:pt x="125" y="238"/>
                    </a:lnTo>
                    <a:lnTo>
                      <a:pt x="133" y="234"/>
                    </a:lnTo>
                    <a:lnTo>
                      <a:pt x="140" y="229"/>
                    </a:lnTo>
                    <a:lnTo>
                      <a:pt x="144" y="224"/>
                    </a:lnTo>
                    <a:lnTo>
                      <a:pt x="144" y="22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0" name="Slovenia">
                <a:extLst>
                  <a:ext uri="{FF2B5EF4-FFF2-40B4-BE49-F238E27FC236}">
                    <a16:creationId xmlns:a16="http://schemas.microsoft.com/office/drawing/2014/main" id="{3F93AAC0-2972-4B48-8C7D-E048A226776B}"/>
                  </a:ext>
                </a:extLst>
              </p:cNvPr>
              <p:cNvSpPr>
                <a:spLocks/>
              </p:cNvSpPr>
              <p:nvPr/>
            </p:nvSpPr>
            <p:spPr bwMode="auto">
              <a:xfrm>
                <a:off x="4629712" y="3099276"/>
                <a:ext cx="79908" cy="41434"/>
              </a:xfrm>
              <a:custGeom>
                <a:avLst/>
                <a:gdLst/>
                <a:ahLst/>
                <a:cxnLst>
                  <a:cxn ang="0">
                    <a:pos x="0" y="26"/>
                  </a:cxn>
                  <a:cxn ang="0">
                    <a:pos x="0" y="26"/>
                  </a:cxn>
                  <a:cxn ang="0">
                    <a:pos x="7" y="24"/>
                  </a:cxn>
                  <a:cxn ang="0">
                    <a:pos x="12" y="24"/>
                  </a:cxn>
                  <a:cxn ang="0">
                    <a:pos x="12" y="24"/>
                  </a:cxn>
                  <a:cxn ang="0">
                    <a:pos x="13" y="26"/>
                  </a:cxn>
                  <a:cxn ang="0">
                    <a:pos x="14" y="28"/>
                  </a:cxn>
                  <a:cxn ang="0">
                    <a:pos x="14" y="28"/>
                  </a:cxn>
                  <a:cxn ang="0">
                    <a:pos x="26" y="27"/>
                  </a:cxn>
                  <a:cxn ang="0">
                    <a:pos x="26" y="27"/>
                  </a:cxn>
                  <a:cxn ang="0">
                    <a:pos x="27" y="27"/>
                  </a:cxn>
                  <a:cxn ang="0">
                    <a:pos x="31" y="27"/>
                  </a:cxn>
                  <a:cxn ang="0">
                    <a:pos x="34" y="28"/>
                  </a:cxn>
                  <a:cxn ang="0">
                    <a:pos x="36" y="27"/>
                  </a:cxn>
                  <a:cxn ang="0">
                    <a:pos x="36" y="27"/>
                  </a:cxn>
                  <a:cxn ang="0">
                    <a:pos x="37" y="23"/>
                  </a:cxn>
                  <a:cxn ang="0">
                    <a:pos x="39" y="21"/>
                  </a:cxn>
                  <a:cxn ang="0">
                    <a:pos x="41" y="20"/>
                  </a:cxn>
                  <a:cxn ang="0">
                    <a:pos x="41" y="20"/>
                  </a:cxn>
                  <a:cxn ang="0">
                    <a:pos x="43" y="18"/>
                  </a:cxn>
                  <a:cxn ang="0">
                    <a:pos x="43" y="17"/>
                  </a:cxn>
                  <a:cxn ang="0">
                    <a:pos x="43" y="14"/>
                  </a:cxn>
                  <a:cxn ang="0">
                    <a:pos x="44" y="13"/>
                  </a:cxn>
                  <a:cxn ang="0">
                    <a:pos x="44" y="13"/>
                  </a:cxn>
                  <a:cxn ang="0">
                    <a:pos x="51" y="9"/>
                  </a:cxn>
                  <a:cxn ang="0">
                    <a:pos x="54" y="6"/>
                  </a:cxn>
                  <a:cxn ang="0">
                    <a:pos x="54" y="6"/>
                  </a:cxn>
                  <a:cxn ang="0">
                    <a:pos x="53" y="3"/>
                  </a:cxn>
                  <a:cxn ang="0">
                    <a:pos x="51" y="0"/>
                  </a:cxn>
                  <a:cxn ang="0">
                    <a:pos x="51" y="0"/>
                  </a:cxn>
                  <a:cxn ang="0">
                    <a:pos x="47" y="1"/>
                  </a:cxn>
                  <a:cxn ang="0">
                    <a:pos x="44" y="3"/>
                  </a:cxn>
                  <a:cxn ang="0">
                    <a:pos x="40" y="3"/>
                  </a:cxn>
                  <a:cxn ang="0">
                    <a:pos x="40" y="3"/>
                  </a:cxn>
                  <a:cxn ang="0">
                    <a:pos x="36" y="4"/>
                  </a:cxn>
                  <a:cxn ang="0">
                    <a:pos x="31" y="6"/>
                  </a:cxn>
                  <a:cxn ang="0">
                    <a:pos x="29" y="7"/>
                  </a:cxn>
                  <a:cxn ang="0">
                    <a:pos x="26" y="9"/>
                  </a:cxn>
                  <a:cxn ang="0">
                    <a:pos x="26" y="9"/>
                  </a:cxn>
                  <a:cxn ang="0">
                    <a:pos x="19" y="7"/>
                  </a:cxn>
                  <a:cxn ang="0">
                    <a:pos x="9" y="4"/>
                  </a:cxn>
                  <a:cxn ang="0">
                    <a:pos x="9" y="4"/>
                  </a:cxn>
                  <a:cxn ang="0">
                    <a:pos x="2" y="4"/>
                  </a:cxn>
                  <a:cxn ang="0">
                    <a:pos x="2" y="4"/>
                  </a:cxn>
                  <a:cxn ang="0">
                    <a:pos x="2" y="14"/>
                  </a:cxn>
                  <a:cxn ang="0">
                    <a:pos x="0" y="26"/>
                  </a:cxn>
                  <a:cxn ang="0">
                    <a:pos x="0" y="26"/>
                  </a:cxn>
                </a:cxnLst>
                <a:rect l="0" t="0" r="r" b="b"/>
                <a:pathLst>
                  <a:path w="54" h="28">
                    <a:moveTo>
                      <a:pt x="0" y="26"/>
                    </a:moveTo>
                    <a:lnTo>
                      <a:pt x="0" y="26"/>
                    </a:lnTo>
                    <a:lnTo>
                      <a:pt x="7" y="24"/>
                    </a:lnTo>
                    <a:lnTo>
                      <a:pt x="12" y="24"/>
                    </a:lnTo>
                    <a:lnTo>
                      <a:pt x="12" y="24"/>
                    </a:lnTo>
                    <a:lnTo>
                      <a:pt x="13" y="26"/>
                    </a:lnTo>
                    <a:lnTo>
                      <a:pt x="14" y="28"/>
                    </a:lnTo>
                    <a:lnTo>
                      <a:pt x="14" y="28"/>
                    </a:lnTo>
                    <a:lnTo>
                      <a:pt x="26" y="27"/>
                    </a:lnTo>
                    <a:lnTo>
                      <a:pt x="26" y="27"/>
                    </a:lnTo>
                    <a:lnTo>
                      <a:pt x="27" y="27"/>
                    </a:lnTo>
                    <a:lnTo>
                      <a:pt x="31" y="27"/>
                    </a:lnTo>
                    <a:lnTo>
                      <a:pt x="34" y="28"/>
                    </a:lnTo>
                    <a:lnTo>
                      <a:pt x="36" y="27"/>
                    </a:lnTo>
                    <a:lnTo>
                      <a:pt x="36" y="27"/>
                    </a:lnTo>
                    <a:lnTo>
                      <a:pt x="37" y="23"/>
                    </a:lnTo>
                    <a:lnTo>
                      <a:pt x="39" y="21"/>
                    </a:lnTo>
                    <a:lnTo>
                      <a:pt x="41" y="20"/>
                    </a:lnTo>
                    <a:lnTo>
                      <a:pt x="41" y="20"/>
                    </a:lnTo>
                    <a:lnTo>
                      <a:pt x="43" y="18"/>
                    </a:lnTo>
                    <a:lnTo>
                      <a:pt x="43" y="17"/>
                    </a:lnTo>
                    <a:lnTo>
                      <a:pt x="43" y="14"/>
                    </a:lnTo>
                    <a:lnTo>
                      <a:pt x="44" y="13"/>
                    </a:lnTo>
                    <a:lnTo>
                      <a:pt x="44" y="13"/>
                    </a:lnTo>
                    <a:lnTo>
                      <a:pt x="51" y="9"/>
                    </a:lnTo>
                    <a:lnTo>
                      <a:pt x="54" y="6"/>
                    </a:lnTo>
                    <a:lnTo>
                      <a:pt x="54" y="6"/>
                    </a:lnTo>
                    <a:lnTo>
                      <a:pt x="53" y="3"/>
                    </a:lnTo>
                    <a:lnTo>
                      <a:pt x="51" y="0"/>
                    </a:lnTo>
                    <a:lnTo>
                      <a:pt x="51" y="0"/>
                    </a:lnTo>
                    <a:lnTo>
                      <a:pt x="47" y="1"/>
                    </a:lnTo>
                    <a:lnTo>
                      <a:pt x="44" y="3"/>
                    </a:lnTo>
                    <a:lnTo>
                      <a:pt x="40" y="3"/>
                    </a:lnTo>
                    <a:lnTo>
                      <a:pt x="40" y="3"/>
                    </a:lnTo>
                    <a:lnTo>
                      <a:pt x="36" y="4"/>
                    </a:lnTo>
                    <a:lnTo>
                      <a:pt x="31" y="6"/>
                    </a:lnTo>
                    <a:lnTo>
                      <a:pt x="29" y="7"/>
                    </a:lnTo>
                    <a:lnTo>
                      <a:pt x="26" y="9"/>
                    </a:lnTo>
                    <a:lnTo>
                      <a:pt x="26" y="9"/>
                    </a:lnTo>
                    <a:lnTo>
                      <a:pt x="19" y="7"/>
                    </a:lnTo>
                    <a:lnTo>
                      <a:pt x="9" y="4"/>
                    </a:lnTo>
                    <a:lnTo>
                      <a:pt x="9" y="4"/>
                    </a:lnTo>
                    <a:lnTo>
                      <a:pt x="2" y="4"/>
                    </a:lnTo>
                    <a:lnTo>
                      <a:pt x="2" y="4"/>
                    </a:lnTo>
                    <a:lnTo>
                      <a:pt x="2" y="14"/>
                    </a:lnTo>
                    <a:lnTo>
                      <a:pt x="0" y="26"/>
                    </a:lnTo>
                    <a:lnTo>
                      <a:pt x="0" y="2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1" name="Greece">
                <a:extLst>
                  <a:ext uri="{FF2B5EF4-FFF2-40B4-BE49-F238E27FC236}">
                    <a16:creationId xmlns:a16="http://schemas.microsoft.com/office/drawing/2014/main" id="{7C74FEDA-9356-244F-A13E-766462BAC482}"/>
                  </a:ext>
                </a:extLst>
              </p:cNvPr>
              <p:cNvSpPr>
                <a:spLocks noEditPoints="1"/>
              </p:cNvSpPr>
              <p:nvPr/>
            </p:nvSpPr>
            <p:spPr bwMode="auto">
              <a:xfrm>
                <a:off x="4793967" y="3248735"/>
                <a:ext cx="152418" cy="187933"/>
              </a:xfrm>
              <a:custGeom>
                <a:avLst/>
                <a:gdLst/>
                <a:ahLst/>
                <a:cxnLst>
                  <a:cxn ang="0">
                    <a:pos x="94" y="3"/>
                  </a:cxn>
                  <a:cxn ang="0">
                    <a:pos x="93" y="7"/>
                  </a:cxn>
                  <a:cxn ang="0">
                    <a:pos x="70" y="4"/>
                  </a:cxn>
                  <a:cxn ang="0">
                    <a:pos x="48" y="4"/>
                  </a:cxn>
                  <a:cxn ang="0">
                    <a:pos x="41" y="10"/>
                  </a:cxn>
                  <a:cxn ang="0">
                    <a:pos x="31" y="11"/>
                  </a:cxn>
                  <a:cxn ang="0">
                    <a:pos x="26" y="17"/>
                  </a:cxn>
                  <a:cxn ang="0">
                    <a:pos x="14" y="18"/>
                  </a:cxn>
                  <a:cxn ang="0">
                    <a:pos x="9" y="28"/>
                  </a:cxn>
                  <a:cxn ang="0">
                    <a:pos x="6" y="33"/>
                  </a:cxn>
                  <a:cxn ang="0">
                    <a:pos x="0" y="41"/>
                  </a:cxn>
                  <a:cxn ang="0">
                    <a:pos x="7" y="47"/>
                  </a:cxn>
                  <a:cxn ang="0">
                    <a:pos x="11" y="60"/>
                  </a:cxn>
                  <a:cxn ang="0">
                    <a:pos x="21" y="60"/>
                  </a:cxn>
                  <a:cxn ang="0">
                    <a:pos x="34" y="63"/>
                  </a:cxn>
                  <a:cxn ang="0">
                    <a:pos x="34" y="65"/>
                  </a:cxn>
                  <a:cxn ang="0">
                    <a:pos x="19" y="67"/>
                  </a:cxn>
                  <a:cxn ang="0">
                    <a:pos x="19" y="73"/>
                  </a:cxn>
                  <a:cxn ang="0">
                    <a:pos x="21" y="80"/>
                  </a:cxn>
                  <a:cxn ang="0">
                    <a:pos x="30" y="91"/>
                  </a:cxn>
                  <a:cxn ang="0">
                    <a:pos x="43" y="98"/>
                  </a:cxn>
                  <a:cxn ang="0">
                    <a:pos x="46" y="95"/>
                  </a:cxn>
                  <a:cxn ang="0">
                    <a:pos x="43" y="83"/>
                  </a:cxn>
                  <a:cxn ang="0">
                    <a:pos x="54" y="81"/>
                  </a:cxn>
                  <a:cxn ang="0">
                    <a:pos x="50" y="75"/>
                  </a:cxn>
                  <a:cxn ang="0">
                    <a:pos x="44" y="73"/>
                  </a:cxn>
                  <a:cxn ang="0">
                    <a:pos x="56" y="74"/>
                  </a:cxn>
                  <a:cxn ang="0">
                    <a:pos x="66" y="68"/>
                  </a:cxn>
                  <a:cxn ang="0">
                    <a:pos x="58" y="58"/>
                  </a:cxn>
                  <a:cxn ang="0">
                    <a:pos x="48" y="60"/>
                  </a:cxn>
                  <a:cxn ang="0">
                    <a:pos x="43" y="55"/>
                  </a:cxn>
                  <a:cxn ang="0">
                    <a:pos x="50" y="50"/>
                  </a:cxn>
                  <a:cxn ang="0">
                    <a:pos x="37" y="31"/>
                  </a:cxn>
                  <a:cxn ang="0">
                    <a:pos x="38" y="26"/>
                  </a:cxn>
                  <a:cxn ang="0">
                    <a:pos x="48" y="30"/>
                  </a:cxn>
                  <a:cxn ang="0">
                    <a:pos x="58" y="28"/>
                  </a:cxn>
                  <a:cxn ang="0">
                    <a:pos x="58" y="20"/>
                  </a:cxn>
                  <a:cxn ang="0">
                    <a:pos x="66" y="16"/>
                  </a:cxn>
                  <a:cxn ang="0">
                    <a:pos x="73" y="20"/>
                  </a:cxn>
                  <a:cxn ang="0">
                    <a:pos x="83" y="14"/>
                  </a:cxn>
                  <a:cxn ang="0">
                    <a:pos x="97" y="17"/>
                  </a:cxn>
                  <a:cxn ang="0">
                    <a:pos x="100" y="10"/>
                  </a:cxn>
                  <a:cxn ang="0">
                    <a:pos x="101" y="0"/>
                  </a:cxn>
                  <a:cxn ang="0">
                    <a:pos x="83" y="119"/>
                  </a:cxn>
                  <a:cxn ang="0">
                    <a:pos x="63" y="117"/>
                  </a:cxn>
                  <a:cxn ang="0">
                    <a:pos x="54" y="117"/>
                  </a:cxn>
                  <a:cxn ang="0">
                    <a:pos x="53" y="121"/>
                  </a:cxn>
                  <a:cxn ang="0">
                    <a:pos x="75" y="127"/>
                  </a:cxn>
                  <a:cxn ang="0">
                    <a:pos x="98" y="121"/>
                  </a:cxn>
                  <a:cxn ang="0">
                    <a:pos x="91" y="121"/>
                  </a:cxn>
                </a:cxnLst>
                <a:rect l="0" t="0" r="r" b="b"/>
                <a:pathLst>
                  <a:path w="103" h="127">
                    <a:moveTo>
                      <a:pt x="101" y="0"/>
                    </a:moveTo>
                    <a:lnTo>
                      <a:pt x="101" y="0"/>
                    </a:lnTo>
                    <a:lnTo>
                      <a:pt x="95" y="1"/>
                    </a:lnTo>
                    <a:lnTo>
                      <a:pt x="94" y="3"/>
                    </a:lnTo>
                    <a:lnTo>
                      <a:pt x="94" y="4"/>
                    </a:lnTo>
                    <a:lnTo>
                      <a:pt x="94" y="4"/>
                    </a:lnTo>
                    <a:lnTo>
                      <a:pt x="93" y="6"/>
                    </a:lnTo>
                    <a:lnTo>
                      <a:pt x="93" y="7"/>
                    </a:lnTo>
                    <a:lnTo>
                      <a:pt x="87" y="7"/>
                    </a:lnTo>
                    <a:lnTo>
                      <a:pt x="87" y="7"/>
                    </a:lnTo>
                    <a:lnTo>
                      <a:pt x="80" y="7"/>
                    </a:lnTo>
                    <a:lnTo>
                      <a:pt x="70" y="4"/>
                    </a:lnTo>
                    <a:lnTo>
                      <a:pt x="70" y="4"/>
                    </a:lnTo>
                    <a:lnTo>
                      <a:pt x="67" y="4"/>
                    </a:lnTo>
                    <a:lnTo>
                      <a:pt x="60" y="4"/>
                    </a:lnTo>
                    <a:lnTo>
                      <a:pt x="48" y="4"/>
                    </a:lnTo>
                    <a:lnTo>
                      <a:pt x="48" y="4"/>
                    </a:lnTo>
                    <a:lnTo>
                      <a:pt x="48" y="6"/>
                    </a:lnTo>
                    <a:lnTo>
                      <a:pt x="48" y="6"/>
                    </a:lnTo>
                    <a:lnTo>
                      <a:pt x="41" y="10"/>
                    </a:lnTo>
                    <a:lnTo>
                      <a:pt x="36" y="11"/>
                    </a:lnTo>
                    <a:lnTo>
                      <a:pt x="33" y="11"/>
                    </a:lnTo>
                    <a:lnTo>
                      <a:pt x="33" y="11"/>
                    </a:lnTo>
                    <a:lnTo>
                      <a:pt x="31" y="11"/>
                    </a:lnTo>
                    <a:lnTo>
                      <a:pt x="30" y="13"/>
                    </a:lnTo>
                    <a:lnTo>
                      <a:pt x="29" y="16"/>
                    </a:lnTo>
                    <a:lnTo>
                      <a:pt x="26" y="17"/>
                    </a:lnTo>
                    <a:lnTo>
                      <a:pt x="26" y="17"/>
                    </a:lnTo>
                    <a:lnTo>
                      <a:pt x="19" y="17"/>
                    </a:lnTo>
                    <a:lnTo>
                      <a:pt x="16" y="17"/>
                    </a:lnTo>
                    <a:lnTo>
                      <a:pt x="14" y="18"/>
                    </a:lnTo>
                    <a:lnTo>
                      <a:pt x="14" y="18"/>
                    </a:lnTo>
                    <a:lnTo>
                      <a:pt x="13" y="23"/>
                    </a:lnTo>
                    <a:lnTo>
                      <a:pt x="9" y="27"/>
                    </a:lnTo>
                    <a:lnTo>
                      <a:pt x="9" y="27"/>
                    </a:lnTo>
                    <a:lnTo>
                      <a:pt x="9" y="28"/>
                    </a:lnTo>
                    <a:lnTo>
                      <a:pt x="7" y="31"/>
                    </a:lnTo>
                    <a:lnTo>
                      <a:pt x="7" y="33"/>
                    </a:lnTo>
                    <a:lnTo>
                      <a:pt x="6" y="33"/>
                    </a:lnTo>
                    <a:lnTo>
                      <a:pt x="6" y="33"/>
                    </a:lnTo>
                    <a:lnTo>
                      <a:pt x="4" y="34"/>
                    </a:lnTo>
                    <a:lnTo>
                      <a:pt x="3" y="37"/>
                    </a:lnTo>
                    <a:lnTo>
                      <a:pt x="0" y="41"/>
                    </a:lnTo>
                    <a:lnTo>
                      <a:pt x="0" y="41"/>
                    </a:lnTo>
                    <a:lnTo>
                      <a:pt x="2" y="43"/>
                    </a:lnTo>
                    <a:lnTo>
                      <a:pt x="2" y="43"/>
                    </a:lnTo>
                    <a:lnTo>
                      <a:pt x="4" y="44"/>
                    </a:lnTo>
                    <a:lnTo>
                      <a:pt x="7" y="47"/>
                    </a:lnTo>
                    <a:lnTo>
                      <a:pt x="10" y="51"/>
                    </a:lnTo>
                    <a:lnTo>
                      <a:pt x="10" y="55"/>
                    </a:lnTo>
                    <a:lnTo>
                      <a:pt x="10" y="55"/>
                    </a:lnTo>
                    <a:lnTo>
                      <a:pt x="11" y="60"/>
                    </a:lnTo>
                    <a:lnTo>
                      <a:pt x="14" y="61"/>
                    </a:lnTo>
                    <a:lnTo>
                      <a:pt x="17" y="63"/>
                    </a:lnTo>
                    <a:lnTo>
                      <a:pt x="21" y="60"/>
                    </a:lnTo>
                    <a:lnTo>
                      <a:pt x="21" y="60"/>
                    </a:lnTo>
                    <a:lnTo>
                      <a:pt x="23" y="58"/>
                    </a:lnTo>
                    <a:lnTo>
                      <a:pt x="26" y="58"/>
                    </a:lnTo>
                    <a:lnTo>
                      <a:pt x="30" y="60"/>
                    </a:lnTo>
                    <a:lnTo>
                      <a:pt x="34" y="63"/>
                    </a:lnTo>
                    <a:lnTo>
                      <a:pt x="36" y="65"/>
                    </a:lnTo>
                    <a:lnTo>
                      <a:pt x="36" y="65"/>
                    </a:lnTo>
                    <a:lnTo>
                      <a:pt x="36" y="65"/>
                    </a:lnTo>
                    <a:lnTo>
                      <a:pt x="34" y="65"/>
                    </a:lnTo>
                    <a:lnTo>
                      <a:pt x="30" y="65"/>
                    </a:lnTo>
                    <a:lnTo>
                      <a:pt x="24" y="65"/>
                    </a:lnTo>
                    <a:lnTo>
                      <a:pt x="21" y="65"/>
                    </a:lnTo>
                    <a:lnTo>
                      <a:pt x="19" y="67"/>
                    </a:lnTo>
                    <a:lnTo>
                      <a:pt x="19" y="67"/>
                    </a:lnTo>
                    <a:lnTo>
                      <a:pt x="17" y="68"/>
                    </a:lnTo>
                    <a:lnTo>
                      <a:pt x="17" y="70"/>
                    </a:lnTo>
                    <a:lnTo>
                      <a:pt x="19" y="73"/>
                    </a:lnTo>
                    <a:lnTo>
                      <a:pt x="21" y="77"/>
                    </a:lnTo>
                    <a:lnTo>
                      <a:pt x="21" y="78"/>
                    </a:lnTo>
                    <a:lnTo>
                      <a:pt x="21" y="80"/>
                    </a:lnTo>
                    <a:lnTo>
                      <a:pt x="21" y="80"/>
                    </a:lnTo>
                    <a:lnTo>
                      <a:pt x="21" y="84"/>
                    </a:lnTo>
                    <a:lnTo>
                      <a:pt x="23" y="87"/>
                    </a:lnTo>
                    <a:lnTo>
                      <a:pt x="27" y="90"/>
                    </a:lnTo>
                    <a:lnTo>
                      <a:pt x="30" y="91"/>
                    </a:lnTo>
                    <a:lnTo>
                      <a:pt x="30" y="91"/>
                    </a:lnTo>
                    <a:lnTo>
                      <a:pt x="34" y="92"/>
                    </a:lnTo>
                    <a:lnTo>
                      <a:pt x="38" y="95"/>
                    </a:lnTo>
                    <a:lnTo>
                      <a:pt x="43" y="98"/>
                    </a:lnTo>
                    <a:lnTo>
                      <a:pt x="46" y="98"/>
                    </a:lnTo>
                    <a:lnTo>
                      <a:pt x="46" y="98"/>
                    </a:lnTo>
                    <a:lnTo>
                      <a:pt x="46" y="97"/>
                    </a:lnTo>
                    <a:lnTo>
                      <a:pt x="46" y="95"/>
                    </a:lnTo>
                    <a:lnTo>
                      <a:pt x="44" y="90"/>
                    </a:lnTo>
                    <a:lnTo>
                      <a:pt x="43" y="85"/>
                    </a:lnTo>
                    <a:lnTo>
                      <a:pt x="43" y="83"/>
                    </a:lnTo>
                    <a:lnTo>
                      <a:pt x="43" y="83"/>
                    </a:lnTo>
                    <a:lnTo>
                      <a:pt x="44" y="83"/>
                    </a:lnTo>
                    <a:lnTo>
                      <a:pt x="47" y="83"/>
                    </a:lnTo>
                    <a:lnTo>
                      <a:pt x="50" y="83"/>
                    </a:lnTo>
                    <a:lnTo>
                      <a:pt x="54" y="81"/>
                    </a:lnTo>
                    <a:lnTo>
                      <a:pt x="54" y="81"/>
                    </a:lnTo>
                    <a:lnTo>
                      <a:pt x="54" y="80"/>
                    </a:lnTo>
                    <a:lnTo>
                      <a:pt x="53" y="77"/>
                    </a:lnTo>
                    <a:lnTo>
                      <a:pt x="50" y="75"/>
                    </a:lnTo>
                    <a:lnTo>
                      <a:pt x="46" y="75"/>
                    </a:lnTo>
                    <a:lnTo>
                      <a:pt x="46" y="75"/>
                    </a:lnTo>
                    <a:lnTo>
                      <a:pt x="44" y="74"/>
                    </a:lnTo>
                    <a:lnTo>
                      <a:pt x="44" y="73"/>
                    </a:lnTo>
                    <a:lnTo>
                      <a:pt x="47" y="71"/>
                    </a:lnTo>
                    <a:lnTo>
                      <a:pt x="51" y="73"/>
                    </a:lnTo>
                    <a:lnTo>
                      <a:pt x="51" y="73"/>
                    </a:lnTo>
                    <a:lnTo>
                      <a:pt x="56" y="74"/>
                    </a:lnTo>
                    <a:lnTo>
                      <a:pt x="58" y="73"/>
                    </a:lnTo>
                    <a:lnTo>
                      <a:pt x="64" y="71"/>
                    </a:lnTo>
                    <a:lnTo>
                      <a:pt x="64" y="71"/>
                    </a:lnTo>
                    <a:lnTo>
                      <a:pt x="66" y="68"/>
                    </a:lnTo>
                    <a:lnTo>
                      <a:pt x="66" y="65"/>
                    </a:lnTo>
                    <a:lnTo>
                      <a:pt x="63" y="61"/>
                    </a:lnTo>
                    <a:lnTo>
                      <a:pt x="61" y="58"/>
                    </a:lnTo>
                    <a:lnTo>
                      <a:pt x="58" y="58"/>
                    </a:lnTo>
                    <a:lnTo>
                      <a:pt x="58" y="58"/>
                    </a:lnTo>
                    <a:lnTo>
                      <a:pt x="53" y="58"/>
                    </a:lnTo>
                    <a:lnTo>
                      <a:pt x="50" y="60"/>
                    </a:lnTo>
                    <a:lnTo>
                      <a:pt x="48" y="60"/>
                    </a:lnTo>
                    <a:lnTo>
                      <a:pt x="46" y="58"/>
                    </a:lnTo>
                    <a:lnTo>
                      <a:pt x="46" y="58"/>
                    </a:lnTo>
                    <a:lnTo>
                      <a:pt x="44" y="57"/>
                    </a:lnTo>
                    <a:lnTo>
                      <a:pt x="43" y="55"/>
                    </a:lnTo>
                    <a:lnTo>
                      <a:pt x="46" y="54"/>
                    </a:lnTo>
                    <a:lnTo>
                      <a:pt x="48" y="53"/>
                    </a:lnTo>
                    <a:lnTo>
                      <a:pt x="50" y="51"/>
                    </a:lnTo>
                    <a:lnTo>
                      <a:pt x="50" y="50"/>
                    </a:lnTo>
                    <a:lnTo>
                      <a:pt x="50" y="50"/>
                    </a:lnTo>
                    <a:lnTo>
                      <a:pt x="48" y="46"/>
                    </a:lnTo>
                    <a:lnTo>
                      <a:pt x="46" y="41"/>
                    </a:lnTo>
                    <a:lnTo>
                      <a:pt x="37" y="31"/>
                    </a:lnTo>
                    <a:lnTo>
                      <a:pt x="37" y="31"/>
                    </a:lnTo>
                    <a:lnTo>
                      <a:pt x="36" y="30"/>
                    </a:lnTo>
                    <a:lnTo>
                      <a:pt x="36" y="28"/>
                    </a:lnTo>
                    <a:lnTo>
                      <a:pt x="38" y="26"/>
                    </a:lnTo>
                    <a:lnTo>
                      <a:pt x="43" y="26"/>
                    </a:lnTo>
                    <a:lnTo>
                      <a:pt x="46" y="27"/>
                    </a:lnTo>
                    <a:lnTo>
                      <a:pt x="46" y="27"/>
                    </a:lnTo>
                    <a:lnTo>
                      <a:pt x="48" y="30"/>
                    </a:lnTo>
                    <a:lnTo>
                      <a:pt x="51" y="30"/>
                    </a:lnTo>
                    <a:lnTo>
                      <a:pt x="54" y="30"/>
                    </a:lnTo>
                    <a:lnTo>
                      <a:pt x="58" y="28"/>
                    </a:lnTo>
                    <a:lnTo>
                      <a:pt x="58" y="28"/>
                    </a:lnTo>
                    <a:lnTo>
                      <a:pt x="60" y="28"/>
                    </a:lnTo>
                    <a:lnTo>
                      <a:pt x="60" y="27"/>
                    </a:lnTo>
                    <a:lnTo>
                      <a:pt x="58" y="23"/>
                    </a:lnTo>
                    <a:lnTo>
                      <a:pt x="58" y="20"/>
                    </a:lnTo>
                    <a:lnTo>
                      <a:pt x="60" y="18"/>
                    </a:lnTo>
                    <a:lnTo>
                      <a:pt x="61" y="17"/>
                    </a:lnTo>
                    <a:lnTo>
                      <a:pt x="61" y="17"/>
                    </a:lnTo>
                    <a:lnTo>
                      <a:pt x="66" y="16"/>
                    </a:lnTo>
                    <a:lnTo>
                      <a:pt x="68" y="17"/>
                    </a:lnTo>
                    <a:lnTo>
                      <a:pt x="71" y="20"/>
                    </a:lnTo>
                    <a:lnTo>
                      <a:pt x="71" y="20"/>
                    </a:lnTo>
                    <a:lnTo>
                      <a:pt x="73" y="20"/>
                    </a:lnTo>
                    <a:lnTo>
                      <a:pt x="75" y="17"/>
                    </a:lnTo>
                    <a:lnTo>
                      <a:pt x="78" y="16"/>
                    </a:lnTo>
                    <a:lnTo>
                      <a:pt x="83" y="14"/>
                    </a:lnTo>
                    <a:lnTo>
                      <a:pt x="83" y="14"/>
                    </a:lnTo>
                    <a:lnTo>
                      <a:pt x="88" y="16"/>
                    </a:lnTo>
                    <a:lnTo>
                      <a:pt x="94" y="20"/>
                    </a:lnTo>
                    <a:lnTo>
                      <a:pt x="94" y="20"/>
                    </a:lnTo>
                    <a:lnTo>
                      <a:pt x="97" y="17"/>
                    </a:lnTo>
                    <a:lnTo>
                      <a:pt x="98" y="14"/>
                    </a:lnTo>
                    <a:lnTo>
                      <a:pt x="98" y="14"/>
                    </a:lnTo>
                    <a:lnTo>
                      <a:pt x="98" y="11"/>
                    </a:lnTo>
                    <a:lnTo>
                      <a:pt x="100" y="10"/>
                    </a:lnTo>
                    <a:lnTo>
                      <a:pt x="101" y="9"/>
                    </a:lnTo>
                    <a:lnTo>
                      <a:pt x="103" y="6"/>
                    </a:lnTo>
                    <a:lnTo>
                      <a:pt x="103" y="6"/>
                    </a:lnTo>
                    <a:lnTo>
                      <a:pt x="101" y="0"/>
                    </a:lnTo>
                    <a:lnTo>
                      <a:pt x="101" y="0"/>
                    </a:lnTo>
                    <a:close/>
                    <a:moveTo>
                      <a:pt x="88" y="119"/>
                    </a:moveTo>
                    <a:lnTo>
                      <a:pt x="88" y="119"/>
                    </a:lnTo>
                    <a:lnTo>
                      <a:pt x="83" y="119"/>
                    </a:lnTo>
                    <a:lnTo>
                      <a:pt x="75" y="119"/>
                    </a:lnTo>
                    <a:lnTo>
                      <a:pt x="67" y="118"/>
                    </a:lnTo>
                    <a:lnTo>
                      <a:pt x="64" y="118"/>
                    </a:lnTo>
                    <a:lnTo>
                      <a:pt x="63" y="117"/>
                    </a:lnTo>
                    <a:lnTo>
                      <a:pt x="63" y="117"/>
                    </a:lnTo>
                    <a:lnTo>
                      <a:pt x="60" y="115"/>
                    </a:lnTo>
                    <a:lnTo>
                      <a:pt x="58" y="115"/>
                    </a:lnTo>
                    <a:lnTo>
                      <a:pt x="54" y="117"/>
                    </a:lnTo>
                    <a:lnTo>
                      <a:pt x="51" y="119"/>
                    </a:lnTo>
                    <a:lnTo>
                      <a:pt x="51" y="121"/>
                    </a:lnTo>
                    <a:lnTo>
                      <a:pt x="53" y="121"/>
                    </a:lnTo>
                    <a:lnTo>
                      <a:pt x="53" y="121"/>
                    </a:lnTo>
                    <a:lnTo>
                      <a:pt x="63" y="124"/>
                    </a:lnTo>
                    <a:lnTo>
                      <a:pt x="70" y="127"/>
                    </a:lnTo>
                    <a:lnTo>
                      <a:pt x="75" y="127"/>
                    </a:lnTo>
                    <a:lnTo>
                      <a:pt x="75" y="127"/>
                    </a:lnTo>
                    <a:lnTo>
                      <a:pt x="83" y="127"/>
                    </a:lnTo>
                    <a:lnTo>
                      <a:pt x="90" y="125"/>
                    </a:lnTo>
                    <a:lnTo>
                      <a:pt x="95" y="122"/>
                    </a:lnTo>
                    <a:lnTo>
                      <a:pt x="98" y="121"/>
                    </a:lnTo>
                    <a:lnTo>
                      <a:pt x="98" y="121"/>
                    </a:lnTo>
                    <a:lnTo>
                      <a:pt x="97" y="119"/>
                    </a:lnTo>
                    <a:lnTo>
                      <a:pt x="94" y="119"/>
                    </a:lnTo>
                    <a:lnTo>
                      <a:pt x="91" y="121"/>
                    </a:lnTo>
                    <a:lnTo>
                      <a:pt x="88" y="119"/>
                    </a:lnTo>
                    <a:lnTo>
                      <a:pt x="88" y="11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2" name="Cyprus">
                <a:extLst>
                  <a:ext uri="{FF2B5EF4-FFF2-40B4-BE49-F238E27FC236}">
                    <a16:creationId xmlns:a16="http://schemas.microsoft.com/office/drawing/2014/main" id="{3651706C-7D66-FC44-9DC7-7D36495DD825}"/>
                  </a:ext>
                </a:extLst>
              </p:cNvPr>
              <p:cNvSpPr>
                <a:spLocks/>
              </p:cNvSpPr>
              <p:nvPr/>
            </p:nvSpPr>
            <p:spPr bwMode="auto">
              <a:xfrm>
                <a:off x="5078086" y="3414471"/>
                <a:ext cx="54753" cy="29596"/>
              </a:xfrm>
              <a:custGeom>
                <a:avLst/>
                <a:gdLst/>
                <a:ahLst/>
                <a:cxnLst>
                  <a:cxn ang="0">
                    <a:pos x="26" y="15"/>
                  </a:cxn>
                  <a:cxn ang="0">
                    <a:pos x="26" y="15"/>
                  </a:cxn>
                  <a:cxn ang="0">
                    <a:pos x="26" y="12"/>
                  </a:cxn>
                  <a:cxn ang="0">
                    <a:pos x="27" y="9"/>
                  </a:cxn>
                  <a:cxn ang="0">
                    <a:pos x="30" y="6"/>
                  </a:cxn>
                  <a:cxn ang="0">
                    <a:pos x="34" y="5"/>
                  </a:cxn>
                  <a:cxn ang="0">
                    <a:pos x="34" y="5"/>
                  </a:cxn>
                  <a:cxn ang="0">
                    <a:pos x="37" y="2"/>
                  </a:cxn>
                  <a:cxn ang="0">
                    <a:pos x="37" y="0"/>
                  </a:cxn>
                  <a:cxn ang="0">
                    <a:pos x="36" y="0"/>
                  </a:cxn>
                  <a:cxn ang="0">
                    <a:pos x="34" y="0"/>
                  </a:cxn>
                  <a:cxn ang="0">
                    <a:pos x="34" y="0"/>
                  </a:cxn>
                  <a:cxn ang="0">
                    <a:pos x="30" y="3"/>
                  </a:cxn>
                  <a:cxn ang="0">
                    <a:pos x="26" y="6"/>
                  </a:cxn>
                  <a:cxn ang="0">
                    <a:pos x="19" y="7"/>
                  </a:cxn>
                  <a:cxn ang="0">
                    <a:pos x="12" y="7"/>
                  </a:cxn>
                  <a:cxn ang="0">
                    <a:pos x="12" y="7"/>
                  </a:cxn>
                  <a:cxn ang="0">
                    <a:pos x="4" y="9"/>
                  </a:cxn>
                  <a:cxn ang="0">
                    <a:pos x="2" y="12"/>
                  </a:cxn>
                  <a:cxn ang="0">
                    <a:pos x="0" y="16"/>
                  </a:cxn>
                  <a:cxn ang="0">
                    <a:pos x="4" y="19"/>
                  </a:cxn>
                  <a:cxn ang="0">
                    <a:pos x="4" y="19"/>
                  </a:cxn>
                  <a:cxn ang="0">
                    <a:pos x="7" y="20"/>
                  </a:cxn>
                  <a:cxn ang="0">
                    <a:pos x="12" y="20"/>
                  </a:cxn>
                  <a:cxn ang="0">
                    <a:pos x="19" y="20"/>
                  </a:cxn>
                  <a:cxn ang="0">
                    <a:pos x="24" y="17"/>
                  </a:cxn>
                  <a:cxn ang="0">
                    <a:pos x="26" y="15"/>
                  </a:cxn>
                  <a:cxn ang="0">
                    <a:pos x="26" y="15"/>
                  </a:cxn>
                </a:cxnLst>
                <a:rect l="0" t="0" r="r" b="b"/>
                <a:pathLst>
                  <a:path w="37" h="20">
                    <a:moveTo>
                      <a:pt x="26" y="15"/>
                    </a:moveTo>
                    <a:lnTo>
                      <a:pt x="26" y="15"/>
                    </a:lnTo>
                    <a:lnTo>
                      <a:pt x="26" y="12"/>
                    </a:lnTo>
                    <a:lnTo>
                      <a:pt x="27" y="9"/>
                    </a:lnTo>
                    <a:lnTo>
                      <a:pt x="30" y="6"/>
                    </a:lnTo>
                    <a:lnTo>
                      <a:pt x="34" y="5"/>
                    </a:lnTo>
                    <a:lnTo>
                      <a:pt x="34" y="5"/>
                    </a:lnTo>
                    <a:lnTo>
                      <a:pt x="37" y="2"/>
                    </a:lnTo>
                    <a:lnTo>
                      <a:pt x="37" y="0"/>
                    </a:lnTo>
                    <a:lnTo>
                      <a:pt x="36" y="0"/>
                    </a:lnTo>
                    <a:lnTo>
                      <a:pt x="34" y="0"/>
                    </a:lnTo>
                    <a:lnTo>
                      <a:pt x="34" y="0"/>
                    </a:lnTo>
                    <a:lnTo>
                      <a:pt x="30" y="3"/>
                    </a:lnTo>
                    <a:lnTo>
                      <a:pt x="26" y="6"/>
                    </a:lnTo>
                    <a:lnTo>
                      <a:pt x="19" y="7"/>
                    </a:lnTo>
                    <a:lnTo>
                      <a:pt x="12" y="7"/>
                    </a:lnTo>
                    <a:lnTo>
                      <a:pt x="12" y="7"/>
                    </a:lnTo>
                    <a:lnTo>
                      <a:pt x="4" y="9"/>
                    </a:lnTo>
                    <a:lnTo>
                      <a:pt x="2" y="12"/>
                    </a:lnTo>
                    <a:lnTo>
                      <a:pt x="0" y="16"/>
                    </a:lnTo>
                    <a:lnTo>
                      <a:pt x="4" y="19"/>
                    </a:lnTo>
                    <a:lnTo>
                      <a:pt x="4" y="19"/>
                    </a:lnTo>
                    <a:lnTo>
                      <a:pt x="7" y="20"/>
                    </a:lnTo>
                    <a:lnTo>
                      <a:pt x="12" y="20"/>
                    </a:lnTo>
                    <a:lnTo>
                      <a:pt x="19" y="20"/>
                    </a:lnTo>
                    <a:lnTo>
                      <a:pt x="24" y="17"/>
                    </a:lnTo>
                    <a:lnTo>
                      <a:pt x="26" y="15"/>
                    </a:lnTo>
                    <a:lnTo>
                      <a:pt x="26" y="1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3" name="Iceland">
                <a:extLst>
                  <a:ext uri="{FF2B5EF4-FFF2-40B4-BE49-F238E27FC236}">
                    <a16:creationId xmlns:a16="http://schemas.microsoft.com/office/drawing/2014/main" id="{A66431BB-DB7B-DE4C-AE6E-82D502083DA6}"/>
                  </a:ext>
                </a:extLst>
              </p:cNvPr>
              <p:cNvSpPr>
                <a:spLocks/>
              </p:cNvSpPr>
              <p:nvPr/>
            </p:nvSpPr>
            <p:spPr bwMode="auto">
              <a:xfrm>
                <a:off x="3747761" y="2423016"/>
                <a:ext cx="253044" cy="122823"/>
              </a:xfrm>
              <a:custGeom>
                <a:avLst/>
                <a:gdLst/>
                <a:ahLst/>
                <a:cxnLst>
                  <a:cxn ang="0">
                    <a:pos x="149" y="59"/>
                  </a:cxn>
                  <a:cxn ang="0">
                    <a:pos x="158" y="50"/>
                  </a:cxn>
                  <a:cxn ang="0">
                    <a:pos x="169" y="37"/>
                  </a:cxn>
                  <a:cxn ang="0">
                    <a:pos x="165" y="26"/>
                  </a:cxn>
                  <a:cxn ang="0">
                    <a:pos x="154" y="22"/>
                  </a:cxn>
                  <a:cxn ang="0">
                    <a:pos x="152" y="15"/>
                  </a:cxn>
                  <a:cxn ang="0">
                    <a:pos x="148" y="6"/>
                  </a:cxn>
                  <a:cxn ang="0">
                    <a:pos x="135" y="6"/>
                  </a:cxn>
                  <a:cxn ang="0">
                    <a:pos x="124" y="0"/>
                  </a:cxn>
                  <a:cxn ang="0">
                    <a:pos x="121" y="10"/>
                  </a:cxn>
                  <a:cxn ang="0">
                    <a:pos x="114" y="9"/>
                  </a:cxn>
                  <a:cxn ang="0">
                    <a:pos x="111" y="13"/>
                  </a:cxn>
                  <a:cxn ang="0">
                    <a:pos x="105" y="10"/>
                  </a:cxn>
                  <a:cxn ang="0">
                    <a:pos x="97" y="12"/>
                  </a:cxn>
                  <a:cxn ang="0">
                    <a:pos x="88" y="9"/>
                  </a:cxn>
                  <a:cxn ang="0">
                    <a:pos x="78" y="13"/>
                  </a:cxn>
                  <a:cxn ang="0">
                    <a:pos x="75" y="19"/>
                  </a:cxn>
                  <a:cxn ang="0">
                    <a:pos x="70" y="12"/>
                  </a:cxn>
                  <a:cxn ang="0">
                    <a:pos x="63" y="15"/>
                  </a:cxn>
                  <a:cxn ang="0">
                    <a:pos x="64" y="25"/>
                  </a:cxn>
                  <a:cxn ang="0">
                    <a:pos x="58" y="25"/>
                  </a:cxn>
                  <a:cxn ang="0">
                    <a:pos x="50" y="32"/>
                  </a:cxn>
                  <a:cxn ang="0">
                    <a:pos x="46" y="19"/>
                  </a:cxn>
                  <a:cxn ang="0">
                    <a:pos x="46" y="15"/>
                  </a:cxn>
                  <a:cxn ang="0">
                    <a:pos x="23" y="2"/>
                  </a:cxn>
                  <a:cxn ang="0">
                    <a:pos x="24" y="10"/>
                  </a:cxn>
                  <a:cxn ang="0">
                    <a:pos x="21" y="12"/>
                  </a:cxn>
                  <a:cxn ang="0">
                    <a:pos x="14" y="9"/>
                  </a:cxn>
                  <a:cxn ang="0">
                    <a:pos x="3" y="20"/>
                  </a:cxn>
                  <a:cxn ang="0">
                    <a:pos x="1" y="27"/>
                  </a:cxn>
                  <a:cxn ang="0">
                    <a:pos x="16" y="29"/>
                  </a:cxn>
                  <a:cxn ang="0">
                    <a:pos x="36" y="29"/>
                  </a:cxn>
                  <a:cxn ang="0">
                    <a:pos x="34" y="33"/>
                  </a:cxn>
                  <a:cxn ang="0">
                    <a:pos x="33" y="36"/>
                  </a:cxn>
                  <a:cxn ang="0">
                    <a:pos x="24" y="42"/>
                  </a:cxn>
                  <a:cxn ang="0">
                    <a:pos x="6" y="44"/>
                  </a:cxn>
                  <a:cxn ang="0">
                    <a:pos x="7" y="47"/>
                  </a:cxn>
                  <a:cxn ang="0">
                    <a:pos x="27" y="46"/>
                  </a:cxn>
                  <a:cxn ang="0">
                    <a:pos x="31" y="53"/>
                  </a:cxn>
                  <a:cxn ang="0">
                    <a:pos x="38" y="54"/>
                  </a:cxn>
                  <a:cxn ang="0">
                    <a:pos x="41" y="60"/>
                  </a:cxn>
                  <a:cxn ang="0">
                    <a:pos x="34" y="66"/>
                  </a:cxn>
                  <a:cxn ang="0">
                    <a:pos x="26" y="70"/>
                  </a:cxn>
                  <a:cxn ang="0">
                    <a:pos x="46" y="70"/>
                  </a:cxn>
                  <a:cxn ang="0">
                    <a:pos x="75" y="81"/>
                  </a:cxn>
                  <a:cxn ang="0">
                    <a:pos x="100" y="79"/>
                  </a:cxn>
                  <a:cxn ang="0">
                    <a:pos x="104" y="73"/>
                  </a:cxn>
                  <a:cxn ang="0">
                    <a:pos x="122" y="69"/>
                  </a:cxn>
                  <a:cxn ang="0">
                    <a:pos x="145" y="60"/>
                  </a:cxn>
                </a:cxnLst>
                <a:rect l="0" t="0" r="r" b="b"/>
                <a:pathLst>
                  <a:path w="171" h="83">
                    <a:moveTo>
                      <a:pt x="145" y="60"/>
                    </a:moveTo>
                    <a:lnTo>
                      <a:pt x="145" y="60"/>
                    </a:lnTo>
                    <a:lnTo>
                      <a:pt x="148" y="59"/>
                    </a:lnTo>
                    <a:lnTo>
                      <a:pt x="149" y="59"/>
                    </a:lnTo>
                    <a:lnTo>
                      <a:pt x="152" y="54"/>
                    </a:lnTo>
                    <a:lnTo>
                      <a:pt x="155" y="52"/>
                    </a:lnTo>
                    <a:lnTo>
                      <a:pt x="157" y="50"/>
                    </a:lnTo>
                    <a:lnTo>
                      <a:pt x="158" y="50"/>
                    </a:lnTo>
                    <a:lnTo>
                      <a:pt x="158" y="50"/>
                    </a:lnTo>
                    <a:lnTo>
                      <a:pt x="161" y="49"/>
                    </a:lnTo>
                    <a:lnTo>
                      <a:pt x="164" y="46"/>
                    </a:lnTo>
                    <a:lnTo>
                      <a:pt x="169" y="37"/>
                    </a:lnTo>
                    <a:lnTo>
                      <a:pt x="169" y="37"/>
                    </a:lnTo>
                    <a:lnTo>
                      <a:pt x="171" y="34"/>
                    </a:lnTo>
                    <a:lnTo>
                      <a:pt x="168" y="30"/>
                    </a:lnTo>
                    <a:lnTo>
                      <a:pt x="165" y="26"/>
                    </a:lnTo>
                    <a:lnTo>
                      <a:pt x="161" y="25"/>
                    </a:lnTo>
                    <a:lnTo>
                      <a:pt x="161" y="25"/>
                    </a:lnTo>
                    <a:lnTo>
                      <a:pt x="158" y="25"/>
                    </a:lnTo>
                    <a:lnTo>
                      <a:pt x="154" y="22"/>
                    </a:lnTo>
                    <a:lnTo>
                      <a:pt x="152" y="19"/>
                    </a:lnTo>
                    <a:lnTo>
                      <a:pt x="152" y="17"/>
                    </a:lnTo>
                    <a:lnTo>
                      <a:pt x="152" y="17"/>
                    </a:lnTo>
                    <a:lnTo>
                      <a:pt x="152" y="15"/>
                    </a:lnTo>
                    <a:lnTo>
                      <a:pt x="151" y="12"/>
                    </a:lnTo>
                    <a:lnTo>
                      <a:pt x="149" y="7"/>
                    </a:lnTo>
                    <a:lnTo>
                      <a:pt x="149" y="7"/>
                    </a:lnTo>
                    <a:lnTo>
                      <a:pt x="148" y="6"/>
                    </a:lnTo>
                    <a:lnTo>
                      <a:pt x="145" y="6"/>
                    </a:lnTo>
                    <a:lnTo>
                      <a:pt x="139" y="7"/>
                    </a:lnTo>
                    <a:lnTo>
                      <a:pt x="139" y="7"/>
                    </a:lnTo>
                    <a:lnTo>
                      <a:pt x="135" y="6"/>
                    </a:lnTo>
                    <a:lnTo>
                      <a:pt x="131" y="3"/>
                    </a:lnTo>
                    <a:lnTo>
                      <a:pt x="127" y="0"/>
                    </a:lnTo>
                    <a:lnTo>
                      <a:pt x="125" y="0"/>
                    </a:lnTo>
                    <a:lnTo>
                      <a:pt x="124" y="0"/>
                    </a:lnTo>
                    <a:lnTo>
                      <a:pt x="124" y="0"/>
                    </a:lnTo>
                    <a:lnTo>
                      <a:pt x="122" y="2"/>
                    </a:lnTo>
                    <a:lnTo>
                      <a:pt x="121" y="5"/>
                    </a:lnTo>
                    <a:lnTo>
                      <a:pt x="121" y="10"/>
                    </a:lnTo>
                    <a:lnTo>
                      <a:pt x="121" y="10"/>
                    </a:lnTo>
                    <a:lnTo>
                      <a:pt x="120" y="10"/>
                    </a:lnTo>
                    <a:lnTo>
                      <a:pt x="117" y="10"/>
                    </a:lnTo>
                    <a:lnTo>
                      <a:pt x="114" y="9"/>
                    </a:lnTo>
                    <a:lnTo>
                      <a:pt x="112" y="10"/>
                    </a:lnTo>
                    <a:lnTo>
                      <a:pt x="112" y="10"/>
                    </a:lnTo>
                    <a:lnTo>
                      <a:pt x="112" y="10"/>
                    </a:lnTo>
                    <a:lnTo>
                      <a:pt x="111" y="13"/>
                    </a:lnTo>
                    <a:lnTo>
                      <a:pt x="110" y="13"/>
                    </a:lnTo>
                    <a:lnTo>
                      <a:pt x="108" y="13"/>
                    </a:lnTo>
                    <a:lnTo>
                      <a:pt x="105" y="10"/>
                    </a:lnTo>
                    <a:lnTo>
                      <a:pt x="105" y="10"/>
                    </a:lnTo>
                    <a:lnTo>
                      <a:pt x="102" y="9"/>
                    </a:lnTo>
                    <a:lnTo>
                      <a:pt x="100" y="9"/>
                    </a:lnTo>
                    <a:lnTo>
                      <a:pt x="97" y="10"/>
                    </a:lnTo>
                    <a:lnTo>
                      <a:pt x="97" y="12"/>
                    </a:lnTo>
                    <a:lnTo>
                      <a:pt x="97" y="12"/>
                    </a:lnTo>
                    <a:lnTo>
                      <a:pt x="95" y="13"/>
                    </a:lnTo>
                    <a:lnTo>
                      <a:pt x="94" y="13"/>
                    </a:lnTo>
                    <a:lnTo>
                      <a:pt x="88" y="9"/>
                    </a:lnTo>
                    <a:lnTo>
                      <a:pt x="88" y="9"/>
                    </a:lnTo>
                    <a:lnTo>
                      <a:pt x="84" y="9"/>
                    </a:lnTo>
                    <a:lnTo>
                      <a:pt x="81" y="10"/>
                    </a:lnTo>
                    <a:lnTo>
                      <a:pt x="78" y="13"/>
                    </a:lnTo>
                    <a:lnTo>
                      <a:pt x="77" y="17"/>
                    </a:lnTo>
                    <a:lnTo>
                      <a:pt x="77" y="17"/>
                    </a:lnTo>
                    <a:lnTo>
                      <a:pt x="77" y="19"/>
                    </a:lnTo>
                    <a:lnTo>
                      <a:pt x="75" y="19"/>
                    </a:lnTo>
                    <a:lnTo>
                      <a:pt x="74" y="17"/>
                    </a:lnTo>
                    <a:lnTo>
                      <a:pt x="71" y="13"/>
                    </a:lnTo>
                    <a:lnTo>
                      <a:pt x="71" y="13"/>
                    </a:lnTo>
                    <a:lnTo>
                      <a:pt x="70" y="12"/>
                    </a:lnTo>
                    <a:lnTo>
                      <a:pt x="67" y="10"/>
                    </a:lnTo>
                    <a:lnTo>
                      <a:pt x="66" y="10"/>
                    </a:lnTo>
                    <a:lnTo>
                      <a:pt x="64" y="12"/>
                    </a:lnTo>
                    <a:lnTo>
                      <a:pt x="63" y="15"/>
                    </a:lnTo>
                    <a:lnTo>
                      <a:pt x="64" y="19"/>
                    </a:lnTo>
                    <a:lnTo>
                      <a:pt x="64" y="19"/>
                    </a:lnTo>
                    <a:lnTo>
                      <a:pt x="66" y="22"/>
                    </a:lnTo>
                    <a:lnTo>
                      <a:pt x="64" y="25"/>
                    </a:lnTo>
                    <a:lnTo>
                      <a:pt x="64" y="26"/>
                    </a:lnTo>
                    <a:lnTo>
                      <a:pt x="61" y="26"/>
                    </a:lnTo>
                    <a:lnTo>
                      <a:pt x="61" y="26"/>
                    </a:lnTo>
                    <a:lnTo>
                      <a:pt x="58" y="25"/>
                    </a:lnTo>
                    <a:lnTo>
                      <a:pt x="56" y="26"/>
                    </a:lnTo>
                    <a:lnTo>
                      <a:pt x="51" y="30"/>
                    </a:lnTo>
                    <a:lnTo>
                      <a:pt x="51" y="30"/>
                    </a:lnTo>
                    <a:lnTo>
                      <a:pt x="50" y="32"/>
                    </a:lnTo>
                    <a:lnTo>
                      <a:pt x="48" y="30"/>
                    </a:lnTo>
                    <a:lnTo>
                      <a:pt x="46" y="26"/>
                    </a:lnTo>
                    <a:lnTo>
                      <a:pt x="44" y="22"/>
                    </a:lnTo>
                    <a:lnTo>
                      <a:pt x="46" y="19"/>
                    </a:lnTo>
                    <a:lnTo>
                      <a:pt x="47" y="17"/>
                    </a:lnTo>
                    <a:lnTo>
                      <a:pt x="47" y="17"/>
                    </a:lnTo>
                    <a:lnTo>
                      <a:pt x="47" y="16"/>
                    </a:lnTo>
                    <a:lnTo>
                      <a:pt x="46" y="15"/>
                    </a:lnTo>
                    <a:lnTo>
                      <a:pt x="40" y="9"/>
                    </a:lnTo>
                    <a:lnTo>
                      <a:pt x="30" y="3"/>
                    </a:lnTo>
                    <a:lnTo>
                      <a:pt x="23" y="2"/>
                    </a:lnTo>
                    <a:lnTo>
                      <a:pt x="23" y="2"/>
                    </a:lnTo>
                    <a:lnTo>
                      <a:pt x="19" y="3"/>
                    </a:lnTo>
                    <a:lnTo>
                      <a:pt x="19" y="5"/>
                    </a:lnTo>
                    <a:lnTo>
                      <a:pt x="21" y="7"/>
                    </a:lnTo>
                    <a:lnTo>
                      <a:pt x="24" y="10"/>
                    </a:lnTo>
                    <a:lnTo>
                      <a:pt x="24" y="10"/>
                    </a:lnTo>
                    <a:lnTo>
                      <a:pt x="26" y="13"/>
                    </a:lnTo>
                    <a:lnTo>
                      <a:pt x="24" y="13"/>
                    </a:lnTo>
                    <a:lnTo>
                      <a:pt x="21" y="12"/>
                    </a:lnTo>
                    <a:lnTo>
                      <a:pt x="19" y="10"/>
                    </a:lnTo>
                    <a:lnTo>
                      <a:pt x="19" y="10"/>
                    </a:lnTo>
                    <a:lnTo>
                      <a:pt x="17" y="9"/>
                    </a:lnTo>
                    <a:lnTo>
                      <a:pt x="14" y="9"/>
                    </a:lnTo>
                    <a:lnTo>
                      <a:pt x="11" y="12"/>
                    </a:lnTo>
                    <a:lnTo>
                      <a:pt x="9" y="15"/>
                    </a:lnTo>
                    <a:lnTo>
                      <a:pt x="9" y="15"/>
                    </a:lnTo>
                    <a:lnTo>
                      <a:pt x="3" y="20"/>
                    </a:lnTo>
                    <a:lnTo>
                      <a:pt x="1" y="23"/>
                    </a:lnTo>
                    <a:lnTo>
                      <a:pt x="0" y="25"/>
                    </a:lnTo>
                    <a:lnTo>
                      <a:pt x="0" y="25"/>
                    </a:lnTo>
                    <a:lnTo>
                      <a:pt x="1" y="27"/>
                    </a:lnTo>
                    <a:lnTo>
                      <a:pt x="6" y="29"/>
                    </a:lnTo>
                    <a:lnTo>
                      <a:pt x="10" y="30"/>
                    </a:lnTo>
                    <a:lnTo>
                      <a:pt x="16" y="29"/>
                    </a:lnTo>
                    <a:lnTo>
                      <a:pt x="16" y="29"/>
                    </a:lnTo>
                    <a:lnTo>
                      <a:pt x="21" y="27"/>
                    </a:lnTo>
                    <a:lnTo>
                      <a:pt x="27" y="26"/>
                    </a:lnTo>
                    <a:lnTo>
                      <a:pt x="31" y="27"/>
                    </a:lnTo>
                    <a:lnTo>
                      <a:pt x="36" y="29"/>
                    </a:lnTo>
                    <a:lnTo>
                      <a:pt x="36" y="29"/>
                    </a:lnTo>
                    <a:lnTo>
                      <a:pt x="36" y="30"/>
                    </a:lnTo>
                    <a:lnTo>
                      <a:pt x="36" y="32"/>
                    </a:lnTo>
                    <a:lnTo>
                      <a:pt x="34" y="33"/>
                    </a:lnTo>
                    <a:lnTo>
                      <a:pt x="31" y="34"/>
                    </a:lnTo>
                    <a:lnTo>
                      <a:pt x="31" y="36"/>
                    </a:lnTo>
                    <a:lnTo>
                      <a:pt x="33" y="36"/>
                    </a:lnTo>
                    <a:lnTo>
                      <a:pt x="33" y="36"/>
                    </a:lnTo>
                    <a:lnTo>
                      <a:pt x="34" y="39"/>
                    </a:lnTo>
                    <a:lnTo>
                      <a:pt x="33" y="40"/>
                    </a:lnTo>
                    <a:lnTo>
                      <a:pt x="30" y="42"/>
                    </a:lnTo>
                    <a:lnTo>
                      <a:pt x="24" y="42"/>
                    </a:lnTo>
                    <a:lnTo>
                      <a:pt x="24" y="42"/>
                    </a:lnTo>
                    <a:lnTo>
                      <a:pt x="17" y="42"/>
                    </a:lnTo>
                    <a:lnTo>
                      <a:pt x="10" y="42"/>
                    </a:lnTo>
                    <a:lnTo>
                      <a:pt x="6" y="44"/>
                    </a:lnTo>
                    <a:lnTo>
                      <a:pt x="6" y="44"/>
                    </a:lnTo>
                    <a:lnTo>
                      <a:pt x="6" y="46"/>
                    </a:lnTo>
                    <a:lnTo>
                      <a:pt x="6" y="46"/>
                    </a:lnTo>
                    <a:lnTo>
                      <a:pt x="7" y="47"/>
                    </a:lnTo>
                    <a:lnTo>
                      <a:pt x="10" y="47"/>
                    </a:lnTo>
                    <a:lnTo>
                      <a:pt x="17" y="46"/>
                    </a:lnTo>
                    <a:lnTo>
                      <a:pt x="26" y="46"/>
                    </a:lnTo>
                    <a:lnTo>
                      <a:pt x="27" y="46"/>
                    </a:lnTo>
                    <a:lnTo>
                      <a:pt x="29" y="46"/>
                    </a:lnTo>
                    <a:lnTo>
                      <a:pt x="29" y="46"/>
                    </a:lnTo>
                    <a:lnTo>
                      <a:pt x="30" y="52"/>
                    </a:lnTo>
                    <a:lnTo>
                      <a:pt x="31" y="53"/>
                    </a:lnTo>
                    <a:lnTo>
                      <a:pt x="34" y="53"/>
                    </a:lnTo>
                    <a:lnTo>
                      <a:pt x="34" y="53"/>
                    </a:lnTo>
                    <a:lnTo>
                      <a:pt x="37" y="52"/>
                    </a:lnTo>
                    <a:lnTo>
                      <a:pt x="38" y="54"/>
                    </a:lnTo>
                    <a:lnTo>
                      <a:pt x="38" y="56"/>
                    </a:lnTo>
                    <a:lnTo>
                      <a:pt x="40" y="57"/>
                    </a:lnTo>
                    <a:lnTo>
                      <a:pt x="40" y="57"/>
                    </a:lnTo>
                    <a:lnTo>
                      <a:pt x="41" y="60"/>
                    </a:lnTo>
                    <a:lnTo>
                      <a:pt x="40" y="62"/>
                    </a:lnTo>
                    <a:lnTo>
                      <a:pt x="38" y="64"/>
                    </a:lnTo>
                    <a:lnTo>
                      <a:pt x="34" y="66"/>
                    </a:lnTo>
                    <a:lnTo>
                      <a:pt x="34" y="66"/>
                    </a:lnTo>
                    <a:lnTo>
                      <a:pt x="26" y="67"/>
                    </a:lnTo>
                    <a:lnTo>
                      <a:pt x="24" y="69"/>
                    </a:lnTo>
                    <a:lnTo>
                      <a:pt x="26" y="70"/>
                    </a:lnTo>
                    <a:lnTo>
                      <a:pt x="26" y="70"/>
                    </a:lnTo>
                    <a:lnTo>
                      <a:pt x="30" y="73"/>
                    </a:lnTo>
                    <a:lnTo>
                      <a:pt x="34" y="73"/>
                    </a:lnTo>
                    <a:lnTo>
                      <a:pt x="46" y="70"/>
                    </a:lnTo>
                    <a:lnTo>
                      <a:pt x="46" y="70"/>
                    </a:lnTo>
                    <a:lnTo>
                      <a:pt x="50" y="70"/>
                    </a:lnTo>
                    <a:lnTo>
                      <a:pt x="53" y="70"/>
                    </a:lnTo>
                    <a:lnTo>
                      <a:pt x="60" y="73"/>
                    </a:lnTo>
                    <a:lnTo>
                      <a:pt x="75" y="81"/>
                    </a:lnTo>
                    <a:lnTo>
                      <a:pt x="75" y="81"/>
                    </a:lnTo>
                    <a:lnTo>
                      <a:pt x="84" y="83"/>
                    </a:lnTo>
                    <a:lnTo>
                      <a:pt x="93" y="81"/>
                    </a:lnTo>
                    <a:lnTo>
                      <a:pt x="100" y="79"/>
                    </a:lnTo>
                    <a:lnTo>
                      <a:pt x="101" y="77"/>
                    </a:lnTo>
                    <a:lnTo>
                      <a:pt x="102" y="74"/>
                    </a:lnTo>
                    <a:lnTo>
                      <a:pt x="102" y="74"/>
                    </a:lnTo>
                    <a:lnTo>
                      <a:pt x="104" y="73"/>
                    </a:lnTo>
                    <a:lnTo>
                      <a:pt x="107" y="73"/>
                    </a:lnTo>
                    <a:lnTo>
                      <a:pt x="111" y="71"/>
                    </a:lnTo>
                    <a:lnTo>
                      <a:pt x="118" y="70"/>
                    </a:lnTo>
                    <a:lnTo>
                      <a:pt x="122" y="69"/>
                    </a:lnTo>
                    <a:lnTo>
                      <a:pt x="122" y="69"/>
                    </a:lnTo>
                    <a:lnTo>
                      <a:pt x="132" y="63"/>
                    </a:lnTo>
                    <a:lnTo>
                      <a:pt x="138" y="62"/>
                    </a:lnTo>
                    <a:lnTo>
                      <a:pt x="145" y="60"/>
                    </a:lnTo>
                    <a:lnTo>
                      <a:pt x="145" y="6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4" name="Ireland">
                <a:extLst>
                  <a:ext uri="{FF2B5EF4-FFF2-40B4-BE49-F238E27FC236}">
                    <a16:creationId xmlns:a16="http://schemas.microsoft.com/office/drawing/2014/main" id="{AC0C6F2D-EA97-3745-A478-5E1492012338}"/>
                  </a:ext>
                </a:extLst>
              </p:cNvPr>
              <p:cNvSpPr>
                <a:spLocks/>
              </p:cNvSpPr>
              <p:nvPr/>
            </p:nvSpPr>
            <p:spPr bwMode="auto">
              <a:xfrm>
                <a:off x="4076273" y="2838835"/>
                <a:ext cx="100626" cy="116903"/>
              </a:xfrm>
              <a:custGeom>
                <a:avLst/>
                <a:gdLst/>
                <a:ahLst/>
                <a:cxnLst>
                  <a:cxn ang="0">
                    <a:pos x="64" y="24"/>
                  </a:cxn>
                  <a:cxn ang="0">
                    <a:pos x="58" y="18"/>
                  </a:cxn>
                  <a:cxn ang="0">
                    <a:pos x="51" y="15"/>
                  </a:cxn>
                  <a:cxn ang="0">
                    <a:pos x="50" y="21"/>
                  </a:cxn>
                  <a:cxn ang="0">
                    <a:pos x="48" y="24"/>
                  </a:cxn>
                  <a:cxn ang="0">
                    <a:pos x="38" y="20"/>
                  </a:cxn>
                  <a:cxn ang="0">
                    <a:pos x="38" y="18"/>
                  </a:cxn>
                  <a:cxn ang="0">
                    <a:pos x="43" y="10"/>
                  </a:cxn>
                  <a:cxn ang="0">
                    <a:pos x="46" y="7"/>
                  </a:cxn>
                  <a:cxn ang="0">
                    <a:pos x="47" y="1"/>
                  </a:cxn>
                  <a:cxn ang="0">
                    <a:pos x="46" y="1"/>
                  </a:cxn>
                  <a:cxn ang="0">
                    <a:pos x="34" y="0"/>
                  </a:cxn>
                  <a:cxn ang="0">
                    <a:pos x="30" y="2"/>
                  </a:cxn>
                  <a:cxn ang="0">
                    <a:pos x="28" y="4"/>
                  </a:cxn>
                  <a:cxn ang="0">
                    <a:pos x="33" y="8"/>
                  </a:cxn>
                  <a:cxn ang="0">
                    <a:pos x="37" y="11"/>
                  </a:cxn>
                  <a:cxn ang="0">
                    <a:pos x="36" y="14"/>
                  </a:cxn>
                  <a:cxn ang="0">
                    <a:pos x="28" y="17"/>
                  </a:cxn>
                  <a:cxn ang="0">
                    <a:pos x="24" y="18"/>
                  </a:cxn>
                  <a:cxn ang="0">
                    <a:pos x="16" y="18"/>
                  </a:cxn>
                  <a:cxn ang="0">
                    <a:pos x="7" y="18"/>
                  </a:cxn>
                  <a:cxn ang="0">
                    <a:pos x="6" y="20"/>
                  </a:cxn>
                  <a:cxn ang="0">
                    <a:pos x="7" y="24"/>
                  </a:cxn>
                  <a:cxn ang="0">
                    <a:pos x="9" y="28"/>
                  </a:cxn>
                  <a:cxn ang="0">
                    <a:pos x="9" y="31"/>
                  </a:cxn>
                  <a:cxn ang="0">
                    <a:pos x="7" y="37"/>
                  </a:cxn>
                  <a:cxn ang="0">
                    <a:pos x="16" y="42"/>
                  </a:cxn>
                  <a:cxn ang="0">
                    <a:pos x="18" y="45"/>
                  </a:cxn>
                  <a:cxn ang="0">
                    <a:pos x="13" y="51"/>
                  </a:cxn>
                  <a:cxn ang="0">
                    <a:pos x="11" y="55"/>
                  </a:cxn>
                  <a:cxn ang="0">
                    <a:pos x="10" y="59"/>
                  </a:cxn>
                  <a:cxn ang="0">
                    <a:pos x="3" y="64"/>
                  </a:cxn>
                  <a:cxn ang="0">
                    <a:pos x="1" y="66"/>
                  </a:cxn>
                  <a:cxn ang="0">
                    <a:pos x="1" y="69"/>
                  </a:cxn>
                  <a:cxn ang="0">
                    <a:pos x="10" y="78"/>
                  </a:cxn>
                  <a:cxn ang="0">
                    <a:pos x="17" y="79"/>
                  </a:cxn>
                  <a:cxn ang="0">
                    <a:pos x="30" y="76"/>
                  </a:cxn>
                  <a:cxn ang="0">
                    <a:pos x="44" y="68"/>
                  </a:cxn>
                  <a:cxn ang="0">
                    <a:pos x="47" y="65"/>
                  </a:cxn>
                  <a:cxn ang="0">
                    <a:pos x="54" y="64"/>
                  </a:cxn>
                  <a:cxn ang="0">
                    <a:pos x="64" y="64"/>
                  </a:cxn>
                  <a:cxn ang="0">
                    <a:pos x="67" y="61"/>
                  </a:cxn>
                  <a:cxn ang="0">
                    <a:pos x="68" y="45"/>
                  </a:cxn>
                  <a:cxn ang="0">
                    <a:pos x="64" y="27"/>
                  </a:cxn>
                  <a:cxn ang="0">
                    <a:pos x="64" y="24"/>
                  </a:cxn>
                </a:cxnLst>
                <a:rect l="0" t="0" r="r" b="b"/>
                <a:pathLst>
                  <a:path w="68" h="79">
                    <a:moveTo>
                      <a:pt x="64" y="24"/>
                    </a:moveTo>
                    <a:lnTo>
                      <a:pt x="64" y="24"/>
                    </a:lnTo>
                    <a:lnTo>
                      <a:pt x="58" y="18"/>
                    </a:lnTo>
                    <a:lnTo>
                      <a:pt x="58" y="18"/>
                    </a:lnTo>
                    <a:lnTo>
                      <a:pt x="54" y="15"/>
                    </a:lnTo>
                    <a:lnTo>
                      <a:pt x="51" y="15"/>
                    </a:lnTo>
                    <a:lnTo>
                      <a:pt x="50" y="18"/>
                    </a:lnTo>
                    <a:lnTo>
                      <a:pt x="50" y="21"/>
                    </a:lnTo>
                    <a:lnTo>
                      <a:pt x="50" y="21"/>
                    </a:lnTo>
                    <a:lnTo>
                      <a:pt x="48" y="24"/>
                    </a:lnTo>
                    <a:lnTo>
                      <a:pt x="46" y="22"/>
                    </a:lnTo>
                    <a:lnTo>
                      <a:pt x="38" y="20"/>
                    </a:lnTo>
                    <a:lnTo>
                      <a:pt x="38" y="20"/>
                    </a:lnTo>
                    <a:lnTo>
                      <a:pt x="38" y="18"/>
                    </a:lnTo>
                    <a:lnTo>
                      <a:pt x="38" y="15"/>
                    </a:lnTo>
                    <a:lnTo>
                      <a:pt x="43" y="10"/>
                    </a:lnTo>
                    <a:lnTo>
                      <a:pt x="43" y="10"/>
                    </a:lnTo>
                    <a:lnTo>
                      <a:pt x="46" y="7"/>
                    </a:lnTo>
                    <a:lnTo>
                      <a:pt x="47" y="1"/>
                    </a:lnTo>
                    <a:lnTo>
                      <a:pt x="47" y="1"/>
                    </a:lnTo>
                    <a:lnTo>
                      <a:pt x="46" y="1"/>
                    </a:lnTo>
                    <a:lnTo>
                      <a:pt x="46" y="1"/>
                    </a:lnTo>
                    <a:lnTo>
                      <a:pt x="40" y="0"/>
                    </a:lnTo>
                    <a:lnTo>
                      <a:pt x="34" y="0"/>
                    </a:lnTo>
                    <a:lnTo>
                      <a:pt x="31" y="1"/>
                    </a:lnTo>
                    <a:lnTo>
                      <a:pt x="30" y="2"/>
                    </a:lnTo>
                    <a:lnTo>
                      <a:pt x="28" y="4"/>
                    </a:lnTo>
                    <a:lnTo>
                      <a:pt x="28" y="4"/>
                    </a:lnTo>
                    <a:lnTo>
                      <a:pt x="30" y="7"/>
                    </a:lnTo>
                    <a:lnTo>
                      <a:pt x="33" y="8"/>
                    </a:lnTo>
                    <a:lnTo>
                      <a:pt x="36" y="10"/>
                    </a:lnTo>
                    <a:lnTo>
                      <a:pt x="37" y="11"/>
                    </a:lnTo>
                    <a:lnTo>
                      <a:pt x="37" y="11"/>
                    </a:lnTo>
                    <a:lnTo>
                      <a:pt x="36" y="14"/>
                    </a:lnTo>
                    <a:lnTo>
                      <a:pt x="33" y="15"/>
                    </a:lnTo>
                    <a:lnTo>
                      <a:pt x="28" y="17"/>
                    </a:lnTo>
                    <a:lnTo>
                      <a:pt x="24" y="18"/>
                    </a:lnTo>
                    <a:lnTo>
                      <a:pt x="24" y="18"/>
                    </a:lnTo>
                    <a:lnTo>
                      <a:pt x="20" y="20"/>
                    </a:lnTo>
                    <a:lnTo>
                      <a:pt x="16" y="18"/>
                    </a:lnTo>
                    <a:lnTo>
                      <a:pt x="11" y="18"/>
                    </a:lnTo>
                    <a:lnTo>
                      <a:pt x="7" y="18"/>
                    </a:lnTo>
                    <a:lnTo>
                      <a:pt x="7" y="18"/>
                    </a:lnTo>
                    <a:lnTo>
                      <a:pt x="6" y="20"/>
                    </a:lnTo>
                    <a:lnTo>
                      <a:pt x="4" y="21"/>
                    </a:lnTo>
                    <a:lnTo>
                      <a:pt x="7" y="24"/>
                    </a:lnTo>
                    <a:lnTo>
                      <a:pt x="9" y="27"/>
                    </a:lnTo>
                    <a:lnTo>
                      <a:pt x="9" y="28"/>
                    </a:lnTo>
                    <a:lnTo>
                      <a:pt x="9" y="31"/>
                    </a:lnTo>
                    <a:lnTo>
                      <a:pt x="9" y="31"/>
                    </a:lnTo>
                    <a:lnTo>
                      <a:pt x="7" y="34"/>
                    </a:lnTo>
                    <a:lnTo>
                      <a:pt x="7" y="37"/>
                    </a:lnTo>
                    <a:lnTo>
                      <a:pt x="16" y="42"/>
                    </a:lnTo>
                    <a:lnTo>
                      <a:pt x="16" y="42"/>
                    </a:lnTo>
                    <a:lnTo>
                      <a:pt x="17" y="44"/>
                    </a:lnTo>
                    <a:lnTo>
                      <a:pt x="18" y="45"/>
                    </a:lnTo>
                    <a:lnTo>
                      <a:pt x="16" y="48"/>
                    </a:lnTo>
                    <a:lnTo>
                      <a:pt x="13" y="51"/>
                    </a:lnTo>
                    <a:lnTo>
                      <a:pt x="11" y="54"/>
                    </a:lnTo>
                    <a:lnTo>
                      <a:pt x="11" y="55"/>
                    </a:lnTo>
                    <a:lnTo>
                      <a:pt x="11" y="55"/>
                    </a:lnTo>
                    <a:lnTo>
                      <a:pt x="10" y="59"/>
                    </a:lnTo>
                    <a:lnTo>
                      <a:pt x="7" y="61"/>
                    </a:lnTo>
                    <a:lnTo>
                      <a:pt x="3" y="64"/>
                    </a:lnTo>
                    <a:lnTo>
                      <a:pt x="1" y="66"/>
                    </a:lnTo>
                    <a:lnTo>
                      <a:pt x="1" y="66"/>
                    </a:lnTo>
                    <a:lnTo>
                      <a:pt x="0" y="68"/>
                    </a:lnTo>
                    <a:lnTo>
                      <a:pt x="1" y="69"/>
                    </a:lnTo>
                    <a:lnTo>
                      <a:pt x="4" y="74"/>
                    </a:lnTo>
                    <a:lnTo>
                      <a:pt x="10" y="78"/>
                    </a:lnTo>
                    <a:lnTo>
                      <a:pt x="17" y="79"/>
                    </a:lnTo>
                    <a:lnTo>
                      <a:pt x="17" y="79"/>
                    </a:lnTo>
                    <a:lnTo>
                      <a:pt x="23" y="78"/>
                    </a:lnTo>
                    <a:lnTo>
                      <a:pt x="30" y="76"/>
                    </a:lnTo>
                    <a:lnTo>
                      <a:pt x="37" y="72"/>
                    </a:lnTo>
                    <a:lnTo>
                      <a:pt x="44" y="68"/>
                    </a:lnTo>
                    <a:lnTo>
                      <a:pt x="44" y="68"/>
                    </a:lnTo>
                    <a:lnTo>
                      <a:pt x="47" y="65"/>
                    </a:lnTo>
                    <a:lnTo>
                      <a:pt x="50" y="64"/>
                    </a:lnTo>
                    <a:lnTo>
                      <a:pt x="54" y="64"/>
                    </a:lnTo>
                    <a:lnTo>
                      <a:pt x="58" y="65"/>
                    </a:lnTo>
                    <a:lnTo>
                      <a:pt x="64" y="64"/>
                    </a:lnTo>
                    <a:lnTo>
                      <a:pt x="64" y="64"/>
                    </a:lnTo>
                    <a:lnTo>
                      <a:pt x="67" y="61"/>
                    </a:lnTo>
                    <a:lnTo>
                      <a:pt x="67" y="56"/>
                    </a:lnTo>
                    <a:lnTo>
                      <a:pt x="68" y="45"/>
                    </a:lnTo>
                    <a:lnTo>
                      <a:pt x="67" y="34"/>
                    </a:lnTo>
                    <a:lnTo>
                      <a:pt x="64" y="27"/>
                    </a:lnTo>
                    <a:lnTo>
                      <a:pt x="64" y="27"/>
                    </a:lnTo>
                    <a:lnTo>
                      <a:pt x="64" y="24"/>
                    </a:lnTo>
                    <a:lnTo>
                      <a:pt x="64" y="2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5" name="Denmark">
                <a:extLst>
                  <a:ext uri="{FF2B5EF4-FFF2-40B4-BE49-F238E27FC236}">
                    <a16:creationId xmlns:a16="http://schemas.microsoft.com/office/drawing/2014/main" id="{9D02D57F-E939-9241-A3C4-4674B3A6A270}"/>
                  </a:ext>
                </a:extLst>
              </p:cNvPr>
              <p:cNvSpPr>
                <a:spLocks noEditPoints="1"/>
              </p:cNvSpPr>
              <p:nvPr/>
            </p:nvSpPr>
            <p:spPr bwMode="auto">
              <a:xfrm>
                <a:off x="4515768" y="2750047"/>
                <a:ext cx="109504" cy="105065"/>
              </a:xfrm>
              <a:custGeom>
                <a:avLst/>
                <a:gdLst/>
                <a:ahLst/>
                <a:cxnLst>
                  <a:cxn ang="0">
                    <a:pos x="37" y="24"/>
                  </a:cxn>
                  <a:cxn ang="0">
                    <a:pos x="39" y="14"/>
                  </a:cxn>
                  <a:cxn ang="0">
                    <a:pos x="40" y="7"/>
                  </a:cxn>
                  <a:cxn ang="0">
                    <a:pos x="40" y="0"/>
                  </a:cxn>
                  <a:cxn ang="0">
                    <a:pos x="30" y="3"/>
                  </a:cxn>
                  <a:cxn ang="0">
                    <a:pos x="26" y="10"/>
                  </a:cxn>
                  <a:cxn ang="0">
                    <a:pos x="19" y="11"/>
                  </a:cxn>
                  <a:cxn ang="0">
                    <a:pos x="19" y="15"/>
                  </a:cxn>
                  <a:cxn ang="0">
                    <a:pos x="19" y="18"/>
                  </a:cxn>
                  <a:cxn ang="0">
                    <a:pos x="13" y="15"/>
                  </a:cxn>
                  <a:cxn ang="0">
                    <a:pos x="7" y="15"/>
                  </a:cxn>
                  <a:cxn ang="0">
                    <a:pos x="2" y="25"/>
                  </a:cxn>
                  <a:cxn ang="0">
                    <a:pos x="2" y="44"/>
                  </a:cxn>
                  <a:cxn ang="0">
                    <a:pos x="6" y="51"/>
                  </a:cxn>
                  <a:cxn ang="0">
                    <a:pos x="9" y="58"/>
                  </a:cxn>
                  <a:cxn ang="0">
                    <a:pos x="10" y="65"/>
                  </a:cxn>
                  <a:cxn ang="0">
                    <a:pos x="26" y="67"/>
                  </a:cxn>
                  <a:cxn ang="0">
                    <a:pos x="27" y="62"/>
                  </a:cxn>
                  <a:cxn ang="0">
                    <a:pos x="24" y="58"/>
                  </a:cxn>
                  <a:cxn ang="0">
                    <a:pos x="33" y="60"/>
                  </a:cxn>
                  <a:cxn ang="0">
                    <a:pos x="40" y="62"/>
                  </a:cxn>
                  <a:cxn ang="0">
                    <a:pos x="44" y="60"/>
                  </a:cxn>
                  <a:cxn ang="0">
                    <a:pos x="40" y="50"/>
                  </a:cxn>
                  <a:cxn ang="0">
                    <a:pos x="34" y="51"/>
                  </a:cxn>
                  <a:cxn ang="0">
                    <a:pos x="32" y="47"/>
                  </a:cxn>
                  <a:cxn ang="0">
                    <a:pos x="36" y="38"/>
                  </a:cxn>
                  <a:cxn ang="0">
                    <a:pos x="44" y="34"/>
                  </a:cxn>
                  <a:cxn ang="0">
                    <a:pos x="46" y="31"/>
                  </a:cxn>
                  <a:cxn ang="0">
                    <a:pos x="39" y="25"/>
                  </a:cxn>
                  <a:cxn ang="0">
                    <a:pos x="73" y="40"/>
                  </a:cxn>
                  <a:cxn ang="0">
                    <a:pos x="69" y="44"/>
                  </a:cxn>
                  <a:cxn ang="0">
                    <a:pos x="64" y="38"/>
                  </a:cxn>
                  <a:cxn ang="0">
                    <a:pos x="61" y="41"/>
                  </a:cxn>
                  <a:cxn ang="0">
                    <a:pos x="53" y="44"/>
                  </a:cxn>
                  <a:cxn ang="0">
                    <a:pos x="52" y="50"/>
                  </a:cxn>
                  <a:cxn ang="0">
                    <a:pos x="59" y="60"/>
                  </a:cxn>
                  <a:cxn ang="0">
                    <a:pos x="60" y="62"/>
                  </a:cxn>
                  <a:cxn ang="0">
                    <a:pos x="54" y="64"/>
                  </a:cxn>
                  <a:cxn ang="0">
                    <a:pos x="56" y="68"/>
                  </a:cxn>
                  <a:cxn ang="0">
                    <a:pos x="61" y="70"/>
                  </a:cxn>
                  <a:cxn ang="0">
                    <a:pos x="70" y="61"/>
                  </a:cxn>
                  <a:cxn ang="0">
                    <a:pos x="71" y="54"/>
                  </a:cxn>
                  <a:cxn ang="0">
                    <a:pos x="74" y="40"/>
                  </a:cxn>
                </a:cxnLst>
                <a:rect l="0" t="0" r="r" b="b"/>
                <a:pathLst>
                  <a:path w="74" h="71">
                    <a:moveTo>
                      <a:pt x="39" y="25"/>
                    </a:moveTo>
                    <a:lnTo>
                      <a:pt x="39" y="25"/>
                    </a:lnTo>
                    <a:lnTo>
                      <a:pt x="37" y="24"/>
                    </a:lnTo>
                    <a:lnTo>
                      <a:pt x="36" y="20"/>
                    </a:lnTo>
                    <a:lnTo>
                      <a:pt x="36" y="17"/>
                    </a:lnTo>
                    <a:lnTo>
                      <a:pt x="39" y="14"/>
                    </a:lnTo>
                    <a:lnTo>
                      <a:pt x="39" y="14"/>
                    </a:lnTo>
                    <a:lnTo>
                      <a:pt x="40" y="11"/>
                    </a:lnTo>
                    <a:lnTo>
                      <a:pt x="40" y="7"/>
                    </a:lnTo>
                    <a:lnTo>
                      <a:pt x="40" y="3"/>
                    </a:lnTo>
                    <a:lnTo>
                      <a:pt x="40" y="0"/>
                    </a:lnTo>
                    <a:lnTo>
                      <a:pt x="40" y="0"/>
                    </a:lnTo>
                    <a:lnTo>
                      <a:pt x="37" y="0"/>
                    </a:lnTo>
                    <a:lnTo>
                      <a:pt x="33" y="0"/>
                    </a:lnTo>
                    <a:lnTo>
                      <a:pt x="30" y="3"/>
                    </a:lnTo>
                    <a:lnTo>
                      <a:pt x="29" y="7"/>
                    </a:lnTo>
                    <a:lnTo>
                      <a:pt x="29" y="7"/>
                    </a:lnTo>
                    <a:lnTo>
                      <a:pt x="26" y="10"/>
                    </a:lnTo>
                    <a:lnTo>
                      <a:pt x="23" y="11"/>
                    </a:lnTo>
                    <a:lnTo>
                      <a:pt x="20" y="11"/>
                    </a:lnTo>
                    <a:lnTo>
                      <a:pt x="19" y="11"/>
                    </a:lnTo>
                    <a:lnTo>
                      <a:pt x="19" y="11"/>
                    </a:lnTo>
                    <a:lnTo>
                      <a:pt x="19" y="13"/>
                    </a:lnTo>
                    <a:lnTo>
                      <a:pt x="19" y="15"/>
                    </a:lnTo>
                    <a:lnTo>
                      <a:pt x="20" y="17"/>
                    </a:lnTo>
                    <a:lnTo>
                      <a:pt x="19" y="18"/>
                    </a:lnTo>
                    <a:lnTo>
                      <a:pt x="19" y="18"/>
                    </a:lnTo>
                    <a:lnTo>
                      <a:pt x="17" y="20"/>
                    </a:lnTo>
                    <a:lnTo>
                      <a:pt x="16" y="18"/>
                    </a:lnTo>
                    <a:lnTo>
                      <a:pt x="13" y="15"/>
                    </a:lnTo>
                    <a:lnTo>
                      <a:pt x="10" y="14"/>
                    </a:lnTo>
                    <a:lnTo>
                      <a:pt x="10" y="14"/>
                    </a:lnTo>
                    <a:lnTo>
                      <a:pt x="7" y="15"/>
                    </a:lnTo>
                    <a:lnTo>
                      <a:pt x="5" y="18"/>
                    </a:lnTo>
                    <a:lnTo>
                      <a:pt x="2" y="25"/>
                    </a:lnTo>
                    <a:lnTo>
                      <a:pt x="2" y="25"/>
                    </a:lnTo>
                    <a:lnTo>
                      <a:pt x="0" y="30"/>
                    </a:lnTo>
                    <a:lnTo>
                      <a:pt x="0" y="34"/>
                    </a:lnTo>
                    <a:lnTo>
                      <a:pt x="2" y="44"/>
                    </a:lnTo>
                    <a:lnTo>
                      <a:pt x="2" y="44"/>
                    </a:lnTo>
                    <a:lnTo>
                      <a:pt x="3" y="48"/>
                    </a:lnTo>
                    <a:lnTo>
                      <a:pt x="6" y="51"/>
                    </a:lnTo>
                    <a:lnTo>
                      <a:pt x="7" y="55"/>
                    </a:lnTo>
                    <a:lnTo>
                      <a:pt x="9" y="58"/>
                    </a:lnTo>
                    <a:lnTo>
                      <a:pt x="9" y="58"/>
                    </a:lnTo>
                    <a:lnTo>
                      <a:pt x="9" y="61"/>
                    </a:lnTo>
                    <a:lnTo>
                      <a:pt x="10" y="65"/>
                    </a:lnTo>
                    <a:lnTo>
                      <a:pt x="10" y="65"/>
                    </a:lnTo>
                    <a:lnTo>
                      <a:pt x="19" y="65"/>
                    </a:lnTo>
                    <a:lnTo>
                      <a:pt x="26" y="67"/>
                    </a:lnTo>
                    <a:lnTo>
                      <a:pt x="26" y="67"/>
                    </a:lnTo>
                    <a:lnTo>
                      <a:pt x="32" y="67"/>
                    </a:lnTo>
                    <a:lnTo>
                      <a:pt x="32" y="67"/>
                    </a:lnTo>
                    <a:lnTo>
                      <a:pt x="27" y="62"/>
                    </a:lnTo>
                    <a:lnTo>
                      <a:pt x="26" y="60"/>
                    </a:lnTo>
                    <a:lnTo>
                      <a:pt x="24" y="58"/>
                    </a:lnTo>
                    <a:lnTo>
                      <a:pt x="24" y="58"/>
                    </a:lnTo>
                    <a:lnTo>
                      <a:pt x="26" y="57"/>
                    </a:lnTo>
                    <a:lnTo>
                      <a:pt x="27" y="57"/>
                    </a:lnTo>
                    <a:lnTo>
                      <a:pt x="33" y="60"/>
                    </a:lnTo>
                    <a:lnTo>
                      <a:pt x="33" y="60"/>
                    </a:lnTo>
                    <a:lnTo>
                      <a:pt x="36" y="61"/>
                    </a:lnTo>
                    <a:lnTo>
                      <a:pt x="40" y="62"/>
                    </a:lnTo>
                    <a:lnTo>
                      <a:pt x="43" y="61"/>
                    </a:lnTo>
                    <a:lnTo>
                      <a:pt x="44" y="60"/>
                    </a:lnTo>
                    <a:lnTo>
                      <a:pt x="44" y="60"/>
                    </a:lnTo>
                    <a:lnTo>
                      <a:pt x="43" y="52"/>
                    </a:lnTo>
                    <a:lnTo>
                      <a:pt x="42" y="50"/>
                    </a:lnTo>
                    <a:lnTo>
                      <a:pt x="40" y="50"/>
                    </a:lnTo>
                    <a:lnTo>
                      <a:pt x="39" y="50"/>
                    </a:lnTo>
                    <a:lnTo>
                      <a:pt x="39" y="50"/>
                    </a:lnTo>
                    <a:lnTo>
                      <a:pt x="34" y="51"/>
                    </a:lnTo>
                    <a:lnTo>
                      <a:pt x="32" y="48"/>
                    </a:lnTo>
                    <a:lnTo>
                      <a:pt x="32" y="48"/>
                    </a:lnTo>
                    <a:lnTo>
                      <a:pt x="32" y="47"/>
                    </a:lnTo>
                    <a:lnTo>
                      <a:pt x="33" y="44"/>
                    </a:lnTo>
                    <a:lnTo>
                      <a:pt x="36" y="38"/>
                    </a:lnTo>
                    <a:lnTo>
                      <a:pt x="36" y="38"/>
                    </a:lnTo>
                    <a:lnTo>
                      <a:pt x="37" y="37"/>
                    </a:lnTo>
                    <a:lnTo>
                      <a:pt x="42" y="35"/>
                    </a:lnTo>
                    <a:lnTo>
                      <a:pt x="44" y="34"/>
                    </a:lnTo>
                    <a:lnTo>
                      <a:pt x="46" y="33"/>
                    </a:lnTo>
                    <a:lnTo>
                      <a:pt x="46" y="33"/>
                    </a:lnTo>
                    <a:lnTo>
                      <a:pt x="46" y="31"/>
                    </a:lnTo>
                    <a:lnTo>
                      <a:pt x="43" y="28"/>
                    </a:lnTo>
                    <a:lnTo>
                      <a:pt x="39" y="25"/>
                    </a:lnTo>
                    <a:lnTo>
                      <a:pt x="39" y="25"/>
                    </a:lnTo>
                    <a:close/>
                    <a:moveTo>
                      <a:pt x="74" y="40"/>
                    </a:moveTo>
                    <a:lnTo>
                      <a:pt x="74" y="40"/>
                    </a:lnTo>
                    <a:lnTo>
                      <a:pt x="73" y="40"/>
                    </a:lnTo>
                    <a:lnTo>
                      <a:pt x="71" y="41"/>
                    </a:lnTo>
                    <a:lnTo>
                      <a:pt x="69" y="44"/>
                    </a:lnTo>
                    <a:lnTo>
                      <a:pt x="69" y="44"/>
                    </a:lnTo>
                    <a:lnTo>
                      <a:pt x="67" y="43"/>
                    </a:lnTo>
                    <a:lnTo>
                      <a:pt x="66" y="40"/>
                    </a:lnTo>
                    <a:lnTo>
                      <a:pt x="64" y="38"/>
                    </a:lnTo>
                    <a:lnTo>
                      <a:pt x="63" y="40"/>
                    </a:lnTo>
                    <a:lnTo>
                      <a:pt x="63" y="40"/>
                    </a:lnTo>
                    <a:lnTo>
                      <a:pt x="61" y="41"/>
                    </a:lnTo>
                    <a:lnTo>
                      <a:pt x="60" y="41"/>
                    </a:lnTo>
                    <a:lnTo>
                      <a:pt x="56" y="41"/>
                    </a:lnTo>
                    <a:lnTo>
                      <a:pt x="53" y="44"/>
                    </a:lnTo>
                    <a:lnTo>
                      <a:pt x="53" y="44"/>
                    </a:lnTo>
                    <a:lnTo>
                      <a:pt x="52" y="47"/>
                    </a:lnTo>
                    <a:lnTo>
                      <a:pt x="52" y="50"/>
                    </a:lnTo>
                    <a:lnTo>
                      <a:pt x="53" y="54"/>
                    </a:lnTo>
                    <a:lnTo>
                      <a:pt x="56" y="57"/>
                    </a:lnTo>
                    <a:lnTo>
                      <a:pt x="59" y="60"/>
                    </a:lnTo>
                    <a:lnTo>
                      <a:pt x="59" y="60"/>
                    </a:lnTo>
                    <a:lnTo>
                      <a:pt x="60" y="61"/>
                    </a:lnTo>
                    <a:lnTo>
                      <a:pt x="60" y="62"/>
                    </a:lnTo>
                    <a:lnTo>
                      <a:pt x="57" y="64"/>
                    </a:lnTo>
                    <a:lnTo>
                      <a:pt x="54" y="64"/>
                    </a:lnTo>
                    <a:lnTo>
                      <a:pt x="54" y="64"/>
                    </a:lnTo>
                    <a:lnTo>
                      <a:pt x="53" y="64"/>
                    </a:lnTo>
                    <a:lnTo>
                      <a:pt x="53" y="67"/>
                    </a:lnTo>
                    <a:lnTo>
                      <a:pt x="56" y="68"/>
                    </a:lnTo>
                    <a:lnTo>
                      <a:pt x="59" y="71"/>
                    </a:lnTo>
                    <a:lnTo>
                      <a:pt x="59" y="71"/>
                    </a:lnTo>
                    <a:lnTo>
                      <a:pt x="61" y="70"/>
                    </a:lnTo>
                    <a:lnTo>
                      <a:pt x="63" y="70"/>
                    </a:lnTo>
                    <a:lnTo>
                      <a:pt x="67" y="65"/>
                    </a:lnTo>
                    <a:lnTo>
                      <a:pt x="70" y="61"/>
                    </a:lnTo>
                    <a:lnTo>
                      <a:pt x="70" y="57"/>
                    </a:lnTo>
                    <a:lnTo>
                      <a:pt x="70" y="57"/>
                    </a:lnTo>
                    <a:lnTo>
                      <a:pt x="71" y="54"/>
                    </a:lnTo>
                    <a:lnTo>
                      <a:pt x="73" y="48"/>
                    </a:lnTo>
                    <a:lnTo>
                      <a:pt x="74" y="43"/>
                    </a:lnTo>
                    <a:lnTo>
                      <a:pt x="74" y="40"/>
                    </a:lnTo>
                    <a:lnTo>
                      <a:pt x="74" y="4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6" name="Sweden">
                <a:extLst>
                  <a:ext uri="{FF2B5EF4-FFF2-40B4-BE49-F238E27FC236}">
                    <a16:creationId xmlns:a16="http://schemas.microsoft.com/office/drawing/2014/main" id="{9BB5BE6A-F611-6443-ACB9-A7A4BED306F5}"/>
                  </a:ext>
                </a:extLst>
              </p:cNvPr>
              <p:cNvSpPr>
                <a:spLocks noEditPoints="1"/>
              </p:cNvSpPr>
              <p:nvPr/>
            </p:nvSpPr>
            <p:spPr bwMode="auto">
              <a:xfrm>
                <a:off x="4592717" y="2317950"/>
                <a:ext cx="295957" cy="512006"/>
              </a:xfrm>
              <a:custGeom>
                <a:avLst/>
                <a:gdLst/>
                <a:ahLst/>
                <a:cxnLst>
                  <a:cxn ang="0">
                    <a:pos x="194" y="71"/>
                  </a:cxn>
                  <a:cxn ang="0">
                    <a:pos x="196" y="57"/>
                  </a:cxn>
                  <a:cxn ang="0">
                    <a:pos x="192" y="43"/>
                  </a:cxn>
                  <a:cxn ang="0">
                    <a:pos x="190" y="26"/>
                  </a:cxn>
                  <a:cxn ang="0">
                    <a:pos x="157" y="7"/>
                  </a:cxn>
                  <a:cxn ang="0">
                    <a:pos x="142" y="3"/>
                  </a:cxn>
                  <a:cxn ang="0">
                    <a:pos x="133" y="17"/>
                  </a:cxn>
                  <a:cxn ang="0">
                    <a:pos x="112" y="13"/>
                  </a:cxn>
                  <a:cxn ang="0">
                    <a:pos x="109" y="24"/>
                  </a:cxn>
                  <a:cxn ang="0">
                    <a:pos x="89" y="32"/>
                  </a:cxn>
                  <a:cxn ang="0">
                    <a:pos x="79" y="47"/>
                  </a:cxn>
                  <a:cxn ang="0">
                    <a:pos x="76" y="57"/>
                  </a:cxn>
                  <a:cxn ang="0">
                    <a:pos x="66" y="77"/>
                  </a:cxn>
                  <a:cxn ang="0">
                    <a:pos x="52" y="81"/>
                  </a:cxn>
                  <a:cxn ang="0">
                    <a:pos x="51" y="101"/>
                  </a:cxn>
                  <a:cxn ang="0">
                    <a:pos x="42" y="124"/>
                  </a:cxn>
                  <a:cxn ang="0">
                    <a:pos x="45" y="134"/>
                  </a:cxn>
                  <a:cxn ang="0">
                    <a:pos x="27" y="137"/>
                  </a:cxn>
                  <a:cxn ang="0">
                    <a:pos x="15" y="160"/>
                  </a:cxn>
                  <a:cxn ang="0">
                    <a:pos x="17" y="178"/>
                  </a:cxn>
                  <a:cxn ang="0">
                    <a:pos x="15" y="194"/>
                  </a:cxn>
                  <a:cxn ang="0">
                    <a:pos x="27" y="208"/>
                  </a:cxn>
                  <a:cxn ang="0">
                    <a:pos x="18" y="216"/>
                  </a:cxn>
                  <a:cxn ang="0">
                    <a:pos x="22" y="236"/>
                  </a:cxn>
                  <a:cxn ang="0">
                    <a:pos x="11" y="239"/>
                  </a:cxn>
                  <a:cxn ang="0">
                    <a:pos x="8" y="261"/>
                  </a:cxn>
                  <a:cxn ang="0">
                    <a:pos x="0" y="262"/>
                  </a:cxn>
                  <a:cxn ang="0">
                    <a:pos x="4" y="276"/>
                  </a:cxn>
                  <a:cxn ang="0">
                    <a:pos x="12" y="296"/>
                  </a:cxn>
                  <a:cxn ang="0">
                    <a:pos x="21" y="312"/>
                  </a:cxn>
                  <a:cxn ang="0">
                    <a:pos x="24" y="326"/>
                  </a:cxn>
                  <a:cxn ang="0">
                    <a:pos x="28" y="342"/>
                  </a:cxn>
                  <a:cxn ang="0">
                    <a:pos x="42" y="344"/>
                  </a:cxn>
                  <a:cxn ang="0">
                    <a:pos x="49" y="332"/>
                  </a:cxn>
                  <a:cxn ang="0">
                    <a:pos x="62" y="327"/>
                  </a:cxn>
                  <a:cxn ang="0">
                    <a:pos x="75" y="320"/>
                  </a:cxn>
                  <a:cxn ang="0">
                    <a:pos x="82" y="322"/>
                  </a:cxn>
                  <a:cxn ang="0">
                    <a:pos x="83" y="309"/>
                  </a:cxn>
                  <a:cxn ang="0">
                    <a:pos x="83" y="298"/>
                  </a:cxn>
                  <a:cxn ang="0">
                    <a:pos x="91" y="266"/>
                  </a:cxn>
                  <a:cxn ang="0">
                    <a:pos x="110" y="252"/>
                  </a:cxn>
                  <a:cxn ang="0">
                    <a:pos x="119" y="239"/>
                  </a:cxn>
                  <a:cxn ang="0">
                    <a:pos x="101" y="221"/>
                  </a:cxn>
                  <a:cxn ang="0">
                    <a:pos x="91" y="201"/>
                  </a:cxn>
                  <a:cxn ang="0">
                    <a:pos x="96" y="185"/>
                  </a:cxn>
                  <a:cxn ang="0">
                    <a:pos x="105" y="169"/>
                  </a:cxn>
                  <a:cxn ang="0">
                    <a:pos x="116" y="155"/>
                  </a:cxn>
                  <a:cxn ang="0">
                    <a:pos x="149" y="135"/>
                  </a:cxn>
                  <a:cxn ang="0">
                    <a:pos x="157" y="118"/>
                  </a:cxn>
                  <a:cxn ang="0">
                    <a:pos x="162" y="103"/>
                  </a:cxn>
                  <a:cxn ang="0">
                    <a:pos x="174" y="88"/>
                  </a:cxn>
                  <a:cxn ang="0">
                    <a:pos x="196" y="87"/>
                  </a:cxn>
                  <a:cxn ang="0">
                    <a:pos x="118" y="288"/>
                  </a:cxn>
                  <a:cxn ang="0">
                    <a:pos x="106" y="309"/>
                  </a:cxn>
                  <a:cxn ang="0">
                    <a:pos x="120" y="289"/>
                  </a:cxn>
                </a:cxnLst>
                <a:rect l="0" t="0" r="r" b="b"/>
                <a:pathLst>
                  <a:path w="200" h="346">
                    <a:moveTo>
                      <a:pt x="197" y="80"/>
                    </a:moveTo>
                    <a:lnTo>
                      <a:pt x="197" y="80"/>
                    </a:lnTo>
                    <a:lnTo>
                      <a:pt x="194" y="74"/>
                    </a:lnTo>
                    <a:lnTo>
                      <a:pt x="193" y="73"/>
                    </a:lnTo>
                    <a:lnTo>
                      <a:pt x="194" y="71"/>
                    </a:lnTo>
                    <a:lnTo>
                      <a:pt x="194" y="71"/>
                    </a:lnTo>
                    <a:lnTo>
                      <a:pt x="196" y="71"/>
                    </a:lnTo>
                    <a:lnTo>
                      <a:pt x="197" y="70"/>
                    </a:lnTo>
                    <a:lnTo>
                      <a:pt x="199" y="66"/>
                    </a:lnTo>
                    <a:lnTo>
                      <a:pt x="197" y="60"/>
                    </a:lnTo>
                    <a:lnTo>
                      <a:pt x="196" y="57"/>
                    </a:lnTo>
                    <a:lnTo>
                      <a:pt x="196" y="57"/>
                    </a:lnTo>
                    <a:lnTo>
                      <a:pt x="194" y="56"/>
                    </a:lnTo>
                    <a:lnTo>
                      <a:pt x="193" y="54"/>
                    </a:lnTo>
                    <a:lnTo>
                      <a:pt x="193" y="50"/>
                    </a:lnTo>
                    <a:lnTo>
                      <a:pt x="193" y="46"/>
                    </a:lnTo>
                    <a:lnTo>
                      <a:pt x="193" y="44"/>
                    </a:lnTo>
                    <a:lnTo>
                      <a:pt x="192" y="43"/>
                    </a:lnTo>
                    <a:lnTo>
                      <a:pt x="192" y="43"/>
                    </a:lnTo>
                    <a:lnTo>
                      <a:pt x="190" y="40"/>
                    </a:lnTo>
                    <a:lnTo>
                      <a:pt x="190" y="37"/>
                    </a:lnTo>
                    <a:lnTo>
                      <a:pt x="192" y="27"/>
                    </a:lnTo>
                    <a:lnTo>
                      <a:pt x="192" y="27"/>
                    </a:lnTo>
                    <a:lnTo>
                      <a:pt x="190" y="26"/>
                    </a:lnTo>
                    <a:lnTo>
                      <a:pt x="189" y="24"/>
                    </a:lnTo>
                    <a:lnTo>
                      <a:pt x="183" y="20"/>
                    </a:lnTo>
                    <a:lnTo>
                      <a:pt x="167" y="14"/>
                    </a:lnTo>
                    <a:lnTo>
                      <a:pt x="167" y="14"/>
                    </a:lnTo>
                    <a:lnTo>
                      <a:pt x="163" y="10"/>
                    </a:lnTo>
                    <a:lnTo>
                      <a:pt x="157" y="7"/>
                    </a:lnTo>
                    <a:lnTo>
                      <a:pt x="153" y="3"/>
                    </a:lnTo>
                    <a:lnTo>
                      <a:pt x="149" y="0"/>
                    </a:lnTo>
                    <a:lnTo>
                      <a:pt x="149" y="0"/>
                    </a:lnTo>
                    <a:lnTo>
                      <a:pt x="146" y="0"/>
                    </a:lnTo>
                    <a:lnTo>
                      <a:pt x="145" y="0"/>
                    </a:lnTo>
                    <a:lnTo>
                      <a:pt x="142" y="3"/>
                    </a:lnTo>
                    <a:lnTo>
                      <a:pt x="140" y="7"/>
                    </a:lnTo>
                    <a:lnTo>
                      <a:pt x="140" y="13"/>
                    </a:lnTo>
                    <a:lnTo>
                      <a:pt x="140" y="13"/>
                    </a:lnTo>
                    <a:lnTo>
                      <a:pt x="139" y="16"/>
                    </a:lnTo>
                    <a:lnTo>
                      <a:pt x="136" y="17"/>
                    </a:lnTo>
                    <a:lnTo>
                      <a:pt x="133" y="17"/>
                    </a:lnTo>
                    <a:lnTo>
                      <a:pt x="129" y="16"/>
                    </a:lnTo>
                    <a:lnTo>
                      <a:pt x="129" y="16"/>
                    </a:lnTo>
                    <a:lnTo>
                      <a:pt x="126" y="14"/>
                    </a:lnTo>
                    <a:lnTo>
                      <a:pt x="122" y="14"/>
                    </a:lnTo>
                    <a:lnTo>
                      <a:pt x="118" y="14"/>
                    </a:lnTo>
                    <a:lnTo>
                      <a:pt x="112" y="13"/>
                    </a:lnTo>
                    <a:lnTo>
                      <a:pt x="112" y="13"/>
                    </a:lnTo>
                    <a:lnTo>
                      <a:pt x="110" y="12"/>
                    </a:lnTo>
                    <a:lnTo>
                      <a:pt x="109" y="13"/>
                    </a:lnTo>
                    <a:lnTo>
                      <a:pt x="108" y="16"/>
                    </a:lnTo>
                    <a:lnTo>
                      <a:pt x="109" y="24"/>
                    </a:lnTo>
                    <a:lnTo>
                      <a:pt x="109" y="24"/>
                    </a:lnTo>
                    <a:lnTo>
                      <a:pt x="108" y="27"/>
                    </a:lnTo>
                    <a:lnTo>
                      <a:pt x="105" y="29"/>
                    </a:lnTo>
                    <a:lnTo>
                      <a:pt x="96" y="29"/>
                    </a:lnTo>
                    <a:lnTo>
                      <a:pt x="96" y="29"/>
                    </a:lnTo>
                    <a:lnTo>
                      <a:pt x="92" y="29"/>
                    </a:lnTo>
                    <a:lnTo>
                      <a:pt x="89" y="32"/>
                    </a:lnTo>
                    <a:lnTo>
                      <a:pt x="85" y="34"/>
                    </a:lnTo>
                    <a:lnTo>
                      <a:pt x="85" y="37"/>
                    </a:lnTo>
                    <a:lnTo>
                      <a:pt x="85" y="37"/>
                    </a:lnTo>
                    <a:lnTo>
                      <a:pt x="83" y="41"/>
                    </a:lnTo>
                    <a:lnTo>
                      <a:pt x="81" y="44"/>
                    </a:lnTo>
                    <a:lnTo>
                      <a:pt x="79" y="47"/>
                    </a:lnTo>
                    <a:lnTo>
                      <a:pt x="79" y="49"/>
                    </a:lnTo>
                    <a:lnTo>
                      <a:pt x="79" y="49"/>
                    </a:lnTo>
                    <a:lnTo>
                      <a:pt x="81" y="51"/>
                    </a:lnTo>
                    <a:lnTo>
                      <a:pt x="79" y="54"/>
                    </a:lnTo>
                    <a:lnTo>
                      <a:pt x="76" y="57"/>
                    </a:lnTo>
                    <a:lnTo>
                      <a:pt x="76" y="57"/>
                    </a:lnTo>
                    <a:lnTo>
                      <a:pt x="72" y="64"/>
                    </a:lnTo>
                    <a:lnTo>
                      <a:pt x="68" y="70"/>
                    </a:lnTo>
                    <a:lnTo>
                      <a:pt x="68" y="70"/>
                    </a:lnTo>
                    <a:lnTo>
                      <a:pt x="66" y="71"/>
                    </a:lnTo>
                    <a:lnTo>
                      <a:pt x="66" y="74"/>
                    </a:lnTo>
                    <a:lnTo>
                      <a:pt x="66" y="77"/>
                    </a:lnTo>
                    <a:lnTo>
                      <a:pt x="65" y="78"/>
                    </a:lnTo>
                    <a:lnTo>
                      <a:pt x="65" y="78"/>
                    </a:lnTo>
                    <a:lnTo>
                      <a:pt x="61" y="80"/>
                    </a:lnTo>
                    <a:lnTo>
                      <a:pt x="58" y="81"/>
                    </a:lnTo>
                    <a:lnTo>
                      <a:pt x="55" y="81"/>
                    </a:lnTo>
                    <a:lnTo>
                      <a:pt x="52" y="81"/>
                    </a:lnTo>
                    <a:lnTo>
                      <a:pt x="52" y="81"/>
                    </a:lnTo>
                    <a:lnTo>
                      <a:pt x="51" y="84"/>
                    </a:lnTo>
                    <a:lnTo>
                      <a:pt x="51" y="87"/>
                    </a:lnTo>
                    <a:lnTo>
                      <a:pt x="52" y="97"/>
                    </a:lnTo>
                    <a:lnTo>
                      <a:pt x="52" y="97"/>
                    </a:lnTo>
                    <a:lnTo>
                      <a:pt x="51" y="101"/>
                    </a:lnTo>
                    <a:lnTo>
                      <a:pt x="48" y="107"/>
                    </a:lnTo>
                    <a:lnTo>
                      <a:pt x="41" y="117"/>
                    </a:lnTo>
                    <a:lnTo>
                      <a:pt x="41" y="117"/>
                    </a:lnTo>
                    <a:lnTo>
                      <a:pt x="39" y="121"/>
                    </a:lnTo>
                    <a:lnTo>
                      <a:pt x="41" y="123"/>
                    </a:lnTo>
                    <a:lnTo>
                      <a:pt x="42" y="124"/>
                    </a:lnTo>
                    <a:lnTo>
                      <a:pt x="45" y="125"/>
                    </a:lnTo>
                    <a:lnTo>
                      <a:pt x="45" y="125"/>
                    </a:lnTo>
                    <a:lnTo>
                      <a:pt x="46" y="127"/>
                    </a:lnTo>
                    <a:lnTo>
                      <a:pt x="46" y="128"/>
                    </a:lnTo>
                    <a:lnTo>
                      <a:pt x="45" y="134"/>
                    </a:lnTo>
                    <a:lnTo>
                      <a:pt x="45" y="134"/>
                    </a:lnTo>
                    <a:lnTo>
                      <a:pt x="42" y="137"/>
                    </a:lnTo>
                    <a:lnTo>
                      <a:pt x="39" y="137"/>
                    </a:lnTo>
                    <a:lnTo>
                      <a:pt x="34" y="135"/>
                    </a:lnTo>
                    <a:lnTo>
                      <a:pt x="34" y="135"/>
                    </a:lnTo>
                    <a:lnTo>
                      <a:pt x="31" y="135"/>
                    </a:lnTo>
                    <a:lnTo>
                      <a:pt x="27" y="137"/>
                    </a:lnTo>
                    <a:lnTo>
                      <a:pt x="22" y="141"/>
                    </a:lnTo>
                    <a:lnTo>
                      <a:pt x="18" y="145"/>
                    </a:lnTo>
                    <a:lnTo>
                      <a:pt x="18" y="145"/>
                    </a:lnTo>
                    <a:lnTo>
                      <a:pt x="15" y="151"/>
                    </a:lnTo>
                    <a:lnTo>
                      <a:pt x="15" y="155"/>
                    </a:lnTo>
                    <a:lnTo>
                      <a:pt x="15" y="160"/>
                    </a:lnTo>
                    <a:lnTo>
                      <a:pt x="17" y="162"/>
                    </a:lnTo>
                    <a:lnTo>
                      <a:pt x="17" y="162"/>
                    </a:lnTo>
                    <a:lnTo>
                      <a:pt x="17" y="165"/>
                    </a:lnTo>
                    <a:lnTo>
                      <a:pt x="15" y="168"/>
                    </a:lnTo>
                    <a:lnTo>
                      <a:pt x="15" y="172"/>
                    </a:lnTo>
                    <a:lnTo>
                      <a:pt x="17" y="178"/>
                    </a:lnTo>
                    <a:lnTo>
                      <a:pt x="17" y="178"/>
                    </a:lnTo>
                    <a:lnTo>
                      <a:pt x="18" y="182"/>
                    </a:lnTo>
                    <a:lnTo>
                      <a:pt x="17" y="187"/>
                    </a:lnTo>
                    <a:lnTo>
                      <a:pt x="17" y="189"/>
                    </a:lnTo>
                    <a:lnTo>
                      <a:pt x="15" y="194"/>
                    </a:lnTo>
                    <a:lnTo>
                      <a:pt x="15" y="194"/>
                    </a:lnTo>
                    <a:lnTo>
                      <a:pt x="18" y="197"/>
                    </a:lnTo>
                    <a:lnTo>
                      <a:pt x="21" y="199"/>
                    </a:lnTo>
                    <a:lnTo>
                      <a:pt x="25" y="201"/>
                    </a:lnTo>
                    <a:lnTo>
                      <a:pt x="27" y="205"/>
                    </a:lnTo>
                    <a:lnTo>
                      <a:pt x="27" y="205"/>
                    </a:lnTo>
                    <a:lnTo>
                      <a:pt x="27" y="208"/>
                    </a:lnTo>
                    <a:lnTo>
                      <a:pt x="25" y="211"/>
                    </a:lnTo>
                    <a:lnTo>
                      <a:pt x="22" y="212"/>
                    </a:lnTo>
                    <a:lnTo>
                      <a:pt x="21" y="214"/>
                    </a:lnTo>
                    <a:lnTo>
                      <a:pt x="21" y="214"/>
                    </a:lnTo>
                    <a:lnTo>
                      <a:pt x="18" y="214"/>
                    </a:lnTo>
                    <a:lnTo>
                      <a:pt x="18" y="216"/>
                    </a:lnTo>
                    <a:lnTo>
                      <a:pt x="19" y="219"/>
                    </a:lnTo>
                    <a:lnTo>
                      <a:pt x="21" y="221"/>
                    </a:lnTo>
                    <a:lnTo>
                      <a:pt x="21" y="221"/>
                    </a:lnTo>
                    <a:lnTo>
                      <a:pt x="22" y="224"/>
                    </a:lnTo>
                    <a:lnTo>
                      <a:pt x="24" y="228"/>
                    </a:lnTo>
                    <a:lnTo>
                      <a:pt x="22" y="236"/>
                    </a:lnTo>
                    <a:lnTo>
                      <a:pt x="22" y="236"/>
                    </a:lnTo>
                    <a:lnTo>
                      <a:pt x="19" y="238"/>
                    </a:lnTo>
                    <a:lnTo>
                      <a:pt x="15" y="238"/>
                    </a:lnTo>
                    <a:lnTo>
                      <a:pt x="12" y="238"/>
                    </a:lnTo>
                    <a:lnTo>
                      <a:pt x="11" y="238"/>
                    </a:lnTo>
                    <a:lnTo>
                      <a:pt x="11" y="239"/>
                    </a:lnTo>
                    <a:lnTo>
                      <a:pt x="11" y="239"/>
                    </a:lnTo>
                    <a:lnTo>
                      <a:pt x="11" y="243"/>
                    </a:lnTo>
                    <a:lnTo>
                      <a:pt x="11" y="246"/>
                    </a:lnTo>
                    <a:lnTo>
                      <a:pt x="9" y="252"/>
                    </a:lnTo>
                    <a:lnTo>
                      <a:pt x="9" y="252"/>
                    </a:lnTo>
                    <a:lnTo>
                      <a:pt x="8" y="261"/>
                    </a:lnTo>
                    <a:lnTo>
                      <a:pt x="7" y="263"/>
                    </a:lnTo>
                    <a:lnTo>
                      <a:pt x="7" y="263"/>
                    </a:lnTo>
                    <a:lnTo>
                      <a:pt x="5" y="263"/>
                    </a:lnTo>
                    <a:lnTo>
                      <a:pt x="5" y="263"/>
                    </a:lnTo>
                    <a:lnTo>
                      <a:pt x="2" y="262"/>
                    </a:lnTo>
                    <a:lnTo>
                      <a:pt x="0" y="262"/>
                    </a:lnTo>
                    <a:lnTo>
                      <a:pt x="0" y="262"/>
                    </a:lnTo>
                    <a:lnTo>
                      <a:pt x="0" y="263"/>
                    </a:lnTo>
                    <a:lnTo>
                      <a:pt x="0" y="263"/>
                    </a:lnTo>
                    <a:lnTo>
                      <a:pt x="1" y="269"/>
                    </a:lnTo>
                    <a:lnTo>
                      <a:pt x="1" y="273"/>
                    </a:lnTo>
                    <a:lnTo>
                      <a:pt x="4" y="276"/>
                    </a:lnTo>
                    <a:lnTo>
                      <a:pt x="7" y="280"/>
                    </a:lnTo>
                    <a:lnTo>
                      <a:pt x="7" y="280"/>
                    </a:lnTo>
                    <a:lnTo>
                      <a:pt x="9" y="283"/>
                    </a:lnTo>
                    <a:lnTo>
                      <a:pt x="11" y="288"/>
                    </a:lnTo>
                    <a:lnTo>
                      <a:pt x="11" y="292"/>
                    </a:lnTo>
                    <a:lnTo>
                      <a:pt x="12" y="296"/>
                    </a:lnTo>
                    <a:lnTo>
                      <a:pt x="12" y="296"/>
                    </a:lnTo>
                    <a:lnTo>
                      <a:pt x="15" y="300"/>
                    </a:lnTo>
                    <a:lnTo>
                      <a:pt x="17" y="305"/>
                    </a:lnTo>
                    <a:lnTo>
                      <a:pt x="18" y="307"/>
                    </a:lnTo>
                    <a:lnTo>
                      <a:pt x="21" y="312"/>
                    </a:lnTo>
                    <a:lnTo>
                      <a:pt x="21" y="312"/>
                    </a:lnTo>
                    <a:lnTo>
                      <a:pt x="24" y="315"/>
                    </a:lnTo>
                    <a:lnTo>
                      <a:pt x="25" y="317"/>
                    </a:lnTo>
                    <a:lnTo>
                      <a:pt x="25" y="320"/>
                    </a:lnTo>
                    <a:lnTo>
                      <a:pt x="24" y="323"/>
                    </a:lnTo>
                    <a:lnTo>
                      <a:pt x="24" y="323"/>
                    </a:lnTo>
                    <a:lnTo>
                      <a:pt x="24" y="326"/>
                    </a:lnTo>
                    <a:lnTo>
                      <a:pt x="25" y="327"/>
                    </a:lnTo>
                    <a:lnTo>
                      <a:pt x="28" y="329"/>
                    </a:lnTo>
                    <a:lnTo>
                      <a:pt x="29" y="330"/>
                    </a:lnTo>
                    <a:lnTo>
                      <a:pt x="29" y="330"/>
                    </a:lnTo>
                    <a:lnTo>
                      <a:pt x="28" y="337"/>
                    </a:lnTo>
                    <a:lnTo>
                      <a:pt x="28" y="342"/>
                    </a:lnTo>
                    <a:lnTo>
                      <a:pt x="29" y="344"/>
                    </a:lnTo>
                    <a:lnTo>
                      <a:pt x="29" y="344"/>
                    </a:lnTo>
                    <a:lnTo>
                      <a:pt x="31" y="346"/>
                    </a:lnTo>
                    <a:lnTo>
                      <a:pt x="34" y="346"/>
                    </a:lnTo>
                    <a:lnTo>
                      <a:pt x="42" y="344"/>
                    </a:lnTo>
                    <a:lnTo>
                      <a:pt x="42" y="344"/>
                    </a:lnTo>
                    <a:lnTo>
                      <a:pt x="45" y="343"/>
                    </a:lnTo>
                    <a:lnTo>
                      <a:pt x="48" y="340"/>
                    </a:lnTo>
                    <a:lnTo>
                      <a:pt x="48" y="335"/>
                    </a:lnTo>
                    <a:lnTo>
                      <a:pt x="48" y="335"/>
                    </a:lnTo>
                    <a:lnTo>
                      <a:pt x="48" y="332"/>
                    </a:lnTo>
                    <a:lnTo>
                      <a:pt x="49" y="332"/>
                    </a:lnTo>
                    <a:lnTo>
                      <a:pt x="51" y="330"/>
                    </a:lnTo>
                    <a:lnTo>
                      <a:pt x="52" y="329"/>
                    </a:lnTo>
                    <a:lnTo>
                      <a:pt x="52" y="329"/>
                    </a:lnTo>
                    <a:lnTo>
                      <a:pt x="54" y="327"/>
                    </a:lnTo>
                    <a:lnTo>
                      <a:pt x="58" y="326"/>
                    </a:lnTo>
                    <a:lnTo>
                      <a:pt x="62" y="327"/>
                    </a:lnTo>
                    <a:lnTo>
                      <a:pt x="66" y="327"/>
                    </a:lnTo>
                    <a:lnTo>
                      <a:pt x="66" y="327"/>
                    </a:lnTo>
                    <a:lnTo>
                      <a:pt x="69" y="329"/>
                    </a:lnTo>
                    <a:lnTo>
                      <a:pt x="72" y="327"/>
                    </a:lnTo>
                    <a:lnTo>
                      <a:pt x="73" y="325"/>
                    </a:lnTo>
                    <a:lnTo>
                      <a:pt x="75" y="320"/>
                    </a:lnTo>
                    <a:lnTo>
                      <a:pt x="75" y="320"/>
                    </a:lnTo>
                    <a:lnTo>
                      <a:pt x="76" y="319"/>
                    </a:lnTo>
                    <a:lnTo>
                      <a:pt x="78" y="319"/>
                    </a:lnTo>
                    <a:lnTo>
                      <a:pt x="81" y="323"/>
                    </a:lnTo>
                    <a:lnTo>
                      <a:pt x="81" y="323"/>
                    </a:lnTo>
                    <a:lnTo>
                      <a:pt x="82" y="322"/>
                    </a:lnTo>
                    <a:lnTo>
                      <a:pt x="85" y="319"/>
                    </a:lnTo>
                    <a:lnTo>
                      <a:pt x="89" y="307"/>
                    </a:lnTo>
                    <a:lnTo>
                      <a:pt x="89" y="307"/>
                    </a:lnTo>
                    <a:lnTo>
                      <a:pt x="91" y="305"/>
                    </a:lnTo>
                    <a:lnTo>
                      <a:pt x="89" y="303"/>
                    </a:lnTo>
                    <a:lnTo>
                      <a:pt x="83" y="309"/>
                    </a:lnTo>
                    <a:lnTo>
                      <a:pt x="83" y="309"/>
                    </a:lnTo>
                    <a:lnTo>
                      <a:pt x="82" y="310"/>
                    </a:lnTo>
                    <a:lnTo>
                      <a:pt x="81" y="310"/>
                    </a:lnTo>
                    <a:lnTo>
                      <a:pt x="81" y="307"/>
                    </a:lnTo>
                    <a:lnTo>
                      <a:pt x="83" y="298"/>
                    </a:lnTo>
                    <a:lnTo>
                      <a:pt x="83" y="298"/>
                    </a:lnTo>
                    <a:lnTo>
                      <a:pt x="85" y="292"/>
                    </a:lnTo>
                    <a:lnTo>
                      <a:pt x="85" y="286"/>
                    </a:lnTo>
                    <a:lnTo>
                      <a:pt x="86" y="275"/>
                    </a:lnTo>
                    <a:lnTo>
                      <a:pt x="86" y="275"/>
                    </a:lnTo>
                    <a:lnTo>
                      <a:pt x="89" y="269"/>
                    </a:lnTo>
                    <a:lnTo>
                      <a:pt x="91" y="266"/>
                    </a:lnTo>
                    <a:lnTo>
                      <a:pt x="95" y="265"/>
                    </a:lnTo>
                    <a:lnTo>
                      <a:pt x="95" y="265"/>
                    </a:lnTo>
                    <a:lnTo>
                      <a:pt x="101" y="263"/>
                    </a:lnTo>
                    <a:lnTo>
                      <a:pt x="106" y="259"/>
                    </a:lnTo>
                    <a:lnTo>
                      <a:pt x="109" y="255"/>
                    </a:lnTo>
                    <a:lnTo>
                      <a:pt x="110" y="252"/>
                    </a:lnTo>
                    <a:lnTo>
                      <a:pt x="110" y="252"/>
                    </a:lnTo>
                    <a:lnTo>
                      <a:pt x="110" y="251"/>
                    </a:lnTo>
                    <a:lnTo>
                      <a:pt x="110" y="249"/>
                    </a:lnTo>
                    <a:lnTo>
                      <a:pt x="113" y="245"/>
                    </a:lnTo>
                    <a:lnTo>
                      <a:pt x="118" y="242"/>
                    </a:lnTo>
                    <a:lnTo>
                      <a:pt x="119" y="239"/>
                    </a:lnTo>
                    <a:lnTo>
                      <a:pt x="119" y="239"/>
                    </a:lnTo>
                    <a:lnTo>
                      <a:pt x="118" y="235"/>
                    </a:lnTo>
                    <a:lnTo>
                      <a:pt x="113" y="229"/>
                    </a:lnTo>
                    <a:lnTo>
                      <a:pt x="105" y="222"/>
                    </a:lnTo>
                    <a:lnTo>
                      <a:pt x="105" y="222"/>
                    </a:lnTo>
                    <a:lnTo>
                      <a:pt x="101" y="221"/>
                    </a:lnTo>
                    <a:lnTo>
                      <a:pt x="96" y="221"/>
                    </a:lnTo>
                    <a:lnTo>
                      <a:pt x="93" y="219"/>
                    </a:lnTo>
                    <a:lnTo>
                      <a:pt x="93" y="219"/>
                    </a:lnTo>
                    <a:lnTo>
                      <a:pt x="93" y="219"/>
                    </a:lnTo>
                    <a:lnTo>
                      <a:pt x="92" y="211"/>
                    </a:lnTo>
                    <a:lnTo>
                      <a:pt x="91" y="201"/>
                    </a:lnTo>
                    <a:lnTo>
                      <a:pt x="91" y="201"/>
                    </a:lnTo>
                    <a:lnTo>
                      <a:pt x="92" y="197"/>
                    </a:lnTo>
                    <a:lnTo>
                      <a:pt x="93" y="192"/>
                    </a:lnTo>
                    <a:lnTo>
                      <a:pt x="96" y="189"/>
                    </a:lnTo>
                    <a:lnTo>
                      <a:pt x="96" y="185"/>
                    </a:lnTo>
                    <a:lnTo>
                      <a:pt x="96" y="185"/>
                    </a:lnTo>
                    <a:lnTo>
                      <a:pt x="98" y="178"/>
                    </a:lnTo>
                    <a:lnTo>
                      <a:pt x="99" y="175"/>
                    </a:lnTo>
                    <a:lnTo>
                      <a:pt x="101" y="172"/>
                    </a:lnTo>
                    <a:lnTo>
                      <a:pt x="101" y="172"/>
                    </a:lnTo>
                    <a:lnTo>
                      <a:pt x="103" y="171"/>
                    </a:lnTo>
                    <a:lnTo>
                      <a:pt x="105" y="169"/>
                    </a:lnTo>
                    <a:lnTo>
                      <a:pt x="106" y="167"/>
                    </a:lnTo>
                    <a:lnTo>
                      <a:pt x="109" y="165"/>
                    </a:lnTo>
                    <a:lnTo>
                      <a:pt x="109" y="165"/>
                    </a:lnTo>
                    <a:lnTo>
                      <a:pt x="112" y="164"/>
                    </a:lnTo>
                    <a:lnTo>
                      <a:pt x="113" y="160"/>
                    </a:lnTo>
                    <a:lnTo>
                      <a:pt x="116" y="155"/>
                    </a:lnTo>
                    <a:lnTo>
                      <a:pt x="120" y="152"/>
                    </a:lnTo>
                    <a:lnTo>
                      <a:pt x="120" y="152"/>
                    </a:lnTo>
                    <a:lnTo>
                      <a:pt x="126" y="150"/>
                    </a:lnTo>
                    <a:lnTo>
                      <a:pt x="135" y="144"/>
                    </a:lnTo>
                    <a:lnTo>
                      <a:pt x="135" y="144"/>
                    </a:lnTo>
                    <a:lnTo>
                      <a:pt x="149" y="135"/>
                    </a:lnTo>
                    <a:lnTo>
                      <a:pt x="156" y="130"/>
                    </a:lnTo>
                    <a:lnTo>
                      <a:pt x="160" y="125"/>
                    </a:lnTo>
                    <a:lnTo>
                      <a:pt x="160" y="125"/>
                    </a:lnTo>
                    <a:lnTo>
                      <a:pt x="160" y="124"/>
                    </a:lnTo>
                    <a:lnTo>
                      <a:pt x="159" y="121"/>
                    </a:lnTo>
                    <a:lnTo>
                      <a:pt x="157" y="118"/>
                    </a:lnTo>
                    <a:lnTo>
                      <a:pt x="156" y="114"/>
                    </a:lnTo>
                    <a:lnTo>
                      <a:pt x="156" y="113"/>
                    </a:lnTo>
                    <a:lnTo>
                      <a:pt x="157" y="110"/>
                    </a:lnTo>
                    <a:lnTo>
                      <a:pt x="157" y="110"/>
                    </a:lnTo>
                    <a:lnTo>
                      <a:pt x="162" y="105"/>
                    </a:lnTo>
                    <a:lnTo>
                      <a:pt x="162" y="103"/>
                    </a:lnTo>
                    <a:lnTo>
                      <a:pt x="162" y="100"/>
                    </a:lnTo>
                    <a:lnTo>
                      <a:pt x="165" y="97"/>
                    </a:lnTo>
                    <a:lnTo>
                      <a:pt x="165" y="97"/>
                    </a:lnTo>
                    <a:lnTo>
                      <a:pt x="170" y="94"/>
                    </a:lnTo>
                    <a:lnTo>
                      <a:pt x="174" y="88"/>
                    </a:lnTo>
                    <a:lnTo>
                      <a:pt x="174" y="88"/>
                    </a:lnTo>
                    <a:lnTo>
                      <a:pt x="177" y="87"/>
                    </a:lnTo>
                    <a:lnTo>
                      <a:pt x="182" y="87"/>
                    </a:lnTo>
                    <a:lnTo>
                      <a:pt x="186" y="87"/>
                    </a:lnTo>
                    <a:lnTo>
                      <a:pt x="192" y="87"/>
                    </a:lnTo>
                    <a:lnTo>
                      <a:pt x="192" y="87"/>
                    </a:lnTo>
                    <a:lnTo>
                      <a:pt x="196" y="87"/>
                    </a:lnTo>
                    <a:lnTo>
                      <a:pt x="200" y="87"/>
                    </a:lnTo>
                    <a:lnTo>
                      <a:pt x="200" y="87"/>
                    </a:lnTo>
                    <a:lnTo>
                      <a:pt x="199" y="83"/>
                    </a:lnTo>
                    <a:lnTo>
                      <a:pt x="197" y="80"/>
                    </a:lnTo>
                    <a:lnTo>
                      <a:pt x="197" y="80"/>
                    </a:lnTo>
                    <a:close/>
                    <a:moveTo>
                      <a:pt x="118" y="288"/>
                    </a:moveTo>
                    <a:lnTo>
                      <a:pt x="118" y="288"/>
                    </a:lnTo>
                    <a:lnTo>
                      <a:pt x="115" y="289"/>
                    </a:lnTo>
                    <a:lnTo>
                      <a:pt x="112" y="290"/>
                    </a:lnTo>
                    <a:lnTo>
                      <a:pt x="108" y="298"/>
                    </a:lnTo>
                    <a:lnTo>
                      <a:pt x="106" y="305"/>
                    </a:lnTo>
                    <a:lnTo>
                      <a:pt x="106" y="309"/>
                    </a:lnTo>
                    <a:lnTo>
                      <a:pt x="106" y="309"/>
                    </a:lnTo>
                    <a:lnTo>
                      <a:pt x="108" y="309"/>
                    </a:lnTo>
                    <a:lnTo>
                      <a:pt x="110" y="306"/>
                    </a:lnTo>
                    <a:lnTo>
                      <a:pt x="116" y="299"/>
                    </a:lnTo>
                    <a:lnTo>
                      <a:pt x="120" y="292"/>
                    </a:lnTo>
                    <a:lnTo>
                      <a:pt x="120" y="289"/>
                    </a:lnTo>
                    <a:lnTo>
                      <a:pt x="118" y="288"/>
                    </a:lnTo>
                    <a:lnTo>
                      <a:pt x="118" y="28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7" name="Estonia">
                <a:extLst>
                  <a:ext uri="{FF2B5EF4-FFF2-40B4-BE49-F238E27FC236}">
                    <a16:creationId xmlns:a16="http://schemas.microsoft.com/office/drawing/2014/main" id="{D4933230-9F7B-2E40-88FF-DB8E106498B0}"/>
                  </a:ext>
                </a:extLst>
              </p:cNvPr>
              <p:cNvSpPr>
                <a:spLocks noEditPoints="1"/>
              </p:cNvSpPr>
              <p:nvPr/>
            </p:nvSpPr>
            <p:spPr bwMode="auto">
              <a:xfrm>
                <a:off x="4838361" y="2681977"/>
                <a:ext cx="143539" cy="69550"/>
              </a:xfrm>
              <a:custGeom>
                <a:avLst/>
                <a:gdLst/>
                <a:ahLst/>
                <a:cxnLst>
                  <a:cxn ang="0">
                    <a:pos x="92" y="12"/>
                  </a:cxn>
                  <a:cxn ang="0">
                    <a:pos x="97" y="5"/>
                  </a:cxn>
                  <a:cxn ang="0">
                    <a:pos x="95" y="2"/>
                  </a:cxn>
                  <a:cxn ang="0">
                    <a:pos x="92" y="3"/>
                  </a:cxn>
                  <a:cxn ang="0">
                    <a:pos x="77" y="2"/>
                  </a:cxn>
                  <a:cxn ang="0">
                    <a:pos x="61" y="0"/>
                  </a:cxn>
                  <a:cxn ang="0">
                    <a:pos x="45" y="2"/>
                  </a:cxn>
                  <a:cxn ang="0">
                    <a:pos x="31" y="6"/>
                  </a:cxn>
                  <a:cxn ang="0">
                    <a:pos x="28" y="9"/>
                  </a:cxn>
                  <a:cxn ang="0">
                    <a:pos x="21" y="13"/>
                  </a:cxn>
                  <a:cxn ang="0">
                    <a:pos x="23" y="15"/>
                  </a:cxn>
                  <a:cxn ang="0">
                    <a:pos x="24" y="17"/>
                  </a:cxn>
                  <a:cxn ang="0">
                    <a:pos x="24" y="23"/>
                  </a:cxn>
                  <a:cxn ang="0">
                    <a:pos x="26" y="26"/>
                  </a:cxn>
                  <a:cxn ang="0">
                    <a:pos x="31" y="32"/>
                  </a:cxn>
                  <a:cxn ang="0">
                    <a:pos x="36" y="30"/>
                  </a:cxn>
                  <a:cxn ang="0">
                    <a:pos x="40" y="32"/>
                  </a:cxn>
                  <a:cxn ang="0">
                    <a:pos x="38" y="37"/>
                  </a:cxn>
                  <a:cxn ang="0">
                    <a:pos x="38" y="37"/>
                  </a:cxn>
                  <a:cxn ang="0">
                    <a:pos x="48" y="37"/>
                  </a:cxn>
                  <a:cxn ang="0">
                    <a:pos x="55" y="37"/>
                  </a:cxn>
                  <a:cxn ang="0">
                    <a:pos x="68" y="46"/>
                  </a:cxn>
                  <a:cxn ang="0">
                    <a:pos x="71" y="47"/>
                  </a:cxn>
                  <a:cxn ang="0">
                    <a:pos x="87" y="47"/>
                  </a:cxn>
                  <a:cxn ang="0">
                    <a:pos x="87" y="46"/>
                  </a:cxn>
                  <a:cxn ang="0">
                    <a:pos x="87" y="43"/>
                  </a:cxn>
                  <a:cxn ang="0">
                    <a:pos x="92" y="40"/>
                  </a:cxn>
                  <a:cxn ang="0">
                    <a:pos x="91" y="37"/>
                  </a:cxn>
                  <a:cxn ang="0">
                    <a:pos x="88" y="29"/>
                  </a:cxn>
                  <a:cxn ang="0">
                    <a:pos x="87" y="25"/>
                  </a:cxn>
                  <a:cxn ang="0">
                    <a:pos x="87" y="20"/>
                  </a:cxn>
                  <a:cxn ang="0">
                    <a:pos x="92" y="12"/>
                  </a:cxn>
                  <a:cxn ang="0">
                    <a:pos x="8" y="23"/>
                  </a:cxn>
                  <a:cxn ang="0">
                    <a:pos x="6" y="25"/>
                  </a:cxn>
                  <a:cxn ang="0">
                    <a:pos x="0" y="32"/>
                  </a:cxn>
                  <a:cxn ang="0">
                    <a:pos x="1" y="37"/>
                  </a:cxn>
                  <a:cxn ang="0">
                    <a:pos x="1" y="37"/>
                  </a:cxn>
                  <a:cxn ang="0">
                    <a:pos x="11" y="33"/>
                  </a:cxn>
                  <a:cxn ang="0">
                    <a:pos x="18" y="26"/>
                  </a:cxn>
                  <a:cxn ang="0">
                    <a:pos x="17" y="23"/>
                  </a:cxn>
                  <a:cxn ang="0">
                    <a:pos x="8" y="23"/>
                  </a:cxn>
                  <a:cxn ang="0">
                    <a:pos x="16" y="16"/>
                  </a:cxn>
                  <a:cxn ang="0">
                    <a:pos x="16" y="16"/>
                  </a:cxn>
                  <a:cxn ang="0">
                    <a:pos x="10" y="15"/>
                  </a:cxn>
                  <a:cxn ang="0">
                    <a:pos x="4" y="16"/>
                  </a:cxn>
                  <a:cxn ang="0">
                    <a:pos x="6" y="17"/>
                  </a:cxn>
                  <a:cxn ang="0">
                    <a:pos x="10" y="19"/>
                  </a:cxn>
                  <a:cxn ang="0">
                    <a:pos x="16" y="16"/>
                  </a:cxn>
                </a:cxnLst>
                <a:rect l="0" t="0" r="r" b="b"/>
                <a:pathLst>
                  <a:path w="97" h="47">
                    <a:moveTo>
                      <a:pt x="92" y="12"/>
                    </a:moveTo>
                    <a:lnTo>
                      <a:pt x="92" y="12"/>
                    </a:lnTo>
                    <a:lnTo>
                      <a:pt x="97" y="7"/>
                    </a:lnTo>
                    <a:lnTo>
                      <a:pt x="97" y="5"/>
                    </a:lnTo>
                    <a:lnTo>
                      <a:pt x="95" y="2"/>
                    </a:lnTo>
                    <a:lnTo>
                      <a:pt x="95" y="2"/>
                    </a:lnTo>
                    <a:lnTo>
                      <a:pt x="92" y="3"/>
                    </a:lnTo>
                    <a:lnTo>
                      <a:pt x="92" y="3"/>
                    </a:lnTo>
                    <a:lnTo>
                      <a:pt x="85" y="3"/>
                    </a:lnTo>
                    <a:lnTo>
                      <a:pt x="77" y="2"/>
                    </a:lnTo>
                    <a:lnTo>
                      <a:pt x="70" y="0"/>
                    </a:lnTo>
                    <a:lnTo>
                      <a:pt x="61" y="0"/>
                    </a:lnTo>
                    <a:lnTo>
                      <a:pt x="61" y="0"/>
                    </a:lnTo>
                    <a:lnTo>
                      <a:pt x="45" y="2"/>
                    </a:lnTo>
                    <a:lnTo>
                      <a:pt x="37" y="3"/>
                    </a:lnTo>
                    <a:lnTo>
                      <a:pt x="31" y="6"/>
                    </a:lnTo>
                    <a:lnTo>
                      <a:pt x="31" y="6"/>
                    </a:lnTo>
                    <a:lnTo>
                      <a:pt x="28" y="9"/>
                    </a:lnTo>
                    <a:lnTo>
                      <a:pt x="24" y="10"/>
                    </a:lnTo>
                    <a:lnTo>
                      <a:pt x="21" y="13"/>
                    </a:lnTo>
                    <a:lnTo>
                      <a:pt x="21" y="13"/>
                    </a:lnTo>
                    <a:lnTo>
                      <a:pt x="23" y="15"/>
                    </a:lnTo>
                    <a:lnTo>
                      <a:pt x="23" y="15"/>
                    </a:lnTo>
                    <a:lnTo>
                      <a:pt x="24" y="17"/>
                    </a:lnTo>
                    <a:lnTo>
                      <a:pt x="24" y="20"/>
                    </a:lnTo>
                    <a:lnTo>
                      <a:pt x="24" y="23"/>
                    </a:lnTo>
                    <a:lnTo>
                      <a:pt x="26" y="26"/>
                    </a:lnTo>
                    <a:lnTo>
                      <a:pt x="26" y="26"/>
                    </a:lnTo>
                    <a:lnTo>
                      <a:pt x="30" y="30"/>
                    </a:lnTo>
                    <a:lnTo>
                      <a:pt x="31" y="32"/>
                    </a:lnTo>
                    <a:lnTo>
                      <a:pt x="36" y="30"/>
                    </a:lnTo>
                    <a:lnTo>
                      <a:pt x="36" y="30"/>
                    </a:lnTo>
                    <a:lnTo>
                      <a:pt x="38" y="30"/>
                    </a:lnTo>
                    <a:lnTo>
                      <a:pt x="40" y="32"/>
                    </a:lnTo>
                    <a:lnTo>
                      <a:pt x="40" y="34"/>
                    </a:lnTo>
                    <a:lnTo>
                      <a:pt x="38" y="37"/>
                    </a:lnTo>
                    <a:lnTo>
                      <a:pt x="38" y="37"/>
                    </a:lnTo>
                    <a:lnTo>
                      <a:pt x="38" y="37"/>
                    </a:lnTo>
                    <a:lnTo>
                      <a:pt x="38" y="37"/>
                    </a:lnTo>
                    <a:lnTo>
                      <a:pt x="48" y="37"/>
                    </a:lnTo>
                    <a:lnTo>
                      <a:pt x="55" y="37"/>
                    </a:lnTo>
                    <a:lnTo>
                      <a:pt x="55" y="37"/>
                    </a:lnTo>
                    <a:lnTo>
                      <a:pt x="63" y="43"/>
                    </a:lnTo>
                    <a:lnTo>
                      <a:pt x="68" y="46"/>
                    </a:lnTo>
                    <a:lnTo>
                      <a:pt x="71" y="47"/>
                    </a:lnTo>
                    <a:lnTo>
                      <a:pt x="71" y="47"/>
                    </a:lnTo>
                    <a:lnTo>
                      <a:pt x="77" y="47"/>
                    </a:lnTo>
                    <a:lnTo>
                      <a:pt x="87" y="47"/>
                    </a:lnTo>
                    <a:lnTo>
                      <a:pt x="87" y="47"/>
                    </a:lnTo>
                    <a:lnTo>
                      <a:pt x="87" y="46"/>
                    </a:lnTo>
                    <a:lnTo>
                      <a:pt x="87" y="43"/>
                    </a:lnTo>
                    <a:lnTo>
                      <a:pt x="87" y="43"/>
                    </a:lnTo>
                    <a:lnTo>
                      <a:pt x="91" y="42"/>
                    </a:lnTo>
                    <a:lnTo>
                      <a:pt x="92" y="40"/>
                    </a:lnTo>
                    <a:lnTo>
                      <a:pt x="91" y="37"/>
                    </a:lnTo>
                    <a:lnTo>
                      <a:pt x="91" y="37"/>
                    </a:lnTo>
                    <a:lnTo>
                      <a:pt x="90" y="34"/>
                    </a:lnTo>
                    <a:lnTo>
                      <a:pt x="88" y="29"/>
                    </a:lnTo>
                    <a:lnTo>
                      <a:pt x="88" y="29"/>
                    </a:lnTo>
                    <a:lnTo>
                      <a:pt x="87" y="25"/>
                    </a:lnTo>
                    <a:lnTo>
                      <a:pt x="87" y="20"/>
                    </a:lnTo>
                    <a:lnTo>
                      <a:pt x="87" y="20"/>
                    </a:lnTo>
                    <a:lnTo>
                      <a:pt x="90" y="17"/>
                    </a:lnTo>
                    <a:lnTo>
                      <a:pt x="92" y="12"/>
                    </a:lnTo>
                    <a:lnTo>
                      <a:pt x="92" y="12"/>
                    </a:lnTo>
                    <a:close/>
                    <a:moveTo>
                      <a:pt x="8" y="23"/>
                    </a:moveTo>
                    <a:lnTo>
                      <a:pt x="8" y="23"/>
                    </a:lnTo>
                    <a:lnTo>
                      <a:pt x="6" y="25"/>
                    </a:lnTo>
                    <a:lnTo>
                      <a:pt x="3" y="27"/>
                    </a:lnTo>
                    <a:lnTo>
                      <a:pt x="0" y="32"/>
                    </a:lnTo>
                    <a:lnTo>
                      <a:pt x="0" y="36"/>
                    </a:lnTo>
                    <a:lnTo>
                      <a:pt x="1" y="37"/>
                    </a:lnTo>
                    <a:lnTo>
                      <a:pt x="1" y="37"/>
                    </a:lnTo>
                    <a:lnTo>
                      <a:pt x="1" y="37"/>
                    </a:lnTo>
                    <a:lnTo>
                      <a:pt x="6" y="36"/>
                    </a:lnTo>
                    <a:lnTo>
                      <a:pt x="11" y="33"/>
                    </a:lnTo>
                    <a:lnTo>
                      <a:pt x="18" y="26"/>
                    </a:lnTo>
                    <a:lnTo>
                      <a:pt x="18" y="26"/>
                    </a:lnTo>
                    <a:lnTo>
                      <a:pt x="20" y="25"/>
                    </a:lnTo>
                    <a:lnTo>
                      <a:pt x="17" y="23"/>
                    </a:lnTo>
                    <a:lnTo>
                      <a:pt x="14" y="23"/>
                    </a:lnTo>
                    <a:lnTo>
                      <a:pt x="8" y="23"/>
                    </a:lnTo>
                    <a:lnTo>
                      <a:pt x="8" y="23"/>
                    </a:lnTo>
                    <a:close/>
                    <a:moveTo>
                      <a:pt x="16" y="16"/>
                    </a:moveTo>
                    <a:lnTo>
                      <a:pt x="16" y="16"/>
                    </a:lnTo>
                    <a:lnTo>
                      <a:pt x="16" y="16"/>
                    </a:lnTo>
                    <a:lnTo>
                      <a:pt x="14" y="15"/>
                    </a:lnTo>
                    <a:lnTo>
                      <a:pt x="10" y="15"/>
                    </a:lnTo>
                    <a:lnTo>
                      <a:pt x="6" y="16"/>
                    </a:lnTo>
                    <a:lnTo>
                      <a:pt x="4" y="16"/>
                    </a:lnTo>
                    <a:lnTo>
                      <a:pt x="6" y="17"/>
                    </a:lnTo>
                    <a:lnTo>
                      <a:pt x="6" y="17"/>
                    </a:lnTo>
                    <a:lnTo>
                      <a:pt x="7" y="19"/>
                    </a:lnTo>
                    <a:lnTo>
                      <a:pt x="10" y="19"/>
                    </a:lnTo>
                    <a:lnTo>
                      <a:pt x="13" y="19"/>
                    </a:lnTo>
                    <a:lnTo>
                      <a:pt x="16" y="16"/>
                    </a:lnTo>
                    <a:lnTo>
                      <a:pt x="16" y="1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8" name="Uzbekistan">
                <a:extLst>
                  <a:ext uri="{FF2B5EF4-FFF2-40B4-BE49-F238E27FC236}">
                    <a16:creationId xmlns:a16="http://schemas.microsoft.com/office/drawing/2014/main" id="{B17AFE7B-63F4-DB4A-8EC7-E579D4777ECF}"/>
                  </a:ext>
                </a:extLst>
              </p:cNvPr>
              <p:cNvSpPr>
                <a:spLocks/>
              </p:cNvSpPr>
              <p:nvPr/>
            </p:nvSpPr>
            <p:spPr bwMode="auto">
              <a:xfrm>
                <a:off x="5646323" y="3139231"/>
                <a:ext cx="412860" cy="245644"/>
              </a:xfrm>
              <a:custGeom>
                <a:avLst/>
                <a:gdLst/>
                <a:ahLst/>
                <a:cxnLst>
                  <a:cxn ang="0">
                    <a:pos x="262" y="84"/>
                  </a:cxn>
                  <a:cxn ang="0">
                    <a:pos x="253" y="83"/>
                  </a:cxn>
                  <a:cxn ang="0">
                    <a:pos x="241" y="84"/>
                  </a:cxn>
                  <a:cxn ang="0">
                    <a:pos x="232" y="78"/>
                  </a:cxn>
                  <a:cxn ang="0">
                    <a:pos x="214" y="85"/>
                  </a:cxn>
                  <a:cxn ang="0">
                    <a:pos x="208" y="95"/>
                  </a:cxn>
                  <a:cxn ang="0">
                    <a:pos x="202" y="94"/>
                  </a:cxn>
                  <a:cxn ang="0">
                    <a:pos x="188" y="87"/>
                  </a:cxn>
                  <a:cxn ang="0">
                    <a:pos x="175" y="83"/>
                  </a:cxn>
                  <a:cxn ang="0">
                    <a:pos x="167" y="70"/>
                  </a:cxn>
                  <a:cxn ang="0">
                    <a:pos x="165" y="53"/>
                  </a:cxn>
                  <a:cxn ang="0">
                    <a:pos x="155" y="46"/>
                  </a:cxn>
                  <a:cxn ang="0">
                    <a:pos x="133" y="41"/>
                  </a:cxn>
                  <a:cxn ang="0">
                    <a:pos x="105" y="41"/>
                  </a:cxn>
                  <a:cxn ang="0">
                    <a:pos x="96" y="41"/>
                  </a:cxn>
                  <a:cxn ang="0">
                    <a:pos x="76" y="24"/>
                  </a:cxn>
                  <a:cxn ang="0">
                    <a:pos x="57" y="33"/>
                  </a:cxn>
                  <a:cxn ang="0">
                    <a:pos x="53" y="24"/>
                  </a:cxn>
                  <a:cxn ang="0">
                    <a:pos x="54" y="4"/>
                  </a:cxn>
                  <a:cxn ang="0">
                    <a:pos x="50" y="3"/>
                  </a:cxn>
                  <a:cxn ang="0">
                    <a:pos x="46" y="24"/>
                  </a:cxn>
                  <a:cxn ang="0">
                    <a:pos x="41" y="23"/>
                  </a:cxn>
                  <a:cxn ang="0">
                    <a:pos x="2" y="11"/>
                  </a:cxn>
                  <a:cxn ang="0">
                    <a:pos x="0" y="83"/>
                  </a:cxn>
                  <a:cxn ang="0">
                    <a:pos x="14" y="84"/>
                  </a:cxn>
                  <a:cxn ang="0">
                    <a:pos x="17" y="74"/>
                  </a:cxn>
                  <a:cxn ang="0">
                    <a:pos x="29" y="68"/>
                  </a:cxn>
                  <a:cxn ang="0">
                    <a:pos x="34" y="63"/>
                  </a:cxn>
                  <a:cxn ang="0">
                    <a:pos x="40" y="60"/>
                  </a:cxn>
                  <a:cxn ang="0">
                    <a:pos x="51" y="63"/>
                  </a:cxn>
                  <a:cxn ang="0">
                    <a:pos x="66" y="67"/>
                  </a:cxn>
                  <a:cxn ang="0">
                    <a:pos x="70" y="84"/>
                  </a:cxn>
                  <a:cxn ang="0">
                    <a:pos x="94" y="87"/>
                  </a:cxn>
                  <a:cxn ang="0">
                    <a:pos x="100" y="97"/>
                  </a:cxn>
                  <a:cxn ang="0">
                    <a:pos x="107" y="110"/>
                  </a:cxn>
                  <a:cxn ang="0">
                    <a:pos x="124" y="122"/>
                  </a:cxn>
                  <a:cxn ang="0">
                    <a:pos x="142" y="132"/>
                  </a:cxn>
                  <a:cxn ang="0">
                    <a:pos x="155" y="142"/>
                  </a:cxn>
                  <a:cxn ang="0">
                    <a:pos x="167" y="145"/>
                  </a:cxn>
                  <a:cxn ang="0">
                    <a:pos x="175" y="158"/>
                  </a:cxn>
                  <a:cxn ang="0">
                    <a:pos x="185" y="162"/>
                  </a:cxn>
                  <a:cxn ang="0">
                    <a:pos x="195" y="166"/>
                  </a:cxn>
                  <a:cxn ang="0">
                    <a:pos x="199" y="152"/>
                  </a:cxn>
                  <a:cxn ang="0">
                    <a:pos x="202" y="147"/>
                  </a:cxn>
                  <a:cxn ang="0">
                    <a:pos x="199" y="135"/>
                  </a:cxn>
                  <a:cxn ang="0">
                    <a:pos x="191" y="125"/>
                  </a:cxn>
                  <a:cxn ang="0">
                    <a:pos x="192" y="121"/>
                  </a:cxn>
                  <a:cxn ang="0">
                    <a:pos x="206" y="115"/>
                  </a:cxn>
                  <a:cxn ang="0">
                    <a:pos x="211" y="108"/>
                  </a:cxn>
                  <a:cxn ang="0">
                    <a:pos x="218" y="100"/>
                  </a:cxn>
                  <a:cxn ang="0">
                    <a:pos x="231" y="97"/>
                  </a:cxn>
                  <a:cxn ang="0">
                    <a:pos x="241" y="94"/>
                  </a:cxn>
                  <a:cxn ang="0">
                    <a:pos x="235" y="107"/>
                  </a:cxn>
                  <a:cxn ang="0">
                    <a:pos x="253" y="104"/>
                  </a:cxn>
                  <a:cxn ang="0">
                    <a:pos x="266" y="104"/>
                  </a:cxn>
                  <a:cxn ang="0">
                    <a:pos x="271" y="100"/>
                  </a:cxn>
                  <a:cxn ang="0">
                    <a:pos x="276" y="94"/>
                  </a:cxn>
                </a:cxnLst>
                <a:rect l="0" t="0" r="r" b="b"/>
                <a:pathLst>
                  <a:path w="279" h="166">
                    <a:moveTo>
                      <a:pt x="276" y="94"/>
                    </a:moveTo>
                    <a:lnTo>
                      <a:pt x="276" y="94"/>
                    </a:lnTo>
                    <a:lnTo>
                      <a:pt x="269" y="88"/>
                    </a:lnTo>
                    <a:lnTo>
                      <a:pt x="262" y="84"/>
                    </a:lnTo>
                    <a:lnTo>
                      <a:pt x="256" y="83"/>
                    </a:lnTo>
                    <a:lnTo>
                      <a:pt x="255" y="83"/>
                    </a:lnTo>
                    <a:lnTo>
                      <a:pt x="253" y="83"/>
                    </a:lnTo>
                    <a:lnTo>
                      <a:pt x="253" y="83"/>
                    </a:lnTo>
                    <a:lnTo>
                      <a:pt x="252" y="85"/>
                    </a:lnTo>
                    <a:lnTo>
                      <a:pt x="248" y="87"/>
                    </a:lnTo>
                    <a:lnTo>
                      <a:pt x="243" y="85"/>
                    </a:lnTo>
                    <a:lnTo>
                      <a:pt x="241" y="84"/>
                    </a:lnTo>
                    <a:lnTo>
                      <a:pt x="241" y="84"/>
                    </a:lnTo>
                    <a:lnTo>
                      <a:pt x="239" y="81"/>
                    </a:lnTo>
                    <a:lnTo>
                      <a:pt x="236" y="78"/>
                    </a:lnTo>
                    <a:lnTo>
                      <a:pt x="232" y="78"/>
                    </a:lnTo>
                    <a:lnTo>
                      <a:pt x="226" y="80"/>
                    </a:lnTo>
                    <a:lnTo>
                      <a:pt x="226" y="80"/>
                    </a:lnTo>
                    <a:lnTo>
                      <a:pt x="219" y="83"/>
                    </a:lnTo>
                    <a:lnTo>
                      <a:pt x="214" y="85"/>
                    </a:lnTo>
                    <a:lnTo>
                      <a:pt x="211" y="90"/>
                    </a:lnTo>
                    <a:lnTo>
                      <a:pt x="209" y="92"/>
                    </a:lnTo>
                    <a:lnTo>
                      <a:pt x="209" y="92"/>
                    </a:lnTo>
                    <a:lnTo>
                      <a:pt x="208" y="95"/>
                    </a:lnTo>
                    <a:lnTo>
                      <a:pt x="205" y="97"/>
                    </a:lnTo>
                    <a:lnTo>
                      <a:pt x="204" y="97"/>
                    </a:lnTo>
                    <a:lnTo>
                      <a:pt x="202" y="94"/>
                    </a:lnTo>
                    <a:lnTo>
                      <a:pt x="202" y="94"/>
                    </a:lnTo>
                    <a:lnTo>
                      <a:pt x="201" y="91"/>
                    </a:lnTo>
                    <a:lnTo>
                      <a:pt x="197" y="90"/>
                    </a:lnTo>
                    <a:lnTo>
                      <a:pt x="188" y="87"/>
                    </a:lnTo>
                    <a:lnTo>
                      <a:pt x="188" y="87"/>
                    </a:lnTo>
                    <a:lnTo>
                      <a:pt x="179" y="85"/>
                    </a:lnTo>
                    <a:lnTo>
                      <a:pt x="177" y="85"/>
                    </a:lnTo>
                    <a:lnTo>
                      <a:pt x="175" y="84"/>
                    </a:lnTo>
                    <a:lnTo>
                      <a:pt x="175" y="83"/>
                    </a:lnTo>
                    <a:lnTo>
                      <a:pt x="175" y="83"/>
                    </a:lnTo>
                    <a:lnTo>
                      <a:pt x="172" y="78"/>
                    </a:lnTo>
                    <a:lnTo>
                      <a:pt x="170" y="74"/>
                    </a:lnTo>
                    <a:lnTo>
                      <a:pt x="167" y="70"/>
                    </a:lnTo>
                    <a:lnTo>
                      <a:pt x="165" y="65"/>
                    </a:lnTo>
                    <a:lnTo>
                      <a:pt x="165" y="65"/>
                    </a:lnTo>
                    <a:lnTo>
                      <a:pt x="165" y="57"/>
                    </a:lnTo>
                    <a:lnTo>
                      <a:pt x="165" y="53"/>
                    </a:lnTo>
                    <a:lnTo>
                      <a:pt x="162" y="51"/>
                    </a:lnTo>
                    <a:lnTo>
                      <a:pt x="162" y="51"/>
                    </a:lnTo>
                    <a:lnTo>
                      <a:pt x="158" y="48"/>
                    </a:lnTo>
                    <a:lnTo>
                      <a:pt x="155" y="46"/>
                    </a:lnTo>
                    <a:lnTo>
                      <a:pt x="152" y="43"/>
                    </a:lnTo>
                    <a:lnTo>
                      <a:pt x="150" y="41"/>
                    </a:lnTo>
                    <a:lnTo>
                      <a:pt x="150" y="41"/>
                    </a:lnTo>
                    <a:lnTo>
                      <a:pt x="133" y="41"/>
                    </a:lnTo>
                    <a:lnTo>
                      <a:pt x="117" y="40"/>
                    </a:lnTo>
                    <a:lnTo>
                      <a:pt x="117" y="40"/>
                    </a:lnTo>
                    <a:lnTo>
                      <a:pt x="113" y="40"/>
                    </a:lnTo>
                    <a:lnTo>
                      <a:pt x="105" y="41"/>
                    </a:lnTo>
                    <a:lnTo>
                      <a:pt x="100" y="43"/>
                    </a:lnTo>
                    <a:lnTo>
                      <a:pt x="97" y="43"/>
                    </a:lnTo>
                    <a:lnTo>
                      <a:pt x="96" y="41"/>
                    </a:lnTo>
                    <a:lnTo>
                      <a:pt x="96" y="41"/>
                    </a:lnTo>
                    <a:lnTo>
                      <a:pt x="88" y="31"/>
                    </a:lnTo>
                    <a:lnTo>
                      <a:pt x="77" y="21"/>
                    </a:lnTo>
                    <a:lnTo>
                      <a:pt x="77" y="21"/>
                    </a:lnTo>
                    <a:lnTo>
                      <a:pt x="76" y="24"/>
                    </a:lnTo>
                    <a:lnTo>
                      <a:pt x="73" y="28"/>
                    </a:lnTo>
                    <a:lnTo>
                      <a:pt x="73" y="28"/>
                    </a:lnTo>
                    <a:lnTo>
                      <a:pt x="64" y="33"/>
                    </a:lnTo>
                    <a:lnTo>
                      <a:pt x="57" y="33"/>
                    </a:lnTo>
                    <a:lnTo>
                      <a:pt x="54" y="33"/>
                    </a:lnTo>
                    <a:lnTo>
                      <a:pt x="53" y="31"/>
                    </a:lnTo>
                    <a:lnTo>
                      <a:pt x="53" y="28"/>
                    </a:lnTo>
                    <a:lnTo>
                      <a:pt x="53" y="24"/>
                    </a:lnTo>
                    <a:lnTo>
                      <a:pt x="53" y="24"/>
                    </a:lnTo>
                    <a:lnTo>
                      <a:pt x="56" y="17"/>
                    </a:lnTo>
                    <a:lnTo>
                      <a:pt x="56" y="9"/>
                    </a:lnTo>
                    <a:lnTo>
                      <a:pt x="54" y="4"/>
                    </a:lnTo>
                    <a:lnTo>
                      <a:pt x="53" y="3"/>
                    </a:lnTo>
                    <a:lnTo>
                      <a:pt x="51" y="1"/>
                    </a:lnTo>
                    <a:lnTo>
                      <a:pt x="51" y="1"/>
                    </a:lnTo>
                    <a:lnTo>
                      <a:pt x="50" y="3"/>
                    </a:lnTo>
                    <a:lnTo>
                      <a:pt x="49" y="6"/>
                    </a:lnTo>
                    <a:lnTo>
                      <a:pt x="47" y="13"/>
                    </a:lnTo>
                    <a:lnTo>
                      <a:pt x="47" y="21"/>
                    </a:lnTo>
                    <a:lnTo>
                      <a:pt x="46" y="24"/>
                    </a:lnTo>
                    <a:lnTo>
                      <a:pt x="44" y="26"/>
                    </a:lnTo>
                    <a:lnTo>
                      <a:pt x="44" y="26"/>
                    </a:lnTo>
                    <a:lnTo>
                      <a:pt x="43" y="24"/>
                    </a:lnTo>
                    <a:lnTo>
                      <a:pt x="41" y="23"/>
                    </a:lnTo>
                    <a:lnTo>
                      <a:pt x="40" y="17"/>
                    </a:lnTo>
                    <a:lnTo>
                      <a:pt x="40" y="9"/>
                    </a:lnTo>
                    <a:lnTo>
                      <a:pt x="43" y="0"/>
                    </a:lnTo>
                    <a:lnTo>
                      <a:pt x="2" y="11"/>
                    </a:lnTo>
                    <a:lnTo>
                      <a:pt x="0" y="83"/>
                    </a:lnTo>
                    <a:lnTo>
                      <a:pt x="0" y="83"/>
                    </a:lnTo>
                    <a:lnTo>
                      <a:pt x="0" y="83"/>
                    </a:lnTo>
                    <a:lnTo>
                      <a:pt x="0" y="83"/>
                    </a:lnTo>
                    <a:lnTo>
                      <a:pt x="6" y="84"/>
                    </a:lnTo>
                    <a:lnTo>
                      <a:pt x="12" y="85"/>
                    </a:lnTo>
                    <a:lnTo>
                      <a:pt x="12" y="85"/>
                    </a:lnTo>
                    <a:lnTo>
                      <a:pt x="14" y="84"/>
                    </a:lnTo>
                    <a:lnTo>
                      <a:pt x="16" y="83"/>
                    </a:lnTo>
                    <a:lnTo>
                      <a:pt x="17" y="77"/>
                    </a:lnTo>
                    <a:lnTo>
                      <a:pt x="17" y="77"/>
                    </a:lnTo>
                    <a:lnTo>
                      <a:pt x="17" y="74"/>
                    </a:lnTo>
                    <a:lnTo>
                      <a:pt x="20" y="71"/>
                    </a:lnTo>
                    <a:lnTo>
                      <a:pt x="24" y="70"/>
                    </a:lnTo>
                    <a:lnTo>
                      <a:pt x="29" y="68"/>
                    </a:lnTo>
                    <a:lnTo>
                      <a:pt x="29" y="68"/>
                    </a:lnTo>
                    <a:lnTo>
                      <a:pt x="30" y="68"/>
                    </a:lnTo>
                    <a:lnTo>
                      <a:pt x="32" y="65"/>
                    </a:lnTo>
                    <a:lnTo>
                      <a:pt x="33" y="64"/>
                    </a:lnTo>
                    <a:lnTo>
                      <a:pt x="34" y="63"/>
                    </a:lnTo>
                    <a:lnTo>
                      <a:pt x="34" y="63"/>
                    </a:lnTo>
                    <a:lnTo>
                      <a:pt x="37" y="61"/>
                    </a:lnTo>
                    <a:lnTo>
                      <a:pt x="40" y="60"/>
                    </a:lnTo>
                    <a:lnTo>
                      <a:pt x="40" y="60"/>
                    </a:lnTo>
                    <a:lnTo>
                      <a:pt x="43" y="58"/>
                    </a:lnTo>
                    <a:lnTo>
                      <a:pt x="46" y="58"/>
                    </a:lnTo>
                    <a:lnTo>
                      <a:pt x="51" y="63"/>
                    </a:lnTo>
                    <a:lnTo>
                      <a:pt x="51" y="63"/>
                    </a:lnTo>
                    <a:lnTo>
                      <a:pt x="57" y="64"/>
                    </a:lnTo>
                    <a:lnTo>
                      <a:pt x="64" y="67"/>
                    </a:lnTo>
                    <a:lnTo>
                      <a:pt x="64" y="67"/>
                    </a:lnTo>
                    <a:lnTo>
                      <a:pt x="66" y="67"/>
                    </a:lnTo>
                    <a:lnTo>
                      <a:pt x="67" y="68"/>
                    </a:lnTo>
                    <a:lnTo>
                      <a:pt x="69" y="74"/>
                    </a:lnTo>
                    <a:lnTo>
                      <a:pt x="70" y="84"/>
                    </a:lnTo>
                    <a:lnTo>
                      <a:pt x="70" y="84"/>
                    </a:lnTo>
                    <a:lnTo>
                      <a:pt x="70" y="84"/>
                    </a:lnTo>
                    <a:lnTo>
                      <a:pt x="73" y="85"/>
                    </a:lnTo>
                    <a:lnTo>
                      <a:pt x="80" y="85"/>
                    </a:lnTo>
                    <a:lnTo>
                      <a:pt x="94" y="87"/>
                    </a:lnTo>
                    <a:lnTo>
                      <a:pt x="94" y="87"/>
                    </a:lnTo>
                    <a:lnTo>
                      <a:pt x="96" y="87"/>
                    </a:lnTo>
                    <a:lnTo>
                      <a:pt x="97" y="90"/>
                    </a:lnTo>
                    <a:lnTo>
                      <a:pt x="100" y="97"/>
                    </a:lnTo>
                    <a:lnTo>
                      <a:pt x="100" y="97"/>
                    </a:lnTo>
                    <a:lnTo>
                      <a:pt x="104" y="104"/>
                    </a:lnTo>
                    <a:lnTo>
                      <a:pt x="107" y="110"/>
                    </a:lnTo>
                    <a:lnTo>
                      <a:pt x="107" y="110"/>
                    </a:lnTo>
                    <a:lnTo>
                      <a:pt x="110" y="112"/>
                    </a:lnTo>
                    <a:lnTo>
                      <a:pt x="114" y="115"/>
                    </a:lnTo>
                    <a:lnTo>
                      <a:pt x="120" y="118"/>
                    </a:lnTo>
                    <a:lnTo>
                      <a:pt x="124" y="122"/>
                    </a:lnTo>
                    <a:lnTo>
                      <a:pt x="124" y="122"/>
                    </a:lnTo>
                    <a:lnTo>
                      <a:pt x="127" y="125"/>
                    </a:lnTo>
                    <a:lnTo>
                      <a:pt x="131" y="128"/>
                    </a:lnTo>
                    <a:lnTo>
                      <a:pt x="142" y="132"/>
                    </a:lnTo>
                    <a:lnTo>
                      <a:pt x="142" y="132"/>
                    </a:lnTo>
                    <a:lnTo>
                      <a:pt x="147" y="135"/>
                    </a:lnTo>
                    <a:lnTo>
                      <a:pt x="151" y="139"/>
                    </a:lnTo>
                    <a:lnTo>
                      <a:pt x="155" y="142"/>
                    </a:lnTo>
                    <a:lnTo>
                      <a:pt x="158" y="144"/>
                    </a:lnTo>
                    <a:lnTo>
                      <a:pt x="158" y="144"/>
                    </a:lnTo>
                    <a:lnTo>
                      <a:pt x="162" y="144"/>
                    </a:lnTo>
                    <a:lnTo>
                      <a:pt x="167" y="145"/>
                    </a:lnTo>
                    <a:lnTo>
                      <a:pt x="172" y="148"/>
                    </a:lnTo>
                    <a:lnTo>
                      <a:pt x="174" y="159"/>
                    </a:lnTo>
                    <a:lnTo>
                      <a:pt x="174" y="159"/>
                    </a:lnTo>
                    <a:lnTo>
                      <a:pt x="175" y="158"/>
                    </a:lnTo>
                    <a:lnTo>
                      <a:pt x="175" y="158"/>
                    </a:lnTo>
                    <a:lnTo>
                      <a:pt x="179" y="158"/>
                    </a:lnTo>
                    <a:lnTo>
                      <a:pt x="182" y="161"/>
                    </a:lnTo>
                    <a:lnTo>
                      <a:pt x="185" y="162"/>
                    </a:lnTo>
                    <a:lnTo>
                      <a:pt x="188" y="164"/>
                    </a:lnTo>
                    <a:lnTo>
                      <a:pt x="188" y="164"/>
                    </a:lnTo>
                    <a:lnTo>
                      <a:pt x="192" y="164"/>
                    </a:lnTo>
                    <a:lnTo>
                      <a:pt x="195" y="166"/>
                    </a:lnTo>
                    <a:lnTo>
                      <a:pt x="195" y="166"/>
                    </a:lnTo>
                    <a:lnTo>
                      <a:pt x="195" y="159"/>
                    </a:lnTo>
                    <a:lnTo>
                      <a:pt x="197" y="155"/>
                    </a:lnTo>
                    <a:lnTo>
                      <a:pt x="199" y="152"/>
                    </a:lnTo>
                    <a:lnTo>
                      <a:pt x="202" y="149"/>
                    </a:lnTo>
                    <a:lnTo>
                      <a:pt x="202" y="149"/>
                    </a:lnTo>
                    <a:lnTo>
                      <a:pt x="202" y="148"/>
                    </a:lnTo>
                    <a:lnTo>
                      <a:pt x="202" y="147"/>
                    </a:lnTo>
                    <a:lnTo>
                      <a:pt x="202" y="142"/>
                    </a:lnTo>
                    <a:lnTo>
                      <a:pt x="201" y="139"/>
                    </a:lnTo>
                    <a:lnTo>
                      <a:pt x="199" y="135"/>
                    </a:lnTo>
                    <a:lnTo>
                      <a:pt x="199" y="135"/>
                    </a:lnTo>
                    <a:lnTo>
                      <a:pt x="199" y="134"/>
                    </a:lnTo>
                    <a:lnTo>
                      <a:pt x="198" y="131"/>
                    </a:lnTo>
                    <a:lnTo>
                      <a:pt x="195" y="128"/>
                    </a:lnTo>
                    <a:lnTo>
                      <a:pt x="191" y="125"/>
                    </a:lnTo>
                    <a:lnTo>
                      <a:pt x="189" y="124"/>
                    </a:lnTo>
                    <a:lnTo>
                      <a:pt x="189" y="122"/>
                    </a:lnTo>
                    <a:lnTo>
                      <a:pt x="189" y="122"/>
                    </a:lnTo>
                    <a:lnTo>
                      <a:pt x="192" y="121"/>
                    </a:lnTo>
                    <a:lnTo>
                      <a:pt x="197" y="120"/>
                    </a:lnTo>
                    <a:lnTo>
                      <a:pt x="205" y="117"/>
                    </a:lnTo>
                    <a:lnTo>
                      <a:pt x="205" y="117"/>
                    </a:lnTo>
                    <a:lnTo>
                      <a:pt x="206" y="115"/>
                    </a:lnTo>
                    <a:lnTo>
                      <a:pt x="208" y="112"/>
                    </a:lnTo>
                    <a:lnTo>
                      <a:pt x="208" y="110"/>
                    </a:lnTo>
                    <a:lnTo>
                      <a:pt x="211" y="108"/>
                    </a:lnTo>
                    <a:lnTo>
                      <a:pt x="211" y="108"/>
                    </a:lnTo>
                    <a:lnTo>
                      <a:pt x="212" y="107"/>
                    </a:lnTo>
                    <a:lnTo>
                      <a:pt x="215" y="105"/>
                    </a:lnTo>
                    <a:lnTo>
                      <a:pt x="218" y="100"/>
                    </a:lnTo>
                    <a:lnTo>
                      <a:pt x="218" y="100"/>
                    </a:lnTo>
                    <a:lnTo>
                      <a:pt x="219" y="98"/>
                    </a:lnTo>
                    <a:lnTo>
                      <a:pt x="224" y="98"/>
                    </a:lnTo>
                    <a:lnTo>
                      <a:pt x="226" y="98"/>
                    </a:lnTo>
                    <a:lnTo>
                      <a:pt x="231" y="97"/>
                    </a:lnTo>
                    <a:lnTo>
                      <a:pt x="231" y="97"/>
                    </a:lnTo>
                    <a:lnTo>
                      <a:pt x="236" y="94"/>
                    </a:lnTo>
                    <a:lnTo>
                      <a:pt x="239" y="94"/>
                    </a:lnTo>
                    <a:lnTo>
                      <a:pt x="241" y="94"/>
                    </a:lnTo>
                    <a:lnTo>
                      <a:pt x="241" y="94"/>
                    </a:lnTo>
                    <a:lnTo>
                      <a:pt x="241" y="97"/>
                    </a:lnTo>
                    <a:lnTo>
                      <a:pt x="239" y="100"/>
                    </a:lnTo>
                    <a:lnTo>
                      <a:pt x="235" y="107"/>
                    </a:lnTo>
                    <a:lnTo>
                      <a:pt x="235" y="107"/>
                    </a:lnTo>
                    <a:lnTo>
                      <a:pt x="246" y="107"/>
                    </a:lnTo>
                    <a:lnTo>
                      <a:pt x="251" y="105"/>
                    </a:lnTo>
                    <a:lnTo>
                      <a:pt x="253" y="104"/>
                    </a:lnTo>
                    <a:lnTo>
                      <a:pt x="253" y="104"/>
                    </a:lnTo>
                    <a:lnTo>
                      <a:pt x="256" y="104"/>
                    </a:lnTo>
                    <a:lnTo>
                      <a:pt x="261" y="104"/>
                    </a:lnTo>
                    <a:lnTo>
                      <a:pt x="266" y="104"/>
                    </a:lnTo>
                    <a:lnTo>
                      <a:pt x="268" y="104"/>
                    </a:lnTo>
                    <a:lnTo>
                      <a:pt x="269" y="101"/>
                    </a:lnTo>
                    <a:lnTo>
                      <a:pt x="269" y="101"/>
                    </a:lnTo>
                    <a:lnTo>
                      <a:pt x="271" y="100"/>
                    </a:lnTo>
                    <a:lnTo>
                      <a:pt x="272" y="98"/>
                    </a:lnTo>
                    <a:lnTo>
                      <a:pt x="276" y="98"/>
                    </a:lnTo>
                    <a:lnTo>
                      <a:pt x="279" y="97"/>
                    </a:lnTo>
                    <a:lnTo>
                      <a:pt x="276" y="94"/>
                    </a:lnTo>
                    <a:lnTo>
                      <a:pt x="276" y="9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9" name="Norway">
                <a:extLst>
                  <a:ext uri="{FF2B5EF4-FFF2-40B4-BE49-F238E27FC236}">
                    <a16:creationId xmlns:a16="http://schemas.microsoft.com/office/drawing/2014/main" id="{4DF6851E-9C96-8143-96EE-B3B712EE6773}"/>
                  </a:ext>
                </a:extLst>
              </p:cNvPr>
              <p:cNvSpPr>
                <a:spLocks/>
              </p:cNvSpPr>
              <p:nvPr/>
            </p:nvSpPr>
            <p:spPr bwMode="auto">
              <a:xfrm>
                <a:off x="4444739" y="2227685"/>
                <a:ext cx="609671" cy="507566"/>
              </a:xfrm>
              <a:custGeom>
                <a:avLst/>
                <a:gdLst/>
                <a:ahLst/>
                <a:cxnLst>
                  <a:cxn ang="0">
                    <a:pos x="383" y="30"/>
                  </a:cxn>
                  <a:cxn ang="0">
                    <a:pos x="411" y="21"/>
                  </a:cxn>
                  <a:cxn ang="0">
                    <a:pos x="375" y="9"/>
                  </a:cxn>
                  <a:cxn ang="0">
                    <a:pos x="368" y="9"/>
                  </a:cxn>
                  <a:cxn ang="0">
                    <a:pos x="346" y="20"/>
                  </a:cxn>
                  <a:cxn ang="0">
                    <a:pos x="320" y="27"/>
                  </a:cxn>
                  <a:cxn ang="0">
                    <a:pos x="333" y="4"/>
                  </a:cxn>
                  <a:cxn ang="0">
                    <a:pos x="309" y="6"/>
                  </a:cxn>
                  <a:cxn ang="0">
                    <a:pos x="293" y="14"/>
                  </a:cxn>
                  <a:cxn ang="0">
                    <a:pos x="284" y="33"/>
                  </a:cxn>
                  <a:cxn ang="0">
                    <a:pos x="289" y="13"/>
                  </a:cxn>
                  <a:cxn ang="0">
                    <a:pos x="269" y="13"/>
                  </a:cxn>
                  <a:cxn ang="0">
                    <a:pos x="257" y="26"/>
                  </a:cxn>
                  <a:cxn ang="0">
                    <a:pos x="253" y="33"/>
                  </a:cxn>
                  <a:cxn ang="0">
                    <a:pos x="249" y="41"/>
                  </a:cxn>
                  <a:cxn ang="0">
                    <a:pos x="232" y="36"/>
                  </a:cxn>
                  <a:cxn ang="0">
                    <a:pos x="219" y="38"/>
                  </a:cxn>
                  <a:cxn ang="0">
                    <a:pos x="203" y="44"/>
                  </a:cxn>
                  <a:cxn ang="0">
                    <a:pos x="196" y="57"/>
                  </a:cxn>
                  <a:cxn ang="0">
                    <a:pos x="189" y="65"/>
                  </a:cxn>
                  <a:cxn ang="0">
                    <a:pos x="172" y="68"/>
                  </a:cxn>
                  <a:cxn ang="0">
                    <a:pos x="158" y="67"/>
                  </a:cxn>
                  <a:cxn ang="0">
                    <a:pos x="129" y="90"/>
                  </a:cxn>
                  <a:cxn ang="0">
                    <a:pos x="161" y="78"/>
                  </a:cxn>
                  <a:cxn ang="0">
                    <a:pos x="183" y="78"/>
                  </a:cxn>
                  <a:cxn ang="0">
                    <a:pos x="171" y="84"/>
                  </a:cxn>
                  <a:cxn ang="0">
                    <a:pos x="151" y="105"/>
                  </a:cxn>
                  <a:cxn ang="0">
                    <a:pos x="127" y="142"/>
                  </a:cxn>
                  <a:cxn ang="0">
                    <a:pos x="118" y="168"/>
                  </a:cxn>
                  <a:cxn ang="0">
                    <a:pos x="107" y="182"/>
                  </a:cxn>
                  <a:cxn ang="0">
                    <a:pos x="82" y="194"/>
                  </a:cxn>
                  <a:cxn ang="0">
                    <a:pos x="65" y="211"/>
                  </a:cxn>
                  <a:cxn ang="0">
                    <a:pos x="50" y="221"/>
                  </a:cxn>
                  <a:cxn ang="0">
                    <a:pos x="43" y="233"/>
                  </a:cxn>
                  <a:cxn ang="0">
                    <a:pos x="13" y="246"/>
                  </a:cxn>
                  <a:cxn ang="0">
                    <a:pos x="4" y="260"/>
                  </a:cxn>
                  <a:cxn ang="0">
                    <a:pos x="3" y="282"/>
                  </a:cxn>
                  <a:cxn ang="0">
                    <a:pos x="14" y="296"/>
                  </a:cxn>
                  <a:cxn ang="0">
                    <a:pos x="16" y="302"/>
                  </a:cxn>
                  <a:cxn ang="0">
                    <a:pos x="4" y="304"/>
                  </a:cxn>
                  <a:cxn ang="0">
                    <a:pos x="18" y="312"/>
                  </a:cxn>
                  <a:cxn ang="0">
                    <a:pos x="8" y="327"/>
                  </a:cxn>
                  <a:cxn ang="0">
                    <a:pos x="75" y="322"/>
                  </a:cxn>
                  <a:cxn ang="0">
                    <a:pos x="92" y="312"/>
                  </a:cxn>
                  <a:cxn ang="0">
                    <a:pos x="109" y="313"/>
                  </a:cxn>
                  <a:cxn ang="0">
                    <a:pos x="122" y="285"/>
                  </a:cxn>
                  <a:cxn ang="0">
                    <a:pos x="125" y="262"/>
                  </a:cxn>
                  <a:cxn ang="0">
                    <a:pos x="117" y="223"/>
                  </a:cxn>
                  <a:cxn ang="0">
                    <a:pos x="142" y="198"/>
                  </a:cxn>
                  <a:cxn ang="0">
                    <a:pos x="151" y="162"/>
                  </a:cxn>
                  <a:cxn ang="0">
                    <a:pos x="166" y="135"/>
                  </a:cxn>
                  <a:cxn ang="0">
                    <a:pos x="183" y="102"/>
                  </a:cxn>
                  <a:cxn ang="0">
                    <a:pos x="209" y="74"/>
                  </a:cxn>
                  <a:cxn ang="0">
                    <a:pos x="240" y="74"/>
                  </a:cxn>
                  <a:cxn ang="0">
                    <a:pos x="262" y="54"/>
                  </a:cxn>
                  <a:cxn ang="0">
                    <a:pos x="309" y="68"/>
                  </a:cxn>
                  <a:cxn ang="0">
                    <a:pos x="327" y="63"/>
                  </a:cxn>
                  <a:cxn ang="0">
                    <a:pos x="344" y="36"/>
                  </a:cxn>
                  <a:cxn ang="0">
                    <a:pos x="383" y="46"/>
                  </a:cxn>
                  <a:cxn ang="0">
                    <a:pos x="408" y="44"/>
                  </a:cxn>
                </a:cxnLst>
                <a:rect l="0" t="0" r="r" b="b"/>
                <a:pathLst>
                  <a:path w="412" h="343">
                    <a:moveTo>
                      <a:pt x="400" y="40"/>
                    </a:moveTo>
                    <a:lnTo>
                      <a:pt x="400" y="40"/>
                    </a:lnTo>
                    <a:lnTo>
                      <a:pt x="398" y="41"/>
                    </a:lnTo>
                    <a:lnTo>
                      <a:pt x="395" y="41"/>
                    </a:lnTo>
                    <a:lnTo>
                      <a:pt x="394" y="41"/>
                    </a:lnTo>
                    <a:lnTo>
                      <a:pt x="393" y="38"/>
                    </a:lnTo>
                    <a:lnTo>
                      <a:pt x="393" y="38"/>
                    </a:lnTo>
                    <a:lnTo>
                      <a:pt x="391" y="36"/>
                    </a:lnTo>
                    <a:lnTo>
                      <a:pt x="388" y="34"/>
                    </a:lnTo>
                    <a:lnTo>
                      <a:pt x="384" y="31"/>
                    </a:lnTo>
                    <a:lnTo>
                      <a:pt x="383" y="30"/>
                    </a:lnTo>
                    <a:lnTo>
                      <a:pt x="383" y="30"/>
                    </a:lnTo>
                    <a:lnTo>
                      <a:pt x="383" y="30"/>
                    </a:lnTo>
                    <a:lnTo>
                      <a:pt x="385" y="30"/>
                    </a:lnTo>
                    <a:lnTo>
                      <a:pt x="391" y="31"/>
                    </a:lnTo>
                    <a:lnTo>
                      <a:pt x="391" y="31"/>
                    </a:lnTo>
                    <a:lnTo>
                      <a:pt x="393" y="33"/>
                    </a:lnTo>
                    <a:lnTo>
                      <a:pt x="395" y="31"/>
                    </a:lnTo>
                    <a:lnTo>
                      <a:pt x="401" y="28"/>
                    </a:lnTo>
                    <a:lnTo>
                      <a:pt x="401" y="28"/>
                    </a:lnTo>
                    <a:lnTo>
                      <a:pt x="404" y="26"/>
                    </a:lnTo>
                    <a:lnTo>
                      <a:pt x="408" y="26"/>
                    </a:lnTo>
                    <a:lnTo>
                      <a:pt x="411" y="26"/>
                    </a:lnTo>
                    <a:lnTo>
                      <a:pt x="412" y="24"/>
                    </a:lnTo>
                    <a:lnTo>
                      <a:pt x="412" y="24"/>
                    </a:lnTo>
                    <a:lnTo>
                      <a:pt x="411" y="21"/>
                    </a:lnTo>
                    <a:lnTo>
                      <a:pt x="408" y="19"/>
                    </a:lnTo>
                    <a:lnTo>
                      <a:pt x="404" y="16"/>
                    </a:lnTo>
                    <a:lnTo>
                      <a:pt x="404" y="16"/>
                    </a:lnTo>
                    <a:lnTo>
                      <a:pt x="400" y="13"/>
                    </a:lnTo>
                    <a:lnTo>
                      <a:pt x="395" y="11"/>
                    </a:lnTo>
                    <a:lnTo>
                      <a:pt x="391" y="11"/>
                    </a:lnTo>
                    <a:lnTo>
                      <a:pt x="391" y="11"/>
                    </a:lnTo>
                    <a:lnTo>
                      <a:pt x="388" y="11"/>
                    </a:lnTo>
                    <a:lnTo>
                      <a:pt x="387" y="11"/>
                    </a:lnTo>
                    <a:lnTo>
                      <a:pt x="383" y="7"/>
                    </a:lnTo>
                    <a:lnTo>
                      <a:pt x="383" y="7"/>
                    </a:lnTo>
                    <a:lnTo>
                      <a:pt x="380" y="7"/>
                    </a:lnTo>
                    <a:lnTo>
                      <a:pt x="375" y="9"/>
                    </a:lnTo>
                    <a:lnTo>
                      <a:pt x="373" y="11"/>
                    </a:lnTo>
                    <a:lnTo>
                      <a:pt x="371" y="16"/>
                    </a:lnTo>
                    <a:lnTo>
                      <a:pt x="371" y="16"/>
                    </a:lnTo>
                    <a:lnTo>
                      <a:pt x="370" y="20"/>
                    </a:lnTo>
                    <a:lnTo>
                      <a:pt x="368" y="20"/>
                    </a:lnTo>
                    <a:lnTo>
                      <a:pt x="367" y="20"/>
                    </a:lnTo>
                    <a:lnTo>
                      <a:pt x="367" y="17"/>
                    </a:lnTo>
                    <a:lnTo>
                      <a:pt x="367" y="17"/>
                    </a:lnTo>
                    <a:lnTo>
                      <a:pt x="367" y="14"/>
                    </a:lnTo>
                    <a:lnTo>
                      <a:pt x="367" y="11"/>
                    </a:lnTo>
                    <a:lnTo>
                      <a:pt x="367" y="10"/>
                    </a:lnTo>
                    <a:lnTo>
                      <a:pt x="368" y="9"/>
                    </a:lnTo>
                    <a:lnTo>
                      <a:pt x="368" y="9"/>
                    </a:lnTo>
                    <a:lnTo>
                      <a:pt x="371" y="7"/>
                    </a:lnTo>
                    <a:lnTo>
                      <a:pt x="370" y="4"/>
                    </a:lnTo>
                    <a:lnTo>
                      <a:pt x="367" y="1"/>
                    </a:lnTo>
                    <a:lnTo>
                      <a:pt x="363" y="0"/>
                    </a:lnTo>
                    <a:lnTo>
                      <a:pt x="363" y="0"/>
                    </a:lnTo>
                    <a:lnTo>
                      <a:pt x="357" y="0"/>
                    </a:lnTo>
                    <a:lnTo>
                      <a:pt x="353" y="3"/>
                    </a:lnTo>
                    <a:lnTo>
                      <a:pt x="351" y="6"/>
                    </a:lnTo>
                    <a:lnTo>
                      <a:pt x="353" y="9"/>
                    </a:lnTo>
                    <a:lnTo>
                      <a:pt x="353" y="9"/>
                    </a:lnTo>
                    <a:lnTo>
                      <a:pt x="351" y="11"/>
                    </a:lnTo>
                    <a:lnTo>
                      <a:pt x="350" y="16"/>
                    </a:lnTo>
                    <a:lnTo>
                      <a:pt x="346" y="20"/>
                    </a:lnTo>
                    <a:lnTo>
                      <a:pt x="343" y="21"/>
                    </a:lnTo>
                    <a:lnTo>
                      <a:pt x="343" y="21"/>
                    </a:lnTo>
                    <a:lnTo>
                      <a:pt x="341" y="20"/>
                    </a:lnTo>
                    <a:lnTo>
                      <a:pt x="341" y="20"/>
                    </a:lnTo>
                    <a:lnTo>
                      <a:pt x="341" y="16"/>
                    </a:lnTo>
                    <a:lnTo>
                      <a:pt x="343" y="7"/>
                    </a:lnTo>
                    <a:lnTo>
                      <a:pt x="343" y="7"/>
                    </a:lnTo>
                    <a:lnTo>
                      <a:pt x="341" y="6"/>
                    </a:lnTo>
                    <a:lnTo>
                      <a:pt x="340" y="6"/>
                    </a:lnTo>
                    <a:lnTo>
                      <a:pt x="333" y="13"/>
                    </a:lnTo>
                    <a:lnTo>
                      <a:pt x="333" y="13"/>
                    </a:lnTo>
                    <a:lnTo>
                      <a:pt x="324" y="23"/>
                    </a:lnTo>
                    <a:lnTo>
                      <a:pt x="320" y="27"/>
                    </a:lnTo>
                    <a:lnTo>
                      <a:pt x="317" y="28"/>
                    </a:lnTo>
                    <a:lnTo>
                      <a:pt x="317" y="28"/>
                    </a:lnTo>
                    <a:lnTo>
                      <a:pt x="316" y="27"/>
                    </a:lnTo>
                    <a:lnTo>
                      <a:pt x="314" y="24"/>
                    </a:lnTo>
                    <a:lnTo>
                      <a:pt x="316" y="21"/>
                    </a:lnTo>
                    <a:lnTo>
                      <a:pt x="320" y="19"/>
                    </a:lnTo>
                    <a:lnTo>
                      <a:pt x="320" y="19"/>
                    </a:lnTo>
                    <a:lnTo>
                      <a:pt x="324" y="14"/>
                    </a:lnTo>
                    <a:lnTo>
                      <a:pt x="326" y="10"/>
                    </a:lnTo>
                    <a:lnTo>
                      <a:pt x="329" y="7"/>
                    </a:lnTo>
                    <a:lnTo>
                      <a:pt x="330" y="6"/>
                    </a:lnTo>
                    <a:lnTo>
                      <a:pt x="330" y="6"/>
                    </a:lnTo>
                    <a:lnTo>
                      <a:pt x="333" y="4"/>
                    </a:lnTo>
                    <a:lnTo>
                      <a:pt x="333" y="3"/>
                    </a:lnTo>
                    <a:lnTo>
                      <a:pt x="331" y="1"/>
                    </a:lnTo>
                    <a:lnTo>
                      <a:pt x="329" y="0"/>
                    </a:lnTo>
                    <a:lnTo>
                      <a:pt x="329" y="0"/>
                    </a:lnTo>
                    <a:lnTo>
                      <a:pt x="324" y="0"/>
                    </a:lnTo>
                    <a:lnTo>
                      <a:pt x="323" y="1"/>
                    </a:lnTo>
                    <a:lnTo>
                      <a:pt x="320" y="7"/>
                    </a:lnTo>
                    <a:lnTo>
                      <a:pt x="320" y="7"/>
                    </a:lnTo>
                    <a:lnTo>
                      <a:pt x="317" y="7"/>
                    </a:lnTo>
                    <a:lnTo>
                      <a:pt x="313" y="6"/>
                    </a:lnTo>
                    <a:lnTo>
                      <a:pt x="310" y="4"/>
                    </a:lnTo>
                    <a:lnTo>
                      <a:pt x="309" y="6"/>
                    </a:lnTo>
                    <a:lnTo>
                      <a:pt x="309" y="6"/>
                    </a:lnTo>
                    <a:lnTo>
                      <a:pt x="307" y="6"/>
                    </a:lnTo>
                    <a:lnTo>
                      <a:pt x="306" y="7"/>
                    </a:lnTo>
                    <a:lnTo>
                      <a:pt x="304" y="9"/>
                    </a:lnTo>
                    <a:lnTo>
                      <a:pt x="306" y="11"/>
                    </a:lnTo>
                    <a:lnTo>
                      <a:pt x="306" y="11"/>
                    </a:lnTo>
                    <a:lnTo>
                      <a:pt x="306" y="14"/>
                    </a:lnTo>
                    <a:lnTo>
                      <a:pt x="306" y="16"/>
                    </a:lnTo>
                    <a:lnTo>
                      <a:pt x="304" y="16"/>
                    </a:lnTo>
                    <a:lnTo>
                      <a:pt x="302" y="14"/>
                    </a:lnTo>
                    <a:lnTo>
                      <a:pt x="302" y="14"/>
                    </a:lnTo>
                    <a:lnTo>
                      <a:pt x="300" y="11"/>
                    </a:lnTo>
                    <a:lnTo>
                      <a:pt x="297" y="13"/>
                    </a:lnTo>
                    <a:lnTo>
                      <a:pt x="293" y="14"/>
                    </a:lnTo>
                    <a:lnTo>
                      <a:pt x="292" y="17"/>
                    </a:lnTo>
                    <a:lnTo>
                      <a:pt x="292" y="17"/>
                    </a:lnTo>
                    <a:lnTo>
                      <a:pt x="289" y="20"/>
                    </a:lnTo>
                    <a:lnTo>
                      <a:pt x="287" y="21"/>
                    </a:lnTo>
                    <a:lnTo>
                      <a:pt x="286" y="23"/>
                    </a:lnTo>
                    <a:lnTo>
                      <a:pt x="287" y="24"/>
                    </a:lnTo>
                    <a:lnTo>
                      <a:pt x="287" y="24"/>
                    </a:lnTo>
                    <a:lnTo>
                      <a:pt x="289" y="26"/>
                    </a:lnTo>
                    <a:lnTo>
                      <a:pt x="289" y="28"/>
                    </a:lnTo>
                    <a:lnTo>
                      <a:pt x="287" y="31"/>
                    </a:lnTo>
                    <a:lnTo>
                      <a:pt x="286" y="33"/>
                    </a:lnTo>
                    <a:lnTo>
                      <a:pt x="286" y="33"/>
                    </a:lnTo>
                    <a:lnTo>
                      <a:pt x="284" y="33"/>
                    </a:lnTo>
                    <a:lnTo>
                      <a:pt x="283" y="31"/>
                    </a:lnTo>
                    <a:lnTo>
                      <a:pt x="282" y="27"/>
                    </a:lnTo>
                    <a:lnTo>
                      <a:pt x="282" y="24"/>
                    </a:lnTo>
                    <a:lnTo>
                      <a:pt x="280" y="23"/>
                    </a:lnTo>
                    <a:lnTo>
                      <a:pt x="280" y="23"/>
                    </a:lnTo>
                    <a:lnTo>
                      <a:pt x="280" y="23"/>
                    </a:lnTo>
                    <a:lnTo>
                      <a:pt x="277" y="21"/>
                    </a:lnTo>
                    <a:lnTo>
                      <a:pt x="279" y="20"/>
                    </a:lnTo>
                    <a:lnTo>
                      <a:pt x="280" y="17"/>
                    </a:lnTo>
                    <a:lnTo>
                      <a:pt x="283" y="16"/>
                    </a:lnTo>
                    <a:lnTo>
                      <a:pt x="283" y="16"/>
                    </a:lnTo>
                    <a:lnTo>
                      <a:pt x="286" y="16"/>
                    </a:lnTo>
                    <a:lnTo>
                      <a:pt x="289" y="13"/>
                    </a:lnTo>
                    <a:lnTo>
                      <a:pt x="290" y="10"/>
                    </a:lnTo>
                    <a:lnTo>
                      <a:pt x="292" y="9"/>
                    </a:lnTo>
                    <a:lnTo>
                      <a:pt x="292" y="9"/>
                    </a:lnTo>
                    <a:lnTo>
                      <a:pt x="290" y="7"/>
                    </a:lnTo>
                    <a:lnTo>
                      <a:pt x="289" y="6"/>
                    </a:lnTo>
                    <a:lnTo>
                      <a:pt x="286" y="7"/>
                    </a:lnTo>
                    <a:lnTo>
                      <a:pt x="286" y="10"/>
                    </a:lnTo>
                    <a:lnTo>
                      <a:pt x="286" y="10"/>
                    </a:lnTo>
                    <a:lnTo>
                      <a:pt x="284" y="11"/>
                    </a:lnTo>
                    <a:lnTo>
                      <a:pt x="282" y="13"/>
                    </a:lnTo>
                    <a:lnTo>
                      <a:pt x="273" y="11"/>
                    </a:lnTo>
                    <a:lnTo>
                      <a:pt x="273" y="11"/>
                    </a:lnTo>
                    <a:lnTo>
                      <a:pt x="269" y="13"/>
                    </a:lnTo>
                    <a:lnTo>
                      <a:pt x="269" y="16"/>
                    </a:lnTo>
                    <a:lnTo>
                      <a:pt x="270" y="20"/>
                    </a:lnTo>
                    <a:lnTo>
                      <a:pt x="273" y="23"/>
                    </a:lnTo>
                    <a:lnTo>
                      <a:pt x="273" y="23"/>
                    </a:lnTo>
                    <a:lnTo>
                      <a:pt x="276" y="26"/>
                    </a:lnTo>
                    <a:lnTo>
                      <a:pt x="274" y="27"/>
                    </a:lnTo>
                    <a:lnTo>
                      <a:pt x="272" y="27"/>
                    </a:lnTo>
                    <a:lnTo>
                      <a:pt x="269" y="26"/>
                    </a:lnTo>
                    <a:lnTo>
                      <a:pt x="269" y="26"/>
                    </a:lnTo>
                    <a:lnTo>
                      <a:pt x="266" y="24"/>
                    </a:lnTo>
                    <a:lnTo>
                      <a:pt x="263" y="24"/>
                    </a:lnTo>
                    <a:lnTo>
                      <a:pt x="257" y="26"/>
                    </a:lnTo>
                    <a:lnTo>
                      <a:pt x="257" y="26"/>
                    </a:lnTo>
                    <a:lnTo>
                      <a:pt x="256" y="27"/>
                    </a:lnTo>
                    <a:lnTo>
                      <a:pt x="257" y="28"/>
                    </a:lnTo>
                    <a:lnTo>
                      <a:pt x="260" y="30"/>
                    </a:lnTo>
                    <a:lnTo>
                      <a:pt x="265" y="33"/>
                    </a:lnTo>
                    <a:lnTo>
                      <a:pt x="266" y="34"/>
                    </a:lnTo>
                    <a:lnTo>
                      <a:pt x="266" y="34"/>
                    </a:lnTo>
                    <a:lnTo>
                      <a:pt x="265" y="34"/>
                    </a:lnTo>
                    <a:lnTo>
                      <a:pt x="263" y="34"/>
                    </a:lnTo>
                    <a:lnTo>
                      <a:pt x="260" y="33"/>
                    </a:lnTo>
                    <a:lnTo>
                      <a:pt x="259" y="33"/>
                    </a:lnTo>
                    <a:lnTo>
                      <a:pt x="259" y="33"/>
                    </a:lnTo>
                    <a:lnTo>
                      <a:pt x="256" y="34"/>
                    </a:lnTo>
                    <a:lnTo>
                      <a:pt x="253" y="33"/>
                    </a:lnTo>
                    <a:lnTo>
                      <a:pt x="252" y="31"/>
                    </a:lnTo>
                    <a:lnTo>
                      <a:pt x="250" y="28"/>
                    </a:lnTo>
                    <a:lnTo>
                      <a:pt x="250" y="28"/>
                    </a:lnTo>
                    <a:lnTo>
                      <a:pt x="249" y="27"/>
                    </a:lnTo>
                    <a:lnTo>
                      <a:pt x="247" y="27"/>
                    </a:lnTo>
                    <a:lnTo>
                      <a:pt x="245" y="27"/>
                    </a:lnTo>
                    <a:lnTo>
                      <a:pt x="243" y="30"/>
                    </a:lnTo>
                    <a:lnTo>
                      <a:pt x="243" y="30"/>
                    </a:lnTo>
                    <a:lnTo>
                      <a:pt x="245" y="31"/>
                    </a:lnTo>
                    <a:lnTo>
                      <a:pt x="245" y="31"/>
                    </a:lnTo>
                    <a:lnTo>
                      <a:pt x="247" y="33"/>
                    </a:lnTo>
                    <a:lnTo>
                      <a:pt x="249" y="36"/>
                    </a:lnTo>
                    <a:lnTo>
                      <a:pt x="249" y="41"/>
                    </a:lnTo>
                    <a:lnTo>
                      <a:pt x="249" y="41"/>
                    </a:lnTo>
                    <a:lnTo>
                      <a:pt x="247" y="44"/>
                    </a:lnTo>
                    <a:lnTo>
                      <a:pt x="245" y="44"/>
                    </a:lnTo>
                    <a:lnTo>
                      <a:pt x="243" y="41"/>
                    </a:lnTo>
                    <a:lnTo>
                      <a:pt x="243" y="38"/>
                    </a:lnTo>
                    <a:lnTo>
                      <a:pt x="243" y="38"/>
                    </a:lnTo>
                    <a:lnTo>
                      <a:pt x="243" y="36"/>
                    </a:lnTo>
                    <a:lnTo>
                      <a:pt x="240" y="36"/>
                    </a:lnTo>
                    <a:lnTo>
                      <a:pt x="238" y="36"/>
                    </a:lnTo>
                    <a:lnTo>
                      <a:pt x="235" y="37"/>
                    </a:lnTo>
                    <a:lnTo>
                      <a:pt x="235" y="37"/>
                    </a:lnTo>
                    <a:lnTo>
                      <a:pt x="232" y="38"/>
                    </a:lnTo>
                    <a:lnTo>
                      <a:pt x="232" y="36"/>
                    </a:lnTo>
                    <a:lnTo>
                      <a:pt x="233" y="31"/>
                    </a:lnTo>
                    <a:lnTo>
                      <a:pt x="233" y="28"/>
                    </a:lnTo>
                    <a:lnTo>
                      <a:pt x="233" y="28"/>
                    </a:lnTo>
                    <a:lnTo>
                      <a:pt x="230" y="27"/>
                    </a:lnTo>
                    <a:lnTo>
                      <a:pt x="229" y="27"/>
                    </a:lnTo>
                    <a:lnTo>
                      <a:pt x="222" y="30"/>
                    </a:lnTo>
                    <a:lnTo>
                      <a:pt x="222" y="30"/>
                    </a:lnTo>
                    <a:lnTo>
                      <a:pt x="216" y="31"/>
                    </a:lnTo>
                    <a:lnTo>
                      <a:pt x="216" y="31"/>
                    </a:lnTo>
                    <a:lnTo>
                      <a:pt x="218" y="34"/>
                    </a:lnTo>
                    <a:lnTo>
                      <a:pt x="218" y="34"/>
                    </a:lnTo>
                    <a:lnTo>
                      <a:pt x="219" y="37"/>
                    </a:lnTo>
                    <a:lnTo>
                      <a:pt x="219" y="38"/>
                    </a:lnTo>
                    <a:lnTo>
                      <a:pt x="218" y="41"/>
                    </a:lnTo>
                    <a:lnTo>
                      <a:pt x="216" y="41"/>
                    </a:lnTo>
                    <a:lnTo>
                      <a:pt x="216" y="41"/>
                    </a:lnTo>
                    <a:lnTo>
                      <a:pt x="212" y="41"/>
                    </a:lnTo>
                    <a:lnTo>
                      <a:pt x="210" y="43"/>
                    </a:lnTo>
                    <a:lnTo>
                      <a:pt x="210" y="46"/>
                    </a:lnTo>
                    <a:lnTo>
                      <a:pt x="210" y="46"/>
                    </a:lnTo>
                    <a:lnTo>
                      <a:pt x="210" y="47"/>
                    </a:lnTo>
                    <a:lnTo>
                      <a:pt x="208" y="48"/>
                    </a:lnTo>
                    <a:lnTo>
                      <a:pt x="206" y="47"/>
                    </a:lnTo>
                    <a:lnTo>
                      <a:pt x="205" y="46"/>
                    </a:lnTo>
                    <a:lnTo>
                      <a:pt x="205" y="46"/>
                    </a:lnTo>
                    <a:lnTo>
                      <a:pt x="203" y="44"/>
                    </a:lnTo>
                    <a:lnTo>
                      <a:pt x="201" y="44"/>
                    </a:lnTo>
                    <a:lnTo>
                      <a:pt x="196" y="44"/>
                    </a:lnTo>
                    <a:lnTo>
                      <a:pt x="193" y="47"/>
                    </a:lnTo>
                    <a:lnTo>
                      <a:pt x="193" y="47"/>
                    </a:lnTo>
                    <a:lnTo>
                      <a:pt x="189" y="53"/>
                    </a:lnTo>
                    <a:lnTo>
                      <a:pt x="186" y="56"/>
                    </a:lnTo>
                    <a:lnTo>
                      <a:pt x="186" y="58"/>
                    </a:lnTo>
                    <a:lnTo>
                      <a:pt x="186" y="58"/>
                    </a:lnTo>
                    <a:lnTo>
                      <a:pt x="186" y="60"/>
                    </a:lnTo>
                    <a:lnTo>
                      <a:pt x="189" y="58"/>
                    </a:lnTo>
                    <a:lnTo>
                      <a:pt x="192" y="57"/>
                    </a:lnTo>
                    <a:lnTo>
                      <a:pt x="196" y="57"/>
                    </a:lnTo>
                    <a:lnTo>
                      <a:pt x="196" y="57"/>
                    </a:lnTo>
                    <a:lnTo>
                      <a:pt x="198" y="58"/>
                    </a:lnTo>
                    <a:lnTo>
                      <a:pt x="198" y="60"/>
                    </a:lnTo>
                    <a:lnTo>
                      <a:pt x="198" y="61"/>
                    </a:lnTo>
                    <a:lnTo>
                      <a:pt x="198" y="63"/>
                    </a:lnTo>
                    <a:lnTo>
                      <a:pt x="198" y="63"/>
                    </a:lnTo>
                    <a:lnTo>
                      <a:pt x="199" y="65"/>
                    </a:lnTo>
                    <a:lnTo>
                      <a:pt x="199" y="67"/>
                    </a:lnTo>
                    <a:lnTo>
                      <a:pt x="199" y="68"/>
                    </a:lnTo>
                    <a:lnTo>
                      <a:pt x="196" y="67"/>
                    </a:lnTo>
                    <a:lnTo>
                      <a:pt x="196" y="67"/>
                    </a:lnTo>
                    <a:lnTo>
                      <a:pt x="193" y="65"/>
                    </a:lnTo>
                    <a:lnTo>
                      <a:pt x="192" y="64"/>
                    </a:lnTo>
                    <a:lnTo>
                      <a:pt x="189" y="65"/>
                    </a:lnTo>
                    <a:lnTo>
                      <a:pt x="188" y="68"/>
                    </a:lnTo>
                    <a:lnTo>
                      <a:pt x="188" y="68"/>
                    </a:lnTo>
                    <a:lnTo>
                      <a:pt x="188" y="70"/>
                    </a:lnTo>
                    <a:lnTo>
                      <a:pt x="185" y="70"/>
                    </a:lnTo>
                    <a:lnTo>
                      <a:pt x="181" y="64"/>
                    </a:lnTo>
                    <a:lnTo>
                      <a:pt x="181" y="64"/>
                    </a:lnTo>
                    <a:lnTo>
                      <a:pt x="181" y="63"/>
                    </a:lnTo>
                    <a:lnTo>
                      <a:pt x="179" y="64"/>
                    </a:lnTo>
                    <a:lnTo>
                      <a:pt x="176" y="65"/>
                    </a:lnTo>
                    <a:lnTo>
                      <a:pt x="175" y="68"/>
                    </a:lnTo>
                    <a:lnTo>
                      <a:pt x="173" y="68"/>
                    </a:lnTo>
                    <a:lnTo>
                      <a:pt x="172" y="68"/>
                    </a:lnTo>
                    <a:lnTo>
                      <a:pt x="172" y="68"/>
                    </a:lnTo>
                    <a:lnTo>
                      <a:pt x="172" y="67"/>
                    </a:lnTo>
                    <a:lnTo>
                      <a:pt x="172" y="65"/>
                    </a:lnTo>
                    <a:lnTo>
                      <a:pt x="173" y="63"/>
                    </a:lnTo>
                    <a:lnTo>
                      <a:pt x="176" y="58"/>
                    </a:lnTo>
                    <a:lnTo>
                      <a:pt x="176" y="57"/>
                    </a:lnTo>
                    <a:lnTo>
                      <a:pt x="176" y="56"/>
                    </a:lnTo>
                    <a:lnTo>
                      <a:pt x="176" y="56"/>
                    </a:lnTo>
                    <a:lnTo>
                      <a:pt x="175" y="54"/>
                    </a:lnTo>
                    <a:lnTo>
                      <a:pt x="172" y="56"/>
                    </a:lnTo>
                    <a:lnTo>
                      <a:pt x="166" y="63"/>
                    </a:lnTo>
                    <a:lnTo>
                      <a:pt x="166" y="63"/>
                    </a:lnTo>
                    <a:lnTo>
                      <a:pt x="162" y="65"/>
                    </a:lnTo>
                    <a:lnTo>
                      <a:pt x="158" y="67"/>
                    </a:lnTo>
                    <a:lnTo>
                      <a:pt x="156" y="68"/>
                    </a:lnTo>
                    <a:lnTo>
                      <a:pt x="156" y="70"/>
                    </a:lnTo>
                    <a:lnTo>
                      <a:pt x="156" y="70"/>
                    </a:lnTo>
                    <a:lnTo>
                      <a:pt x="156" y="73"/>
                    </a:lnTo>
                    <a:lnTo>
                      <a:pt x="155" y="74"/>
                    </a:lnTo>
                    <a:lnTo>
                      <a:pt x="152" y="75"/>
                    </a:lnTo>
                    <a:lnTo>
                      <a:pt x="149" y="78"/>
                    </a:lnTo>
                    <a:lnTo>
                      <a:pt x="149" y="78"/>
                    </a:lnTo>
                    <a:lnTo>
                      <a:pt x="146" y="81"/>
                    </a:lnTo>
                    <a:lnTo>
                      <a:pt x="142" y="84"/>
                    </a:lnTo>
                    <a:lnTo>
                      <a:pt x="135" y="87"/>
                    </a:lnTo>
                    <a:lnTo>
                      <a:pt x="129" y="90"/>
                    </a:lnTo>
                    <a:lnTo>
                      <a:pt x="129" y="90"/>
                    </a:lnTo>
                    <a:lnTo>
                      <a:pt x="127" y="93"/>
                    </a:lnTo>
                    <a:lnTo>
                      <a:pt x="128" y="93"/>
                    </a:lnTo>
                    <a:lnTo>
                      <a:pt x="128" y="94"/>
                    </a:lnTo>
                    <a:lnTo>
                      <a:pt x="132" y="93"/>
                    </a:lnTo>
                    <a:lnTo>
                      <a:pt x="135" y="90"/>
                    </a:lnTo>
                    <a:lnTo>
                      <a:pt x="135" y="90"/>
                    </a:lnTo>
                    <a:lnTo>
                      <a:pt x="138" y="88"/>
                    </a:lnTo>
                    <a:lnTo>
                      <a:pt x="141" y="87"/>
                    </a:lnTo>
                    <a:lnTo>
                      <a:pt x="144" y="87"/>
                    </a:lnTo>
                    <a:lnTo>
                      <a:pt x="148" y="84"/>
                    </a:lnTo>
                    <a:lnTo>
                      <a:pt x="148" y="84"/>
                    </a:lnTo>
                    <a:lnTo>
                      <a:pt x="156" y="80"/>
                    </a:lnTo>
                    <a:lnTo>
                      <a:pt x="161" y="78"/>
                    </a:lnTo>
                    <a:lnTo>
                      <a:pt x="164" y="78"/>
                    </a:lnTo>
                    <a:lnTo>
                      <a:pt x="164" y="78"/>
                    </a:lnTo>
                    <a:lnTo>
                      <a:pt x="165" y="80"/>
                    </a:lnTo>
                    <a:lnTo>
                      <a:pt x="168" y="80"/>
                    </a:lnTo>
                    <a:lnTo>
                      <a:pt x="169" y="80"/>
                    </a:lnTo>
                    <a:lnTo>
                      <a:pt x="172" y="77"/>
                    </a:lnTo>
                    <a:lnTo>
                      <a:pt x="172" y="77"/>
                    </a:lnTo>
                    <a:lnTo>
                      <a:pt x="175" y="75"/>
                    </a:lnTo>
                    <a:lnTo>
                      <a:pt x="178" y="74"/>
                    </a:lnTo>
                    <a:lnTo>
                      <a:pt x="179" y="75"/>
                    </a:lnTo>
                    <a:lnTo>
                      <a:pt x="182" y="77"/>
                    </a:lnTo>
                    <a:lnTo>
                      <a:pt x="182" y="77"/>
                    </a:lnTo>
                    <a:lnTo>
                      <a:pt x="183" y="78"/>
                    </a:lnTo>
                    <a:lnTo>
                      <a:pt x="181" y="80"/>
                    </a:lnTo>
                    <a:lnTo>
                      <a:pt x="181" y="83"/>
                    </a:lnTo>
                    <a:lnTo>
                      <a:pt x="181" y="85"/>
                    </a:lnTo>
                    <a:lnTo>
                      <a:pt x="181" y="85"/>
                    </a:lnTo>
                    <a:lnTo>
                      <a:pt x="182" y="87"/>
                    </a:lnTo>
                    <a:lnTo>
                      <a:pt x="181" y="90"/>
                    </a:lnTo>
                    <a:lnTo>
                      <a:pt x="178" y="90"/>
                    </a:lnTo>
                    <a:lnTo>
                      <a:pt x="176" y="88"/>
                    </a:lnTo>
                    <a:lnTo>
                      <a:pt x="176" y="88"/>
                    </a:lnTo>
                    <a:lnTo>
                      <a:pt x="175" y="85"/>
                    </a:lnTo>
                    <a:lnTo>
                      <a:pt x="173" y="84"/>
                    </a:lnTo>
                    <a:lnTo>
                      <a:pt x="172" y="84"/>
                    </a:lnTo>
                    <a:lnTo>
                      <a:pt x="171" y="84"/>
                    </a:lnTo>
                    <a:lnTo>
                      <a:pt x="171" y="84"/>
                    </a:lnTo>
                    <a:lnTo>
                      <a:pt x="166" y="88"/>
                    </a:lnTo>
                    <a:lnTo>
                      <a:pt x="165" y="91"/>
                    </a:lnTo>
                    <a:lnTo>
                      <a:pt x="162" y="91"/>
                    </a:lnTo>
                    <a:lnTo>
                      <a:pt x="162" y="91"/>
                    </a:lnTo>
                    <a:lnTo>
                      <a:pt x="161" y="93"/>
                    </a:lnTo>
                    <a:lnTo>
                      <a:pt x="158" y="95"/>
                    </a:lnTo>
                    <a:lnTo>
                      <a:pt x="156" y="98"/>
                    </a:lnTo>
                    <a:lnTo>
                      <a:pt x="156" y="102"/>
                    </a:lnTo>
                    <a:lnTo>
                      <a:pt x="156" y="102"/>
                    </a:lnTo>
                    <a:lnTo>
                      <a:pt x="155" y="105"/>
                    </a:lnTo>
                    <a:lnTo>
                      <a:pt x="154" y="105"/>
                    </a:lnTo>
                    <a:lnTo>
                      <a:pt x="151" y="105"/>
                    </a:lnTo>
                    <a:lnTo>
                      <a:pt x="151" y="108"/>
                    </a:lnTo>
                    <a:lnTo>
                      <a:pt x="151" y="108"/>
                    </a:lnTo>
                    <a:lnTo>
                      <a:pt x="148" y="112"/>
                    </a:lnTo>
                    <a:lnTo>
                      <a:pt x="145" y="117"/>
                    </a:lnTo>
                    <a:lnTo>
                      <a:pt x="135" y="128"/>
                    </a:lnTo>
                    <a:lnTo>
                      <a:pt x="135" y="128"/>
                    </a:lnTo>
                    <a:lnTo>
                      <a:pt x="132" y="132"/>
                    </a:lnTo>
                    <a:lnTo>
                      <a:pt x="132" y="135"/>
                    </a:lnTo>
                    <a:lnTo>
                      <a:pt x="134" y="137"/>
                    </a:lnTo>
                    <a:lnTo>
                      <a:pt x="132" y="139"/>
                    </a:lnTo>
                    <a:lnTo>
                      <a:pt x="132" y="139"/>
                    </a:lnTo>
                    <a:lnTo>
                      <a:pt x="131" y="142"/>
                    </a:lnTo>
                    <a:lnTo>
                      <a:pt x="127" y="142"/>
                    </a:lnTo>
                    <a:lnTo>
                      <a:pt x="122" y="141"/>
                    </a:lnTo>
                    <a:lnTo>
                      <a:pt x="121" y="142"/>
                    </a:lnTo>
                    <a:lnTo>
                      <a:pt x="121" y="142"/>
                    </a:lnTo>
                    <a:lnTo>
                      <a:pt x="119" y="145"/>
                    </a:lnTo>
                    <a:lnTo>
                      <a:pt x="119" y="149"/>
                    </a:lnTo>
                    <a:lnTo>
                      <a:pt x="119" y="154"/>
                    </a:lnTo>
                    <a:lnTo>
                      <a:pt x="118" y="157"/>
                    </a:lnTo>
                    <a:lnTo>
                      <a:pt x="118" y="157"/>
                    </a:lnTo>
                    <a:lnTo>
                      <a:pt x="117" y="159"/>
                    </a:lnTo>
                    <a:lnTo>
                      <a:pt x="117" y="162"/>
                    </a:lnTo>
                    <a:lnTo>
                      <a:pt x="118" y="168"/>
                    </a:lnTo>
                    <a:lnTo>
                      <a:pt x="118" y="168"/>
                    </a:lnTo>
                    <a:lnTo>
                      <a:pt x="118" y="168"/>
                    </a:lnTo>
                    <a:lnTo>
                      <a:pt x="117" y="169"/>
                    </a:lnTo>
                    <a:lnTo>
                      <a:pt x="114" y="168"/>
                    </a:lnTo>
                    <a:lnTo>
                      <a:pt x="109" y="168"/>
                    </a:lnTo>
                    <a:lnTo>
                      <a:pt x="108" y="168"/>
                    </a:lnTo>
                    <a:lnTo>
                      <a:pt x="108" y="169"/>
                    </a:lnTo>
                    <a:lnTo>
                      <a:pt x="108" y="169"/>
                    </a:lnTo>
                    <a:lnTo>
                      <a:pt x="107" y="171"/>
                    </a:lnTo>
                    <a:lnTo>
                      <a:pt x="104" y="172"/>
                    </a:lnTo>
                    <a:lnTo>
                      <a:pt x="97" y="172"/>
                    </a:lnTo>
                    <a:lnTo>
                      <a:pt x="97" y="172"/>
                    </a:lnTo>
                    <a:lnTo>
                      <a:pt x="97" y="174"/>
                    </a:lnTo>
                    <a:lnTo>
                      <a:pt x="100" y="176"/>
                    </a:lnTo>
                    <a:lnTo>
                      <a:pt x="107" y="182"/>
                    </a:lnTo>
                    <a:lnTo>
                      <a:pt x="107" y="182"/>
                    </a:lnTo>
                    <a:lnTo>
                      <a:pt x="107" y="184"/>
                    </a:lnTo>
                    <a:lnTo>
                      <a:pt x="107" y="185"/>
                    </a:lnTo>
                    <a:lnTo>
                      <a:pt x="105" y="186"/>
                    </a:lnTo>
                    <a:lnTo>
                      <a:pt x="102" y="186"/>
                    </a:lnTo>
                    <a:lnTo>
                      <a:pt x="101" y="185"/>
                    </a:lnTo>
                    <a:lnTo>
                      <a:pt x="101" y="185"/>
                    </a:lnTo>
                    <a:lnTo>
                      <a:pt x="101" y="184"/>
                    </a:lnTo>
                    <a:lnTo>
                      <a:pt x="100" y="184"/>
                    </a:lnTo>
                    <a:lnTo>
                      <a:pt x="97" y="185"/>
                    </a:lnTo>
                    <a:lnTo>
                      <a:pt x="87" y="191"/>
                    </a:lnTo>
                    <a:lnTo>
                      <a:pt x="87" y="191"/>
                    </a:lnTo>
                    <a:lnTo>
                      <a:pt x="82" y="194"/>
                    </a:lnTo>
                    <a:lnTo>
                      <a:pt x="81" y="196"/>
                    </a:lnTo>
                    <a:lnTo>
                      <a:pt x="80" y="199"/>
                    </a:lnTo>
                    <a:lnTo>
                      <a:pt x="77" y="201"/>
                    </a:lnTo>
                    <a:lnTo>
                      <a:pt x="77" y="201"/>
                    </a:lnTo>
                    <a:lnTo>
                      <a:pt x="75" y="201"/>
                    </a:lnTo>
                    <a:lnTo>
                      <a:pt x="74" y="202"/>
                    </a:lnTo>
                    <a:lnTo>
                      <a:pt x="72" y="205"/>
                    </a:lnTo>
                    <a:lnTo>
                      <a:pt x="71" y="209"/>
                    </a:lnTo>
                    <a:lnTo>
                      <a:pt x="70" y="212"/>
                    </a:lnTo>
                    <a:lnTo>
                      <a:pt x="70" y="212"/>
                    </a:lnTo>
                    <a:lnTo>
                      <a:pt x="68" y="213"/>
                    </a:lnTo>
                    <a:lnTo>
                      <a:pt x="67" y="213"/>
                    </a:lnTo>
                    <a:lnTo>
                      <a:pt x="65" y="211"/>
                    </a:lnTo>
                    <a:lnTo>
                      <a:pt x="64" y="208"/>
                    </a:lnTo>
                    <a:lnTo>
                      <a:pt x="63" y="206"/>
                    </a:lnTo>
                    <a:lnTo>
                      <a:pt x="60" y="206"/>
                    </a:lnTo>
                    <a:lnTo>
                      <a:pt x="60" y="206"/>
                    </a:lnTo>
                    <a:lnTo>
                      <a:pt x="57" y="206"/>
                    </a:lnTo>
                    <a:lnTo>
                      <a:pt x="55" y="208"/>
                    </a:lnTo>
                    <a:lnTo>
                      <a:pt x="57" y="211"/>
                    </a:lnTo>
                    <a:lnTo>
                      <a:pt x="58" y="215"/>
                    </a:lnTo>
                    <a:lnTo>
                      <a:pt x="58" y="215"/>
                    </a:lnTo>
                    <a:lnTo>
                      <a:pt x="58" y="218"/>
                    </a:lnTo>
                    <a:lnTo>
                      <a:pt x="57" y="218"/>
                    </a:lnTo>
                    <a:lnTo>
                      <a:pt x="53" y="218"/>
                    </a:lnTo>
                    <a:lnTo>
                      <a:pt x="50" y="221"/>
                    </a:lnTo>
                    <a:lnTo>
                      <a:pt x="50" y="221"/>
                    </a:lnTo>
                    <a:lnTo>
                      <a:pt x="45" y="222"/>
                    </a:lnTo>
                    <a:lnTo>
                      <a:pt x="41" y="223"/>
                    </a:lnTo>
                    <a:lnTo>
                      <a:pt x="37" y="223"/>
                    </a:lnTo>
                    <a:lnTo>
                      <a:pt x="34" y="226"/>
                    </a:lnTo>
                    <a:lnTo>
                      <a:pt x="34" y="226"/>
                    </a:lnTo>
                    <a:lnTo>
                      <a:pt x="34" y="228"/>
                    </a:lnTo>
                    <a:lnTo>
                      <a:pt x="34" y="228"/>
                    </a:lnTo>
                    <a:lnTo>
                      <a:pt x="37" y="229"/>
                    </a:lnTo>
                    <a:lnTo>
                      <a:pt x="40" y="230"/>
                    </a:lnTo>
                    <a:lnTo>
                      <a:pt x="43" y="232"/>
                    </a:lnTo>
                    <a:lnTo>
                      <a:pt x="43" y="232"/>
                    </a:lnTo>
                    <a:lnTo>
                      <a:pt x="43" y="233"/>
                    </a:lnTo>
                    <a:lnTo>
                      <a:pt x="41" y="233"/>
                    </a:lnTo>
                    <a:lnTo>
                      <a:pt x="38" y="233"/>
                    </a:lnTo>
                    <a:lnTo>
                      <a:pt x="28" y="232"/>
                    </a:lnTo>
                    <a:lnTo>
                      <a:pt x="28" y="232"/>
                    </a:lnTo>
                    <a:lnTo>
                      <a:pt x="26" y="233"/>
                    </a:lnTo>
                    <a:lnTo>
                      <a:pt x="24" y="235"/>
                    </a:lnTo>
                    <a:lnTo>
                      <a:pt x="23" y="238"/>
                    </a:lnTo>
                    <a:lnTo>
                      <a:pt x="20" y="238"/>
                    </a:lnTo>
                    <a:lnTo>
                      <a:pt x="20" y="238"/>
                    </a:lnTo>
                    <a:lnTo>
                      <a:pt x="17" y="239"/>
                    </a:lnTo>
                    <a:lnTo>
                      <a:pt x="14" y="240"/>
                    </a:lnTo>
                    <a:lnTo>
                      <a:pt x="13" y="243"/>
                    </a:lnTo>
                    <a:lnTo>
                      <a:pt x="13" y="246"/>
                    </a:lnTo>
                    <a:lnTo>
                      <a:pt x="13" y="246"/>
                    </a:lnTo>
                    <a:lnTo>
                      <a:pt x="14" y="248"/>
                    </a:lnTo>
                    <a:lnTo>
                      <a:pt x="13" y="249"/>
                    </a:lnTo>
                    <a:lnTo>
                      <a:pt x="10" y="249"/>
                    </a:lnTo>
                    <a:lnTo>
                      <a:pt x="7" y="248"/>
                    </a:lnTo>
                    <a:lnTo>
                      <a:pt x="7" y="248"/>
                    </a:lnTo>
                    <a:lnTo>
                      <a:pt x="4" y="246"/>
                    </a:lnTo>
                    <a:lnTo>
                      <a:pt x="3" y="249"/>
                    </a:lnTo>
                    <a:lnTo>
                      <a:pt x="0" y="255"/>
                    </a:lnTo>
                    <a:lnTo>
                      <a:pt x="0" y="255"/>
                    </a:lnTo>
                    <a:lnTo>
                      <a:pt x="0" y="258"/>
                    </a:lnTo>
                    <a:lnTo>
                      <a:pt x="3" y="259"/>
                    </a:lnTo>
                    <a:lnTo>
                      <a:pt x="4" y="260"/>
                    </a:lnTo>
                    <a:lnTo>
                      <a:pt x="6" y="262"/>
                    </a:lnTo>
                    <a:lnTo>
                      <a:pt x="6" y="262"/>
                    </a:lnTo>
                    <a:lnTo>
                      <a:pt x="3" y="266"/>
                    </a:lnTo>
                    <a:lnTo>
                      <a:pt x="3" y="267"/>
                    </a:lnTo>
                    <a:lnTo>
                      <a:pt x="4" y="269"/>
                    </a:lnTo>
                    <a:lnTo>
                      <a:pt x="4" y="269"/>
                    </a:lnTo>
                    <a:lnTo>
                      <a:pt x="6" y="269"/>
                    </a:lnTo>
                    <a:lnTo>
                      <a:pt x="6" y="272"/>
                    </a:lnTo>
                    <a:lnTo>
                      <a:pt x="3" y="275"/>
                    </a:lnTo>
                    <a:lnTo>
                      <a:pt x="3" y="275"/>
                    </a:lnTo>
                    <a:lnTo>
                      <a:pt x="1" y="276"/>
                    </a:lnTo>
                    <a:lnTo>
                      <a:pt x="0" y="277"/>
                    </a:lnTo>
                    <a:lnTo>
                      <a:pt x="3" y="282"/>
                    </a:lnTo>
                    <a:lnTo>
                      <a:pt x="3" y="282"/>
                    </a:lnTo>
                    <a:lnTo>
                      <a:pt x="3" y="285"/>
                    </a:lnTo>
                    <a:lnTo>
                      <a:pt x="1" y="286"/>
                    </a:lnTo>
                    <a:lnTo>
                      <a:pt x="0" y="289"/>
                    </a:lnTo>
                    <a:lnTo>
                      <a:pt x="1" y="292"/>
                    </a:lnTo>
                    <a:lnTo>
                      <a:pt x="1" y="292"/>
                    </a:lnTo>
                    <a:lnTo>
                      <a:pt x="4" y="293"/>
                    </a:lnTo>
                    <a:lnTo>
                      <a:pt x="6" y="293"/>
                    </a:lnTo>
                    <a:lnTo>
                      <a:pt x="8" y="293"/>
                    </a:lnTo>
                    <a:lnTo>
                      <a:pt x="10" y="295"/>
                    </a:lnTo>
                    <a:lnTo>
                      <a:pt x="10" y="295"/>
                    </a:lnTo>
                    <a:lnTo>
                      <a:pt x="11" y="296"/>
                    </a:lnTo>
                    <a:lnTo>
                      <a:pt x="14" y="296"/>
                    </a:lnTo>
                    <a:lnTo>
                      <a:pt x="21" y="290"/>
                    </a:lnTo>
                    <a:lnTo>
                      <a:pt x="21" y="290"/>
                    </a:lnTo>
                    <a:lnTo>
                      <a:pt x="23" y="289"/>
                    </a:lnTo>
                    <a:lnTo>
                      <a:pt x="24" y="289"/>
                    </a:lnTo>
                    <a:lnTo>
                      <a:pt x="26" y="290"/>
                    </a:lnTo>
                    <a:lnTo>
                      <a:pt x="26" y="293"/>
                    </a:lnTo>
                    <a:lnTo>
                      <a:pt x="26" y="295"/>
                    </a:lnTo>
                    <a:lnTo>
                      <a:pt x="24" y="295"/>
                    </a:lnTo>
                    <a:lnTo>
                      <a:pt x="24" y="295"/>
                    </a:lnTo>
                    <a:lnTo>
                      <a:pt x="20" y="295"/>
                    </a:lnTo>
                    <a:lnTo>
                      <a:pt x="17" y="296"/>
                    </a:lnTo>
                    <a:lnTo>
                      <a:pt x="16" y="299"/>
                    </a:lnTo>
                    <a:lnTo>
                      <a:pt x="16" y="302"/>
                    </a:lnTo>
                    <a:lnTo>
                      <a:pt x="16" y="302"/>
                    </a:lnTo>
                    <a:lnTo>
                      <a:pt x="14" y="304"/>
                    </a:lnTo>
                    <a:lnTo>
                      <a:pt x="13" y="304"/>
                    </a:lnTo>
                    <a:lnTo>
                      <a:pt x="10" y="303"/>
                    </a:lnTo>
                    <a:lnTo>
                      <a:pt x="8" y="300"/>
                    </a:lnTo>
                    <a:lnTo>
                      <a:pt x="8" y="300"/>
                    </a:lnTo>
                    <a:lnTo>
                      <a:pt x="8" y="299"/>
                    </a:lnTo>
                    <a:lnTo>
                      <a:pt x="7" y="297"/>
                    </a:lnTo>
                    <a:lnTo>
                      <a:pt x="6" y="299"/>
                    </a:lnTo>
                    <a:lnTo>
                      <a:pt x="3" y="302"/>
                    </a:lnTo>
                    <a:lnTo>
                      <a:pt x="3" y="303"/>
                    </a:lnTo>
                    <a:lnTo>
                      <a:pt x="4" y="304"/>
                    </a:lnTo>
                    <a:lnTo>
                      <a:pt x="4" y="304"/>
                    </a:lnTo>
                    <a:lnTo>
                      <a:pt x="4" y="307"/>
                    </a:lnTo>
                    <a:lnTo>
                      <a:pt x="4" y="309"/>
                    </a:lnTo>
                    <a:lnTo>
                      <a:pt x="3" y="312"/>
                    </a:lnTo>
                    <a:lnTo>
                      <a:pt x="3" y="314"/>
                    </a:lnTo>
                    <a:lnTo>
                      <a:pt x="3" y="314"/>
                    </a:lnTo>
                    <a:lnTo>
                      <a:pt x="3" y="316"/>
                    </a:lnTo>
                    <a:lnTo>
                      <a:pt x="6" y="316"/>
                    </a:lnTo>
                    <a:lnTo>
                      <a:pt x="8" y="316"/>
                    </a:lnTo>
                    <a:lnTo>
                      <a:pt x="11" y="313"/>
                    </a:lnTo>
                    <a:lnTo>
                      <a:pt x="11" y="313"/>
                    </a:lnTo>
                    <a:lnTo>
                      <a:pt x="14" y="310"/>
                    </a:lnTo>
                    <a:lnTo>
                      <a:pt x="16" y="310"/>
                    </a:lnTo>
                    <a:lnTo>
                      <a:pt x="18" y="312"/>
                    </a:lnTo>
                    <a:lnTo>
                      <a:pt x="20" y="314"/>
                    </a:lnTo>
                    <a:lnTo>
                      <a:pt x="20" y="314"/>
                    </a:lnTo>
                    <a:lnTo>
                      <a:pt x="20" y="316"/>
                    </a:lnTo>
                    <a:lnTo>
                      <a:pt x="18" y="316"/>
                    </a:lnTo>
                    <a:lnTo>
                      <a:pt x="17" y="317"/>
                    </a:lnTo>
                    <a:lnTo>
                      <a:pt x="16" y="320"/>
                    </a:lnTo>
                    <a:lnTo>
                      <a:pt x="16" y="320"/>
                    </a:lnTo>
                    <a:lnTo>
                      <a:pt x="16" y="323"/>
                    </a:lnTo>
                    <a:lnTo>
                      <a:pt x="14" y="323"/>
                    </a:lnTo>
                    <a:lnTo>
                      <a:pt x="11" y="323"/>
                    </a:lnTo>
                    <a:lnTo>
                      <a:pt x="10" y="326"/>
                    </a:lnTo>
                    <a:lnTo>
                      <a:pt x="10" y="326"/>
                    </a:lnTo>
                    <a:lnTo>
                      <a:pt x="8" y="327"/>
                    </a:lnTo>
                    <a:lnTo>
                      <a:pt x="10" y="329"/>
                    </a:lnTo>
                    <a:lnTo>
                      <a:pt x="14" y="333"/>
                    </a:lnTo>
                    <a:lnTo>
                      <a:pt x="21" y="337"/>
                    </a:lnTo>
                    <a:lnTo>
                      <a:pt x="26" y="339"/>
                    </a:lnTo>
                    <a:lnTo>
                      <a:pt x="26" y="339"/>
                    </a:lnTo>
                    <a:lnTo>
                      <a:pt x="34" y="341"/>
                    </a:lnTo>
                    <a:lnTo>
                      <a:pt x="38" y="343"/>
                    </a:lnTo>
                    <a:lnTo>
                      <a:pt x="45" y="343"/>
                    </a:lnTo>
                    <a:lnTo>
                      <a:pt x="45" y="343"/>
                    </a:lnTo>
                    <a:lnTo>
                      <a:pt x="48" y="343"/>
                    </a:lnTo>
                    <a:lnTo>
                      <a:pt x="53" y="340"/>
                    </a:lnTo>
                    <a:lnTo>
                      <a:pt x="63" y="333"/>
                    </a:lnTo>
                    <a:lnTo>
                      <a:pt x="75" y="322"/>
                    </a:lnTo>
                    <a:lnTo>
                      <a:pt x="75" y="322"/>
                    </a:lnTo>
                    <a:lnTo>
                      <a:pt x="77" y="320"/>
                    </a:lnTo>
                    <a:lnTo>
                      <a:pt x="80" y="320"/>
                    </a:lnTo>
                    <a:lnTo>
                      <a:pt x="82" y="320"/>
                    </a:lnTo>
                    <a:lnTo>
                      <a:pt x="85" y="319"/>
                    </a:lnTo>
                    <a:lnTo>
                      <a:pt x="85" y="319"/>
                    </a:lnTo>
                    <a:lnTo>
                      <a:pt x="88" y="316"/>
                    </a:lnTo>
                    <a:lnTo>
                      <a:pt x="88" y="313"/>
                    </a:lnTo>
                    <a:lnTo>
                      <a:pt x="88" y="310"/>
                    </a:lnTo>
                    <a:lnTo>
                      <a:pt x="90" y="307"/>
                    </a:lnTo>
                    <a:lnTo>
                      <a:pt x="90" y="307"/>
                    </a:lnTo>
                    <a:lnTo>
                      <a:pt x="91" y="309"/>
                    </a:lnTo>
                    <a:lnTo>
                      <a:pt x="92" y="312"/>
                    </a:lnTo>
                    <a:lnTo>
                      <a:pt x="95" y="314"/>
                    </a:lnTo>
                    <a:lnTo>
                      <a:pt x="97" y="316"/>
                    </a:lnTo>
                    <a:lnTo>
                      <a:pt x="97" y="316"/>
                    </a:lnTo>
                    <a:lnTo>
                      <a:pt x="100" y="319"/>
                    </a:lnTo>
                    <a:lnTo>
                      <a:pt x="100" y="323"/>
                    </a:lnTo>
                    <a:lnTo>
                      <a:pt x="100" y="323"/>
                    </a:lnTo>
                    <a:lnTo>
                      <a:pt x="102" y="323"/>
                    </a:lnTo>
                    <a:lnTo>
                      <a:pt x="105" y="324"/>
                    </a:lnTo>
                    <a:lnTo>
                      <a:pt x="105" y="324"/>
                    </a:lnTo>
                    <a:lnTo>
                      <a:pt x="107" y="324"/>
                    </a:lnTo>
                    <a:lnTo>
                      <a:pt x="107" y="324"/>
                    </a:lnTo>
                    <a:lnTo>
                      <a:pt x="108" y="322"/>
                    </a:lnTo>
                    <a:lnTo>
                      <a:pt x="109" y="313"/>
                    </a:lnTo>
                    <a:lnTo>
                      <a:pt x="109" y="313"/>
                    </a:lnTo>
                    <a:lnTo>
                      <a:pt x="111" y="307"/>
                    </a:lnTo>
                    <a:lnTo>
                      <a:pt x="111" y="304"/>
                    </a:lnTo>
                    <a:lnTo>
                      <a:pt x="111" y="300"/>
                    </a:lnTo>
                    <a:lnTo>
                      <a:pt x="111" y="300"/>
                    </a:lnTo>
                    <a:lnTo>
                      <a:pt x="111" y="299"/>
                    </a:lnTo>
                    <a:lnTo>
                      <a:pt x="112" y="299"/>
                    </a:lnTo>
                    <a:lnTo>
                      <a:pt x="115" y="299"/>
                    </a:lnTo>
                    <a:lnTo>
                      <a:pt x="119" y="299"/>
                    </a:lnTo>
                    <a:lnTo>
                      <a:pt x="122" y="297"/>
                    </a:lnTo>
                    <a:lnTo>
                      <a:pt x="122" y="297"/>
                    </a:lnTo>
                    <a:lnTo>
                      <a:pt x="124" y="289"/>
                    </a:lnTo>
                    <a:lnTo>
                      <a:pt x="122" y="285"/>
                    </a:lnTo>
                    <a:lnTo>
                      <a:pt x="121" y="282"/>
                    </a:lnTo>
                    <a:lnTo>
                      <a:pt x="121" y="282"/>
                    </a:lnTo>
                    <a:lnTo>
                      <a:pt x="119" y="280"/>
                    </a:lnTo>
                    <a:lnTo>
                      <a:pt x="118" y="277"/>
                    </a:lnTo>
                    <a:lnTo>
                      <a:pt x="118" y="275"/>
                    </a:lnTo>
                    <a:lnTo>
                      <a:pt x="121" y="275"/>
                    </a:lnTo>
                    <a:lnTo>
                      <a:pt x="121" y="275"/>
                    </a:lnTo>
                    <a:lnTo>
                      <a:pt x="122" y="273"/>
                    </a:lnTo>
                    <a:lnTo>
                      <a:pt x="125" y="272"/>
                    </a:lnTo>
                    <a:lnTo>
                      <a:pt x="127" y="269"/>
                    </a:lnTo>
                    <a:lnTo>
                      <a:pt x="127" y="266"/>
                    </a:lnTo>
                    <a:lnTo>
                      <a:pt x="127" y="266"/>
                    </a:lnTo>
                    <a:lnTo>
                      <a:pt x="125" y="262"/>
                    </a:lnTo>
                    <a:lnTo>
                      <a:pt x="121" y="260"/>
                    </a:lnTo>
                    <a:lnTo>
                      <a:pt x="118" y="258"/>
                    </a:lnTo>
                    <a:lnTo>
                      <a:pt x="115" y="255"/>
                    </a:lnTo>
                    <a:lnTo>
                      <a:pt x="115" y="255"/>
                    </a:lnTo>
                    <a:lnTo>
                      <a:pt x="117" y="250"/>
                    </a:lnTo>
                    <a:lnTo>
                      <a:pt x="117" y="248"/>
                    </a:lnTo>
                    <a:lnTo>
                      <a:pt x="118" y="243"/>
                    </a:lnTo>
                    <a:lnTo>
                      <a:pt x="117" y="239"/>
                    </a:lnTo>
                    <a:lnTo>
                      <a:pt x="117" y="239"/>
                    </a:lnTo>
                    <a:lnTo>
                      <a:pt x="115" y="233"/>
                    </a:lnTo>
                    <a:lnTo>
                      <a:pt x="115" y="229"/>
                    </a:lnTo>
                    <a:lnTo>
                      <a:pt x="117" y="226"/>
                    </a:lnTo>
                    <a:lnTo>
                      <a:pt x="117" y="223"/>
                    </a:lnTo>
                    <a:lnTo>
                      <a:pt x="117" y="223"/>
                    </a:lnTo>
                    <a:lnTo>
                      <a:pt x="115" y="221"/>
                    </a:lnTo>
                    <a:lnTo>
                      <a:pt x="115" y="216"/>
                    </a:lnTo>
                    <a:lnTo>
                      <a:pt x="115" y="212"/>
                    </a:lnTo>
                    <a:lnTo>
                      <a:pt x="118" y="206"/>
                    </a:lnTo>
                    <a:lnTo>
                      <a:pt x="118" y="206"/>
                    </a:lnTo>
                    <a:lnTo>
                      <a:pt x="122" y="202"/>
                    </a:lnTo>
                    <a:lnTo>
                      <a:pt x="127" y="198"/>
                    </a:lnTo>
                    <a:lnTo>
                      <a:pt x="131" y="196"/>
                    </a:lnTo>
                    <a:lnTo>
                      <a:pt x="134" y="196"/>
                    </a:lnTo>
                    <a:lnTo>
                      <a:pt x="134" y="196"/>
                    </a:lnTo>
                    <a:lnTo>
                      <a:pt x="139" y="198"/>
                    </a:lnTo>
                    <a:lnTo>
                      <a:pt x="142" y="198"/>
                    </a:lnTo>
                    <a:lnTo>
                      <a:pt x="145" y="195"/>
                    </a:lnTo>
                    <a:lnTo>
                      <a:pt x="145" y="195"/>
                    </a:lnTo>
                    <a:lnTo>
                      <a:pt x="146" y="189"/>
                    </a:lnTo>
                    <a:lnTo>
                      <a:pt x="146" y="188"/>
                    </a:lnTo>
                    <a:lnTo>
                      <a:pt x="145" y="186"/>
                    </a:lnTo>
                    <a:lnTo>
                      <a:pt x="145" y="186"/>
                    </a:lnTo>
                    <a:lnTo>
                      <a:pt x="142" y="185"/>
                    </a:lnTo>
                    <a:lnTo>
                      <a:pt x="141" y="184"/>
                    </a:lnTo>
                    <a:lnTo>
                      <a:pt x="139" y="182"/>
                    </a:lnTo>
                    <a:lnTo>
                      <a:pt x="141" y="178"/>
                    </a:lnTo>
                    <a:lnTo>
                      <a:pt x="141" y="178"/>
                    </a:lnTo>
                    <a:lnTo>
                      <a:pt x="148" y="168"/>
                    </a:lnTo>
                    <a:lnTo>
                      <a:pt x="151" y="162"/>
                    </a:lnTo>
                    <a:lnTo>
                      <a:pt x="152" y="158"/>
                    </a:lnTo>
                    <a:lnTo>
                      <a:pt x="152" y="158"/>
                    </a:lnTo>
                    <a:lnTo>
                      <a:pt x="151" y="148"/>
                    </a:lnTo>
                    <a:lnTo>
                      <a:pt x="151" y="145"/>
                    </a:lnTo>
                    <a:lnTo>
                      <a:pt x="152" y="142"/>
                    </a:lnTo>
                    <a:lnTo>
                      <a:pt x="152" y="142"/>
                    </a:lnTo>
                    <a:lnTo>
                      <a:pt x="155" y="142"/>
                    </a:lnTo>
                    <a:lnTo>
                      <a:pt x="158" y="142"/>
                    </a:lnTo>
                    <a:lnTo>
                      <a:pt x="161" y="141"/>
                    </a:lnTo>
                    <a:lnTo>
                      <a:pt x="165" y="139"/>
                    </a:lnTo>
                    <a:lnTo>
                      <a:pt x="165" y="139"/>
                    </a:lnTo>
                    <a:lnTo>
                      <a:pt x="166" y="138"/>
                    </a:lnTo>
                    <a:lnTo>
                      <a:pt x="166" y="135"/>
                    </a:lnTo>
                    <a:lnTo>
                      <a:pt x="166" y="132"/>
                    </a:lnTo>
                    <a:lnTo>
                      <a:pt x="168" y="131"/>
                    </a:lnTo>
                    <a:lnTo>
                      <a:pt x="168" y="131"/>
                    </a:lnTo>
                    <a:lnTo>
                      <a:pt x="172" y="125"/>
                    </a:lnTo>
                    <a:lnTo>
                      <a:pt x="176" y="118"/>
                    </a:lnTo>
                    <a:lnTo>
                      <a:pt x="176" y="118"/>
                    </a:lnTo>
                    <a:lnTo>
                      <a:pt x="179" y="115"/>
                    </a:lnTo>
                    <a:lnTo>
                      <a:pt x="181" y="112"/>
                    </a:lnTo>
                    <a:lnTo>
                      <a:pt x="179" y="110"/>
                    </a:lnTo>
                    <a:lnTo>
                      <a:pt x="179" y="110"/>
                    </a:lnTo>
                    <a:lnTo>
                      <a:pt x="179" y="108"/>
                    </a:lnTo>
                    <a:lnTo>
                      <a:pt x="181" y="105"/>
                    </a:lnTo>
                    <a:lnTo>
                      <a:pt x="183" y="102"/>
                    </a:lnTo>
                    <a:lnTo>
                      <a:pt x="185" y="98"/>
                    </a:lnTo>
                    <a:lnTo>
                      <a:pt x="185" y="98"/>
                    </a:lnTo>
                    <a:lnTo>
                      <a:pt x="185" y="95"/>
                    </a:lnTo>
                    <a:lnTo>
                      <a:pt x="189" y="93"/>
                    </a:lnTo>
                    <a:lnTo>
                      <a:pt x="192" y="90"/>
                    </a:lnTo>
                    <a:lnTo>
                      <a:pt x="196" y="90"/>
                    </a:lnTo>
                    <a:lnTo>
                      <a:pt x="196" y="90"/>
                    </a:lnTo>
                    <a:lnTo>
                      <a:pt x="205" y="90"/>
                    </a:lnTo>
                    <a:lnTo>
                      <a:pt x="208" y="88"/>
                    </a:lnTo>
                    <a:lnTo>
                      <a:pt x="209" y="85"/>
                    </a:lnTo>
                    <a:lnTo>
                      <a:pt x="209" y="85"/>
                    </a:lnTo>
                    <a:lnTo>
                      <a:pt x="208" y="77"/>
                    </a:lnTo>
                    <a:lnTo>
                      <a:pt x="209" y="74"/>
                    </a:lnTo>
                    <a:lnTo>
                      <a:pt x="210" y="73"/>
                    </a:lnTo>
                    <a:lnTo>
                      <a:pt x="212" y="74"/>
                    </a:lnTo>
                    <a:lnTo>
                      <a:pt x="212" y="74"/>
                    </a:lnTo>
                    <a:lnTo>
                      <a:pt x="218" y="75"/>
                    </a:lnTo>
                    <a:lnTo>
                      <a:pt x="222" y="75"/>
                    </a:lnTo>
                    <a:lnTo>
                      <a:pt x="226" y="75"/>
                    </a:lnTo>
                    <a:lnTo>
                      <a:pt x="229" y="77"/>
                    </a:lnTo>
                    <a:lnTo>
                      <a:pt x="229" y="77"/>
                    </a:lnTo>
                    <a:lnTo>
                      <a:pt x="233" y="78"/>
                    </a:lnTo>
                    <a:lnTo>
                      <a:pt x="236" y="78"/>
                    </a:lnTo>
                    <a:lnTo>
                      <a:pt x="239" y="77"/>
                    </a:lnTo>
                    <a:lnTo>
                      <a:pt x="240" y="74"/>
                    </a:lnTo>
                    <a:lnTo>
                      <a:pt x="240" y="74"/>
                    </a:lnTo>
                    <a:lnTo>
                      <a:pt x="240" y="68"/>
                    </a:lnTo>
                    <a:lnTo>
                      <a:pt x="242" y="64"/>
                    </a:lnTo>
                    <a:lnTo>
                      <a:pt x="245" y="61"/>
                    </a:lnTo>
                    <a:lnTo>
                      <a:pt x="246" y="61"/>
                    </a:lnTo>
                    <a:lnTo>
                      <a:pt x="249" y="61"/>
                    </a:lnTo>
                    <a:lnTo>
                      <a:pt x="249" y="61"/>
                    </a:lnTo>
                    <a:lnTo>
                      <a:pt x="250" y="63"/>
                    </a:lnTo>
                    <a:lnTo>
                      <a:pt x="250" y="63"/>
                    </a:lnTo>
                    <a:lnTo>
                      <a:pt x="253" y="58"/>
                    </a:lnTo>
                    <a:lnTo>
                      <a:pt x="255" y="57"/>
                    </a:lnTo>
                    <a:lnTo>
                      <a:pt x="259" y="54"/>
                    </a:lnTo>
                    <a:lnTo>
                      <a:pt x="262" y="54"/>
                    </a:lnTo>
                    <a:lnTo>
                      <a:pt x="262" y="54"/>
                    </a:lnTo>
                    <a:lnTo>
                      <a:pt x="266" y="57"/>
                    </a:lnTo>
                    <a:lnTo>
                      <a:pt x="269" y="61"/>
                    </a:lnTo>
                    <a:lnTo>
                      <a:pt x="273" y="65"/>
                    </a:lnTo>
                    <a:lnTo>
                      <a:pt x="279" y="67"/>
                    </a:lnTo>
                    <a:lnTo>
                      <a:pt x="279" y="67"/>
                    </a:lnTo>
                    <a:lnTo>
                      <a:pt x="290" y="70"/>
                    </a:lnTo>
                    <a:lnTo>
                      <a:pt x="293" y="70"/>
                    </a:lnTo>
                    <a:lnTo>
                      <a:pt x="296" y="68"/>
                    </a:lnTo>
                    <a:lnTo>
                      <a:pt x="296" y="68"/>
                    </a:lnTo>
                    <a:lnTo>
                      <a:pt x="299" y="67"/>
                    </a:lnTo>
                    <a:lnTo>
                      <a:pt x="302" y="68"/>
                    </a:lnTo>
                    <a:lnTo>
                      <a:pt x="304" y="68"/>
                    </a:lnTo>
                    <a:lnTo>
                      <a:pt x="309" y="68"/>
                    </a:lnTo>
                    <a:lnTo>
                      <a:pt x="309" y="68"/>
                    </a:lnTo>
                    <a:lnTo>
                      <a:pt x="310" y="68"/>
                    </a:lnTo>
                    <a:lnTo>
                      <a:pt x="311" y="70"/>
                    </a:lnTo>
                    <a:lnTo>
                      <a:pt x="313" y="71"/>
                    </a:lnTo>
                    <a:lnTo>
                      <a:pt x="314" y="73"/>
                    </a:lnTo>
                    <a:lnTo>
                      <a:pt x="317" y="71"/>
                    </a:lnTo>
                    <a:lnTo>
                      <a:pt x="317" y="71"/>
                    </a:lnTo>
                    <a:lnTo>
                      <a:pt x="320" y="67"/>
                    </a:lnTo>
                    <a:lnTo>
                      <a:pt x="320" y="64"/>
                    </a:lnTo>
                    <a:lnTo>
                      <a:pt x="321" y="63"/>
                    </a:lnTo>
                    <a:lnTo>
                      <a:pt x="324" y="63"/>
                    </a:lnTo>
                    <a:lnTo>
                      <a:pt x="324" y="63"/>
                    </a:lnTo>
                    <a:lnTo>
                      <a:pt x="327" y="63"/>
                    </a:lnTo>
                    <a:lnTo>
                      <a:pt x="329" y="61"/>
                    </a:lnTo>
                    <a:lnTo>
                      <a:pt x="329" y="57"/>
                    </a:lnTo>
                    <a:lnTo>
                      <a:pt x="327" y="48"/>
                    </a:lnTo>
                    <a:lnTo>
                      <a:pt x="327" y="48"/>
                    </a:lnTo>
                    <a:lnTo>
                      <a:pt x="329" y="47"/>
                    </a:lnTo>
                    <a:lnTo>
                      <a:pt x="329" y="46"/>
                    </a:lnTo>
                    <a:lnTo>
                      <a:pt x="333" y="43"/>
                    </a:lnTo>
                    <a:lnTo>
                      <a:pt x="336" y="41"/>
                    </a:lnTo>
                    <a:lnTo>
                      <a:pt x="337" y="38"/>
                    </a:lnTo>
                    <a:lnTo>
                      <a:pt x="337" y="38"/>
                    </a:lnTo>
                    <a:lnTo>
                      <a:pt x="339" y="37"/>
                    </a:lnTo>
                    <a:lnTo>
                      <a:pt x="340" y="36"/>
                    </a:lnTo>
                    <a:lnTo>
                      <a:pt x="344" y="36"/>
                    </a:lnTo>
                    <a:lnTo>
                      <a:pt x="350" y="36"/>
                    </a:lnTo>
                    <a:lnTo>
                      <a:pt x="353" y="34"/>
                    </a:lnTo>
                    <a:lnTo>
                      <a:pt x="353" y="34"/>
                    </a:lnTo>
                    <a:lnTo>
                      <a:pt x="356" y="31"/>
                    </a:lnTo>
                    <a:lnTo>
                      <a:pt x="360" y="31"/>
                    </a:lnTo>
                    <a:lnTo>
                      <a:pt x="363" y="31"/>
                    </a:lnTo>
                    <a:lnTo>
                      <a:pt x="367" y="34"/>
                    </a:lnTo>
                    <a:lnTo>
                      <a:pt x="367" y="34"/>
                    </a:lnTo>
                    <a:lnTo>
                      <a:pt x="370" y="37"/>
                    </a:lnTo>
                    <a:lnTo>
                      <a:pt x="375" y="40"/>
                    </a:lnTo>
                    <a:lnTo>
                      <a:pt x="381" y="43"/>
                    </a:lnTo>
                    <a:lnTo>
                      <a:pt x="383" y="44"/>
                    </a:lnTo>
                    <a:lnTo>
                      <a:pt x="383" y="46"/>
                    </a:lnTo>
                    <a:lnTo>
                      <a:pt x="383" y="46"/>
                    </a:lnTo>
                    <a:lnTo>
                      <a:pt x="383" y="54"/>
                    </a:lnTo>
                    <a:lnTo>
                      <a:pt x="383" y="54"/>
                    </a:lnTo>
                    <a:lnTo>
                      <a:pt x="387" y="51"/>
                    </a:lnTo>
                    <a:lnTo>
                      <a:pt x="391" y="51"/>
                    </a:lnTo>
                    <a:lnTo>
                      <a:pt x="391" y="51"/>
                    </a:lnTo>
                    <a:lnTo>
                      <a:pt x="394" y="50"/>
                    </a:lnTo>
                    <a:lnTo>
                      <a:pt x="397" y="47"/>
                    </a:lnTo>
                    <a:lnTo>
                      <a:pt x="401" y="46"/>
                    </a:lnTo>
                    <a:lnTo>
                      <a:pt x="404" y="44"/>
                    </a:lnTo>
                    <a:lnTo>
                      <a:pt x="404" y="44"/>
                    </a:lnTo>
                    <a:lnTo>
                      <a:pt x="407" y="44"/>
                    </a:lnTo>
                    <a:lnTo>
                      <a:pt x="408" y="44"/>
                    </a:lnTo>
                    <a:lnTo>
                      <a:pt x="411" y="43"/>
                    </a:lnTo>
                    <a:lnTo>
                      <a:pt x="412" y="38"/>
                    </a:lnTo>
                    <a:lnTo>
                      <a:pt x="412" y="38"/>
                    </a:lnTo>
                    <a:lnTo>
                      <a:pt x="408" y="37"/>
                    </a:lnTo>
                    <a:lnTo>
                      <a:pt x="405" y="37"/>
                    </a:lnTo>
                    <a:lnTo>
                      <a:pt x="401" y="37"/>
                    </a:lnTo>
                    <a:lnTo>
                      <a:pt x="400" y="40"/>
                    </a:lnTo>
                    <a:lnTo>
                      <a:pt x="400" y="4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30" name="Turkmenistan">
                <a:extLst>
                  <a:ext uri="{FF2B5EF4-FFF2-40B4-BE49-F238E27FC236}">
                    <a16:creationId xmlns:a16="http://schemas.microsoft.com/office/drawing/2014/main" id="{BC6586B9-F085-034A-81A1-9D39EEE2D559}"/>
                  </a:ext>
                </a:extLst>
              </p:cNvPr>
              <p:cNvSpPr>
                <a:spLocks/>
              </p:cNvSpPr>
              <p:nvPr/>
            </p:nvSpPr>
            <p:spPr bwMode="auto">
              <a:xfrm>
                <a:off x="5569374" y="3225058"/>
                <a:ext cx="334431" cy="211609"/>
              </a:xfrm>
              <a:custGeom>
                <a:avLst/>
                <a:gdLst/>
                <a:ahLst/>
                <a:cxnLst>
                  <a:cxn ang="0">
                    <a:pos x="214" y="86"/>
                  </a:cxn>
                  <a:cxn ang="0">
                    <a:pos x="203" y="81"/>
                  </a:cxn>
                  <a:cxn ang="0">
                    <a:pos x="183" y="70"/>
                  </a:cxn>
                  <a:cxn ang="0">
                    <a:pos x="172" y="60"/>
                  </a:cxn>
                  <a:cxn ang="0">
                    <a:pos x="159" y="52"/>
                  </a:cxn>
                  <a:cxn ang="0">
                    <a:pos x="149" y="32"/>
                  </a:cxn>
                  <a:cxn ang="0">
                    <a:pos x="132" y="27"/>
                  </a:cxn>
                  <a:cxn ang="0">
                    <a:pos x="122" y="26"/>
                  </a:cxn>
                  <a:cxn ang="0">
                    <a:pos x="116" y="9"/>
                  </a:cxn>
                  <a:cxn ang="0">
                    <a:pos x="103" y="5"/>
                  </a:cxn>
                  <a:cxn ang="0">
                    <a:pos x="92" y="2"/>
                  </a:cxn>
                  <a:cxn ang="0">
                    <a:pos x="85" y="6"/>
                  </a:cxn>
                  <a:cxn ang="0">
                    <a:pos x="81" y="10"/>
                  </a:cxn>
                  <a:cxn ang="0">
                    <a:pos x="69" y="19"/>
                  </a:cxn>
                  <a:cxn ang="0">
                    <a:pos x="64" y="27"/>
                  </a:cxn>
                  <a:cxn ang="0">
                    <a:pos x="52" y="25"/>
                  </a:cxn>
                  <a:cxn ang="0">
                    <a:pos x="41" y="22"/>
                  </a:cxn>
                  <a:cxn ang="0">
                    <a:pos x="25" y="7"/>
                  </a:cxn>
                  <a:cxn ang="0">
                    <a:pos x="10" y="7"/>
                  </a:cxn>
                  <a:cxn ang="0">
                    <a:pos x="4" y="15"/>
                  </a:cxn>
                  <a:cxn ang="0">
                    <a:pos x="12" y="12"/>
                  </a:cxn>
                  <a:cxn ang="0">
                    <a:pos x="21" y="25"/>
                  </a:cxn>
                  <a:cxn ang="0">
                    <a:pos x="28" y="29"/>
                  </a:cxn>
                  <a:cxn ang="0">
                    <a:pos x="32" y="36"/>
                  </a:cxn>
                  <a:cxn ang="0">
                    <a:pos x="20" y="40"/>
                  </a:cxn>
                  <a:cxn ang="0">
                    <a:pos x="2" y="36"/>
                  </a:cxn>
                  <a:cxn ang="0">
                    <a:pos x="0" y="44"/>
                  </a:cxn>
                  <a:cxn ang="0">
                    <a:pos x="4" y="53"/>
                  </a:cxn>
                  <a:cxn ang="0">
                    <a:pos x="5" y="63"/>
                  </a:cxn>
                  <a:cxn ang="0">
                    <a:pos x="7" y="64"/>
                  </a:cxn>
                  <a:cxn ang="0">
                    <a:pos x="14" y="67"/>
                  </a:cxn>
                  <a:cxn ang="0">
                    <a:pos x="18" y="80"/>
                  </a:cxn>
                  <a:cxn ang="0">
                    <a:pos x="18" y="101"/>
                  </a:cxn>
                  <a:cxn ang="0">
                    <a:pos x="31" y="99"/>
                  </a:cxn>
                  <a:cxn ang="0">
                    <a:pos x="45" y="89"/>
                  </a:cxn>
                  <a:cxn ang="0">
                    <a:pos x="56" y="87"/>
                  </a:cxn>
                  <a:cxn ang="0">
                    <a:pos x="75" y="87"/>
                  </a:cxn>
                  <a:cxn ang="0">
                    <a:pos x="86" y="93"/>
                  </a:cxn>
                  <a:cxn ang="0">
                    <a:pos x="91" y="96"/>
                  </a:cxn>
                  <a:cxn ang="0">
                    <a:pos x="106" y="99"/>
                  </a:cxn>
                  <a:cxn ang="0">
                    <a:pos x="111" y="104"/>
                  </a:cxn>
                  <a:cxn ang="0">
                    <a:pos x="118" y="108"/>
                  </a:cxn>
                  <a:cxn ang="0">
                    <a:pos x="126" y="116"/>
                  </a:cxn>
                  <a:cxn ang="0">
                    <a:pos x="138" y="117"/>
                  </a:cxn>
                  <a:cxn ang="0">
                    <a:pos x="142" y="137"/>
                  </a:cxn>
                  <a:cxn ang="0">
                    <a:pos x="153" y="138"/>
                  </a:cxn>
                  <a:cxn ang="0">
                    <a:pos x="157" y="143"/>
                  </a:cxn>
                  <a:cxn ang="0">
                    <a:pos x="169" y="134"/>
                  </a:cxn>
                  <a:cxn ang="0">
                    <a:pos x="179" y="128"/>
                  </a:cxn>
                  <a:cxn ang="0">
                    <a:pos x="192" y="121"/>
                  </a:cxn>
                  <a:cxn ang="0">
                    <a:pos x="202" y="106"/>
                  </a:cxn>
                  <a:cxn ang="0">
                    <a:pos x="207" y="103"/>
                  </a:cxn>
                  <a:cxn ang="0">
                    <a:pos x="220" y="100"/>
                  </a:cxn>
                </a:cxnLst>
                <a:rect l="0" t="0" r="r" b="b"/>
                <a:pathLst>
                  <a:path w="226" h="143">
                    <a:moveTo>
                      <a:pt x="224" y="90"/>
                    </a:moveTo>
                    <a:lnTo>
                      <a:pt x="224" y="90"/>
                    </a:lnTo>
                    <a:lnTo>
                      <a:pt x="219" y="87"/>
                    </a:lnTo>
                    <a:lnTo>
                      <a:pt x="214" y="86"/>
                    </a:lnTo>
                    <a:lnTo>
                      <a:pt x="210" y="86"/>
                    </a:lnTo>
                    <a:lnTo>
                      <a:pt x="210" y="86"/>
                    </a:lnTo>
                    <a:lnTo>
                      <a:pt x="207" y="84"/>
                    </a:lnTo>
                    <a:lnTo>
                      <a:pt x="203" y="81"/>
                    </a:lnTo>
                    <a:lnTo>
                      <a:pt x="199" y="77"/>
                    </a:lnTo>
                    <a:lnTo>
                      <a:pt x="194" y="74"/>
                    </a:lnTo>
                    <a:lnTo>
                      <a:pt x="194" y="74"/>
                    </a:lnTo>
                    <a:lnTo>
                      <a:pt x="183" y="70"/>
                    </a:lnTo>
                    <a:lnTo>
                      <a:pt x="179" y="67"/>
                    </a:lnTo>
                    <a:lnTo>
                      <a:pt x="176" y="64"/>
                    </a:lnTo>
                    <a:lnTo>
                      <a:pt x="176" y="64"/>
                    </a:lnTo>
                    <a:lnTo>
                      <a:pt x="172" y="60"/>
                    </a:lnTo>
                    <a:lnTo>
                      <a:pt x="166" y="57"/>
                    </a:lnTo>
                    <a:lnTo>
                      <a:pt x="162" y="54"/>
                    </a:lnTo>
                    <a:lnTo>
                      <a:pt x="159" y="52"/>
                    </a:lnTo>
                    <a:lnTo>
                      <a:pt x="159" y="52"/>
                    </a:lnTo>
                    <a:lnTo>
                      <a:pt x="156" y="46"/>
                    </a:lnTo>
                    <a:lnTo>
                      <a:pt x="152" y="39"/>
                    </a:lnTo>
                    <a:lnTo>
                      <a:pt x="152" y="39"/>
                    </a:lnTo>
                    <a:lnTo>
                      <a:pt x="149" y="32"/>
                    </a:lnTo>
                    <a:lnTo>
                      <a:pt x="148" y="29"/>
                    </a:lnTo>
                    <a:lnTo>
                      <a:pt x="146" y="29"/>
                    </a:lnTo>
                    <a:lnTo>
                      <a:pt x="146" y="29"/>
                    </a:lnTo>
                    <a:lnTo>
                      <a:pt x="132" y="27"/>
                    </a:lnTo>
                    <a:lnTo>
                      <a:pt x="125" y="27"/>
                    </a:lnTo>
                    <a:lnTo>
                      <a:pt x="122" y="26"/>
                    </a:lnTo>
                    <a:lnTo>
                      <a:pt x="122" y="26"/>
                    </a:lnTo>
                    <a:lnTo>
                      <a:pt x="122" y="26"/>
                    </a:lnTo>
                    <a:lnTo>
                      <a:pt x="121" y="16"/>
                    </a:lnTo>
                    <a:lnTo>
                      <a:pt x="119" y="10"/>
                    </a:lnTo>
                    <a:lnTo>
                      <a:pt x="118" y="9"/>
                    </a:lnTo>
                    <a:lnTo>
                      <a:pt x="116" y="9"/>
                    </a:lnTo>
                    <a:lnTo>
                      <a:pt x="116" y="9"/>
                    </a:lnTo>
                    <a:lnTo>
                      <a:pt x="109" y="6"/>
                    </a:lnTo>
                    <a:lnTo>
                      <a:pt x="103" y="5"/>
                    </a:lnTo>
                    <a:lnTo>
                      <a:pt x="103" y="5"/>
                    </a:lnTo>
                    <a:lnTo>
                      <a:pt x="98" y="0"/>
                    </a:lnTo>
                    <a:lnTo>
                      <a:pt x="95" y="0"/>
                    </a:lnTo>
                    <a:lnTo>
                      <a:pt x="92" y="2"/>
                    </a:lnTo>
                    <a:lnTo>
                      <a:pt x="92" y="2"/>
                    </a:lnTo>
                    <a:lnTo>
                      <a:pt x="89" y="3"/>
                    </a:lnTo>
                    <a:lnTo>
                      <a:pt x="86" y="5"/>
                    </a:lnTo>
                    <a:lnTo>
                      <a:pt x="86" y="5"/>
                    </a:lnTo>
                    <a:lnTo>
                      <a:pt x="85" y="6"/>
                    </a:lnTo>
                    <a:lnTo>
                      <a:pt x="84" y="7"/>
                    </a:lnTo>
                    <a:lnTo>
                      <a:pt x="82" y="10"/>
                    </a:lnTo>
                    <a:lnTo>
                      <a:pt x="81" y="10"/>
                    </a:lnTo>
                    <a:lnTo>
                      <a:pt x="81" y="10"/>
                    </a:lnTo>
                    <a:lnTo>
                      <a:pt x="76" y="12"/>
                    </a:lnTo>
                    <a:lnTo>
                      <a:pt x="72" y="13"/>
                    </a:lnTo>
                    <a:lnTo>
                      <a:pt x="69" y="16"/>
                    </a:lnTo>
                    <a:lnTo>
                      <a:pt x="69" y="19"/>
                    </a:lnTo>
                    <a:lnTo>
                      <a:pt x="69" y="19"/>
                    </a:lnTo>
                    <a:lnTo>
                      <a:pt x="68" y="25"/>
                    </a:lnTo>
                    <a:lnTo>
                      <a:pt x="66" y="26"/>
                    </a:lnTo>
                    <a:lnTo>
                      <a:pt x="64" y="27"/>
                    </a:lnTo>
                    <a:lnTo>
                      <a:pt x="64" y="27"/>
                    </a:lnTo>
                    <a:lnTo>
                      <a:pt x="58" y="26"/>
                    </a:lnTo>
                    <a:lnTo>
                      <a:pt x="52" y="25"/>
                    </a:lnTo>
                    <a:lnTo>
                      <a:pt x="52" y="25"/>
                    </a:lnTo>
                    <a:lnTo>
                      <a:pt x="51" y="25"/>
                    </a:lnTo>
                    <a:lnTo>
                      <a:pt x="48" y="26"/>
                    </a:lnTo>
                    <a:lnTo>
                      <a:pt x="44" y="25"/>
                    </a:lnTo>
                    <a:lnTo>
                      <a:pt x="41" y="22"/>
                    </a:lnTo>
                    <a:lnTo>
                      <a:pt x="41" y="22"/>
                    </a:lnTo>
                    <a:lnTo>
                      <a:pt x="35" y="16"/>
                    </a:lnTo>
                    <a:lnTo>
                      <a:pt x="31" y="10"/>
                    </a:lnTo>
                    <a:lnTo>
                      <a:pt x="25" y="7"/>
                    </a:lnTo>
                    <a:lnTo>
                      <a:pt x="21" y="6"/>
                    </a:lnTo>
                    <a:lnTo>
                      <a:pt x="21" y="6"/>
                    </a:lnTo>
                    <a:lnTo>
                      <a:pt x="15" y="6"/>
                    </a:lnTo>
                    <a:lnTo>
                      <a:pt x="10" y="7"/>
                    </a:lnTo>
                    <a:lnTo>
                      <a:pt x="7" y="9"/>
                    </a:lnTo>
                    <a:lnTo>
                      <a:pt x="5" y="10"/>
                    </a:lnTo>
                    <a:lnTo>
                      <a:pt x="4" y="12"/>
                    </a:lnTo>
                    <a:lnTo>
                      <a:pt x="4" y="15"/>
                    </a:lnTo>
                    <a:lnTo>
                      <a:pt x="4" y="15"/>
                    </a:lnTo>
                    <a:lnTo>
                      <a:pt x="7" y="13"/>
                    </a:lnTo>
                    <a:lnTo>
                      <a:pt x="12" y="12"/>
                    </a:lnTo>
                    <a:lnTo>
                      <a:pt x="12" y="12"/>
                    </a:lnTo>
                    <a:lnTo>
                      <a:pt x="15" y="13"/>
                    </a:lnTo>
                    <a:lnTo>
                      <a:pt x="18" y="15"/>
                    </a:lnTo>
                    <a:lnTo>
                      <a:pt x="20" y="20"/>
                    </a:lnTo>
                    <a:lnTo>
                      <a:pt x="21" y="25"/>
                    </a:lnTo>
                    <a:lnTo>
                      <a:pt x="22" y="26"/>
                    </a:lnTo>
                    <a:lnTo>
                      <a:pt x="24" y="27"/>
                    </a:lnTo>
                    <a:lnTo>
                      <a:pt x="24" y="27"/>
                    </a:lnTo>
                    <a:lnTo>
                      <a:pt x="28" y="29"/>
                    </a:lnTo>
                    <a:lnTo>
                      <a:pt x="32" y="32"/>
                    </a:lnTo>
                    <a:lnTo>
                      <a:pt x="34" y="34"/>
                    </a:lnTo>
                    <a:lnTo>
                      <a:pt x="34" y="36"/>
                    </a:lnTo>
                    <a:lnTo>
                      <a:pt x="32" y="36"/>
                    </a:lnTo>
                    <a:lnTo>
                      <a:pt x="32" y="36"/>
                    </a:lnTo>
                    <a:lnTo>
                      <a:pt x="28" y="37"/>
                    </a:lnTo>
                    <a:lnTo>
                      <a:pt x="24" y="39"/>
                    </a:lnTo>
                    <a:lnTo>
                      <a:pt x="20" y="40"/>
                    </a:lnTo>
                    <a:lnTo>
                      <a:pt x="15" y="40"/>
                    </a:lnTo>
                    <a:lnTo>
                      <a:pt x="15" y="40"/>
                    </a:lnTo>
                    <a:lnTo>
                      <a:pt x="7" y="36"/>
                    </a:lnTo>
                    <a:lnTo>
                      <a:pt x="2" y="36"/>
                    </a:lnTo>
                    <a:lnTo>
                      <a:pt x="2" y="37"/>
                    </a:lnTo>
                    <a:lnTo>
                      <a:pt x="1" y="40"/>
                    </a:lnTo>
                    <a:lnTo>
                      <a:pt x="1" y="40"/>
                    </a:lnTo>
                    <a:lnTo>
                      <a:pt x="0" y="44"/>
                    </a:lnTo>
                    <a:lnTo>
                      <a:pt x="0" y="49"/>
                    </a:lnTo>
                    <a:lnTo>
                      <a:pt x="0" y="52"/>
                    </a:lnTo>
                    <a:lnTo>
                      <a:pt x="4" y="53"/>
                    </a:lnTo>
                    <a:lnTo>
                      <a:pt x="4" y="53"/>
                    </a:lnTo>
                    <a:lnTo>
                      <a:pt x="8" y="53"/>
                    </a:lnTo>
                    <a:lnTo>
                      <a:pt x="10" y="56"/>
                    </a:lnTo>
                    <a:lnTo>
                      <a:pt x="8" y="59"/>
                    </a:lnTo>
                    <a:lnTo>
                      <a:pt x="5" y="63"/>
                    </a:lnTo>
                    <a:lnTo>
                      <a:pt x="5" y="63"/>
                    </a:lnTo>
                    <a:lnTo>
                      <a:pt x="4" y="64"/>
                    </a:lnTo>
                    <a:lnTo>
                      <a:pt x="4" y="64"/>
                    </a:lnTo>
                    <a:lnTo>
                      <a:pt x="7" y="64"/>
                    </a:lnTo>
                    <a:lnTo>
                      <a:pt x="11" y="64"/>
                    </a:lnTo>
                    <a:lnTo>
                      <a:pt x="14" y="66"/>
                    </a:lnTo>
                    <a:lnTo>
                      <a:pt x="14" y="67"/>
                    </a:lnTo>
                    <a:lnTo>
                      <a:pt x="14" y="67"/>
                    </a:lnTo>
                    <a:lnTo>
                      <a:pt x="15" y="70"/>
                    </a:lnTo>
                    <a:lnTo>
                      <a:pt x="17" y="71"/>
                    </a:lnTo>
                    <a:lnTo>
                      <a:pt x="18" y="74"/>
                    </a:lnTo>
                    <a:lnTo>
                      <a:pt x="18" y="80"/>
                    </a:lnTo>
                    <a:lnTo>
                      <a:pt x="18" y="80"/>
                    </a:lnTo>
                    <a:lnTo>
                      <a:pt x="17" y="90"/>
                    </a:lnTo>
                    <a:lnTo>
                      <a:pt x="18" y="101"/>
                    </a:lnTo>
                    <a:lnTo>
                      <a:pt x="18" y="101"/>
                    </a:lnTo>
                    <a:lnTo>
                      <a:pt x="25" y="100"/>
                    </a:lnTo>
                    <a:lnTo>
                      <a:pt x="28" y="100"/>
                    </a:lnTo>
                    <a:lnTo>
                      <a:pt x="31" y="99"/>
                    </a:lnTo>
                    <a:lnTo>
                      <a:pt x="31" y="99"/>
                    </a:lnTo>
                    <a:lnTo>
                      <a:pt x="37" y="93"/>
                    </a:lnTo>
                    <a:lnTo>
                      <a:pt x="41" y="90"/>
                    </a:lnTo>
                    <a:lnTo>
                      <a:pt x="45" y="89"/>
                    </a:lnTo>
                    <a:lnTo>
                      <a:pt x="45" y="89"/>
                    </a:lnTo>
                    <a:lnTo>
                      <a:pt x="51" y="89"/>
                    </a:lnTo>
                    <a:lnTo>
                      <a:pt x="54" y="89"/>
                    </a:lnTo>
                    <a:lnTo>
                      <a:pt x="56" y="87"/>
                    </a:lnTo>
                    <a:lnTo>
                      <a:pt x="56" y="87"/>
                    </a:lnTo>
                    <a:lnTo>
                      <a:pt x="59" y="86"/>
                    </a:lnTo>
                    <a:lnTo>
                      <a:pt x="65" y="84"/>
                    </a:lnTo>
                    <a:lnTo>
                      <a:pt x="71" y="86"/>
                    </a:lnTo>
                    <a:lnTo>
                      <a:pt x="75" y="87"/>
                    </a:lnTo>
                    <a:lnTo>
                      <a:pt x="75" y="87"/>
                    </a:lnTo>
                    <a:lnTo>
                      <a:pt x="78" y="90"/>
                    </a:lnTo>
                    <a:lnTo>
                      <a:pt x="81" y="91"/>
                    </a:lnTo>
                    <a:lnTo>
                      <a:pt x="86" y="93"/>
                    </a:lnTo>
                    <a:lnTo>
                      <a:pt x="86" y="93"/>
                    </a:lnTo>
                    <a:lnTo>
                      <a:pt x="88" y="93"/>
                    </a:lnTo>
                    <a:lnTo>
                      <a:pt x="89" y="94"/>
                    </a:lnTo>
                    <a:lnTo>
                      <a:pt x="91" y="96"/>
                    </a:lnTo>
                    <a:lnTo>
                      <a:pt x="95" y="97"/>
                    </a:lnTo>
                    <a:lnTo>
                      <a:pt x="95" y="97"/>
                    </a:lnTo>
                    <a:lnTo>
                      <a:pt x="103" y="97"/>
                    </a:lnTo>
                    <a:lnTo>
                      <a:pt x="106" y="99"/>
                    </a:lnTo>
                    <a:lnTo>
                      <a:pt x="108" y="101"/>
                    </a:lnTo>
                    <a:lnTo>
                      <a:pt x="108" y="101"/>
                    </a:lnTo>
                    <a:lnTo>
                      <a:pt x="109" y="103"/>
                    </a:lnTo>
                    <a:lnTo>
                      <a:pt x="111" y="104"/>
                    </a:lnTo>
                    <a:lnTo>
                      <a:pt x="112" y="106"/>
                    </a:lnTo>
                    <a:lnTo>
                      <a:pt x="115" y="107"/>
                    </a:lnTo>
                    <a:lnTo>
                      <a:pt x="115" y="107"/>
                    </a:lnTo>
                    <a:lnTo>
                      <a:pt x="118" y="108"/>
                    </a:lnTo>
                    <a:lnTo>
                      <a:pt x="121" y="111"/>
                    </a:lnTo>
                    <a:lnTo>
                      <a:pt x="123" y="114"/>
                    </a:lnTo>
                    <a:lnTo>
                      <a:pt x="126" y="116"/>
                    </a:lnTo>
                    <a:lnTo>
                      <a:pt x="126" y="116"/>
                    </a:lnTo>
                    <a:lnTo>
                      <a:pt x="133" y="116"/>
                    </a:lnTo>
                    <a:lnTo>
                      <a:pt x="136" y="116"/>
                    </a:lnTo>
                    <a:lnTo>
                      <a:pt x="138" y="117"/>
                    </a:lnTo>
                    <a:lnTo>
                      <a:pt x="138" y="117"/>
                    </a:lnTo>
                    <a:lnTo>
                      <a:pt x="138" y="126"/>
                    </a:lnTo>
                    <a:lnTo>
                      <a:pt x="140" y="137"/>
                    </a:lnTo>
                    <a:lnTo>
                      <a:pt x="140" y="137"/>
                    </a:lnTo>
                    <a:lnTo>
                      <a:pt x="142" y="137"/>
                    </a:lnTo>
                    <a:lnTo>
                      <a:pt x="143" y="137"/>
                    </a:lnTo>
                    <a:lnTo>
                      <a:pt x="143" y="137"/>
                    </a:lnTo>
                    <a:lnTo>
                      <a:pt x="149" y="137"/>
                    </a:lnTo>
                    <a:lnTo>
                      <a:pt x="153" y="138"/>
                    </a:lnTo>
                    <a:lnTo>
                      <a:pt x="155" y="140"/>
                    </a:lnTo>
                    <a:lnTo>
                      <a:pt x="155" y="140"/>
                    </a:lnTo>
                    <a:lnTo>
                      <a:pt x="156" y="141"/>
                    </a:lnTo>
                    <a:lnTo>
                      <a:pt x="157" y="143"/>
                    </a:lnTo>
                    <a:lnTo>
                      <a:pt x="163" y="141"/>
                    </a:lnTo>
                    <a:lnTo>
                      <a:pt x="167" y="140"/>
                    </a:lnTo>
                    <a:lnTo>
                      <a:pt x="169" y="137"/>
                    </a:lnTo>
                    <a:lnTo>
                      <a:pt x="169" y="134"/>
                    </a:lnTo>
                    <a:lnTo>
                      <a:pt x="169" y="134"/>
                    </a:lnTo>
                    <a:lnTo>
                      <a:pt x="170" y="133"/>
                    </a:lnTo>
                    <a:lnTo>
                      <a:pt x="172" y="131"/>
                    </a:lnTo>
                    <a:lnTo>
                      <a:pt x="179" y="128"/>
                    </a:lnTo>
                    <a:lnTo>
                      <a:pt x="187" y="126"/>
                    </a:lnTo>
                    <a:lnTo>
                      <a:pt x="190" y="124"/>
                    </a:lnTo>
                    <a:lnTo>
                      <a:pt x="192" y="121"/>
                    </a:lnTo>
                    <a:lnTo>
                      <a:pt x="192" y="121"/>
                    </a:lnTo>
                    <a:lnTo>
                      <a:pt x="196" y="110"/>
                    </a:lnTo>
                    <a:lnTo>
                      <a:pt x="197" y="107"/>
                    </a:lnTo>
                    <a:lnTo>
                      <a:pt x="200" y="106"/>
                    </a:lnTo>
                    <a:lnTo>
                      <a:pt x="202" y="106"/>
                    </a:lnTo>
                    <a:lnTo>
                      <a:pt x="202" y="106"/>
                    </a:lnTo>
                    <a:lnTo>
                      <a:pt x="203" y="106"/>
                    </a:lnTo>
                    <a:lnTo>
                      <a:pt x="204" y="106"/>
                    </a:lnTo>
                    <a:lnTo>
                      <a:pt x="207" y="103"/>
                    </a:lnTo>
                    <a:lnTo>
                      <a:pt x="210" y="100"/>
                    </a:lnTo>
                    <a:lnTo>
                      <a:pt x="214" y="99"/>
                    </a:lnTo>
                    <a:lnTo>
                      <a:pt x="214" y="99"/>
                    </a:lnTo>
                    <a:lnTo>
                      <a:pt x="220" y="100"/>
                    </a:lnTo>
                    <a:lnTo>
                      <a:pt x="223" y="101"/>
                    </a:lnTo>
                    <a:lnTo>
                      <a:pt x="226" y="101"/>
                    </a:lnTo>
                    <a:lnTo>
                      <a:pt x="224" y="9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1" name="Kasakhstan">
                <a:extLst>
                  <a:ext uri="{FF2B5EF4-FFF2-40B4-BE49-F238E27FC236}">
                    <a16:creationId xmlns:a16="http://schemas.microsoft.com/office/drawing/2014/main" id="{6D2CFFC8-8D9C-AE42-9184-018E6BEFF1ED}"/>
                  </a:ext>
                </a:extLst>
              </p:cNvPr>
              <p:cNvSpPr>
                <a:spLocks noEditPoints="1"/>
              </p:cNvSpPr>
              <p:nvPr/>
            </p:nvSpPr>
            <p:spPr bwMode="auto">
              <a:xfrm>
                <a:off x="5419917" y="2834395"/>
                <a:ext cx="966299" cy="448375"/>
              </a:xfrm>
              <a:custGeom>
                <a:avLst/>
                <a:gdLst/>
                <a:ahLst/>
                <a:cxnLst>
                  <a:cxn ang="0">
                    <a:pos x="626" y="124"/>
                  </a:cxn>
                  <a:cxn ang="0">
                    <a:pos x="608" y="105"/>
                  </a:cxn>
                  <a:cxn ang="0">
                    <a:pos x="574" y="101"/>
                  </a:cxn>
                  <a:cxn ang="0">
                    <a:pos x="544" y="99"/>
                  </a:cxn>
                  <a:cxn ang="0">
                    <a:pos x="499" y="37"/>
                  </a:cxn>
                  <a:cxn ang="0">
                    <a:pos x="483" y="23"/>
                  </a:cxn>
                  <a:cxn ang="0">
                    <a:pos x="448" y="38"/>
                  </a:cxn>
                  <a:cxn ang="0">
                    <a:pos x="445" y="31"/>
                  </a:cxn>
                  <a:cxn ang="0">
                    <a:pos x="426" y="31"/>
                  </a:cxn>
                  <a:cxn ang="0">
                    <a:pos x="406" y="27"/>
                  </a:cxn>
                  <a:cxn ang="0">
                    <a:pos x="402" y="8"/>
                  </a:cxn>
                  <a:cxn ang="0">
                    <a:pos x="369" y="0"/>
                  </a:cxn>
                  <a:cxn ang="0">
                    <a:pos x="314" y="17"/>
                  </a:cxn>
                  <a:cxn ang="0">
                    <a:pos x="258" y="28"/>
                  </a:cxn>
                  <a:cxn ang="0">
                    <a:pos x="241" y="42"/>
                  </a:cxn>
                  <a:cxn ang="0">
                    <a:pos x="236" y="55"/>
                  </a:cxn>
                  <a:cxn ang="0">
                    <a:pos x="227" y="81"/>
                  </a:cxn>
                  <a:cxn ang="0">
                    <a:pos x="244" y="99"/>
                  </a:cxn>
                  <a:cxn ang="0">
                    <a:pos x="219" y="104"/>
                  </a:cxn>
                  <a:cxn ang="0">
                    <a:pos x="199" y="95"/>
                  </a:cxn>
                  <a:cxn ang="0">
                    <a:pos x="166" y="94"/>
                  </a:cxn>
                  <a:cxn ang="0">
                    <a:pos x="135" y="99"/>
                  </a:cxn>
                  <a:cxn ang="0">
                    <a:pos x="112" y="85"/>
                  </a:cxn>
                  <a:cxn ang="0">
                    <a:pos x="84" y="84"/>
                  </a:cxn>
                  <a:cxn ang="0">
                    <a:pos x="47" y="94"/>
                  </a:cxn>
                  <a:cxn ang="0">
                    <a:pos x="35" y="118"/>
                  </a:cxn>
                  <a:cxn ang="0">
                    <a:pos x="12" y="114"/>
                  </a:cxn>
                  <a:cxn ang="0">
                    <a:pos x="10" y="131"/>
                  </a:cxn>
                  <a:cxn ang="0">
                    <a:pos x="8" y="149"/>
                  </a:cxn>
                  <a:cxn ang="0">
                    <a:pos x="28" y="163"/>
                  </a:cxn>
                  <a:cxn ang="0">
                    <a:pos x="39" y="189"/>
                  </a:cxn>
                  <a:cxn ang="0">
                    <a:pos x="95" y="180"/>
                  </a:cxn>
                  <a:cxn ang="0">
                    <a:pos x="108" y="209"/>
                  </a:cxn>
                  <a:cxn ang="0">
                    <a:pos x="72" y="219"/>
                  </a:cxn>
                  <a:cxn ang="0">
                    <a:pos x="59" y="233"/>
                  </a:cxn>
                  <a:cxn ang="0">
                    <a:pos x="79" y="256"/>
                  </a:cxn>
                  <a:cxn ang="0">
                    <a:pos x="98" y="270"/>
                  </a:cxn>
                  <a:cxn ang="0">
                    <a:pos x="105" y="276"/>
                  </a:cxn>
                  <a:cxn ang="0">
                    <a:pos x="142" y="286"/>
                  </a:cxn>
                  <a:cxn ang="0">
                    <a:pos x="200" y="200"/>
                  </a:cxn>
                  <a:cxn ang="0">
                    <a:pos x="219" y="196"/>
                  </a:cxn>
                  <a:cxn ang="0">
                    <a:pos x="230" y="227"/>
                  </a:cxn>
                  <a:cxn ang="0">
                    <a:pos x="286" y="247"/>
                  </a:cxn>
                  <a:cxn ang="0">
                    <a:pos x="318" y="271"/>
                  </a:cxn>
                  <a:cxn ang="0">
                    <a:pos x="350" y="296"/>
                  </a:cxn>
                  <a:cxn ang="0">
                    <a:pos x="372" y="289"/>
                  </a:cxn>
                  <a:cxn ang="0">
                    <a:pos x="404" y="264"/>
                  </a:cxn>
                  <a:cxn ang="0">
                    <a:pos x="439" y="261"/>
                  </a:cxn>
                  <a:cxn ang="0">
                    <a:pos x="478" y="261"/>
                  </a:cxn>
                  <a:cxn ang="0">
                    <a:pos x="540" y="271"/>
                  </a:cxn>
                  <a:cxn ang="0">
                    <a:pos x="554" y="252"/>
                  </a:cxn>
                  <a:cxn ang="0">
                    <a:pos x="547" y="219"/>
                  </a:cxn>
                  <a:cxn ang="0">
                    <a:pos x="583" y="216"/>
                  </a:cxn>
                  <a:cxn ang="0">
                    <a:pos x="594" y="175"/>
                  </a:cxn>
                  <a:cxn ang="0">
                    <a:pos x="631" y="175"/>
                  </a:cxn>
                  <a:cxn ang="0">
                    <a:pos x="643" y="148"/>
                  </a:cxn>
                  <a:cxn ang="0">
                    <a:pos x="648" y="124"/>
                  </a:cxn>
                  <a:cxn ang="0">
                    <a:pos x="233" y="186"/>
                  </a:cxn>
                  <a:cxn ang="0">
                    <a:pos x="463" y="193"/>
                  </a:cxn>
                  <a:cxn ang="0">
                    <a:pos x="445" y="216"/>
                  </a:cxn>
                  <a:cxn ang="0">
                    <a:pos x="489" y="186"/>
                  </a:cxn>
                  <a:cxn ang="0">
                    <a:pos x="512" y="192"/>
                  </a:cxn>
                </a:cxnLst>
                <a:rect l="0" t="0" r="r" b="b"/>
                <a:pathLst>
                  <a:path w="653" h="303">
                    <a:moveTo>
                      <a:pt x="648" y="124"/>
                    </a:moveTo>
                    <a:lnTo>
                      <a:pt x="648" y="124"/>
                    </a:lnTo>
                    <a:lnTo>
                      <a:pt x="648" y="122"/>
                    </a:lnTo>
                    <a:lnTo>
                      <a:pt x="647" y="122"/>
                    </a:lnTo>
                    <a:lnTo>
                      <a:pt x="643" y="124"/>
                    </a:lnTo>
                    <a:lnTo>
                      <a:pt x="643" y="124"/>
                    </a:lnTo>
                    <a:lnTo>
                      <a:pt x="637" y="125"/>
                    </a:lnTo>
                    <a:lnTo>
                      <a:pt x="630" y="126"/>
                    </a:lnTo>
                    <a:lnTo>
                      <a:pt x="630" y="126"/>
                    </a:lnTo>
                    <a:lnTo>
                      <a:pt x="627" y="125"/>
                    </a:lnTo>
                    <a:lnTo>
                      <a:pt x="626" y="124"/>
                    </a:lnTo>
                    <a:lnTo>
                      <a:pt x="623" y="121"/>
                    </a:lnTo>
                    <a:lnTo>
                      <a:pt x="623" y="119"/>
                    </a:lnTo>
                    <a:lnTo>
                      <a:pt x="623" y="119"/>
                    </a:lnTo>
                    <a:lnTo>
                      <a:pt x="621" y="115"/>
                    </a:lnTo>
                    <a:lnTo>
                      <a:pt x="620" y="114"/>
                    </a:lnTo>
                    <a:lnTo>
                      <a:pt x="618" y="114"/>
                    </a:lnTo>
                    <a:lnTo>
                      <a:pt x="618" y="114"/>
                    </a:lnTo>
                    <a:lnTo>
                      <a:pt x="616" y="112"/>
                    </a:lnTo>
                    <a:lnTo>
                      <a:pt x="614" y="112"/>
                    </a:lnTo>
                    <a:lnTo>
                      <a:pt x="611" y="109"/>
                    </a:lnTo>
                    <a:lnTo>
                      <a:pt x="608" y="105"/>
                    </a:lnTo>
                    <a:lnTo>
                      <a:pt x="608" y="105"/>
                    </a:lnTo>
                    <a:lnTo>
                      <a:pt x="606" y="101"/>
                    </a:lnTo>
                    <a:lnTo>
                      <a:pt x="604" y="99"/>
                    </a:lnTo>
                    <a:lnTo>
                      <a:pt x="598" y="96"/>
                    </a:lnTo>
                    <a:lnTo>
                      <a:pt x="598" y="96"/>
                    </a:lnTo>
                    <a:lnTo>
                      <a:pt x="596" y="96"/>
                    </a:lnTo>
                    <a:lnTo>
                      <a:pt x="590" y="98"/>
                    </a:lnTo>
                    <a:lnTo>
                      <a:pt x="583" y="101"/>
                    </a:lnTo>
                    <a:lnTo>
                      <a:pt x="583" y="101"/>
                    </a:lnTo>
                    <a:lnTo>
                      <a:pt x="579" y="101"/>
                    </a:lnTo>
                    <a:lnTo>
                      <a:pt x="574" y="101"/>
                    </a:lnTo>
                    <a:lnTo>
                      <a:pt x="567" y="98"/>
                    </a:lnTo>
                    <a:lnTo>
                      <a:pt x="567" y="98"/>
                    </a:lnTo>
                    <a:lnTo>
                      <a:pt x="563" y="96"/>
                    </a:lnTo>
                    <a:lnTo>
                      <a:pt x="560" y="94"/>
                    </a:lnTo>
                    <a:lnTo>
                      <a:pt x="557" y="91"/>
                    </a:lnTo>
                    <a:lnTo>
                      <a:pt x="554" y="89"/>
                    </a:lnTo>
                    <a:lnTo>
                      <a:pt x="554" y="89"/>
                    </a:lnTo>
                    <a:lnTo>
                      <a:pt x="552" y="92"/>
                    </a:lnTo>
                    <a:lnTo>
                      <a:pt x="549" y="95"/>
                    </a:lnTo>
                    <a:lnTo>
                      <a:pt x="547" y="98"/>
                    </a:lnTo>
                    <a:lnTo>
                      <a:pt x="544" y="99"/>
                    </a:lnTo>
                    <a:lnTo>
                      <a:pt x="544" y="99"/>
                    </a:lnTo>
                    <a:lnTo>
                      <a:pt x="543" y="99"/>
                    </a:lnTo>
                    <a:lnTo>
                      <a:pt x="542" y="96"/>
                    </a:lnTo>
                    <a:lnTo>
                      <a:pt x="537" y="89"/>
                    </a:lnTo>
                    <a:lnTo>
                      <a:pt x="533" y="79"/>
                    </a:lnTo>
                    <a:lnTo>
                      <a:pt x="529" y="71"/>
                    </a:lnTo>
                    <a:lnTo>
                      <a:pt x="529" y="71"/>
                    </a:lnTo>
                    <a:lnTo>
                      <a:pt x="515" y="51"/>
                    </a:lnTo>
                    <a:lnTo>
                      <a:pt x="507" y="42"/>
                    </a:lnTo>
                    <a:lnTo>
                      <a:pt x="503" y="38"/>
                    </a:lnTo>
                    <a:lnTo>
                      <a:pt x="499" y="37"/>
                    </a:lnTo>
                    <a:lnTo>
                      <a:pt x="499" y="37"/>
                    </a:lnTo>
                    <a:lnTo>
                      <a:pt x="493" y="32"/>
                    </a:lnTo>
                    <a:lnTo>
                      <a:pt x="492" y="30"/>
                    </a:lnTo>
                    <a:lnTo>
                      <a:pt x="492" y="27"/>
                    </a:lnTo>
                    <a:lnTo>
                      <a:pt x="495" y="24"/>
                    </a:lnTo>
                    <a:lnTo>
                      <a:pt x="495" y="24"/>
                    </a:lnTo>
                    <a:lnTo>
                      <a:pt x="495" y="23"/>
                    </a:lnTo>
                    <a:lnTo>
                      <a:pt x="495" y="23"/>
                    </a:lnTo>
                    <a:lnTo>
                      <a:pt x="492" y="21"/>
                    </a:lnTo>
                    <a:lnTo>
                      <a:pt x="488" y="23"/>
                    </a:lnTo>
                    <a:lnTo>
                      <a:pt x="483" y="23"/>
                    </a:lnTo>
                    <a:lnTo>
                      <a:pt x="483" y="23"/>
                    </a:lnTo>
                    <a:lnTo>
                      <a:pt x="476" y="28"/>
                    </a:lnTo>
                    <a:lnTo>
                      <a:pt x="473" y="30"/>
                    </a:lnTo>
                    <a:lnTo>
                      <a:pt x="469" y="31"/>
                    </a:lnTo>
                    <a:lnTo>
                      <a:pt x="469" y="31"/>
                    </a:lnTo>
                    <a:lnTo>
                      <a:pt x="465" y="32"/>
                    </a:lnTo>
                    <a:lnTo>
                      <a:pt x="460" y="35"/>
                    </a:lnTo>
                    <a:lnTo>
                      <a:pt x="456" y="38"/>
                    </a:lnTo>
                    <a:lnTo>
                      <a:pt x="452" y="38"/>
                    </a:lnTo>
                    <a:lnTo>
                      <a:pt x="452" y="38"/>
                    </a:lnTo>
                    <a:lnTo>
                      <a:pt x="448" y="38"/>
                    </a:lnTo>
                    <a:lnTo>
                      <a:pt x="445" y="41"/>
                    </a:lnTo>
                    <a:lnTo>
                      <a:pt x="442" y="42"/>
                    </a:lnTo>
                    <a:lnTo>
                      <a:pt x="441" y="42"/>
                    </a:lnTo>
                    <a:lnTo>
                      <a:pt x="439" y="41"/>
                    </a:lnTo>
                    <a:lnTo>
                      <a:pt x="439" y="41"/>
                    </a:lnTo>
                    <a:lnTo>
                      <a:pt x="438" y="40"/>
                    </a:lnTo>
                    <a:lnTo>
                      <a:pt x="438" y="38"/>
                    </a:lnTo>
                    <a:lnTo>
                      <a:pt x="441" y="35"/>
                    </a:lnTo>
                    <a:lnTo>
                      <a:pt x="443" y="34"/>
                    </a:lnTo>
                    <a:lnTo>
                      <a:pt x="445" y="31"/>
                    </a:lnTo>
                    <a:lnTo>
                      <a:pt x="445" y="31"/>
                    </a:lnTo>
                    <a:lnTo>
                      <a:pt x="443" y="30"/>
                    </a:lnTo>
                    <a:lnTo>
                      <a:pt x="442" y="30"/>
                    </a:lnTo>
                    <a:lnTo>
                      <a:pt x="439" y="31"/>
                    </a:lnTo>
                    <a:lnTo>
                      <a:pt x="436" y="30"/>
                    </a:lnTo>
                    <a:lnTo>
                      <a:pt x="436" y="30"/>
                    </a:lnTo>
                    <a:lnTo>
                      <a:pt x="432" y="27"/>
                    </a:lnTo>
                    <a:lnTo>
                      <a:pt x="429" y="27"/>
                    </a:lnTo>
                    <a:lnTo>
                      <a:pt x="429" y="28"/>
                    </a:lnTo>
                    <a:lnTo>
                      <a:pt x="429" y="28"/>
                    </a:lnTo>
                    <a:lnTo>
                      <a:pt x="428" y="30"/>
                    </a:lnTo>
                    <a:lnTo>
                      <a:pt x="426" y="31"/>
                    </a:lnTo>
                    <a:lnTo>
                      <a:pt x="425" y="30"/>
                    </a:lnTo>
                    <a:lnTo>
                      <a:pt x="425" y="28"/>
                    </a:lnTo>
                    <a:lnTo>
                      <a:pt x="425" y="28"/>
                    </a:lnTo>
                    <a:lnTo>
                      <a:pt x="424" y="25"/>
                    </a:lnTo>
                    <a:lnTo>
                      <a:pt x="422" y="24"/>
                    </a:lnTo>
                    <a:lnTo>
                      <a:pt x="421" y="23"/>
                    </a:lnTo>
                    <a:lnTo>
                      <a:pt x="418" y="24"/>
                    </a:lnTo>
                    <a:lnTo>
                      <a:pt x="418" y="24"/>
                    </a:lnTo>
                    <a:lnTo>
                      <a:pt x="415" y="25"/>
                    </a:lnTo>
                    <a:lnTo>
                      <a:pt x="411" y="27"/>
                    </a:lnTo>
                    <a:lnTo>
                      <a:pt x="406" y="27"/>
                    </a:lnTo>
                    <a:lnTo>
                      <a:pt x="404" y="27"/>
                    </a:lnTo>
                    <a:lnTo>
                      <a:pt x="404" y="27"/>
                    </a:lnTo>
                    <a:lnTo>
                      <a:pt x="404" y="24"/>
                    </a:lnTo>
                    <a:lnTo>
                      <a:pt x="404" y="23"/>
                    </a:lnTo>
                    <a:lnTo>
                      <a:pt x="405" y="20"/>
                    </a:lnTo>
                    <a:lnTo>
                      <a:pt x="405" y="20"/>
                    </a:lnTo>
                    <a:lnTo>
                      <a:pt x="405" y="17"/>
                    </a:lnTo>
                    <a:lnTo>
                      <a:pt x="404" y="14"/>
                    </a:lnTo>
                    <a:lnTo>
                      <a:pt x="402" y="11"/>
                    </a:lnTo>
                    <a:lnTo>
                      <a:pt x="402" y="8"/>
                    </a:lnTo>
                    <a:lnTo>
                      <a:pt x="402" y="8"/>
                    </a:lnTo>
                    <a:lnTo>
                      <a:pt x="402" y="5"/>
                    </a:lnTo>
                    <a:lnTo>
                      <a:pt x="399" y="3"/>
                    </a:lnTo>
                    <a:lnTo>
                      <a:pt x="395" y="1"/>
                    </a:lnTo>
                    <a:lnTo>
                      <a:pt x="392" y="1"/>
                    </a:lnTo>
                    <a:lnTo>
                      <a:pt x="392" y="1"/>
                    </a:lnTo>
                    <a:lnTo>
                      <a:pt x="389" y="3"/>
                    </a:lnTo>
                    <a:lnTo>
                      <a:pt x="387" y="3"/>
                    </a:lnTo>
                    <a:lnTo>
                      <a:pt x="379" y="0"/>
                    </a:lnTo>
                    <a:lnTo>
                      <a:pt x="379" y="0"/>
                    </a:lnTo>
                    <a:lnTo>
                      <a:pt x="375" y="0"/>
                    </a:lnTo>
                    <a:lnTo>
                      <a:pt x="369" y="0"/>
                    </a:lnTo>
                    <a:lnTo>
                      <a:pt x="362" y="3"/>
                    </a:lnTo>
                    <a:lnTo>
                      <a:pt x="359" y="4"/>
                    </a:lnTo>
                    <a:lnTo>
                      <a:pt x="359" y="4"/>
                    </a:lnTo>
                    <a:lnTo>
                      <a:pt x="359" y="5"/>
                    </a:lnTo>
                    <a:lnTo>
                      <a:pt x="357" y="7"/>
                    </a:lnTo>
                    <a:lnTo>
                      <a:pt x="350" y="10"/>
                    </a:lnTo>
                    <a:lnTo>
                      <a:pt x="337" y="13"/>
                    </a:lnTo>
                    <a:lnTo>
                      <a:pt x="337" y="13"/>
                    </a:lnTo>
                    <a:lnTo>
                      <a:pt x="325" y="15"/>
                    </a:lnTo>
                    <a:lnTo>
                      <a:pt x="314" y="17"/>
                    </a:lnTo>
                    <a:lnTo>
                      <a:pt x="314" y="17"/>
                    </a:lnTo>
                    <a:lnTo>
                      <a:pt x="305" y="20"/>
                    </a:lnTo>
                    <a:lnTo>
                      <a:pt x="303" y="21"/>
                    </a:lnTo>
                    <a:lnTo>
                      <a:pt x="297" y="21"/>
                    </a:lnTo>
                    <a:lnTo>
                      <a:pt x="297" y="21"/>
                    </a:lnTo>
                    <a:lnTo>
                      <a:pt x="286" y="23"/>
                    </a:lnTo>
                    <a:lnTo>
                      <a:pt x="278" y="24"/>
                    </a:lnTo>
                    <a:lnTo>
                      <a:pt x="273" y="27"/>
                    </a:lnTo>
                    <a:lnTo>
                      <a:pt x="273" y="27"/>
                    </a:lnTo>
                    <a:lnTo>
                      <a:pt x="268" y="28"/>
                    </a:lnTo>
                    <a:lnTo>
                      <a:pt x="263" y="28"/>
                    </a:lnTo>
                    <a:lnTo>
                      <a:pt x="258" y="28"/>
                    </a:lnTo>
                    <a:lnTo>
                      <a:pt x="254" y="28"/>
                    </a:lnTo>
                    <a:lnTo>
                      <a:pt x="254" y="28"/>
                    </a:lnTo>
                    <a:lnTo>
                      <a:pt x="250" y="30"/>
                    </a:lnTo>
                    <a:lnTo>
                      <a:pt x="247" y="30"/>
                    </a:lnTo>
                    <a:lnTo>
                      <a:pt x="243" y="30"/>
                    </a:lnTo>
                    <a:lnTo>
                      <a:pt x="240" y="30"/>
                    </a:lnTo>
                    <a:lnTo>
                      <a:pt x="240" y="30"/>
                    </a:lnTo>
                    <a:lnTo>
                      <a:pt x="240" y="31"/>
                    </a:lnTo>
                    <a:lnTo>
                      <a:pt x="239" y="35"/>
                    </a:lnTo>
                    <a:lnTo>
                      <a:pt x="240" y="40"/>
                    </a:lnTo>
                    <a:lnTo>
                      <a:pt x="241" y="42"/>
                    </a:lnTo>
                    <a:lnTo>
                      <a:pt x="241" y="42"/>
                    </a:lnTo>
                    <a:lnTo>
                      <a:pt x="244" y="45"/>
                    </a:lnTo>
                    <a:lnTo>
                      <a:pt x="249" y="47"/>
                    </a:lnTo>
                    <a:lnTo>
                      <a:pt x="253" y="48"/>
                    </a:lnTo>
                    <a:lnTo>
                      <a:pt x="256" y="50"/>
                    </a:lnTo>
                    <a:lnTo>
                      <a:pt x="256" y="50"/>
                    </a:lnTo>
                    <a:lnTo>
                      <a:pt x="254" y="51"/>
                    </a:lnTo>
                    <a:lnTo>
                      <a:pt x="250" y="52"/>
                    </a:lnTo>
                    <a:lnTo>
                      <a:pt x="239" y="52"/>
                    </a:lnTo>
                    <a:lnTo>
                      <a:pt x="239" y="52"/>
                    </a:lnTo>
                    <a:lnTo>
                      <a:pt x="236" y="55"/>
                    </a:lnTo>
                    <a:lnTo>
                      <a:pt x="234" y="58"/>
                    </a:lnTo>
                    <a:lnTo>
                      <a:pt x="234" y="61"/>
                    </a:lnTo>
                    <a:lnTo>
                      <a:pt x="236" y="64"/>
                    </a:lnTo>
                    <a:lnTo>
                      <a:pt x="236" y="64"/>
                    </a:lnTo>
                    <a:lnTo>
                      <a:pt x="236" y="67"/>
                    </a:lnTo>
                    <a:lnTo>
                      <a:pt x="233" y="69"/>
                    </a:lnTo>
                    <a:lnTo>
                      <a:pt x="226" y="72"/>
                    </a:lnTo>
                    <a:lnTo>
                      <a:pt x="226" y="72"/>
                    </a:lnTo>
                    <a:lnTo>
                      <a:pt x="224" y="75"/>
                    </a:lnTo>
                    <a:lnTo>
                      <a:pt x="224" y="78"/>
                    </a:lnTo>
                    <a:lnTo>
                      <a:pt x="227" y="81"/>
                    </a:lnTo>
                    <a:lnTo>
                      <a:pt x="230" y="81"/>
                    </a:lnTo>
                    <a:lnTo>
                      <a:pt x="230" y="81"/>
                    </a:lnTo>
                    <a:lnTo>
                      <a:pt x="233" y="82"/>
                    </a:lnTo>
                    <a:lnTo>
                      <a:pt x="236" y="84"/>
                    </a:lnTo>
                    <a:lnTo>
                      <a:pt x="241" y="85"/>
                    </a:lnTo>
                    <a:lnTo>
                      <a:pt x="241" y="85"/>
                    </a:lnTo>
                    <a:lnTo>
                      <a:pt x="243" y="87"/>
                    </a:lnTo>
                    <a:lnTo>
                      <a:pt x="244" y="89"/>
                    </a:lnTo>
                    <a:lnTo>
                      <a:pt x="246" y="96"/>
                    </a:lnTo>
                    <a:lnTo>
                      <a:pt x="246" y="96"/>
                    </a:lnTo>
                    <a:lnTo>
                      <a:pt x="244" y="99"/>
                    </a:lnTo>
                    <a:lnTo>
                      <a:pt x="243" y="101"/>
                    </a:lnTo>
                    <a:lnTo>
                      <a:pt x="240" y="102"/>
                    </a:lnTo>
                    <a:lnTo>
                      <a:pt x="236" y="102"/>
                    </a:lnTo>
                    <a:lnTo>
                      <a:pt x="236" y="102"/>
                    </a:lnTo>
                    <a:lnTo>
                      <a:pt x="231" y="101"/>
                    </a:lnTo>
                    <a:lnTo>
                      <a:pt x="229" y="99"/>
                    </a:lnTo>
                    <a:lnTo>
                      <a:pt x="223" y="96"/>
                    </a:lnTo>
                    <a:lnTo>
                      <a:pt x="223" y="96"/>
                    </a:lnTo>
                    <a:lnTo>
                      <a:pt x="222" y="98"/>
                    </a:lnTo>
                    <a:lnTo>
                      <a:pt x="220" y="101"/>
                    </a:lnTo>
                    <a:lnTo>
                      <a:pt x="219" y="104"/>
                    </a:lnTo>
                    <a:lnTo>
                      <a:pt x="217" y="105"/>
                    </a:lnTo>
                    <a:lnTo>
                      <a:pt x="217" y="105"/>
                    </a:lnTo>
                    <a:lnTo>
                      <a:pt x="216" y="105"/>
                    </a:lnTo>
                    <a:lnTo>
                      <a:pt x="214" y="104"/>
                    </a:lnTo>
                    <a:lnTo>
                      <a:pt x="213" y="101"/>
                    </a:lnTo>
                    <a:lnTo>
                      <a:pt x="210" y="99"/>
                    </a:lnTo>
                    <a:lnTo>
                      <a:pt x="210" y="99"/>
                    </a:lnTo>
                    <a:lnTo>
                      <a:pt x="203" y="99"/>
                    </a:lnTo>
                    <a:lnTo>
                      <a:pt x="202" y="98"/>
                    </a:lnTo>
                    <a:lnTo>
                      <a:pt x="199" y="95"/>
                    </a:lnTo>
                    <a:lnTo>
                      <a:pt x="199" y="95"/>
                    </a:lnTo>
                    <a:lnTo>
                      <a:pt x="197" y="92"/>
                    </a:lnTo>
                    <a:lnTo>
                      <a:pt x="193" y="91"/>
                    </a:lnTo>
                    <a:lnTo>
                      <a:pt x="187" y="92"/>
                    </a:lnTo>
                    <a:lnTo>
                      <a:pt x="183" y="94"/>
                    </a:lnTo>
                    <a:lnTo>
                      <a:pt x="183" y="94"/>
                    </a:lnTo>
                    <a:lnTo>
                      <a:pt x="180" y="96"/>
                    </a:lnTo>
                    <a:lnTo>
                      <a:pt x="179" y="96"/>
                    </a:lnTo>
                    <a:lnTo>
                      <a:pt x="175" y="94"/>
                    </a:lnTo>
                    <a:lnTo>
                      <a:pt x="175" y="94"/>
                    </a:lnTo>
                    <a:lnTo>
                      <a:pt x="170" y="92"/>
                    </a:lnTo>
                    <a:lnTo>
                      <a:pt x="166" y="94"/>
                    </a:lnTo>
                    <a:lnTo>
                      <a:pt x="162" y="96"/>
                    </a:lnTo>
                    <a:lnTo>
                      <a:pt x="159" y="98"/>
                    </a:lnTo>
                    <a:lnTo>
                      <a:pt x="159" y="98"/>
                    </a:lnTo>
                    <a:lnTo>
                      <a:pt x="156" y="101"/>
                    </a:lnTo>
                    <a:lnTo>
                      <a:pt x="153" y="102"/>
                    </a:lnTo>
                    <a:lnTo>
                      <a:pt x="149" y="102"/>
                    </a:lnTo>
                    <a:lnTo>
                      <a:pt x="143" y="99"/>
                    </a:lnTo>
                    <a:lnTo>
                      <a:pt x="143" y="99"/>
                    </a:lnTo>
                    <a:lnTo>
                      <a:pt x="138" y="96"/>
                    </a:lnTo>
                    <a:lnTo>
                      <a:pt x="135" y="98"/>
                    </a:lnTo>
                    <a:lnTo>
                      <a:pt x="135" y="99"/>
                    </a:lnTo>
                    <a:lnTo>
                      <a:pt x="135" y="99"/>
                    </a:lnTo>
                    <a:lnTo>
                      <a:pt x="133" y="102"/>
                    </a:lnTo>
                    <a:lnTo>
                      <a:pt x="132" y="102"/>
                    </a:lnTo>
                    <a:lnTo>
                      <a:pt x="130" y="99"/>
                    </a:lnTo>
                    <a:lnTo>
                      <a:pt x="130" y="98"/>
                    </a:lnTo>
                    <a:lnTo>
                      <a:pt x="130" y="98"/>
                    </a:lnTo>
                    <a:lnTo>
                      <a:pt x="129" y="95"/>
                    </a:lnTo>
                    <a:lnTo>
                      <a:pt x="125" y="92"/>
                    </a:lnTo>
                    <a:lnTo>
                      <a:pt x="116" y="87"/>
                    </a:lnTo>
                    <a:lnTo>
                      <a:pt x="116" y="87"/>
                    </a:lnTo>
                    <a:lnTo>
                      <a:pt x="112" y="85"/>
                    </a:lnTo>
                    <a:lnTo>
                      <a:pt x="106" y="84"/>
                    </a:lnTo>
                    <a:lnTo>
                      <a:pt x="101" y="82"/>
                    </a:lnTo>
                    <a:lnTo>
                      <a:pt x="98" y="81"/>
                    </a:lnTo>
                    <a:lnTo>
                      <a:pt x="98" y="81"/>
                    </a:lnTo>
                    <a:lnTo>
                      <a:pt x="96" y="79"/>
                    </a:lnTo>
                    <a:lnTo>
                      <a:pt x="93" y="78"/>
                    </a:lnTo>
                    <a:lnTo>
                      <a:pt x="89" y="78"/>
                    </a:lnTo>
                    <a:lnTo>
                      <a:pt x="86" y="81"/>
                    </a:lnTo>
                    <a:lnTo>
                      <a:pt x="86" y="81"/>
                    </a:lnTo>
                    <a:lnTo>
                      <a:pt x="85" y="84"/>
                    </a:lnTo>
                    <a:lnTo>
                      <a:pt x="84" y="84"/>
                    </a:lnTo>
                    <a:lnTo>
                      <a:pt x="78" y="81"/>
                    </a:lnTo>
                    <a:lnTo>
                      <a:pt x="78" y="81"/>
                    </a:lnTo>
                    <a:lnTo>
                      <a:pt x="75" y="81"/>
                    </a:lnTo>
                    <a:lnTo>
                      <a:pt x="72" y="81"/>
                    </a:lnTo>
                    <a:lnTo>
                      <a:pt x="66" y="84"/>
                    </a:lnTo>
                    <a:lnTo>
                      <a:pt x="66" y="84"/>
                    </a:lnTo>
                    <a:lnTo>
                      <a:pt x="58" y="89"/>
                    </a:lnTo>
                    <a:lnTo>
                      <a:pt x="54" y="91"/>
                    </a:lnTo>
                    <a:lnTo>
                      <a:pt x="49" y="92"/>
                    </a:lnTo>
                    <a:lnTo>
                      <a:pt x="49" y="92"/>
                    </a:lnTo>
                    <a:lnTo>
                      <a:pt x="47" y="94"/>
                    </a:lnTo>
                    <a:lnTo>
                      <a:pt x="45" y="95"/>
                    </a:lnTo>
                    <a:lnTo>
                      <a:pt x="44" y="98"/>
                    </a:lnTo>
                    <a:lnTo>
                      <a:pt x="41" y="99"/>
                    </a:lnTo>
                    <a:lnTo>
                      <a:pt x="41" y="99"/>
                    </a:lnTo>
                    <a:lnTo>
                      <a:pt x="37" y="101"/>
                    </a:lnTo>
                    <a:lnTo>
                      <a:pt x="35" y="104"/>
                    </a:lnTo>
                    <a:lnTo>
                      <a:pt x="37" y="108"/>
                    </a:lnTo>
                    <a:lnTo>
                      <a:pt x="37" y="108"/>
                    </a:lnTo>
                    <a:lnTo>
                      <a:pt x="38" y="114"/>
                    </a:lnTo>
                    <a:lnTo>
                      <a:pt x="38" y="116"/>
                    </a:lnTo>
                    <a:lnTo>
                      <a:pt x="35" y="118"/>
                    </a:lnTo>
                    <a:lnTo>
                      <a:pt x="35" y="118"/>
                    </a:lnTo>
                    <a:lnTo>
                      <a:pt x="32" y="119"/>
                    </a:lnTo>
                    <a:lnTo>
                      <a:pt x="31" y="118"/>
                    </a:lnTo>
                    <a:lnTo>
                      <a:pt x="28" y="115"/>
                    </a:lnTo>
                    <a:lnTo>
                      <a:pt x="25" y="111"/>
                    </a:lnTo>
                    <a:lnTo>
                      <a:pt x="22" y="108"/>
                    </a:lnTo>
                    <a:lnTo>
                      <a:pt x="22" y="108"/>
                    </a:lnTo>
                    <a:lnTo>
                      <a:pt x="18" y="106"/>
                    </a:lnTo>
                    <a:lnTo>
                      <a:pt x="15" y="108"/>
                    </a:lnTo>
                    <a:lnTo>
                      <a:pt x="14" y="109"/>
                    </a:lnTo>
                    <a:lnTo>
                      <a:pt x="12" y="114"/>
                    </a:lnTo>
                    <a:lnTo>
                      <a:pt x="12" y="114"/>
                    </a:lnTo>
                    <a:lnTo>
                      <a:pt x="12" y="116"/>
                    </a:lnTo>
                    <a:lnTo>
                      <a:pt x="10" y="118"/>
                    </a:lnTo>
                    <a:lnTo>
                      <a:pt x="7" y="121"/>
                    </a:lnTo>
                    <a:lnTo>
                      <a:pt x="4" y="124"/>
                    </a:lnTo>
                    <a:lnTo>
                      <a:pt x="4" y="124"/>
                    </a:lnTo>
                    <a:lnTo>
                      <a:pt x="4" y="126"/>
                    </a:lnTo>
                    <a:lnTo>
                      <a:pt x="5" y="128"/>
                    </a:lnTo>
                    <a:lnTo>
                      <a:pt x="8" y="129"/>
                    </a:lnTo>
                    <a:lnTo>
                      <a:pt x="10" y="131"/>
                    </a:lnTo>
                    <a:lnTo>
                      <a:pt x="10" y="131"/>
                    </a:lnTo>
                    <a:lnTo>
                      <a:pt x="8" y="133"/>
                    </a:lnTo>
                    <a:lnTo>
                      <a:pt x="7" y="135"/>
                    </a:lnTo>
                    <a:lnTo>
                      <a:pt x="4" y="136"/>
                    </a:lnTo>
                    <a:lnTo>
                      <a:pt x="4" y="136"/>
                    </a:lnTo>
                    <a:lnTo>
                      <a:pt x="1" y="141"/>
                    </a:lnTo>
                    <a:lnTo>
                      <a:pt x="0" y="143"/>
                    </a:lnTo>
                    <a:lnTo>
                      <a:pt x="0" y="146"/>
                    </a:lnTo>
                    <a:lnTo>
                      <a:pt x="0" y="146"/>
                    </a:lnTo>
                    <a:lnTo>
                      <a:pt x="2" y="148"/>
                    </a:lnTo>
                    <a:lnTo>
                      <a:pt x="5" y="148"/>
                    </a:lnTo>
                    <a:lnTo>
                      <a:pt x="8" y="149"/>
                    </a:lnTo>
                    <a:lnTo>
                      <a:pt x="10" y="152"/>
                    </a:lnTo>
                    <a:lnTo>
                      <a:pt x="10" y="152"/>
                    </a:lnTo>
                    <a:lnTo>
                      <a:pt x="10" y="159"/>
                    </a:lnTo>
                    <a:lnTo>
                      <a:pt x="10" y="160"/>
                    </a:lnTo>
                    <a:lnTo>
                      <a:pt x="12" y="160"/>
                    </a:lnTo>
                    <a:lnTo>
                      <a:pt x="12" y="160"/>
                    </a:lnTo>
                    <a:lnTo>
                      <a:pt x="18" y="160"/>
                    </a:lnTo>
                    <a:lnTo>
                      <a:pt x="24" y="160"/>
                    </a:lnTo>
                    <a:lnTo>
                      <a:pt x="24" y="160"/>
                    </a:lnTo>
                    <a:lnTo>
                      <a:pt x="25" y="162"/>
                    </a:lnTo>
                    <a:lnTo>
                      <a:pt x="28" y="163"/>
                    </a:lnTo>
                    <a:lnTo>
                      <a:pt x="34" y="172"/>
                    </a:lnTo>
                    <a:lnTo>
                      <a:pt x="34" y="172"/>
                    </a:lnTo>
                    <a:lnTo>
                      <a:pt x="38" y="179"/>
                    </a:lnTo>
                    <a:lnTo>
                      <a:pt x="38" y="180"/>
                    </a:lnTo>
                    <a:lnTo>
                      <a:pt x="35" y="182"/>
                    </a:lnTo>
                    <a:lnTo>
                      <a:pt x="35" y="182"/>
                    </a:lnTo>
                    <a:lnTo>
                      <a:pt x="34" y="183"/>
                    </a:lnTo>
                    <a:lnTo>
                      <a:pt x="34" y="185"/>
                    </a:lnTo>
                    <a:lnTo>
                      <a:pt x="35" y="186"/>
                    </a:lnTo>
                    <a:lnTo>
                      <a:pt x="39" y="189"/>
                    </a:lnTo>
                    <a:lnTo>
                      <a:pt x="39" y="189"/>
                    </a:lnTo>
                    <a:lnTo>
                      <a:pt x="44" y="192"/>
                    </a:lnTo>
                    <a:lnTo>
                      <a:pt x="44" y="192"/>
                    </a:lnTo>
                    <a:lnTo>
                      <a:pt x="48" y="190"/>
                    </a:lnTo>
                    <a:lnTo>
                      <a:pt x="48" y="190"/>
                    </a:lnTo>
                    <a:lnTo>
                      <a:pt x="55" y="185"/>
                    </a:lnTo>
                    <a:lnTo>
                      <a:pt x="64" y="180"/>
                    </a:lnTo>
                    <a:lnTo>
                      <a:pt x="72" y="179"/>
                    </a:lnTo>
                    <a:lnTo>
                      <a:pt x="81" y="179"/>
                    </a:lnTo>
                    <a:lnTo>
                      <a:pt x="81" y="179"/>
                    </a:lnTo>
                    <a:lnTo>
                      <a:pt x="89" y="180"/>
                    </a:lnTo>
                    <a:lnTo>
                      <a:pt x="95" y="180"/>
                    </a:lnTo>
                    <a:lnTo>
                      <a:pt x="101" y="180"/>
                    </a:lnTo>
                    <a:lnTo>
                      <a:pt x="103" y="182"/>
                    </a:lnTo>
                    <a:lnTo>
                      <a:pt x="106" y="183"/>
                    </a:lnTo>
                    <a:lnTo>
                      <a:pt x="106" y="183"/>
                    </a:lnTo>
                    <a:lnTo>
                      <a:pt x="106" y="186"/>
                    </a:lnTo>
                    <a:lnTo>
                      <a:pt x="108" y="189"/>
                    </a:lnTo>
                    <a:lnTo>
                      <a:pt x="108" y="196"/>
                    </a:lnTo>
                    <a:lnTo>
                      <a:pt x="108" y="203"/>
                    </a:lnTo>
                    <a:lnTo>
                      <a:pt x="108" y="207"/>
                    </a:lnTo>
                    <a:lnTo>
                      <a:pt x="108" y="207"/>
                    </a:lnTo>
                    <a:lnTo>
                      <a:pt x="108" y="209"/>
                    </a:lnTo>
                    <a:lnTo>
                      <a:pt x="106" y="210"/>
                    </a:lnTo>
                    <a:lnTo>
                      <a:pt x="103" y="212"/>
                    </a:lnTo>
                    <a:lnTo>
                      <a:pt x="98" y="212"/>
                    </a:lnTo>
                    <a:lnTo>
                      <a:pt x="92" y="212"/>
                    </a:lnTo>
                    <a:lnTo>
                      <a:pt x="92" y="212"/>
                    </a:lnTo>
                    <a:lnTo>
                      <a:pt x="85" y="212"/>
                    </a:lnTo>
                    <a:lnTo>
                      <a:pt x="78" y="213"/>
                    </a:lnTo>
                    <a:lnTo>
                      <a:pt x="74" y="216"/>
                    </a:lnTo>
                    <a:lnTo>
                      <a:pt x="72" y="217"/>
                    </a:lnTo>
                    <a:lnTo>
                      <a:pt x="72" y="219"/>
                    </a:lnTo>
                    <a:lnTo>
                      <a:pt x="72" y="219"/>
                    </a:lnTo>
                    <a:lnTo>
                      <a:pt x="75" y="227"/>
                    </a:lnTo>
                    <a:lnTo>
                      <a:pt x="75" y="229"/>
                    </a:lnTo>
                    <a:lnTo>
                      <a:pt x="74" y="229"/>
                    </a:lnTo>
                    <a:lnTo>
                      <a:pt x="69" y="227"/>
                    </a:lnTo>
                    <a:lnTo>
                      <a:pt x="69" y="227"/>
                    </a:lnTo>
                    <a:lnTo>
                      <a:pt x="66" y="226"/>
                    </a:lnTo>
                    <a:lnTo>
                      <a:pt x="64" y="226"/>
                    </a:lnTo>
                    <a:lnTo>
                      <a:pt x="61" y="227"/>
                    </a:lnTo>
                    <a:lnTo>
                      <a:pt x="59" y="229"/>
                    </a:lnTo>
                    <a:lnTo>
                      <a:pt x="59" y="232"/>
                    </a:lnTo>
                    <a:lnTo>
                      <a:pt x="59" y="233"/>
                    </a:lnTo>
                    <a:lnTo>
                      <a:pt x="62" y="233"/>
                    </a:lnTo>
                    <a:lnTo>
                      <a:pt x="62" y="233"/>
                    </a:lnTo>
                    <a:lnTo>
                      <a:pt x="65" y="234"/>
                    </a:lnTo>
                    <a:lnTo>
                      <a:pt x="69" y="236"/>
                    </a:lnTo>
                    <a:lnTo>
                      <a:pt x="72" y="240"/>
                    </a:lnTo>
                    <a:lnTo>
                      <a:pt x="74" y="243"/>
                    </a:lnTo>
                    <a:lnTo>
                      <a:pt x="74" y="243"/>
                    </a:lnTo>
                    <a:lnTo>
                      <a:pt x="75" y="252"/>
                    </a:lnTo>
                    <a:lnTo>
                      <a:pt x="76" y="254"/>
                    </a:lnTo>
                    <a:lnTo>
                      <a:pt x="78" y="256"/>
                    </a:lnTo>
                    <a:lnTo>
                      <a:pt x="79" y="256"/>
                    </a:lnTo>
                    <a:lnTo>
                      <a:pt x="79" y="256"/>
                    </a:lnTo>
                    <a:lnTo>
                      <a:pt x="82" y="256"/>
                    </a:lnTo>
                    <a:lnTo>
                      <a:pt x="84" y="259"/>
                    </a:lnTo>
                    <a:lnTo>
                      <a:pt x="86" y="261"/>
                    </a:lnTo>
                    <a:lnTo>
                      <a:pt x="91" y="263"/>
                    </a:lnTo>
                    <a:lnTo>
                      <a:pt x="91" y="263"/>
                    </a:lnTo>
                    <a:lnTo>
                      <a:pt x="95" y="263"/>
                    </a:lnTo>
                    <a:lnTo>
                      <a:pt x="99" y="264"/>
                    </a:lnTo>
                    <a:lnTo>
                      <a:pt x="101" y="266"/>
                    </a:lnTo>
                    <a:lnTo>
                      <a:pt x="98" y="270"/>
                    </a:lnTo>
                    <a:lnTo>
                      <a:pt x="98" y="270"/>
                    </a:lnTo>
                    <a:lnTo>
                      <a:pt x="96" y="273"/>
                    </a:lnTo>
                    <a:lnTo>
                      <a:pt x="96" y="277"/>
                    </a:lnTo>
                    <a:lnTo>
                      <a:pt x="98" y="284"/>
                    </a:lnTo>
                    <a:lnTo>
                      <a:pt x="101" y="290"/>
                    </a:lnTo>
                    <a:lnTo>
                      <a:pt x="102" y="290"/>
                    </a:lnTo>
                    <a:lnTo>
                      <a:pt x="103" y="290"/>
                    </a:lnTo>
                    <a:lnTo>
                      <a:pt x="103" y="290"/>
                    </a:lnTo>
                    <a:lnTo>
                      <a:pt x="103" y="284"/>
                    </a:lnTo>
                    <a:lnTo>
                      <a:pt x="105" y="279"/>
                    </a:lnTo>
                    <a:lnTo>
                      <a:pt x="105" y="279"/>
                    </a:lnTo>
                    <a:lnTo>
                      <a:pt x="105" y="276"/>
                    </a:lnTo>
                    <a:lnTo>
                      <a:pt x="106" y="274"/>
                    </a:lnTo>
                    <a:lnTo>
                      <a:pt x="108" y="273"/>
                    </a:lnTo>
                    <a:lnTo>
                      <a:pt x="111" y="271"/>
                    </a:lnTo>
                    <a:lnTo>
                      <a:pt x="116" y="270"/>
                    </a:lnTo>
                    <a:lnTo>
                      <a:pt x="122" y="270"/>
                    </a:lnTo>
                    <a:lnTo>
                      <a:pt x="122" y="270"/>
                    </a:lnTo>
                    <a:lnTo>
                      <a:pt x="126" y="271"/>
                    </a:lnTo>
                    <a:lnTo>
                      <a:pt x="132" y="274"/>
                    </a:lnTo>
                    <a:lnTo>
                      <a:pt x="136" y="280"/>
                    </a:lnTo>
                    <a:lnTo>
                      <a:pt x="142" y="286"/>
                    </a:lnTo>
                    <a:lnTo>
                      <a:pt x="142" y="286"/>
                    </a:lnTo>
                    <a:lnTo>
                      <a:pt x="146" y="289"/>
                    </a:lnTo>
                    <a:lnTo>
                      <a:pt x="149" y="290"/>
                    </a:lnTo>
                    <a:lnTo>
                      <a:pt x="152" y="289"/>
                    </a:lnTo>
                    <a:lnTo>
                      <a:pt x="153" y="289"/>
                    </a:lnTo>
                    <a:lnTo>
                      <a:pt x="155" y="217"/>
                    </a:lnTo>
                    <a:lnTo>
                      <a:pt x="196" y="206"/>
                    </a:lnTo>
                    <a:lnTo>
                      <a:pt x="196" y="206"/>
                    </a:lnTo>
                    <a:lnTo>
                      <a:pt x="197" y="203"/>
                    </a:lnTo>
                    <a:lnTo>
                      <a:pt x="197" y="203"/>
                    </a:lnTo>
                    <a:lnTo>
                      <a:pt x="199" y="202"/>
                    </a:lnTo>
                    <a:lnTo>
                      <a:pt x="200" y="200"/>
                    </a:lnTo>
                    <a:lnTo>
                      <a:pt x="204" y="200"/>
                    </a:lnTo>
                    <a:lnTo>
                      <a:pt x="209" y="202"/>
                    </a:lnTo>
                    <a:lnTo>
                      <a:pt x="212" y="205"/>
                    </a:lnTo>
                    <a:lnTo>
                      <a:pt x="212" y="205"/>
                    </a:lnTo>
                    <a:lnTo>
                      <a:pt x="212" y="205"/>
                    </a:lnTo>
                    <a:lnTo>
                      <a:pt x="213" y="203"/>
                    </a:lnTo>
                    <a:lnTo>
                      <a:pt x="213" y="200"/>
                    </a:lnTo>
                    <a:lnTo>
                      <a:pt x="214" y="197"/>
                    </a:lnTo>
                    <a:lnTo>
                      <a:pt x="216" y="196"/>
                    </a:lnTo>
                    <a:lnTo>
                      <a:pt x="219" y="196"/>
                    </a:lnTo>
                    <a:lnTo>
                      <a:pt x="219" y="196"/>
                    </a:lnTo>
                    <a:lnTo>
                      <a:pt x="220" y="197"/>
                    </a:lnTo>
                    <a:lnTo>
                      <a:pt x="220" y="197"/>
                    </a:lnTo>
                    <a:lnTo>
                      <a:pt x="220" y="202"/>
                    </a:lnTo>
                    <a:lnTo>
                      <a:pt x="220" y="205"/>
                    </a:lnTo>
                    <a:lnTo>
                      <a:pt x="220" y="206"/>
                    </a:lnTo>
                    <a:lnTo>
                      <a:pt x="222" y="206"/>
                    </a:lnTo>
                    <a:lnTo>
                      <a:pt x="222" y="206"/>
                    </a:lnTo>
                    <a:lnTo>
                      <a:pt x="224" y="207"/>
                    </a:lnTo>
                    <a:lnTo>
                      <a:pt x="229" y="213"/>
                    </a:lnTo>
                    <a:lnTo>
                      <a:pt x="230" y="220"/>
                    </a:lnTo>
                    <a:lnTo>
                      <a:pt x="230" y="227"/>
                    </a:lnTo>
                    <a:lnTo>
                      <a:pt x="230" y="227"/>
                    </a:lnTo>
                    <a:lnTo>
                      <a:pt x="241" y="237"/>
                    </a:lnTo>
                    <a:lnTo>
                      <a:pt x="249" y="247"/>
                    </a:lnTo>
                    <a:lnTo>
                      <a:pt x="249" y="247"/>
                    </a:lnTo>
                    <a:lnTo>
                      <a:pt x="250" y="249"/>
                    </a:lnTo>
                    <a:lnTo>
                      <a:pt x="253" y="249"/>
                    </a:lnTo>
                    <a:lnTo>
                      <a:pt x="258" y="247"/>
                    </a:lnTo>
                    <a:lnTo>
                      <a:pt x="266" y="246"/>
                    </a:lnTo>
                    <a:lnTo>
                      <a:pt x="270" y="246"/>
                    </a:lnTo>
                    <a:lnTo>
                      <a:pt x="270" y="246"/>
                    </a:lnTo>
                    <a:lnTo>
                      <a:pt x="286" y="247"/>
                    </a:lnTo>
                    <a:lnTo>
                      <a:pt x="303" y="247"/>
                    </a:lnTo>
                    <a:lnTo>
                      <a:pt x="303" y="247"/>
                    </a:lnTo>
                    <a:lnTo>
                      <a:pt x="305" y="249"/>
                    </a:lnTo>
                    <a:lnTo>
                      <a:pt x="308" y="252"/>
                    </a:lnTo>
                    <a:lnTo>
                      <a:pt x="311" y="254"/>
                    </a:lnTo>
                    <a:lnTo>
                      <a:pt x="315" y="257"/>
                    </a:lnTo>
                    <a:lnTo>
                      <a:pt x="315" y="257"/>
                    </a:lnTo>
                    <a:lnTo>
                      <a:pt x="318" y="259"/>
                    </a:lnTo>
                    <a:lnTo>
                      <a:pt x="318" y="263"/>
                    </a:lnTo>
                    <a:lnTo>
                      <a:pt x="318" y="271"/>
                    </a:lnTo>
                    <a:lnTo>
                      <a:pt x="318" y="271"/>
                    </a:lnTo>
                    <a:lnTo>
                      <a:pt x="320" y="276"/>
                    </a:lnTo>
                    <a:lnTo>
                      <a:pt x="323" y="280"/>
                    </a:lnTo>
                    <a:lnTo>
                      <a:pt x="325" y="284"/>
                    </a:lnTo>
                    <a:lnTo>
                      <a:pt x="328" y="289"/>
                    </a:lnTo>
                    <a:lnTo>
                      <a:pt x="328" y="289"/>
                    </a:lnTo>
                    <a:lnTo>
                      <a:pt x="328" y="290"/>
                    </a:lnTo>
                    <a:lnTo>
                      <a:pt x="330" y="291"/>
                    </a:lnTo>
                    <a:lnTo>
                      <a:pt x="332" y="291"/>
                    </a:lnTo>
                    <a:lnTo>
                      <a:pt x="341" y="293"/>
                    </a:lnTo>
                    <a:lnTo>
                      <a:pt x="341" y="293"/>
                    </a:lnTo>
                    <a:lnTo>
                      <a:pt x="350" y="296"/>
                    </a:lnTo>
                    <a:lnTo>
                      <a:pt x="354" y="297"/>
                    </a:lnTo>
                    <a:lnTo>
                      <a:pt x="355" y="300"/>
                    </a:lnTo>
                    <a:lnTo>
                      <a:pt x="355" y="300"/>
                    </a:lnTo>
                    <a:lnTo>
                      <a:pt x="357" y="303"/>
                    </a:lnTo>
                    <a:lnTo>
                      <a:pt x="358" y="303"/>
                    </a:lnTo>
                    <a:lnTo>
                      <a:pt x="361" y="301"/>
                    </a:lnTo>
                    <a:lnTo>
                      <a:pt x="362" y="298"/>
                    </a:lnTo>
                    <a:lnTo>
                      <a:pt x="362" y="298"/>
                    </a:lnTo>
                    <a:lnTo>
                      <a:pt x="364" y="296"/>
                    </a:lnTo>
                    <a:lnTo>
                      <a:pt x="367" y="291"/>
                    </a:lnTo>
                    <a:lnTo>
                      <a:pt x="372" y="289"/>
                    </a:lnTo>
                    <a:lnTo>
                      <a:pt x="379" y="286"/>
                    </a:lnTo>
                    <a:lnTo>
                      <a:pt x="379" y="286"/>
                    </a:lnTo>
                    <a:lnTo>
                      <a:pt x="384" y="284"/>
                    </a:lnTo>
                    <a:lnTo>
                      <a:pt x="388" y="284"/>
                    </a:lnTo>
                    <a:lnTo>
                      <a:pt x="388" y="284"/>
                    </a:lnTo>
                    <a:lnTo>
                      <a:pt x="391" y="279"/>
                    </a:lnTo>
                    <a:lnTo>
                      <a:pt x="394" y="276"/>
                    </a:lnTo>
                    <a:lnTo>
                      <a:pt x="394" y="276"/>
                    </a:lnTo>
                    <a:lnTo>
                      <a:pt x="399" y="271"/>
                    </a:lnTo>
                    <a:lnTo>
                      <a:pt x="402" y="269"/>
                    </a:lnTo>
                    <a:lnTo>
                      <a:pt x="404" y="264"/>
                    </a:lnTo>
                    <a:lnTo>
                      <a:pt x="404" y="264"/>
                    </a:lnTo>
                    <a:lnTo>
                      <a:pt x="404" y="263"/>
                    </a:lnTo>
                    <a:lnTo>
                      <a:pt x="405" y="261"/>
                    </a:lnTo>
                    <a:lnTo>
                      <a:pt x="411" y="261"/>
                    </a:lnTo>
                    <a:lnTo>
                      <a:pt x="418" y="261"/>
                    </a:lnTo>
                    <a:lnTo>
                      <a:pt x="425" y="264"/>
                    </a:lnTo>
                    <a:lnTo>
                      <a:pt x="425" y="264"/>
                    </a:lnTo>
                    <a:lnTo>
                      <a:pt x="431" y="267"/>
                    </a:lnTo>
                    <a:lnTo>
                      <a:pt x="435" y="267"/>
                    </a:lnTo>
                    <a:lnTo>
                      <a:pt x="438" y="266"/>
                    </a:lnTo>
                    <a:lnTo>
                      <a:pt x="439" y="261"/>
                    </a:lnTo>
                    <a:lnTo>
                      <a:pt x="439" y="261"/>
                    </a:lnTo>
                    <a:lnTo>
                      <a:pt x="439" y="260"/>
                    </a:lnTo>
                    <a:lnTo>
                      <a:pt x="441" y="257"/>
                    </a:lnTo>
                    <a:lnTo>
                      <a:pt x="446" y="256"/>
                    </a:lnTo>
                    <a:lnTo>
                      <a:pt x="452" y="254"/>
                    </a:lnTo>
                    <a:lnTo>
                      <a:pt x="456" y="256"/>
                    </a:lnTo>
                    <a:lnTo>
                      <a:pt x="456" y="256"/>
                    </a:lnTo>
                    <a:lnTo>
                      <a:pt x="466" y="260"/>
                    </a:lnTo>
                    <a:lnTo>
                      <a:pt x="472" y="261"/>
                    </a:lnTo>
                    <a:lnTo>
                      <a:pt x="478" y="261"/>
                    </a:lnTo>
                    <a:lnTo>
                      <a:pt x="478" y="261"/>
                    </a:lnTo>
                    <a:lnTo>
                      <a:pt x="485" y="260"/>
                    </a:lnTo>
                    <a:lnTo>
                      <a:pt x="497" y="261"/>
                    </a:lnTo>
                    <a:lnTo>
                      <a:pt x="519" y="264"/>
                    </a:lnTo>
                    <a:lnTo>
                      <a:pt x="519" y="264"/>
                    </a:lnTo>
                    <a:lnTo>
                      <a:pt x="523" y="264"/>
                    </a:lnTo>
                    <a:lnTo>
                      <a:pt x="526" y="264"/>
                    </a:lnTo>
                    <a:lnTo>
                      <a:pt x="529" y="264"/>
                    </a:lnTo>
                    <a:lnTo>
                      <a:pt x="533" y="269"/>
                    </a:lnTo>
                    <a:lnTo>
                      <a:pt x="533" y="269"/>
                    </a:lnTo>
                    <a:lnTo>
                      <a:pt x="537" y="270"/>
                    </a:lnTo>
                    <a:lnTo>
                      <a:pt x="540" y="271"/>
                    </a:lnTo>
                    <a:lnTo>
                      <a:pt x="543" y="271"/>
                    </a:lnTo>
                    <a:lnTo>
                      <a:pt x="547" y="273"/>
                    </a:lnTo>
                    <a:lnTo>
                      <a:pt x="547" y="273"/>
                    </a:lnTo>
                    <a:lnTo>
                      <a:pt x="546" y="267"/>
                    </a:lnTo>
                    <a:lnTo>
                      <a:pt x="546" y="267"/>
                    </a:lnTo>
                    <a:lnTo>
                      <a:pt x="547" y="263"/>
                    </a:lnTo>
                    <a:lnTo>
                      <a:pt x="550" y="260"/>
                    </a:lnTo>
                    <a:lnTo>
                      <a:pt x="553" y="257"/>
                    </a:lnTo>
                    <a:lnTo>
                      <a:pt x="554" y="254"/>
                    </a:lnTo>
                    <a:lnTo>
                      <a:pt x="554" y="254"/>
                    </a:lnTo>
                    <a:lnTo>
                      <a:pt x="554" y="252"/>
                    </a:lnTo>
                    <a:lnTo>
                      <a:pt x="552" y="246"/>
                    </a:lnTo>
                    <a:lnTo>
                      <a:pt x="550" y="240"/>
                    </a:lnTo>
                    <a:lnTo>
                      <a:pt x="549" y="237"/>
                    </a:lnTo>
                    <a:lnTo>
                      <a:pt x="549" y="237"/>
                    </a:lnTo>
                    <a:lnTo>
                      <a:pt x="549" y="229"/>
                    </a:lnTo>
                    <a:lnTo>
                      <a:pt x="547" y="226"/>
                    </a:lnTo>
                    <a:lnTo>
                      <a:pt x="544" y="223"/>
                    </a:lnTo>
                    <a:lnTo>
                      <a:pt x="544" y="223"/>
                    </a:lnTo>
                    <a:lnTo>
                      <a:pt x="544" y="222"/>
                    </a:lnTo>
                    <a:lnTo>
                      <a:pt x="544" y="222"/>
                    </a:lnTo>
                    <a:lnTo>
                      <a:pt x="547" y="219"/>
                    </a:lnTo>
                    <a:lnTo>
                      <a:pt x="554" y="216"/>
                    </a:lnTo>
                    <a:lnTo>
                      <a:pt x="554" y="216"/>
                    </a:lnTo>
                    <a:lnTo>
                      <a:pt x="559" y="216"/>
                    </a:lnTo>
                    <a:lnTo>
                      <a:pt x="563" y="215"/>
                    </a:lnTo>
                    <a:lnTo>
                      <a:pt x="567" y="213"/>
                    </a:lnTo>
                    <a:lnTo>
                      <a:pt x="569" y="213"/>
                    </a:lnTo>
                    <a:lnTo>
                      <a:pt x="569" y="213"/>
                    </a:lnTo>
                    <a:lnTo>
                      <a:pt x="574" y="216"/>
                    </a:lnTo>
                    <a:lnTo>
                      <a:pt x="581" y="216"/>
                    </a:lnTo>
                    <a:lnTo>
                      <a:pt x="581" y="216"/>
                    </a:lnTo>
                    <a:lnTo>
                      <a:pt x="583" y="216"/>
                    </a:lnTo>
                    <a:lnTo>
                      <a:pt x="583" y="213"/>
                    </a:lnTo>
                    <a:lnTo>
                      <a:pt x="583" y="212"/>
                    </a:lnTo>
                    <a:lnTo>
                      <a:pt x="581" y="209"/>
                    </a:lnTo>
                    <a:lnTo>
                      <a:pt x="581" y="209"/>
                    </a:lnTo>
                    <a:lnTo>
                      <a:pt x="580" y="207"/>
                    </a:lnTo>
                    <a:lnTo>
                      <a:pt x="581" y="205"/>
                    </a:lnTo>
                    <a:lnTo>
                      <a:pt x="584" y="196"/>
                    </a:lnTo>
                    <a:lnTo>
                      <a:pt x="590" y="179"/>
                    </a:lnTo>
                    <a:lnTo>
                      <a:pt x="590" y="179"/>
                    </a:lnTo>
                    <a:lnTo>
                      <a:pt x="593" y="175"/>
                    </a:lnTo>
                    <a:lnTo>
                      <a:pt x="594" y="175"/>
                    </a:lnTo>
                    <a:lnTo>
                      <a:pt x="597" y="178"/>
                    </a:lnTo>
                    <a:lnTo>
                      <a:pt x="601" y="179"/>
                    </a:lnTo>
                    <a:lnTo>
                      <a:pt x="601" y="179"/>
                    </a:lnTo>
                    <a:lnTo>
                      <a:pt x="610" y="179"/>
                    </a:lnTo>
                    <a:lnTo>
                      <a:pt x="616" y="179"/>
                    </a:lnTo>
                    <a:lnTo>
                      <a:pt x="616" y="179"/>
                    </a:lnTo>
                    <a:lnTo>
                      <a:pt x="620" y="180"/>
                    </a:lnTo>
                    <a:lnTo>
                      <a:pt x="624" y="179"/>
                    </a:lnTo>
                    <a:lnTo>
                      <a:pt x="628" y="176"/>
                    </a:lnTo>
                    <a:lnTo>
                      <a:pt x="631" y="175"/>
                    </a:lnTo>
                    <a:lnTo>
                      <a:pt x="631" y="175"/>
                    </a:lnTo>
                    <a:lnTo>
                      <a:pt x="631" y="172"/>
                    </a:lnTo>
                    <a:lnTo>
                      <a:pt x="631" y="169"/>
                    </a:lnTo>
                    <a:lnTo>
                      <a:pt x="630" y="166"/>
                    </a:lnTo>
                    <a:lnTo>
                      <a:pt x="628" y="162"/>
                    </a:lnTo>
                    <a:lnTo>
                      <a:pt x="628" y="162"/>
                    </a:lnTo>
                    <a:lnTo>
                      <a:pt x="630" y="156"/>
                    </a:lnTo>
                    <a:lnTo>
                      <a:pt x="633" y="152"/>
                    </a:lnTo>
                    <a:lnTo>
                      <a:pt x="635" y="149"/>
                    </a:lnTo>
                    <a:lnTo>
                      <a:pt x="640" y="149"/>
                    </a:lnTo>
                    <a:lnTo>
                      <a:pt x="640" y="149"/>
                    </a:lnTo>
                    <a:lnTo>
                      <a:pt x="643" y="148"/>
                    </a:lnTo>
                    <a:lnTo>
                      <a:pt x="645" y="146"/>
                    </a:lnTo>
                    <a:lnTo>
                      <a:pt x="645" y="143"/>
                    </a:lnTo>
                    <a:lnTo>
                      <a:pt x="647" y="141"/>
                    </a:lnTo>
                    <a:lnTo>
                      <a:pt x="647" y="141"/>
                    </a:lnTo>
                    <a:lnTo>
                      <a:pt x="647" y="138"/>
                    </a:lnTo>
                    <a:lnTo>
                      <a:pt x="648" y="135"/>
                    </a:lnTo>
                    <a:lnTo>
                      <a:pt x="651" y="133"/>
                    </a:lnTo>
                    <a:lnTo>
                      <a:pt x="653" y="129"/>
                    </a:lnTo>
                    <a:lnTo>
                      <a:pt x="653" y="129"/>
                    </a:lnTo>
                    <a:lnTo>
                      <a:pt x="650" y="126"/>
                    </a:lnTo>
                    <a:lnTo>
                      <a:pt x="648" y="124"/>
                    </a:lnTo>
                    <a:lnTo>
                      <a:pt x="648" y="124"/>
                    </a:lnTo>
                    <a:close/>
                    <a:moveTo>
                      <a:pt x="243" y="193"/>
                    </a:moveTo>
                    <a:lnTo>
                      <a:pt x="243" y="193"/>
                    </a:lnTo>
                    <a:lnTo>
                      <a:pt x="239" y="195"/>
                    </a:lnTo>
                    <a:lnTo>
                      <a:pt x="231" y="193"/>
                    </a:lnTo>
                    <a:lnTo>
                      <a:pt x="224" y="190"/>
                    </a:lnTo>
                    <a:lnTo>
                      <a:pt x="220" y="188"/>
                    </a:lnTo>
                    <a:lnTo>
                      <a:pt x="220" y="188"/>
                    </a:lnTo>
                    <a:lnTo>
                      <a:pt x="222" y="186"/>
                    </a:lnTo>
                    <a:lnTo>
                      <a:pt x="224" y="186"/>
                    </a:lnTo>
                    <a:lnTo>
                      <a:pt x="233" y="186"/>
                    </a:lnTo>
                    <a:lnTo>
                      <a:pt x="241" y="189"/>
                    </a:lnTo>
                    <a:lnTo>
                      <a:pt x="243" y="192"/>
                    </a:lnTo>
                    <a:lnTo>
                      <a:pt x="243" y="193"/>
                    </a:lnTo>
                    <a:lnTo>
                      <a:pt x="243" y="193"/>
                    </a:lnTo>
                    <a:close/>
                    <a:moveTo>
                      <a:pt x="512" y="192"/>
                    </a:moveTo>
                    <a:lnTo>
                      <a:pt x="512" y="192"/>
                    </a:lnTo>
                    <a:lnTo>
                      <a:pt x="499" y="190"/>
                    </a:lnTo>
                    <a:lnTo>
                      <a:pt x="485" y="190"/>
                    </a:lnTo>
                    <a:lnTo>
                      <a:pt x="476" y="190"/>
                    </a:lnTo>
                    <a:lnTo>
                      <a:pt x="469" y="192"/>
                    </a:lnTo>
                    <a:lnTo>
                      <a:pt x="463" y="193"/>
                    </a:lnTo>
                    <a:lnTo>
                      <a:pt x="458" y="197"/>
                    </a:lnTo>
                    <a:lnTo>
                      <a:pt x="458" y="197"/>
                    </a:lnTo>
                    <a:lnTo>
                      <a:pt x="453" y="202"/>
                    </a:lnTo>
                    <a:lnTo>
                      <a:pt x="452" y="206"/>
                    </a:lnTo>
                    <a:lnTo>
                      <a:pt x="451" y="213"/>
                    </a:lnTo>
                    <a:lnTo>
                      <a:pt x="451" y="216"/>
                    </a:lnTo>
                    <a:lnTo>
                      <a:pt x="451" y="217"/>
                    </a:lnTo>
                    <a:lnTo>
                      <a:pt x="449" y="219"/>
                    </a:lnTo>
                    <a:lnTo>
                      <a:pt x="449" y="219"/>
                    </a:lnTo>
                    <a:lnTo>
                      <a:pt x="446" y="217"/>
                    </a:lnTo>
                    <a:lnTo>
                      <a:pt x="445" y="216"/>
                    </a:lnTo>
                    <a:lnTo>
                      <a:pt x="443" y="207"/>
                    </a:lnTo>
                    <a:lnTo>
                      <a:pt x="443" y="199"/>
                    </a:lnTo>
                    <a:lnTo>
                      <a:pt x="445" y="195"/>
                    </a:lnTo>
                    <a:lnTo>
                      <a:pt x="448" y="192"/>
                    </a:lnTo>
                    <a:lnTo>
                      <a:pt x="448" y="192"/>
                    </a:lnTo>
                    <a:lnTo>
                      <a:pt x="451" y="190"/>
                    </a:lnTo>
                    <a:lnTo>
                      <a:pt x="455" y="188"/>
                    </a:lnTo>
                    <a:lnTo>
                      <a:pt x="465" y="185"/>
                    </a:lnTo>
                    <a:lnTo>
                      <a:pt x="478" y="185"/>
                    </a:lnTo>
                    <a:lnTo>
                      <a:pt x="489" y="186"/>
                    </a:lnTo>
                    <a:lnTo>
                      <a:pt x="489" y="186"/>
                    </a:lnTo>
                    <a:lnTo>
                      <a:pt x="500" y="188"/>
                    </a:lnTo>
                    <a:lnTo>
                      <a:pt x="512" y="186"/>
                    </a:lnTo>
                    <a:lnTo>
                      <a:pt x="523" y="185"/>
                    </a:lnTo>
                    <a:lnTo>
                      <a:pt x="529" y="185"/>
                    </a:lnTo>
                    <a:lnTo>
                      <a:pt x="529" y="185"/>
                    </a:lnTo>
                    <a:lnTo>
                      <a:pt x="529" y="185"/>
                    </a:lnTo>
                    <a:lnTo>
                      <a:pt x="529" y="186"/>
                    </a:lnTo>
                    <a:lnTo>
                      <a:pt x="526" y="188"/>
                    </a:lnTo>
                    <a:lnTo>
                      <a:pt x="520" y="190"/>
                    </a:lnTo>
                    <a:lnTo>
                      <a:pt x="512" y="192"/>
                    </a:lnTo>
                    <a:lnTo>
                      <a:pt x="512" y="19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2" name="Tajikistan">
                <a:extLst>
                  <a:ext uri="{FF2B5EF4-FFF2-40B4-BE49-F238E27FC236}">
                    <a16:creationId xmlns:a16="http://schemas.microsoft.com/office/drawing/2014/main" id="{95900C22-ABD3-604B-A5E9-EE667E81064F}"/>
                  </a:ext>
                </a:extLst>
              </p:cNvPr>
              <p:cNvSpPr>
                <a:spLocks/>
              </p:cNvSpPr>
              <p:nvPr/>
            </p:nvSpPr>
            <p:spPr bwMode="auto">
              <a:xfrm>
                <a:off x="5926003" y="3278331"/>
                <a:ext cx="182014" cy="119863"/>
              </a:xfrm>
              <a:custGeom>
                <a:avLst/>
                <a:gdLst/>
                <a:ahLst/>
                <a:cxnLst>
                  <a:cxn ang="0">
                    <a:pos x="103" y="68"/>
                  </a:cxn>
                  <a:cxn ang="0">
                    <a:pos x="107" y="70"/>
                  </a:cxn>
                  <a:cxn ang="0">
                    <a:pos x="117" y="72"/>
                  </a:cxn>
                  <a:cxn ang="0">
                    <a:pos x="120" y="51"/>
                  </a:cxn>
                  <a:cxn ang="0">
                    <a:pos x="117" y="47"/>
                  </a:cxn>
                  <a:cxn ang="0">
                    <a:pos x="101" y="27"/>
                  </a:cxn>
                  <a:cxn ang="0">
                    <a:pos x="86" y="28"/>
                  </a:cxn>
                  <a:cxn ang="0">
                    <a:pos x="77" y="27"/>
                  </a:cxn>
                  <a:cxn ang="0">
                    <a:pos x="67" y="26"/>
                  </a:cxn>
                  <a:cxn ang="0">
                    <a:pos x="64" y="24"/>
                  </a:cxn>
                  <a:cxn ang="0">
                    <a:pos x="54" y="26"/>
                  </a:cxn>
                  <a:cxn ang="0">
                    <a:pos x="50" y="24"/>
                  </a:cxn>
                  <a:cxn ang="0">
                    <a:pos x="33" y="24"/>
                  </a:cxn>
                  <a:cxn ang="0">
                    <a:pos x="30" y="23"/>
                  </a:cxn>
                  <a:cxn ang="0">
                    <a:pos x="37" y="14"/>
                  </a:cxn>
                  <a:cxn ang="0">
                    <a:pos x="46" y="13"/>
                  </a:cxn>
                  <a:cxn ang="0">
                    <a:pos x="52" y="3"/>
                  </a:cxn>
                  <a:cxn ang="0">
                    <a:pos x="50" y="0"/>
                  </a:cxn>
                  <a:cxn ang="0">
                    <a:pos x="42" y="3"/>
                  </a:cxn>
                  <a:cxn ang="0">
                    <a:pos x="30" y="4"/>
                  </a:cxn>
                  <a:cxn ang="0">
                    <a:pos x="26" y="11"/>
                  </a:cxn>
                  <a:cxn ang="0">
                    <a:pos x="22" y="14"/>
                  </a:cxn>
                  <a:cxn ang="0">
                    <a:pos x="17" y="21"/>
                  </a:cxn>
                  <a:cxn ang="0">
                    <a:pos x="8" y="26"/>
                  </a:cxn>
                  <a:cxn ang="0">
                    <a:pos x="0" y="28"/>
                  </a:cxn>
                  <a:cxn ang="0">
                    <a:pos x="6" y="34"/>
                  </a:cxn>
                  <a:cxn ang="0">
                    <a:pos x="10" y="41"/>
                  </a:cxn>
                  <a:cxn ang="0">
                    <a:pos x="13" y="48"/>
                  </a:cxn>
                  <a:cxn ang="0">
                    <a:pos x="13" y="55"/>
                  </a:cxn>
                  <a:cxn ang="0">
                    <a:pos x="8" y="61"/>
                  </a:cxn>
                  <a:cxn ang="0">
                    <a:pos x="6" y="72"/>
                  </a:cxn>
                  <a:cxn ang="0">
                    <a:pos x="13" y="72"/>
                  </a:cxn>
                  <a:cxn ang="0">
                    <a:pos x="17" y="71"/>
                  </a:cxn>
                  <a:cxn ang="0">
                    <a:pos x="29" y="70"/>
                  </a:cxn>
                  <a:cxn ang="0">
                    <a:pos x="30" y="67"/>
                  </a:cxn>
                  <a:cxn ang="0">
                    <a:pos x="43" y="63"/>
                  </a:cxn>
                  <a:cxn ang="0">
                    <a:pos x="45" y="61"/>
                  </a:cxn>
                  <a:cxn ang="0">
                    <a:pos x="54" y="48"/>
                  </a:cxn>
                  <a:cxn ang="0">
                    <a:pos x="62" y="47"/>
                  </a:cxn>
                  <a:cxn ang="0">
                    <a:pos x="63" y="57"/>
                  </a:cxn>
                  <a:cxn ang="0">
                    <a:pos x="66" y="60"/>
                  </a:cxn>
                  <a:cxn ang="0">
                    <a:pos x="67" y="70"/>
                  </a:cxn>
                  <a:cxn ang="0">
                    <a:pos x="67" y="80"/>
                  </a:cxn>
                  <a:cxn ang="0">
                    <a:pos x="74" y="80"/>
                  </a:cxn>
                  <a:cxn ang="0">
                    <a:pos x="83" y="77"/>
                  </a:cxn>
                  <a:cxn ang="0">
                    <a:pos x="100" y="65"/>
                  </a:cxn>
                </a:cxnLst>
                <a:rect l="0" t="0" r="r" b="b"/>
                <a:pathLst>
                  <a:path w="123" h="81">
                    <a:moveTo>
                      <a:pt x="100" y="65"/>
                    </a:moveTo>
                    <a:lnTo>
                      <a:pt x="100" y="65"/>
                    </a:lnTo>
                    <a:lnTo>
                      <a:pt x="103" y="68"/>
                    </a:lnTo>
                    <a:lnTo>
                      <a:pt x="104" y="70"/>
                    </a:lnTo>
                    <a:lnTo>
                      <a:pt x="107" y="70"/>
                    </a:lnTo>
                    <a:lnTo>
                      <a:pt x="107" y="70"/>
                    </a:lnTo>
                    <a:lnTo>
                      <a:pt x="111" y="70"/>
                    </a:lnTo>
                    <a:lnTo>
                      <a:pt x="117" y="72"/>
                    </a:lnTo>
                    <a:lnTo>
                      <a:pt x="117" y="72"/>
                    </a:lnTo>
                    <a:lnTo>
                      <a:pt x="123" y="72"/>
                    </a:lnTo>
                    <a:lnTo>
                      <a:pt x="123" y="72"/>
                    </a:lnTo>
                    <a:lnTo>
                      <a:pt x="120" y="51"/>
                    </a:lnTo>
                    <a:lnTo>
                      <a:pt x="120" y="51"/>
                    </a:lnTo>
                    <a:lnTo>
                      <a:pt x="118" y="48"/>
                    </a:lnTo>
                    <a:lnTo>
                      <a:pt x="117" y="47"/>
                    </a:lnTo>
                    <a:lnTo>
                      <a:pt x="111" y="44"/>
                    </a:lnTo>
                    <a:lnTo>
                      <a:pt x="104" y="41"/>
                    </a:lnTo>
                    <a:lnTo>
                      <a:pt x="101" y="27"/>
                    </a:lnTo>
                    <a:lnTo>
                      <a:pt x="101" y="27"/>
                    </a:lnTo>
                    <a:lnTo>
                      <a:pt x="91" y="28"/>
                    </a:lnTo>
                    <a:lnTo>
                      <a:pt x="86" y="28"/>
                    </a:lnTo>
                    <a:lnTo>
                      <a:pt x="80" y="28"/>
                    </a:lnTo>
                    <a:lnTo>
                      <a:pt x="80" y="28"/>
                    </a:lnTo>
                    <a:lnTo>
                      <a:pt x="77" y="27"/>
                    </a:lnTo>
                    <a:lnTo>
                      <a:pt x="74" y="28"/>
                    </a:lnTo>
                    <a:lnTo>
                      <a:pt x="70" y="27"/>
                    </a:lnTo>
                    <a:lnTo>
                      <a:pt x="67" y="26"/>
                    </a:lnTo>
                    <a:lnTo>
                      <a:pt x="67" y="26"/>
                    </a:lnTo>
                    <a:lnTo>
                      <a:pt x="66" y="24"/>
                    </a:lnTo>
                    <a:lnTo>
                      <a:pt x="64" y="24"/>
                    </a:lnTo>
                    <a:lnTo>
                      <a:pt x="62" y="24"/>
                    </a:lnTo>
                    <a:lnTo>
                      <a:pt x="57" y="26"/>
                    </a:lnTo>
                    <a:lnTo>
                      <a:pt x="54" y="26"/>
                    </a:lnTo>
                    <a:lnTo>
                      <a:pt x="53" y="24"/>
                    </a:lnTo>
                    <a:lnTo>
                      <a:pt x="53" y="24"/>
                    </a:lnTo>
                    <a:lnTo>
                      <a:pt x="50" y="24"/>
                    </a:lnTo>
                    <a:lnTo>
                      <a:pt x="47" y="23"/>
                    </a:lnTo>
                    <a:lnTo>
                      <a:pt x="39" y="24"/>
                    </a:lnTo>
                    <a:lnTo>
                      <a:pt x="33" y="24"/>
                    </a:lnTo>
                    <a:lnTo>
                      <a:pt x="30" y="24"/>
                    </a:lnTo>
                    <a:lnTo>
                      <a:pt x="30" y="23"/>
                    </a:lnTo>
                    <a:lnTo>
                      <a:pt x="30" y="23"/>
                    </a:lnTo>
                    <a:lnTo>
                      <a:pt x="30" y="20"/>
                    </a:lnTo>
                    <a:lnTo>
                      <a:pt x="33" y="17"/>
                    </a:lnTo>
                    <a:lnTo>
                      <a:pt x="37" y="14"/>
                    </a:lnTo>
                    <a:lnTo>
                      <a:pt x="42" y="13"/>
                    </a:lnTo>
                    <a:lnTo>
                      <a:pt x="42" y="13"/>
                    </a:lnTo>
                    <a:lnTo>
                      <a:pt x="46" y="13"/>
                    </a:lnTo>
                    <a:lnTo>
                      <a:pt x="46" y="13"/>
                    </a:lnTo>
                    <a:lnTo>
                      <a:pt x="50" y="6"/>
                    </a:lnTo>
                    <a:lnTo>
                      <a:pt x="52" y="3"/>
                    </a:lnTo>
                    <a:lnTo>
                      <a:pt x="52" y="0"/>
                    </a:lnTo>
                    <a:lnTo>
                      <a:pt x="52" y="0"/>
                    </a:lnTo>
                    <a:lnTo>
                      <a:pt x="50" y="0"/>
                    </a:lnTo>
                    <a:lnTo>
                      <a:pt x="47" y="0"/>
                    </a:lnTo>
                    <a:lnTo>
                      <a:pt x="42" y="3"/>
                    </a:lnTo>
                    <a:lnTo>
                      <a:pt x="42" y="3"/>
                    </a:lnTo>
                    <a:lnTo>
                      <a:pt x="37" y="4"/>
                    </a:lnTo>
                    <a:lnTo>
                      <a:pt x="35" y="4"/>
                    </a:lnTo>
                    <a:lnTo>
                      <a:pt x="30" y="4"/>
                    </a:lnTo>
                    <a:lnTo>
                      <a:pt x="29" y="6"/>
                    </a:lnTo>
                    <a:lnTo>
                      <a:pt x="29" y="6"/>
                    </a:lnTo>
                    <a:lnTo>
                      <a:pt x="26" y="11"/>
                    </a:lnTo>
                    <a:lnTo>
                      <a:pt x="23" y="13"/>
                    </a:lnTo>
                    <a:lnTo>
                      <a:pt x="22" y="14"/>
                    </a:lnTo>
                    <a:lnTo>
                      <a:pt x="22" y="14"/>
                    </a:lnTo>
                    <a:lnTo>
                      <a:pt x="19" y="16"/>
                    </a:lnTo>
                    <a:lnTo>
                      <a:pt x="19" y="18"/>
                    </a:lnTo>
                    <a:lnTo>
                      <a:pt x="17" y="21"/>
                    </a:lnTo>
                    <a:lnTo>
                      <a:pt x="16" y="23"/>
                    </a:lnTo>
                    <a:lnTo>
                      <a:pt x="16" y="23"/>
                    </a:lnTo>
                    <a:lnTo>
                      <a:pt x="8" y="26"/>
                    </a:lnTo>
                    <a:lnTo>
                      <a:pt x="3" y="27"/>
                    </a:lnTo>
                    <a:lnTo>
                      <a:pt x="0" y="28"/>
                    </a:lnTo>
                    <a:lnTo>
                      <a:pt x="0" y="28"/>
                    </a:lnTo>
                    <a:lnTo>
                      <a:pt x="0" y="30"/>
                    </a:lnTo>
                    <a:lnTo>
                      <a:pt x="2" y="31"/>
                    </a:lnTo>
                    <a:lnTo>
                      <a:pt x="6" y="34"/>
                    </a:lnTo>
                    <a:lnTo>
                      <a:pt x="9" y="37"/>
                    </a:lnTo>
                    <a:lnTo>
                      <a:pt x="10" y="40"/>
                    </a:lnTo>
                    <a:lnTo>
                      <a:pt x="10" y="41"/>
                    </a:lnTo>
                    <a:lnTo>
                      <a:pt x="10" y="41"/>
                    </a:lnTo>
                    <a:lnTo>
                      <a:pt x="12" y="45"/>
                    </a:lnTo>
                    <a:lnTo>
                      <a:pt x="13" y="48"/>
                    </a:lnTo>
                    <a:lnTo>
                      <a:pt x="13" y="53"/>
                    </a:lnTo>
                    <a:lnTo>
                      <a:pt x="13" y="54"/>
                    </a:lnTo>
                    <a:lnTo>
                      <a:pt x="13" y="55"/>
                    </a:lnTo>
                    <a:lnTo>
                      <a:pt x="13" y="55"/>
                    </a:lnTo>
                    <a:lnTo>
                      <a:pt x="10" y="58"/>
                    </a:lnTo>
                    <a:lnTo>
                      <a:pt x="8" y="61"/>
                    </a:lnTo>
                    <a:lnTo>
                      <a:pt x="6" y="65"/>
                    </a:lnTo>
                    <a:lnTo>
                      <a:pt x="6" y="72"/>
                    </a:lnTo>
                    <a:lnTo>
                      <a:pt x="6" y="72"/>
                    </a:lnTo>
                    <a:lnTo>
                      <a:pt x="10" y="74"/>
                    </a:lnTo>
                    <a:lnTo>
                      <a:pt x="12" y="74"/>
                    </a:lnTo>
                    <a:lnTo>
                      <a:pt x="13" y="72"/>
                    </a:lnTo>
                    <a:lnTo>
                      <a:pt x="13" y="72"/>
                    </a:lnTo>
                    <a:lnTo>
                      <a:pt x="15" y="71"/>
                    </a:lnTo>
                    <a:lnTo>
                      <a:pt x="17" y="71"/>
                    </a:lnTo>
                    <a:lnTo>
                      <a:pt x="23" y="71"/>
                    </a:lnTo>
                    <a:lnTo>
                      <a:pt x="27" y="70"/>
                    </a:lnTo>
                    <a:lnTo>
                      <a:pt x="29" y="70"/>
                    </a:lnTo>
                    <a:lnTo>
                      <a:pt x="30" y="68"/>
                    </a:lnTo>
                    <a:lnTo>
                      <a:pt x="30" y="68"/>
                    </a:lnTo>
                    <a:lnTo>
                      <a:pt x="30" y="67"/>
                    </a:lnTo>
                    <a:lnTo>
                      <a:pt x="32" y="65"/>
                    </a:lnTo>
                    <a:lnTo>
                      <a:pt x="37" y="64"/>
                    </a:lnTo>
                    <a:lnTo>
                      <a:pt x="43" y="63"/>
                    </a:lnTo>
                    <a:lnTo>
                      <a:pt x="45" y="63"/>
                    </a:lnTo>
                    <a:lnTo>
                      <a:pt x="45" y="61"/>
                    </a:lnTo>
                    <a:lnTo>
                      <a:pt x="45" y="61"/>
                    </a:lnTo>
                    <a:lnTo>
                      <a:pt x="46" y="57"/>
                    </a:lnTo>
                    <a:lnTo>
                      <a:pt x="50" y="53"/>
                    </a:lnTo>
                    <a:lnTo>
                      <a:pt x="54" y="48"/>
                    </a:lnTo>
                    <a:lnTo>
                      <a:pt x="60" y="47"/>
                    </a:lnTo>
                    <a:lnTo>
                      <a:pt x="60" y="47"/>
                    </a:lnTo>
                    <a:lnTo>
                      <a:pt x="62" y="47"/>
                    </a:lnTo>
                    <a:lnTo>
                      <a:pt x="62" y="48"/>
                    </a:lnTo>
                    <a:lnTo>
                      <a:pt x="63" y="53"/>
                    </a:lnTo>
                    <a:lnTo>
                      <a:pt x="63" y="57"/>
                    </a:lnTo>
                    <a:lnTo>
                      <a:pt x="64" y="58"/>
                    </a:lnTo>
                    <a:lnTo>
                      <a:pt x="66" y="60"/>
                    </a:lnTo>
                    <a:lnTo>
                      <a:pt x="66" y="60"/>
                    </a:lnTo>
                    <a:lnTo>
                      <a:pt x="67" y="61"/>
                    </a:lnTo>
                    <a:lnTo>
                      <a:pt x="69" y="64"/>
                    </a:lnTo>
                    <a:lnTo>
                      <a:pt x="67" y="70"/>
                    </a:lnTo>
                    <a:lnTo>
                      <a:pt x="66" y="75"/>
                    </a:lnTo>
                    <a:lnTo>
                      <a:pt x="66" y="77"/>
                    </a:lnTo>
                    <a:lnTo>
                      <a:pt x="67" y="80"/>
                    </a:lnTo>
                    <a:lnTo>
                      <a:pt x="67" y="80"/>
                    </a:lnTo>
                    <a:lnTo>
                      <a:pt x="70" y="81"/>
                    </a:lnTo>
                    <a:lnTo>
                      <a:pt x="74" y="80"/>
                    </a:lnTo>
                    <a:lnTo>
                      <a:pt x="74" y="80"/>
                    </a:lnTo>
                    <a:lnTo>
                      <a:pt x="83" y="77"/>
                    </a:lnTo>
                    <a:lnTo>
                      <a:pt x="83" y="77"/>
                    </a:lnTo>
                    <a:lnTo>
                      <a:pt x="93" y="68"/>
                    </a:lnTo>
                    <a:lnTo>
                      <a:pt x="97" y="65"/>
                    </a:lnTo>
                    <a:lnTo>
                      <a:pt x="100" y="65"/>
                    </a:lnTo>
                    <a:lnTo>
                      <a:pt x="100" y="6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3" name="Armenia">
                <a:extLst>
                  <a:ext uri="{FF2B5EF4-FFF2-40B4-BE49-F238E27FC236}">
                    <a16:creationId xmlns:a16="http://schemas.microsoft.com/office/drawing/2014/main" id="{BE00A792-FA92-9E4B-8EE5-826F31C4F167}"/>
                  </a:ext>
                </a:extLst>
              </p:cNvPr>
              <p:cNvSpPr>
                <a:spLocks/>
              </p:cNvSpPr>
              <p:nvPr/>
            </p:nvSpPr>
            <p:spPr bwMode="auto">
              <a:xfrm>
                <a:off x="5341488" y="3263533"/>
                <a:ext cx="79908" cy="66591"/>
              </a:xfrm>
              <a:custGeom>
                <a:avLst/>
                <a:gdLst/>
                <a:ahLst/>
                <a:cxnLst>
                  <a:cxn ang="0">
                    <a:pos x="51" y="36"/>
                  </a:cxn>
                  <a:cxn ang="0">
                    <a:pos x="51" y="36"/>
                  </a:cxn>
                  <a:cxn ang="0">
                    <a:pos x="48" y="33"/>
                  </a:cxn>
                  <a:cxn ang="0">
                    <a:pos x="45" y="30"/>
                  </a:cxn>
                  <a:cxn ang="0">
                    <a:pos x="43" y="27"/>
                  </a:cxn>
                  <a:cxn ang="0">
                    <a:pos x="41" y="24"/>
                  </a:cxn>
                  <a:cxn ang="0">
                    <a:pos x="41" y="24"/>
                  </a:cxn>
                  <a:cxn ang="0">
                    <a:pos x="40" y="20"/>
                  </a:cxn>
                  <a:cxn ang="0">
                    <a:pos x="37" y="17"/>
                  </a:cxn>
                  <a:cxn ang="0">
                    <a:pos x="36" y="14"/>
                  </a:cxn>
                  <a:cxn ang="0">
                    <a:pos x="36" y="11"/>
                  </a:cxn>
                  <a:cxn ang="0">
                    <a:pos x="36" y="11"/>
                  </a:cxn>
                  <a:cxn ang="0">
                    <a:pos x="34" y="8"/>
                  </a:cxn>
                  <a:cxn ang="0">
                    <a:pos x="34" y="6"/>
                  </a:cxn>
                  <a:cxn ang="0">
                    <a:pos x="30" y="1"/>
                  </a:cxn>
                  <a:cxn ang="0">
                    <a:pos x="30" y="1"/>
                  </a:cxn>
                  <a:cxn ang="0">
                    <a:pos x="23" y="0"/>
                  </a:cxn>
                  <a:cxn ang="0">
                    <a:pos x="16" y="0"/>
                  </a:cxn>
                  <a:cxn ang="0">
                    <a:pos x="16" y="0"/>
                  </a:cxn>
                  <a:cxn ang="0">
                    <a:pos x="0" y="3"/>
                  </a:cxn>
                  <a:cxn ang="0">
                    <a:pos x="0" y="3"/>
                  </a:cxn>
                  <a:cxn ang="0">
                    <a:pos x="1" y="6"/>
                  </a:cxn>
                  <a:cxn ang="0">
                    <a:pos x="1" y="8"/>
                  </a:cxn>
                  <a:cxn ang="0">
                    <a:pos x="4" y="16"/>
                  </a:cxn>
                  <a:cxn ang="0">
                    <a:pos x="4" y="16"/>
                  </a:cxn>
                  <a:cxn ang="0">
                    <a:pos x="6" y="20"/>
                  </a:cxn>
                  <a:cxn ang="0">
                    <a:pos x="10" y="20"/>
                  </a:cxn>
                  <a:cxn ang="0">
                    <a:pos x="13" y="20"/>
                  </a:cxn>
                  <a:cxn ang="0">
                    <a:pos x="16" y="21"/>
                  </a:cxn>
                  <a:cxn ang="0">
                    <a:pos x="16" y="21"/>
                  </a:cxn>
                  <a:cxn ang="0">
                    <a:pos x="18" y="27"/>
                  </a:cxn>
                  <a:cxn ang="0">
                    <a:pos x="18" y="27"/>
                  </a:cxn>
                  <a:cxn ang="0">
                    <a:pos x="20" y="27"/>
                  </a:cxn>
                  <a:cxn ang="0">
                    <a:pos x="20" y="27"/>
                  </a:cxn>
                  <a:cxn ang="0">
                    <a:pos x="23" y="28"/>
                  </a:cxn>
                  <a:cxn ang="0">
                    <a:pos x="24" y="31"/>
                  </a:cxn>
                  <a:cxn ang="0">
                    <a:pos x="24" y="31"/>
                  </a:cxn>
                  <a:cxn ang="0">
                    <a:pos x="28" y="33"/>
                  </a:cxn>
                  <a:cxn ang="0">
                    <a:pos x="33" y="34"/>
                  </a:cxn>
                  <a:cxn ang="0">
                    <a:pos x="33" y="34"/>
                  </a:cxn>
                  <a:cxn ang="0">
                    <a:pos x="36" y="34"/>
                  </a:cxn>
                  <a:cxn ang="0">
                    <a:pos x="37" y="36"/>
                  </a:cxn>
                  <a:cxn ang="0">
                    <a:pos x="40" y="37"/>
                  </a:cxn>
                  <a:cxn ang="0">
                    <a:pos x="40" y="37"/>
                  </a:cxn>
                  <a:cxn ang="0">
                    <a:pos x="43" y="41"/>
                  </a:cxn>
                  <a:cxn ang="0">
                    <a:pos x="43" y="45"/>
                  </a:cxn>
                  <a:cxn ang="0">
                    <a:pos x="43" y="45"/>
                  </a:cxn>
                  <a:cxn ang="0">
                    <a:pos x="48" y="45"/>
                  </a:cxn>
                  <a:cxn ang="0">
                    <a:pos x="54" y="44"/>
                  </a:cxn>
                  <a:cxn ang="0">
                    <a:pos x="54" y="44"/>
                  </a:cxn>
                  <a:cxn ang="0">
                    <a:pos x="51" y="38"/>
                  </a:cxn>
                  <a:cxn ang="0">
                    <a:pos x="51" y="36"/>
                  </a:cxn>
                  <a:cxn ang="0">
                    <a:pos x="51" y="36"/>
                  </a:cxn>
                </a:cxnLst>
                <a:rect l="0" t="0" r="r" b="b"/>
                <a:pathLst>
                  <a:path w="54" h="45">
                    <a:moveTo>
                      <a:pt x="51" y="36"/>
                    </a:moveTo>
                    <a:lnTo>
                      <a:pt x="51" y="36"/>
                    </a:lnTo>
                    <a:lnTo>
                      <a:pt x="48" y="33"/>
                    </a:lnTo>
                    <a:lnTo>
                      <a:pt x="45" y="30"/>
                    </a:lnTo>
                    <a:lnTo>
                      <a:pt x="43" y="27"/>
                    </a:lnTo>
                    <a:lnTo>
                      <a:pt x="41" y="24"/>
                    </a:lnTo>
                    <a:lnTo>
                      <a:pt x="41" y="24"/>
                    </a:lnTo>
                    <a:lnTo>
                      <a:pt x="40" y="20"/>
                    </a:lnTo>
                    <a:lnTo>
                      <a:pt x="37" y="17"/>
                    </a:lnTo>
                    <a:lnTo>
                      <a:pt x="36" y="14"/>
                    </a:lnTo>
                    <a:lnTo>
                      <a:pt x="36" y="11"/>
                    </a:lnTo>
                    <a:lnTo>
                      <a:pt x="36" y="11"/>
                    </a:lnTo>
                    <a:lnTo>
                      <a:pt x="34" y="8"/>
                    </a:lnTo>
                    <a:lnTo>
                      <a:pt x="34" y="6"/>
                    </a:lnTo>
                    <a:lnTo>
                      <a:pt x="30" y="1"/>
                    </a:lnTo>
                    <a:lnTo>
                      <a:pt x="30" y="1"/>
                    </a:lnTo>
                    <a:lnTo>
                      <a:pt x="23" y="0"/>
                    </a:lnTo>
                    <a:lnTo>
                      <a:pt x="16" y="0"/>
                    </a:lnTo>
                    <a:lnTo>
                      <a:pt x="16" y="0"/>
                    </a:lnTo>
                    <a:lnTo>
                      <a:pt x="0" y="3"/>
                    </a:lnTo>
                    <a:lnTo>
                      <a:pt x="0" y="3"/>
                    </a:lnTo>
                    <a:lnTo>
                      <a:pt x="1" y="6"/>
                    </a:lnTo>
                    <a:lnTo>
                      <a:pt x="1" y="8"/>
                    </a:lnTo>
                    <a:lnTo>
                      <a:pt x="4" y="16"/>
                    </a:lnTo>
                    <a:lnTo>
                      <a:pt x="4" y="16"/>
                    </a:lnTo>
                    <a:lnTo>
                      <a:pt x="6" y="20"/>
                    </a:lnTo>
                    <a:lnTo>
                      <a:pt x="10" y="20"/>
                    </a:lnTo>
                    <a:lnTo>
                      <a:pt x="13" y="20"/>
                    </a:lnTo>
                    <a:lnTo>
                      <a:pt x="16" y="21"/>
                    </a:lnTo>
                    <a:lnTo>
                      <a:pt x="16" y="21"/>
                    </a:lnTo>
                    <a:lnTo>
                      <a:pt x="18" y="27"/>
                    </a:lnTo>
                    <a:lnTo>
                      <a:pt x="18" y="27"/>
                    </a:lnTo>
                    <a:lnTo>
                      <a:pt x="20" y="27"/>
                    </a:lnTo>
                    <a:lnTo>
                      <a:pt x="20" y="27"/>
                    </a:lnTo>
                    <a:lnTo>
                      <a:pt x="23" y="28"/>
                    </a:lnTo>
                    <a:lnTo>
                      <a:pt x="24" y="31"/>
                    </a:lnTo>
                    <a:lnTo>
                      <a:pt x="24" y="31"/>
                    </a:lnTo>
                    <a:lnTo>
                      <a:pt x="28" y="33"/>
                    </a:lnTo>
                    <a:lnTo>
                      <a:pt x="33" y="34"/>
                    </a:lnTo>
                    <a:lnTo>
                      <a:pt x="33" y="34"/>
                    </a:lnTo>
                    <a:lnTo>
                      <a:pt x="36" y="34"/>
                    </a:lnTo>
                    <a:lnTo>
                      <a:pt x="37" y="36"/>
                    </a:lnTo>
                    <a:lnTo>
                      <a:pt x="40" y="37"/>
                    </a:lnTo>
                    <a:lnTo>
                      <a:pt x="40" y="37"/>
                    </a:lnTo>
                    <a:lnTo>
                      <a:pt x="43" y="41"/>
                    </a:lnTo>
                    <a:lnTo>
                      <a:pt x="43" y="45"/>
                    </a:lnTo>
                    <a:lnTo>
                      <a:pt x="43" y="45"/>
                    </a:lnTo>
                    <a:lnTo>
                      <a:pt x="48" y="45"/>
                    </a:lnTo>
                    <a:lnTo>
                      <a:pt x="54" y="44"/>
                    </a:lnTo>
                    <a:lnTo>
                      <a:pt x="54" y="44"/>
                    </a:lnTo>
                    <a:lnTo>
                      <a:pt x="51" y="38"/>
                    </a:lnTo>
                    <a:lnTo>
                      <a:pt x="51" y="36"/>
                    </a:lnTo>
                    <a:lnTo>
                      <a:pt x="51" y="3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4" name="Azerbajijan">
                <a:extLst>
                  <a:ext uri="{FF2B5EF4-FFF2-40B4-BE49-F238E27FC236}">
                    <a16:creationId xmlns:a16="http://schemas.microsoft.com/office/drawing/2014/main" id="{CE8734CA-3DE2-744F-B6FF-83C30E0F7AD8}"/>
                  </a:ext>
                </a:extLst>
              </p:cNvPr>
              <p:cNvSpPr>
                <a:spLocks noEditPoints="1"/>
              </p:cNvSpPr>
              <p:nvPr/>
            </p:nvSpPr>
            <p:spPr bwMode="auto">
              <a:xfrm>
                <a:off x="5377002" y="3247254"/>
                <a:ext cx="113944" cy="96186"/>
              </a:xfrm>
              <a:custGeom>
                <a:avLst/>
                <a:gdLst/>
                <a:ahLst/>
                <a:cxnLst>
                  <a:cxn ang="0">
                    <a:pos x="76" y="22"/>
                  </a:cxn>
                  <a:cxn ang="0">
                    <a:pos x="61" y="4"/>
                  </a:cxn>
                  <a:cxn ang="0">
                    <a:pos x="60" y="7"/>
                  </a:cxn>
                  <a:cxn ang="0">
                    <a:pos x="53" y="10"/>
                  </a:cxn>
                  <a:cxn ang="0">
                    <a:pos x="51" y="11"/>
                  </a:cxn>
                  <a:cxn ang="0">
                    <a:pos x="49" y="12"/>
                  </a:cxn>
                  <a:cxn ang="0">
                    <a:pos x="44" y="11"/>
                  </a:cxn>
                  <a:cxn ang="0">
                    <a:pos x="41" y="10"/>
                  </a:cxn>
                  <a:cxn ang="0">
                    <a:pos x="36" y="4"/>
                  </a:cxn>
                  <a:cxn ang="0">
                    <a:pos x="31" y="2"/>
                  </a:cxn>
                  <a:cxn ang="0">
                    <a:pos x="27" y="0"/>
                  </a:cxn>
                  <a:cxn ang="0">
                    <a:pos x="24" y="7"/>
                  </a:cxn>
                  <a:cxn ang="0">
                    <a:pos x="27" y="10"/>
                  </a:cxn>
                  <a:cxn ang="0">
                    <a:pos x="29" y="14"/>
                  </a:cxn>
                  <a:cxn ang="0">
                    <a:pos x="26" y="14"/>
                  </a:cxn>
                  <a:cxn ang="0">
                    <a:pos x="19" y="14"/>
                  </a:cxn>
                  <a:cxn ang="0">
                    <a:pos x="17" y="12"/>
                  </a:cxn>
                  <a:cxn ang="0">
                    <a:pos x="7" y="8"/>
                  </a:cxn>
                  <a:cxn ang="0">
                    <a:pos x="6" y="10"/>
                  </a:cxn>
                  <a:cxn ang="0">
                    <a:pos x="9" y="15"/>
                  </a:cxn>
                  <a:cxn ang="0">
                    <a:pos x="12" y="22"/>
                  </a:cxn>
                  <a:cxn ang="0">
                    <a:pos x="12" y="25"/>
                  </a:cxn>
                  <a:cxn ang="0">
                    <a:pos x="16" y="31"/>
                  </a:cxn>
                  <a:cxn ang="0">
                    <a:pos x="17" y="35"/>
                  </a:cxn>
                  <a:cxn ang="0">
                    <a:pos x="21" y="41"/>
                  </a:cxn>
                  <a:cxn ang="0">
                    <a:pos x="27" y="47"/>
                  </a:cxn>
                  <a:cxn ang="0">
                    <a:pos x="27" y="49"/>
                  </a:cxn>
                  <a:cxn ang="0">
                    <a:pos x="30" y="55"/>
                  </a:cxn>
                  <a:cxn ang="0">
                    <a:pos x="49" y="42"/>
                  </a:cxn>
                  <a:cxn ang="0">
                    <a:pos x="51" y="42"/>
                  </a:cxn>
                  <a:cxn ang="0">
                    <a:pos x="54" y="48"/>
                  </a:cxn>
                  <a:cxn ang="0">
                    <a:pos x="51" y="56"/>
                  </a:cxn>
                  <a:cxn ang="0">
                    <a:pos x="53" y="59"/>
                  </a:cxn>
                  <a:cxn ang="0">
                    <a:pos x="64" y="65"/>
                  </a:cxn>
                  <a:cxn ang="0">
                    <a:pos x="64" y="61"/>
                  </a:cxn>
                  <a:cxn ang="0">
                    <a:pos x="67" y="56"/>
                  </a:cxn>
                  <a:cxn ang="0">
                    <a:pos x="76" y="38"/>
                  </a:cxn>
                  <a:cxn ang="0">
                    <a:pos x="77" y="25"/>
                  </a:cxn>
                  <a:cxn ang="0">
                    <a:pos x="76" y="22"/>
                  </a:cxn>
                  <a:cxn ang="0">
                    <a:pos x="9" y="45"/>
                  </a:cxn>
                  <a:cxn ang="0">
                    <a:pos x="0" y="42"/>
                  </a:cxn>
                  <a:cxn ang="0">
                    <a:pos x="2" y="47"/>
                  </a:cxn>
                  <a:cxn ang="0">
                    <a:pos x="6" y="51"/>
                  </a:cxn>
                  <a:cxn ang="0">
                    <a:pos x="9" y="52"/>
                  </a:cxn>
                  <a:cxn ang="0">
                    <a:pos x="10" y="55"/>
                  </a:cxn>
                  <a:cxn ang="0">
                    <a:pos x="17" y="56"/>
                  </a:cxn>
                  <a:cxn ang="0">
                    <a:pos x="19" y="56"/>
                  </a:cxn>
                  <a:cxn ang="0">
                    <a:pos x="16" y="48"/>
                  </a:cxn>
                  <a:cxn ang="0">
                    <a:pos x="13" y="47"/>
                  </a:cxn>
                  <a:cxn ang="0">
                    <a:pos x="9" y="45"/>
                  </a:cxn>
                </a:cxnLst>
                <a:rect l="0" t="0" r="r" b="b"/>
                <a:pathLst>
                  <a:path w="77" h="65">
                    <a:moveTo>
                      <a:pt x="76" y="22"/>
                    </a:moveTo>
                    <a:lnTo>
                      <a:pt x="76" y="22"/>
                    </a:lnTo>
                    <a:lnTo>
                      <a:pt x="70" y="14"/>
                    </a:lnTo>
                    <a:lnTo>
                      <a:pt x="61" y="4"/>
                    </a:lnTo>
                    <a:lnTo>
                      <a:pt x="61" y="4"/>
                    </a:lnTo>
                    <a:lnTo>
                      <a:pt x="60" y="7"/>
                    </a:lnTo>
                    <a:lnTo>
                      <a:pt x="56" y="8"/>
                    </a:lnTo>
                    <a:lnTo>
                      <a:pt x="53" y="10"/>
                    </a:lnTo>
                    <a:lnTo>
                      <a:pt x="51" y="11"/>
                    </a:lnTo>
                    <a:lnTo>
                      <a:pt x="51" y="11"/>
                    </a:lnTo>
                    <a:lnTo>
                      <a:pt x="50" y="12"/>
                    </a:lnTo>
                    <a:lnTo>
                      <a:pt x="49" y="12"/>
                    </a:lnTo>
                    <a:lnTo>
                      <a:pt x="46" y="11"/>
                    </a:lnTo>
                    <a:lnTo>
                      <a:pt x="44" y="11"/>
                    </a:lnTo>
                    <a:lnTo>
                      <a:pt x="44" y="11"/>
                    </a:lnTo>
                    <a:lnTo>
                      <a:pt x="41" y="10"/>
                    </a:lnTo>
                    <a:lnTo>
                      <a:pt x="39" y="7"/>
                    </a:lnTo>
                    <a:lnTo>
                      <a:pt x="36" y="4"/>
                    </a:lnTo>
                    <a:lnTo>
                      <a:pt x="31" y="2"/>
                    </a:lnTo>
                    <a:lnTo>
                      <a:pt x="31" y="2"/>
                    </a:lnTo>
                    <a:lnTo>
                      <a:pt x="27" y="0"/>
                    </a:lnTo>
                    <a:lnTo>
                      <a:pt x="27" y="0"/>
                    </a:lnTo>
                    <a:lnTo>
                      <a:pt x="24" y="4"/>
                    </a:lnTo>
                    <a:lnTo>
                      <a:pt x="24" y="7"/>
                    </a:lnTo>
                    <a:lnTo>
                      <a:pt x="24" y="7"/>
                    </a:lnTo>
                    <a:lnTo>
                      <a:pt x="27" y="10"/>
                    </a:lnTo>
                    <a:lnTo>
                      <a:pt x="29" y="11"/>
                    </a:lnTo>
                    <a:lnTo>
                      <a:pt x="29" y="14"/>
                    </a:lnTo>
                    <a:lnTo>
                      <a:pt x="29" y="14"/>
                    </a:lnTo>
                    <a:lnTo>
                      <a:pt x="26" y="14"/>
                    </a:lnTo>
                    <a:lnTo>
                      <a:pt x="23" y="15"/>
                    </a:lnTo>
                    <a:lnTo>
                      <a:pt x="19" y="14"/>
                    </a:lnTo>
                    <a:lnTo>
                      <a:pt x="17" y="12"/>
                    </a:lnTo>
                    <a:lnTo>
                      <a:pt x="17" y="12"/>
                    </a:lnTo>
                    <a:lnTo>
                      <a:pt x="10" y="8"/>
                    </a:lnTo>
                    <a:lnTo>
                      <a:pt x="7" y="8"/>
                    </a:lnTo>
                    <a:lnTo>
                      <a:pt x="6" y="10"/>
                    </a:lnTo>
                    <a:lnTo>
                      <a:pt x="6" y="10"/>
                    </a:lnTo>
                    <a:lnTo>
                      <a:pt x="6" y="11"/>
                    </a:lnTo>
                    <a:lnTo>
                      <a:pt x="9" y="15"/>
                    </a:lnTo>
                    <a:lnTo>
                      <a:pt x="10" y="18"/>
                    </a:lnTo>
                    <a:lnTo>
                      <a:pt x="12" y="22"/>
                    </a:lnTo>
                    <a:lnTo>
                      <a:pt x="12" y="22"/>
                    </a:lnTo>
                    <a:lnTo>
                      <a:pt x="12" y="25"/>
                    </a:lnTo>
                    <a:lnTo>
                      <a:pt x="13" y="28"/>
                    </a:lnTo>
                    <a:lnTo>
                      <a:pt x="16" y="31"/>
                    </a:lnTo>
                    <a:lnTo>
                      <a:pt x="17" y="35"/>
                    </a:lnTo>
                    <a:lnTo>
                      <a:pt x="17" y="35"/>
                    </a:lnTo>
                    <a:lnTo>
                      <a:pt x="19" y="38"/>
                    </a:lnTo>
                    <a:lnTo>
                      <a:pt x="21" y="41"/>
                    </a:lnTo>
                    <a:lnTo>
                      <a:pt x="24" y="44"/>
                    </a:lnTo>
                    <a:lnTo>
                      <a:pt x="27" y="47"/>
                    </a:lnTo>
                    <a:lnTo>
                      <a:pt x="27" y="47"/>
                    </a:lnTo>
                    <a:lnTo>
                      <a:pt x="27" y="49"/>
                    </a:lnTo>
                    <a:lnTo>
                      <a:pt x="30" y="55"/>
                    </a:lnTo>
                    <a:lnTo>
                      <a:pt x="30" y="55"/>
                    </a:lnTo>
                    <a:lnTo>
                      <a:pt x="40" y="48"/>
                    </a:lnTo>
                    <a:lnTo>
                      <a:pt x="49" y="42"/>
                    </a:lnTo>
                    <a:lnTo>
                      <a:pt x="49" y="42"/>
                    </a:lnTo>
                    <a:lnTo>
                      <a:pt x="51" y="42"/>
                    </a:lnTo>
                    <a:lnTo>
                      <a:pt x="53" y="42"/>
                    </a:lnTo>
                    <a:lnTo>
                      <a:pt x="54" y="48"/>
                    </a:lnTo>
                    <a:lnTo>
                      <a:pt x="53" y="54"/>
                    </a:lnTo>
                    <a:lnTo>
                      <a:pt x="51" y="56"/>
                    </a:lnTo>
                    <a:lnTo>
                      <a:pt x="51" y="56"/>
                    </a:lnTo>
                    <a:lnTo>
                      <a:pt x="53" y="59"/>
                    </a:lnTo>
                    <a:lnTo>
                      <a:pt x="56" y="61"/>
                    </a:lnTo>
                    <a:lnTo>
                      <a:pt x="64" y="65"/>
                    </a:lnTo>
                    <a:lnTo>
                      <a:pt x="64" y="65"/>
                    </a:lnTo>
                    <a:lnTo>
                      <a:pt x="64" y="61"/>
                    </a:lnTo>
                    <a:lnTo>
                      <a:pt x="67" y="56"/>
                    </a:lnTo>
                    <a:lnTo>
                      <a:pt x="67" y="56"/>
                    </a:lnTo>
                    <a:lnTo>
                      <a:pt x="71" y="48"/>
                    </a:lnTo>
                    <a:lnTo>
                      <a:pt x="76" y="38"/>
                    </a:lnTo>
                    <a:lnTo>
                      <a:pt x="77" y="29"/>
                    </a:lnTo>
                    <a:lnTo>
                      <a:pt x="77" y="25"/>
                    </a:lnTo>
                    <a:lnTo>
                      <a:pt x="76" y="22"/>
                    </a:lnTo>
                    <a:lnTo>
                      <a:pt x="76" y="22"/>
                    </a:lnTo>
                    <a:close/>
                    <a:moveTo>
                      <a:pt x="9" y="45"/>
                    </a:moveTo>
                    <a:lnTo>
                      <a:pt x="9" y="45"/>
                    </a:lnTo>
                    <a:lnTo>
                      <a:pt x="4" y="44"/>
                    </a:lnTo>
                    <a:lnTo>
                      <a:pt x="0" y="42"/>
                    </a:lnTo>
                    <a:lnTo>
                      <a:pt x="0" y="42"/>
                    </a:lnTo>
                    <a:lnTo>
                      <a:pt x="2" y="47"/>
                    </a:lnTo>
                    <a:lnTo>
                      <a:pt x="3" y="48"/>
                    </a:lnTo>
                    <a:lnTo>
                      <a:pt x="6" y="51"/>
                    </a:lnTo>
                    <a:lnTo>
                      <a:pt x="6" y="51"/>
                    </a:lnTo>
                    <a:lnTo>
                      <a:pt x="9" y="52"/>
                    </a:lnTo>
                    <a:lnTo>
                      <a:pt x="9" y="54"/>
                    </a:lnTo>
                    <a:lnTo>
                      <a:pt x="10" y="55"/>
                    </a:lnTo>
                    <a:lnTo>
                      <a:pt x="17" y="56"/>
                    </a:lnTo>
                    <a:lnTo>
                      <a:pt x="17" y="56"/>
                    </a:lnTo>
                    <a:lnTo>
                      <a:pt x="19" y="56"/>
                    </a:lnTo>
                    <a:lnTo>
                      <a:pt x="19" y="56"/>
                    </a:lnTo>
                    <a:lnTo>
                      <a:pt x="19" y="52"/>
                    </a:lnTo>
                    <a:lnTo>
                      <a:pt x="16" y="48"/>
                    </a:lnTo>
                    <a:lnTo>
                      <a:pt x="16" y="48"/>
                    </a:lnTo>
                    <a:lnTo>
                      <a:pt x="13" y="47"/>
                    </a:lnTo>
                    <a:lnTo>
                      <a:pt x="12" y="45"/>
                    </a:lnTo>
                    <a:lnTo>
                      <a:pt x="9" y="45"/>
                    </a:lnTo>
                    <a:lnTo>
                      <a:pt x="9" y="4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5" name="Montenegro">
                <a:extLst>
                  <a:ext uri="{FF2B5EF4-FFF2-40B4-BE49-F238E27FC236}">
                    <a16:creationId xmlns:a16="http://schemas.microsoft.com/office/drawing/2014/main" id="{38C59D81-5817-D240-9260-ED1152431993}"/>
                  </a:ext>
                </a:extLst>
              </p:cNvPr>
              <p:cNvSpPr>
                <a:spLocks/>
              </p:cNvSpPr>
              <p:nvPr/>
            </p:nvSpPr>
            <p:spPr bwMode="auto">
              <a:xfrm>
                <a:off x="4755493" y="3202862"/>
                <a:ext cx="28116" cy="36995"/>
              </a:xfrm>
              <a:custGeom>
                <a:avLst/>
                <a:gdLst/>
                <a:ahLst/>
                <a:cxnLst>
                  <a:cxn ang="0">
                    <a:pos x="6" y="0"/>
                  </a:cxn>
                  <a:cxn ang="0">
                    <a:pos x="6" y="0"/>
                  </a:cxn>
                  <a:cxn ang="0">
                    <a:pos x="2" y="7"/>
                  </a:cxn>
                  <a:cxn ang="0">
                    <a:pos x="0" y="12"/>
                  </a:cxn>
                  <a:cxn ang="0">
                    <a:pos x="0" y="12"/>
                  </a:cxn>
                  <a:cxn ang="0">
                    <a:pos x="0" y="17"/>
                  </a:cxn>
                  <a:cxn ang="0">
                    <a:pos x="0" y="17"/>
                  </a:cxn>
                  <a:cxn ang="0">
                    <a:pos x="12" y="25"/>
                  </a:cxn>
                  <a:cxn ang="0">
                    <a:pos x="12" y="25"/>
                  </a:cxn>
                  <a:cxn ang="0">
                    <a:pos x="12" y="25"/>
                  </a:cxn>
                  <a:cxn ang="0">
                    <a:pos x="12" y="25"/>
                  </a:cxn>
                  <a:cxn ang="0">
                    <a:pos x="15" y="18"/>
                  </a:cxn>
                  <a:cxn ang="0">
                    <a:pos x="18" y="15"/>
                  </a:cxn>
                  <a:cxn ang="0">
                    <a:pos x="19" y="14"/>
                  </a:cxn>
                  <a:cxn ang="0">
                    <a:pos x="19" y="14"/>
                  </a:cxn>
                  <a:cxn ang="0">
                    <a:pos x="6" y="0"/>
                  </a:cxn>
                  <a:cxn ang="0">
                    <a:pos x="6" y="0"/>
                  </a:cxn>
                </a:cxnLst>
                <a:rect l="0" t="0" r="r" b="b"/>
                <a:pathLst>
                  <a:path w="19" h="25">
                    <a:moveTo>
                      <a:pt x="6" y="0"/>
                    </a:moveTo>
                    <a:lnTo>
                      <a:pt x="6" y="0"/>
                    </a:lnTo>
                    <a:lnTo>
                      <a:pt x="2" y="7"/>
                    </a:lnTo>
                    <a:lnTo>
                      <a:pt x="0" y="12"/>
                    </a:lnTo>
                    <a:lnTo>
                      <a:pt x="0" y="12"/>
                    </a:lnTo>
                    <a:lnTo>
                      <a:pt x="0" y="17"/>
                    </a:lnTo>
                    <a:lnTo>
                      <a:pt x="0" y="17"/>
                    </a:lnTo>
                    <a:lnTo>
                      <a:pt x="12" y="25"/>
                    </a:lnTo>
                    <a:lnTo>
                      <a:pt x="12" y="25"/>
                    </a:lnTo>
                    <a:lnTo>
                      <a:pt x="12" y="25"/>
                    </a:lnTo>
                    <a:lnTo>
                      <a:pt x="12" y="25"/>
                    </a:lnTo>
                    <a:lnTo>
                      <a:pt x="15" y="18"/>
                    </a:lnTo>
                    <a:lnTo>
                      <a:pt x="18" y="15"/>
                    </a:lnTo>
                    <a:lnTo>
                      <a:pt x="19" y="14"/>
                    </a:lnTo>
                    <a:lnTo>
                      <a:pt x="19" y="14"/>
                    </a:lnTo>
                    <a:lnTo>
                      <a:pt x="6" y="0"/>
                    </a:lnTo>
                    <a:lnTo>
                      <a:pt x="6"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6" name="Greenland">
                <a:extLst>
                  <a:ext uri="{FF2B5EF4-FFF2-40B4-BE49-F238E27FC236}">
                    <a16:creationId xmlns:a16="http://schemas.microsoft.com/office/drawing/2014/main" id="{85A86DF7-C790-C34C-95E0-C204BF0640F7}"/>
                  </a:ext>
                </a:extLst>
              </p:cNvPr>
              <p:cNvSpPr>
                <a:spLocks noEditPoints="1"/>
              </p:cNvSpPr>
              <p:nvPr/>
            </p:nvSpPr>
            <p:spPr bwMode="auto">
              <a:xfrm>
                <a:off x="2583171" y="1589897"/>
                <a:ext cx="1453148" cy="1081722"/>
              </a:xfrm>
              <a:custGeom>
                <a:avLst/>
                <a:gdLst/>
                <a:ahLst/>
                <a:cxnLst>
                  <a:cxn ang="0">
                    <a:pos x="862" y="84"/>
                  </a:cxn>
                  <a:cxn ang="0">
                    <a:pos x="790" y="117"/>
                  </a:cxn>
                  <a:cxn ang="0">
                    <a:pos x="793" y="67"/>
                  </a:cxn>
                  <a:cxn ang="0">
                    <a:pos x="767" y="68"/>
                  </a:cxn>
                  <a:cxn ang="0">
                    <a:pos x="690" y="61"/>
                  </a:cxn>
                  <a:cxn ang="0">
                    <a:pos x="820" y="33"/>
                  </a:cxn>
                  <a:cxn ang="0">
                    <a:pos x="756" y="10"/>
                  </a:cxn>
                  <a:cxn ang="0">
                    <a:pos x="574" y="6"/>
                  </a:cxn>
                  <a:cxn ang="0">
                    <a:pos x="545" y="14"/>
                  </a:cxn>
                  <a:cxn ang="0">
                    <a:pos x="426" y="20"/>
                  </a:cxn>
                  <a:cxn ang="0">
                    <a:pos x="421" y="50"/>
                  </a:cxn>
                  <a:cxn ang="0">
                    <a:pos x="397" y="53"/>
                  </a:cxn>
                  <a:cxn ang="0">
                    <a:pos x="370" y="67"/>
                  </a:cxn>
                  <a:cxn ang="0">
                    <a:pos x="320" y="70"/>
                  </a:cxn>
                  <a:cxn ang="0">
                    <a:pos x="289" y="48"/>
                  </a:cxn>
                  <a:cxn ang="0">
                    <a:pos x="224" y="71"/>
                  </a:cxn>
                  <a:cxn ang="0">
                    <a:pos x="177" y="98"/>
                  </a:cxn>
                  <a:cxn ang="0">
                    <a:pos x="116" y="138"/>
                  </a:cxn>
                  <a:cxn ang="0">
                    <a:pos x="62" y="178"/>
                  </a:cxn>
                  <a:cxn ang="0">
                    <a:pos x="30" y="216"/>
                  </a:cxn>
                  <a:cxn ang="0">
                    <a:pos x="106" y="233"/>
                  </a:cxn>
                  <a:cxn ang="0">
                    <a:pos x="26" y="248"/>
                  </a:cxn>
                  <a:cxn ang="0">
                    <a:pos x="91" y="282"/>
                  </a:cxn>
                  <a:cxn ang="0">
                    <a:pos x="134" y="272"/>
                  </a:cxn>
                  <a:cxn ang="0">
                    <a:pos x="231" y="296"/>
                  </a:cxn>
                  <a:cxn ang="0">
                    <a:pos x="275" y="357"/>
                  </a:cxn>
                  <a:cxn ang="0">
                    <a:pos x="281" y="403"/>
                  </a:cxn>
                  <a:cxn ang="0">
                    <a:pos x="316" y="415"/>
                  </a:cxn>
                  <a:cxn ang="0">
                    <a:pos x="342" y="450"/>
                  </a:cxn>
                  <a:cxn ang="0">
                    <a:pos x="353" y="471"/>
                  </a:cxn>
                  <a:cxn ang="0">
                    <a:pos x="320" y="512"/>
                  </a:cxn>
                  <a:cxn ang="0">
                    <a:pos x="322" y="558"/>
                  </a:cxn>
                  <a:cxn ang="0">
                    <a:pos x="335" y="619"/>
                  </a:cxn>
                  <a:cxn ang="0">
                    <a:pos x="363" y="653"/>
                  </a:cxn>
                  <a:cxn ang="0">
                    <a:pos x="409" y="708"/>
                  </a:cxn>
                  <a:cxn ang="0">
                    <a:pos x="474" y="730"/>
                  </a:cxn>
                  <a:cxn ang="0">
                    <a:pos x="490" y="669"/>
                  </a:cxn>
                  <a:cxn ang="0">
                    <a:pos x="514" y="640"/>
                  </a:cxn>
                  <a:cxn ang="0">
                    <a:pos x="520" y="607"/>
                  </a:cxn>
                  <a:cxn ang="0">
                    <a:pos x="547" y="588"/>
                  </a:cxn>
                  <a:cxn ang="0">
                    <a:pos x="571" y="582"/>
                  </a:cxn>
                  <a:cxn ang="0">
                    <a:pos x="656" y="528"/>
                  </a:cxn>
                  <a:cxn ang="0">
                    <a:pos x="699" y="512"/>
                  </a:cxn>
                  <a:cxn ang="0">
                    <a:pos x="823" y="461"/>
                  </a:cxn>
                  <a:cxn ang="0">
                    <a:pos x="754" y="451"/>
                  </a:cxn>
                  <a:cxn ang="0">
                    <a:pos x="801" y="452"/>
                  </a:cxn>
                  <a:cxn ang="0">
                    <a:pos x="787" y="398"/>
                  </a:cxn>
                  <a:cxn ang="0">
                    <a:pos x="820" y="377"/>
                  </a:cxn>
                  <a:cxn ang="0">
                    <a:pos x="786" y="366"/>
                  </a:cxn>
                  <a:cxn ang="0">
                    <a:pos x="847" y="360"/>
                  </a:cxn>
                  <a:cxn ang="0">
                    <a:pos x="870" y="327"/>
                  </a:cxn>
                  <a:cxn ang="0">
                    <a:pos x="865" y="303"/>
                  </a:cxn>
                  <a:cxn ang="0">
                    <a:pos x="825" y="263"/>
                  </a:cxn>
                  <a:cxn ang="0">
                    <a:pos x="882" y="252"/>
                  </a:cxn>
                  <a:cxn ang="0">
                    <a:pos x="845" y="226"/>
                  </a:cxn>
                  <a:cxn ang="0">
                    <a:pos x="827" y="223"/>
                  </a:cxn>
                  <a:cxn ang="0">
                    <a:pos x="858" y="174"/>
                  </a:cxn>
                  <a:cxn ang="0">
                    <a:pos x="877" y="138"/>
                  </a:cxn>
                  <a:cxn ang="0">
                    <a:pos x="912" y="127"/>
                  </a:cxn>
                  <a:cxn ang="0">
                    <a:pos x="925" y="108"/>
                  </a:cxn>
                  <a:cxn ang="0">
                    <a:pos x="928" y="67"/>
                  </a:cxn>
                  <a:cxn ang="0">
                    <a:pos x="292" y="462"/>
                  </a:cxn>
                  <a:cxn ang="0">
                    <a:pos x="336" y="479"/>
                  </a:cxn>
                </a:cxnLst>
                <a:rect l="0" t="0" r="r" b="b"/>
                <a:pathLst>
                  <a:path w="982" h="731">
                    <a:moveTo>
                      <a:pt x="928" y="67"/>
                    </a:moveTo>
                    <a:lnTo>
                      <a:pt x="928" y="67"/>
                    </a:lnTo>
                    <a:lnTo>
                      <a:pt x="915" y="67"/>
                    </a:lnTo>
                    <a:lnTo>
                      <a:pt x="905" y="70"/>
                    </a:lnTo>
                    <a:lnTo>
                      <a:pt x="901" y="71"/>
                    </a:lnTo>
                    <a:lnTo>
                      <a:pt x="898" y="74"/>
                    </a:lnTo>
                    <a:lnTo>
                      <a:pt x="895" y="77"/>
                    </a:lnTo>
                    <a:lnTo>
                      <a:pt x="895" y="81"/>
                    </a:lnTo>
                    <a:lnTo>
                      <a:pt x="895" y="81"/>
                    </a:lnTo>
                    <a:lnTo>
                      <a:pt x="894" y="85"/>
                    </a:lnTo>
                    <a:lnTo>
                      <a:pt x="891" y="87"/>
                    </a:lnTo>
                    <a:lnTo>
                      <a:pt x="887" y="87"/>
                    </a:lnTo>
                    <a:lnTo>
                      <a:pt x="881" y="85"/>
                    </a:lnTo>
                    <a:lnTo>
                      <a:pt x="871" y="83"/>
                    </a:lnTo>
                    <a:lnTo>
                      <a:pt x="865" y="83"/>
                    </a:lnTo>
                    <a:lnTo>
                      <a:pt x="862" y="84"/>
                    </a:lnTo>
                    <a:lnTo>
                      <a:pt x="862" y="84"/>
                    </a:lnTo>
                    <a:lnTo>
                      <a:pt x="858" y="84"/>
                    </a:lnTo>
                    <a:lnTo>
                      <a:pt x="857" y="84"/>
                    </a:lnTo>
                    <a:lnTo>
                      <a:pt x="855" y="81"/>
                    </a:lnTo>
                    <a:lnTo>
                      <a:pt x="853" y="78"/>
                    </a:lnTo>
                    <a:lnTo>
                      <a:pt x="851" y="77"/>
                    </a:lnTo>
                    <a:lnTo>
                      <a:pt x="848" y="78"/>
                    </a:lnTo>
                    <a:lnTo>
                      <a:pt x="848" y="78"/>
                    </a:lnTo>
                    <a:lnTo>
                      <a:pt x="840" y="83"/>
                    </a:lnTo>
                    <a:lnTo>
                      <a:pt x="833" y="88"/>
                    </a:lnTo>
                    <a:lnTo>
                      <a:pt x="824" y="94"/>
                    </a:lnTo>
                    <a:lnTo>
                      <a:pt x="817" y="100"/>
                    </a:lnTo>
                    <a:lnTo>
                      <a:pt x="817" y="100"/>
                    </a:lnTo>
                    <a:lnTo>
                      <a:pt x="808" y="104"/>
                    </a:lnTo>
                    <a:lnTo>
                      <a:pt x="801" y="110"/>
                    </a:lnTo>
                    <a:lnTo>
                      <a:pt x="794" y="114"/>
                    </a:lnTo>
                    <a:lnTo>
                      <a:pt x="790" y="117"/>
                    </a:lnTo>
                    <a:lnTo>
                      <a:pt x="790" y="117"/>
                    </a:lnTo>
                    <a:lnTo>
                      <a:pt x="788" y="115"/>
                    </a:lnTo>
                    <a:lnTo>
                      <a:pt x="788" y="114"/>
                    </a:lnTo>
                    <a:lnTo>
                      <a:pt x="796" y="105"/>
                    </a:lnTo>
                    <a:lnTo>
                      <a:pt x="816" y="84"/>
                    </a:lnTo>
                    <a:lnTo>
                      <a:pt x="816" y="84"/>
                    </a:lnTo>
                    <a:lnTo>
                      <a:pt x="820" y="80"/>
                    </a:lnTo>
                    <a:lnTo>
                      <a:pt x="821" y="75"/>
                    </a:lnTo>
                    <a:lnTo>
                      <a:pt x="821" y="71"/>
                    </a:lnTo>
                    <a:lnTo>
                      <a:pt x="821" y="67"/>
                    </a:lnTo>
                    <a:lnTo>
                      <a:pt x="818" y="64"/>
                    </a:lnTo>
                    <a:lnTo>
                      <a:pt x="816" y="61"/>
                    </a:lnTo>
                    <a:lnTo>
                      <a:pt x="811" y="60"/>
                    </a:lnTo>
                    <a:lnTo>
                      <a:pt x="806" y="60"/>
                    </a:lnTo>
                    <a:lnTo>
                      <a:pt x="806" y="60"/>
                    </a:lnTo>
                    <a:lnTo>
                      <a:pt x="801" y="61"/>
                    </a:lnTo>
                    <a:lnTo>
                      <a:pt x="797" y="63"/>
                    </a:lnTo>
                    <a:lnTo>
                      <a:pt x="793" y="67"/>
                    </a:lnTo>
                    <a:lnTo>
                      <a:pt x="790" y="70"/>
                    </a:lnTo>
                    <a:lnTo>
                      <a:pt x="788" y="73"/>
                    </a:lnTo>
                    <a:lnTo>
                      <a:pt x="786" y="73"/>
                    </a:lnTo>
                    <a:lnTo>
                      <a:pt x="786" y="73"/>
                    </a:lnTo>
                    <a:lnTo>
                      <a:pt x="774" y="77"/>
                    </a:lnTo>
                    <a:lnTo>
                      <a:pt x="757" y="84"/>
                    </a:lnTo>
                    <a:lnTo>
                      <a:pt x="742" y="90"/>
                    </a:lnTo>
                    <a:lnTo>
                      <a:pt x="737" y="90"/>
                    </a:lnTo>
                    <a:lnTo>
                      <a:pt x="734" y="90"/>
                    </a:lnTo>
                    <a:lnTo>
                      <a:pt x="734" y="90"/>
                    </a:lnTo>
                    <a:lnTo>
                      <a:pt x="734" y="90"/>
                    </a:lnTo>
                    <a:lnTo>
                      <a:pt x="734" y="87"/>
                    </a:lnTo>
                    <a:lnTo>
                      <a:pt x="739" y="84"/>
                    </a:lnTo>
                    <a:lnTo>
                      <a:pt x="750" y="78"/>
                    </a:lnTo>
                    <a:lnTo>
                      <a:pt x="761" y="73"/>
                    </a:lnTo>
                    <a:lnTo>
                      <a:pt x="766" y="70"/>
                    </a:lnTo>
                    <a:lnTo>
                      <a:pt x="767" y="68"/>
                    </a:lnTo>
                    <a:lnTo>
                      <a:pt x="767" y="68"/>
                    </a:lnTo>
                    <a:lnTo>
                      <a:pt x="766" y="67"/>
                    </a:lnTo>
                    <a:lnTo>
                      <a:pt x="760" y="65"/>
                    </a:lnTo>
                    <a:lnTo>
                      <a:pt x="742" y="64"/>
                    </a:lnTo>
                    <a:lnTo>
                      <a:pt x="722" y="65"/>
                    </a:lnTo>
                    <a:lnTo>
                      <a:pt x="703" y="67"/>
                    </a:lnTo>
                    <a:lnTo>
                      <a:pt x="703" y="67"/>
                    </a:lnTo>
                    <a:lnTo>
                      <a:pt x="686" y="70"/>
                    </a:lnTo>
                    <a:lnTo>
                      <a:pt x="668" y="74"/>
                    </a:lnTo>
                    <a:lnTo>
                      <a:pt x="653" y="77"/>
                    </a:lnTo>
                    <a:lnTo>
                      <a:pt x="649" y="77"/>
                    </a:lnTo>
                    <a:lnTo>
                      <a:pt x="648" y="75"/>
                    </a:lnTo>
                    <a:lnTo>
                      <a:pt x="648" y="75"/>
                    </a:lnTo>
                    <a:lnTo>
                      <a:pt x="649" y="73"/>
                    </a:lnTo>
                    <a:lnTo>
                      <a:pt x="653" y="70"/>
                    </a:lnTo>
                    <a:lnTo>
                      <a:pt x="670" y="65"/>
                    </a:lnTo>
                    <a:lnTo>
                      <a:pt x="690" y="61"/>
                    </a:lnTo>
                    <a:lnTo>
                      <a:pt x="709" y="58"/>
                    </a:lnTo>
                    <a:lnTo>
                      <a:pt x="709" y="58"/>
                    </a:lnTo>
                    <a:lnTo>
                      <a:pt x="727" y="58"/>
                    </a:lnTo>
                    <a:lnTo>
                      <a:pt x="749" y="58"/>
                    </a:lnTo>
                    <a:lnTo>
                      <a:pt x="769" y="57"/>
                    </a:lnTo>
                    <a:lnTo>
                      <a:pt x="777" y="55"/>
                    </a:lnTo>
                    <a:lnTo>
                      <a:pt x="784" y="54"/>
                    </a:lnTo>
                    <a:lnTo>
                      <a:pt x="784" y="54"/>
                    </a:lnTo>
                    <a:lnTo>
                      <a:pt x="797" y="50"/>
                    </a:lnTo>
                    <a:lnTo>
                      <a:pt x="811" y="47"/>
                    </a:lnTo>
                    <a:lnTo>
                      <a:pt x="823" y="44"/>
                    </a:lnTo>
                    <a:lnTo>
                      <a:pt x="825" y="43"/>
                    </a:lnTo>
                    <a:lnTo>
                      <a:pt x="828" y="41"/>
                    </a:lnTo>
                    <a:lnTo>
                      <a:pt x="828" y="41"/>
                    </a:lnTo>
                    <a:lnTo>
                      <a:pt x="828" y="38"/>
                    </a:lnTo>
                    <a:lnTo>
                      <a:pt x="827" y="37"/>
                    </a:lnTo>
                    <a:lnTo>
                      <a:pt x="820" y="33"/>
                    </a:lnTo>
                    <a:lnTo>
                      <a:pt x="808" y="30"/>
                    </a:lnTo>
                    <a:lnTo>
                      <a:pt x="798" y="30"/>
                    </a:lnTo>
                    <a:lnTo>
                      <a:pt x="798" y="30"/>
                    </a:lnTo>
                    <a:lnTo>
                      <a:pt x="790" y="30"/>
                    </a:lnTo>
                    <a:lnTo>
                      <a:pt x="783" y="28"/>
                    </a:lnTo>
                    <a:lnTo>
                      <a:pt x="779" y="26"/>
                    </a:lnTo>
                    <a:lnTo>
                      <a:pt x="777" y="24"/>
                    </a:lnTo>
                    <a:lnTo>
                      <a:pt x="777" y="23"/>
                    </a:lnTo>
                    <a:lnTo>
                      <a:pt x="777" y="23"/>
                    </a:lnTo>
                    <a:lnTo>
                      <a:pt x="777" y="21"/>
                    </a:lnTo>
                    <a:lnTo>
                      <a:pt x="774" y="18"/>
                    </a:lnTo>
                    <a:lnTo>
                      <a:pt x="769" y="17"/>
                    </a:lnTo>
                    <a:lnTo>
                      <a:pt x="761" y="14"/>
                    </a:lnTo>
                    <a:lnTo>
                      <a:pt x="759" y="13"/>
                    </a:lnTo>
                    <a:lnTo>
                      <a:pt x="757" y="11"/>
                    </a:lnTo>
                    <a:lnTo>
                      <a:pt x="757" y="11"/>
                    </a:lnTo>
                    <a:lnTo>
                      <a:pt x="756" y="10"/>
                    </a:lnTo>
                    <a:lnTo>
                      <a:pt x="750" y="9"/>
                    </a:lnTo>
                    <a:lnTo>
                      <a:pt x="737" y="9"/>
                    </a:lnTo>
                    <a:lnTo>
                      <a:pt x="723" y="9"/>
                    </a:lnTo>
                    <a:lnTo>
                      <a:pt x="716" y="7"/>
                    </a:lnTo>
                    <a:lnTo>
                      <a:pt x="713" y="6"/>
                    </a:lnTo>
                    <a:lnTo>
                      <a:pt x="713" y="6"/>
                    </a:lnTo>
                    <a:lnTo>
                      <a:pt x="705" y="3"/>
                    </a:lnTo>
                    <a:lnTo>
                      <a:pt x="692" y="0"/>
                    </a:lnTo>
                    <a:lnTo>
                      <a:pt x="678" y="0"/>
                    </a:lnTo>
                    <a:lnTo>
                      <a:pt x="663" y="0"/>
                    </a:lnTo>
                    <a:lnTo>
                      <a:pt x="663" y="0"/>
                    </a:lnTo>
                    <a:lnTo>
                      <a:pt x="626" y="1"/>
                    </a:lnTo>
                    <a:lnTo>
                      <a:pt x="596" y="1"/>
                    </a:lnTo>
                    <a:lnTo>
                      <a:pt x="596" y="1"/>
                    </a:lnTo>
                    <a:lnTo>
                      <a:pt x="585" y="4"/>
                    </a:lnTo>
                    <a:lnTo>
                      <a:pt x="579" y="6"/>
                    </a:lnTo>
                    <a:lnTo>
                      <a:pt x="574" y="6"/>
                    </a:lnTo>
                    <a:lnTo>
                      <a:pt x="574" y="6"/>
                    </a:lnTo>
                    <a:lnTo>
                      <a:pt x="568" y="6"/>
                    </a:lnTo>
                    <a:lnTo>
                      <a:pt x="561" y="7"/>
                    </a:lnTo>
                    <a:lnTo>
                      <a:pt x="558" y="10"/>
                    </a:lnTo>
                    <a:lnTo>
                      <a:pt x="557" y="11"/>
                    </a:lnTo>
                    <a:lnTo>
                      <a:pt x="558" y="13"/>
                    </a:lnTo>
                    <a:lnTo>
                      <a:pt x="558" y="13"/>
                    </a:lnTo>
                    <a:lnTo>
                      <a:pt x="561" y="17"/>
                    </a:lnTo>
                    <a:lnTo>
                      <a:pt x="559" y="18"/>
                    </a:lnTo>
                    <a:lnTo>
                      <a:pt x="558" y="21"/>
                    </a:lnTo>
                    <a:lnTo>
                      <a:pt x="555" y="23"/>
                    </a:lnTo>
                    <a:lnTo>
                      <a:pt x="549" y="23"/>
                    </a:lnTo>
                    <a:lnTo>
                      <a:pt x="547" y="21"/>
                    </a:lnTo>
                    <a:lnTo>
                      <a:pt x="547" y="20"/>
                    </a:lnTo>
                    <a:lnTo>
                      <a:pt x="547" y="20"/>
                    </a:lnTo>
                    <a:lnTo>
                      <a:pt x="547" y="17"/>
                    </a:lnTo>
                    <a:lnTo>
                      <a:pt x="545" y="14"/>
                    </a:lnTo>
                    <a:lnTo>
                      <a:pt x="538" y="13"/>
                    </a:lnTo>
                    <a:lnTo>
                      <a:pt x="530" y="11"/>
                    </a:lnTo>
                    <a:lnTo>
                      <a:pt x="525" y="13"/>
                    </a:lnTo>
                    <a:lnTo>
                      <a:pt x="522" y="14"/>
                    </a:lnTo>
                    <a:lnTo>
                      <a:pt x="522" y="14"/>
                    </a:lnTo>
                    <a:lnTo>
                      <a:pt x="518" y="16"/>
                    </a:lnTo>
                    <a:lnTo>
                      <a:pt x="513" y="16"/>
                    </a:lnTo>
                    <a:lnTo>
                      <a:pt x="500" y="14"/>
                    </a:lnTo>
                    <a:lnTo>
                      <a:pt x="487" y="13"/>
                    </a:lnTo>
                    <a:lnTo>
                      <a:pt x="481" y="13"/>
                    </a:lnTo>
                    <a:lnTo>
                      <a:pt x="478" y="14"/>
                    </a:lnTo>
                    <a:lnTo>
                      <a:pt x="478" y="14"/>
                    </a:lnTo>
                    <a:lnTo>
                      <a:pt x="476" y="16"/>
                    </a:lnTo>
                    <a:lnTo>
                      <a:pt x="470" y="17"/>
                    </a:lnTo>
                    <a:lnTo>
                      <a:pt x="454" y="18"/>
                    </a:lnTo>
                    <a:lnTo>
                      <a:pt x="437" y="20"/>
                    </a:lnTo>
                    <a:lnTo>
                      <a:pt x="426" y="20"/>
                    </a:lnTo>
                    <a:lnTo>
                      <a:pt x="426" y="20"/>
                    </a:lnTo>
                    <a:lnTo>
                      <a:pt x="423" y="21"/>
                    </a:lnTo>
                    <a:lnTo>
                      <a:pt x="423" y="23"/>
                    </a:lnTo>
                    <a:lnTo>
                      <a:pt x="430" y="27"/>
                    </a:lnTo>
                    <a:lnTo>
                      <a:pt x="439" y="31"/>
                    </a:lnTo>
                    <a:lnTo>
                      <a:pt x="441" y="33"/>
                    </a:lnTo>
                    <a:lnTo>
                      <a:pt x="441" y="36"/>
                    </a:lnTo>
                    <a:lnTo>
                      <a:pt x="441" y="36"/>
                    </a:lnTo>
                    <a:lnTo>
                      <a:pt x="440" y="37"/>
                    </a:lnTo>
                    <a:lnTo>
                      <a:pt x="436" y="37"/>
                    </a:lnTo>
                    <a:lnTo>
                      <a:pt x="424" y="38"/>
                    </a:lnTo>
                    <a:lnTo>
                      <a:pt x="414" y="40"/>
                    </a:lnTo>
                    <a:lnTo>
                      <a:pt x="413" y="41"/>
                    </a:lnTo>
                    <a:lnTo>
                      <a:pt x="413" y="44"/>
                    </a:lnTo>
                    <a:lnTo>
                      <a:pt x="413" y="44"/>
                    </a:lnTo>
                    <a:lnTo>
                      <a:pt x="417" y="47"/>
                    </a:lnTo>
                    <a:lnTo>
                      <a:pt x="421" y="50"/>
                    </a:lnTo>
                    <a:lnTo>
                      <a:pt x="433" y="55"/>
                    </a:lnTo>
                    <a:lnTo>
                      <a:pt x="444" y="61"/>
                    </a:lnTo>
                    <a:lnTo>
                      <a:pt x="454" y="70"/>
                    </a:lnTo>
                    <a:lnTo>
                      <a:pt x="454" y="70"/>
                    </a:lnTo>
                    <a:lnTo>
                      <a:pt x="457" y="73"/>
                    </a:lnTo>
                    <a:lnTo>
                      <a:pt x="457" y="74"/>
                    </a:lnTo>
                    <a:lnTo>
                      <a:pt x="456" y="75"/>
                    </a:lnTo>
                    <a:lnTo>
                      <a:pt x="453" y="74"/>
                    </a:lnTo>
                    <a:lnTo>
                      <a:pt x="443" y="71"/>
                    </a:lnTo>
                    <a:lnTo>
                      <a:pt x="433" y="65"/>
                    </a:lnTo>
                    <a:lnTo>
                      <a:pt x="433" y="65"/>
                    </a:lnTo>
                    <a:lnTo>
                      <a:pt x="429" y="63"/>
                    </a:lnTo>
                    <a:lnTo>
                      <a:pt x="423" y="61"/>
                    </a:lnTo>
                    <a:lnTo>
                      <a:pt x="413" y="58"/>
                    </a:lnTo>
                    <a:lnTo>
                      <a:pt x="404" y="57"/>
                    </a:lnTo>
                    <a:lnTo>
                      <a:pt x="400" y="54"/>
                    </a:lnTo>
                    <a:lnTo>
                      <a:pt x="397" y="53"/>
                    </a:lnTo>
                    <a:lnTo>
                      <a:pt x="397" y="53"/>
                    </a:lnTo>
                    <a:lnTo>
                      <a:pt x="394" y="50"/>
                    </a:lnTo>
                    <a:lnTo>
                      <a:pt x="389" y="47"/>
                    </a:lnTo>
                    <a:lnTo>
                      <a:pt x="376" y="43"/>
                    </a:lnTo>
                    <a:lnTo>
                      <a:pt x="363" y="41"/>
                    </a:lnTo>
                    <a:lnTo>
                      <a:pt x="357" y="41"/>
                    </a:lnTo>
                    <a:lnTo>
                      <a:pt x="355" y="43"/>
                    </a:lnTo>
                    <a:lnTo>
                      <a:pt x="355" y="43"/>
                    </a:lnTo>
                    <a:lnTo>
                      <a:pt x="353" y="46"/>
                    </a:lnTo>
                    <a:lnTo>
                      <a:pt x="353" y="47"/>
                    </a:lnTo>
                    <a:lnTo>
                      <a:pt x="360" y="54"/>
                    </a:lnTo>
                    <a:lnTo>
                      <a:pt x="370" y="60"/>
                    </a:lnTo>
                    <a:lnTo>
                      <a:pt x="373" y="63"/>
                    </a:lnTo>
                    <a:lnTo>
                      <a:pt x="375" y="65"/>
                    </a:lnTo>
                    <a:lnTo>
                      <a:pt x="375" y="65"/>
                    </a:lnTo>
                    <a:lnTo>
                      <a:pt x="373" y="67"/>
                    </a:lnTo>
                    <a:lnTo>
                      <a:pt x="370" y="67"/>
                    </a:lnTo>
                    <a:lnTo>
                      <a:pt x="365" y="67"/>
                    </a:lnTo>
                    <a:lnTo>
                      <a:pt x="356" y="65"/>
                    </a:lnTo>
                    <a:lnTo>
                      <a:pt x="352" y="65"/>
                    </a:lnTo>
                    <a:lnTo>
                      <a:pt x="352" y="65"/>
                    </a:lnTo>
                    <a:lnTo>
                      <a:pt x="350" y="65"/>
                    </a:lnTo>
                    <a:lnTo>
                      <a:pt x="347" y="64"/>
                    </a:lnTo>
                    <a:lnTo>
                      <a:pt x="339" y="58"/>
                    </a:lnTo>
                    <a:lnTo>
                      <a:pt x="330" y="53"/>
                    </a:lnTo>
                    <a:lnTo>
                      <a:pt x="326" y="50"/>
                    </a:lnTo>
                    <a:lnTo>
                      <a:pt x="322" y="50"/>
                    </a:lnTo>
                    <a:lnTo>
                      <a:pt x="322" y="50"/>
                    </a:lnTo>
                    <a:lnTo>
                      <a:pt x="319" y="50"/>
                    </a:lnTo>
                    <a:lnTo>
                      <a:pt x="318" y="51"/>
                    </a:lnTo>
                    <a:lnTo>
                      <a:pt x="318" y="55"/>
                    </a:lnTo>
                    <a:lnTo>
                      <a:pt x="319" y="61"/>
                    </a:lnTo>
                    <a:lnTo>
                      <a:pt x="320" y="70"/>
                    </a:lnTo>
                    <a:lnTo>
                      <a:pt x="320" y="70"/>
                    </a:lnTo>
                    <a:lnTo>
                      <a:pt x="320" y="74"/>
                    </a:lnTo>
                    <a:lnTo>
                      <a:pt x="318" y="78"/>
                    </a:lnTo>
                    <a:lnTo>
                      <a:pt x="312" y="83"/>
                    </a:lnTo>
                    <a:lnTo>
                      <a:pt x="308" y="84"/>
                    </a:lnTo>
                    <a:lnTo>
                      <a:pt x="306" y="84"/>
                    </a:lnTo>
                    <a:lnTo>
                      <a:pt x="308" y="81"/>
                    </a:lnTo>
                    <a:lnTo>
                      <a:pt x="308" y="81"/>
                    </a:lnTo>
                    <a:lnTo>
                      <a:pt x="309" y="77"/>
                    </a:lnTo>
                    <a:lnTo>
                      <a:pt x="309" y="73"/>
                    </a:lnTo>
                    <a:lnTo>
                      <a:pt x="309" y="63"/>
                    </a:lnTo>
                    <a:lnTo>
                      <a:pt x="308" y="58"/>
                    </a:lnTo>
                    <a:lnTo>
                      <a:pt x="305" y="54"/>
                    </a:lnTo>
                    <a:lnTo>
                      <a:pt x="302" y="50"/>
                    </a:lnTo>
                    <a:lnTo>
                      <a:pt x="299" y="48"/>
                    </a:lnTo>
                    <a:lnTo>
                      <a:pt x="299" y="48"/>
                    </a:lnTo>
                    <a:lnTo>
                      <a:pt x="295" y="47"/>
                    </a:lnTo>
                    <a:lnTo>
                      <a:pt x="289" y="48"/>
                    </a:lnTo>
                    <a:lnTo>
                      <a:pt x="276" y="51"/>
                    </a:lnTo>
                    <a:lnTo>
                      <a:pt x="262" y="54"/>
                    </a:lnTo>
                    <a:lnTo>
                      <a:pt x="251" y="55"/>
                    </a:lnTo>
                    <a:lnTo>
                      <a:pt x="251" y="55"/>
                    </a:lnTo>
                    <a:lnTo>
                      <a:pt x="239" y="57"/>
                    </a:lnTo>
                    <a:lnTo>
                      <a:pt x="231" y="58"/>
                    </a:lnTo>
                    <a:lnTo>
                      <a:pt x="228" y="60"/>
                    </a:lnTo>
                    <a:lnTo>
                      <a:pt x="227" y="61"/>
                    </a:lnTo>
                    <a:lnTo>
                      <a:pt x="228" y="64"/>
                    </a:lnTo>
                    <a:lnTo>
                      <a:pt x="231" y="67"/>
                    </a:lnTo>
                    <a:lnTo>
                      <a:pt x="231" y="67"/>
                    </a:lnTo>
                    <a:lnTo>
                      <a:pt x="234" y="68"/>
                    </a:lnTo>
                    <a:lnTo>
                      <a:pt x="235" y="71"/>
                    </a:lnTo>
                    <a:lnTo>
                      <a:pt x="235" y="73"/>
                    </a:lnTo>
                    <a:lnTo>
                      <a:pt x="234" y="73"/>
                    </a:lnTo>
                    <a:lnTo>
                      <a:pt x="228" y="73"/>
                    </a:lnTo>
                    <a:lnTo>
                      <a:pt x="224" y="71"/>
                    </a:lnTo>
                    <a:lnTo>
                      <a:pt x="221" y="70"/>
                    </a:lnTo>
                    <a:lnTo>
                      <a:pt x="221" y="70"/>
                    </a:lnTo>
                    <a:lnTo>
                      <a:pt x="215" y="67"/>
                    </a:lnTo>
                    <a:lnTo>
                      <a:pt x="209" y="67"/>
                    </a:lnTo>
                    <a:lnTo>
                      <a:pt x="195" y="67"/>
                    </a:lnTo>
                    <a:lnTo>
                      <a:pt x="185" y="71"/>
                    </a:lnTo>
                    <a:lnTo>
                      <a:pt x="184" y="73"/>
                    </a:lnTo>
                    <a:lnTo>
                      <a:pt x="184" y="74"/>
                    </a:lnTo>
                    <a:lnTo>
                      <a:pt x="184" y="74"/>
                    </a:lnTo>
                    <a:lnTo>
                      <a:pt x="188" y="80"/>
                    </a:lnTo>
                    <a:lnTo>
                      <a:pt x="191" y="87"/>
                    </a:lnTo>
                    <a:lnTo>
                      <a:pt x="191" y="92"/>
                    </a:lnTo>
                    <a:lnTo>
                      <a:pt x="190" y="98"/>
                    </a:lnTo>
                    <a:lnTo>
                      <a:pt x="190" y="98"/>
                    </a:lnTo>
                    <a:lnTo>
                      <a:pt x="187" y="100"/>
                    </a:lnTo>
                    <a:lnTo>
                      <a:pt x="184" y="100"/>
                    </a:lnTo>
                    <a:lnTo>
                      <a:pt x="177" y="98"/>
                    </a:lnTo>
                    <a:lnTo>
                      <a:pt x="168" y="95"/>
                    </a:lnTo>
                    <a:lnTo>
                      <a:pt x="163" y="94"/>
                    </a:lnTo>
                    <a:lnTo>
                      <a:pt x="158" y="94"/>
                    </a:lnTo>
                    <a:lnTo>
                      <a:pt x="158" y="94"/>
                    </a:lnTo>
                    <a:lnTo>
                      <a:pt x="151" y="95"/>
                    </a:lnTo>
                    <a:lnTo>
                      <a:pt x="141" y="100"/>
                    </a:lnTo>
                    <a:lnTo>
                      <a:pt x="116" y="111"/>
                    </a:lnTo>
                    <a:lnTo>
                      <a:pt x="103" y="118"/>
                    </a:lnTo>
                    <a:lnTo>
                      <a:pt x="93" y="124"/>
                    </a:lnTo>
                    <a:lnTo>
                      <a:pt x="87" y="129"/>
                    </a:lnTo>
                    <a:lnTo>
                      <a:pt x="86" y="131"/>
                    </a:lnTo>
                    <a:lnTo>
                      <a:pt x="86" y="134"/>
                    </a:lnTo>
                    <a:lnTo>
                      <a:pt x="86" y="134"/>
                    </a:lnTo>
                    <a:lnTo>
                      <a:pt x="89" y="135"/>
                    </a:lnTo>
                    <a:lnTo>
                      <a:pt x="91" y="137"/>
                    </a:lnTo>
                    <a:lnTo>
                      <a:pt x="103" y="138"/>
                    </a:lnTo>
                    <a:lnTo>
                      <a:pt x="116" y="138"/>
                    </a:lnTo>
                    <a:lnTo>
                      <a:pt x="121" y="138"/>
                    </a:lnTo>
                    <a:lnTo>
                      <a:pt x="126" y="139"/>
                    </a:lnTo>
                    <a:lnTo>
                      <a:pt x="126" y="139"/>
                    </a:lnTo>
                    <a:lnTo>
                      <a:pt x="127" y="142"/>
                    </a:lnTo>
                    <a:lnTo>
                      <a:pt x="128" y="145"/>
                    </a:lnTo>
                    <a:lnTo>
                      <a:pt x="127" y="149"/>
                    </a:lnTo>
                    <a:lnTo>
                      <a:pt x="126" y="154"/>
                    </a:lnTo>
                    <a:lnTo>
                      <a:pt x="120" y="162"/>
                    </a:lnTo>
                    <a:lnTo>
                      <a:pt x="111" y="169"/>
                    </a:lnTo>
                    <a:lnTo>
                      <a:pt x="111" y="169"/>
                    </a:lnTo>
                    <a:lnTo>
                      <a:pt x="107" y="171"/>
                    </a:lnTo>
                    <a:lnTo>
                      <a:pt x="100" y="172"/>
                    </a:lnTo>
                    <a:lnTo>
                      <a:pt x="83" y="172"/>
                    </a:lnTo>
                    <a:lnTo>
                      <a:pt x="69" y="174"/>
                    </a:lnTo>
                    <a:lnTo>
                      <a:pt x="63" y="175"/>
                    </a:lnTo>
                    <a:lnTo>
                      <a:pt x="62" y="178"/>
                    </a:lnTo>
                    <a:lnTo>
                      <a:pt x="62" y="178"/>
                    </a:lnTo>
                    <a:lnTo>
                      <a:pt x="60" y="179"/>
                    </a:lnTo>
                    <a:lnTo>
                      <a:pt x="59" y="181"/>
                    </a:lnTo>
                    <a:lnTo>
                      <a:pt x="52" y="184"/>
                    </a:lnTo>
                    <a:lnTo>
                      <a:pt x="30" y="188"/>
                    </a:lnTo>
                    <a:lnTo>
                      <a:pt x="19" y="191"/>
                    </a:lnTo>
                    <a:lnTo>
                      <a:pt x="9" y="193"/>
                    </a:lnTo>
                    <a:lnTo>
                      <a:pt x="3" y="196"/>
                    </a:lnTo>
                    <a:lnTo>
                      <a:pt x="0" y="199"/>
                    </a:lnTo>
                    <a:lnTo>
                      <a:pt x="0" y="202"/>
                    </a:lnTo>
                    <a:lnTo>
                      <a:pt x="0" y="202"/>
                    </a:lnTo>
                    <a:lnTo>
                      <a:pt x="0" y="205"/>
                    </a:lnTo>
                    <a:lnTo>
                      <a:pt x="2" y="209"/>
                    </a:lnTo>
                    <a:lnTo>
                      <a:pt x="6" y="212"/>
                    </a:lnTo>
                    <a:lnTo>
                      <a:pt x="10" y="213"/>
                    </a:lnTo>
                    <a:lnTo>
                      <a:pt x="10" y="213"/>
                    </a:lnTo>
                    <a:lnTo>
                      <a:pt x="23" y="215"/>
                    </a:lnTo>
                    <a:lnTo>
                      <a:pt x="30" y="216"/>
                    </a:lnTo>
                    <a:lnTo>
                      <a:pt x="33" y="218"/>
                    </a:lnTo>
                    <a:lnTo>
                      <a:pt x="36" y="220"/>
                    </a:lnTo>
                    <a:lnTo>
                      <a:pt x="36" y="220"/>
                    </a:lnTo>
                    <a:lnTo>
                      <a:pt x="40" y="223"/>
                    </a:lnTo>
                    <a:lnTo>
                      <a:pt x="44" y="226"/>
                    </a:lnTo>
                    <a:lnTo>
                      <a:pt x="56" y="228"/>
                    </a:lnTo>
                    <a:lnTo>
                      <a:pt x="67" y="228"/>
                    </a:lnTo>
                    <a:lnTo>
                      <a:pt x="80" y="225"/>
                    </a:lnTo>
                    <a:lnTo>
                      <a:pt x="80" y="225"/>
                    </a:lnTo>
                    <a:lnTo>
                      <a:pt x="86" y="222"/>
                    </a:lnTo>
                    <a:lnTo>
                      <a:pt x="90" y="222"/>
                    </a:lnTo>
                    <a:lnTo>
                      <a:pt x="94" y="222"/>
                    </a:lnTo>
                    <a:lnTo>
                      <a:pt x="99" y="223"/>
                    </a:lnTo>
                    <a:lnTo>
                      <a:pt x="101" y="225"/>
                    </a:lnTo>
                    <a:lnTo>
                      <a:pt x="103" y="228"/>
                    </a:lnTo>
                    <a:lnTo>
                      <a:pt x="104" y="230"/>
                    </a:lnTo>
                    <a:lnTo>
                      <a:pt x="106" y="233"/>
                    </a:lnTo>
                    <a:lnTo>
                      <a:pt x="106" y="233"/>
                    </a:lnTo>
                    <a:lnTo>
                      <a:pt x="103" y="236"/>
                    </a:lnTo>
                    <a:lnTo>
                      <a:pt x="100" y="236"/>
                    </a:lnTo>
                    <a:lnTo>
                      <a:pt x="87" y="236"/>
                    </a:lnTo>
                    <a:lnTo>
                      <a:pt x="73" y="235"/>
                    </a:lnTo>
                    <a:lnTo>
                      <a:pt x="66" y="235"/>
                    </a:lnTo>
                    <a:lnTo>
                      <a:pt x="62" y="236"/>
                    </a:lnTo>
                    <a:lnTo>
                      <a:pt x="62" y="236"/>
                    </a:lnTo>
                    <a:lnTo>
                      <a:pt x="57" y="239"/>
                    </a:lnTo>
                    <a:lnTo>
                      <a:pt x="52" y="239"/>
                    </a:lnTo>
                    <a:lnTo>
                      <a:pt x="37" y="240"/>
                    </a:lnTo>
                    <a:lnTo>
                      <a:pt x="26" y="240"/>
                    </a:lnTo>
                    <a:lnTo>
                      <a:pt x="23" y="242"/>
                    </a:lnTo>
                    <a:lnTo>
                      <a:pt x="23" y="245"/>
                    </a:lnTo>
                    <a:lnTo>
                      <a:pt x="23" y="245"/>
                    </a:lnTo>
                    <a:lnTo>
                      <a:pt x="23" y="246"/>
                    </a:lnTo>
                    <a:lnTo>
                      <a:pt x="26" y="248"/>
                    </a:lnTo>
                    <a:lnTo>
                      <a:pt x="33" y="249"/>
                    </a:lnTo>
                    <a:lnTo>
                      <a:pt x="52" y="252"/>
                    </a:lnTo>
                    <a:lnTo>
                      <a:pt x="52" y="252"/>
                    </a:lnTo>
                    <a:lnTo>
                      <a:pt x="54" y="253"/>
                    </a:lnTo>
                    <a:lnTo>
                      <a:pt x="57" y="255"/>
                    </a:lnTo>
                    <a:lnTo>
                      <a:pt x="57" y="256"/>
                    </a:lnTo>
                    <a:lnTo>
                      <a:pt x="56" y="257"/>
                    </a:lnTo>
                    <a:lnTo>
                      <a:pt x="53" y="260"/>
                    </a:lnTo>
                    <a:lnTo>
                      <a:pt x="52" y="265"/>
                    </a:lnTo>
                    <a:lnTo>
                      <a:pt x="52" y="265"/>
                    </a:lnTo>
                    <a:lnTo>
                      <a:pt x="53" y="267"/>
                    </a:lnTo>
                    <a:lnTo>
                      <a:pt x="56" y="269"/>
                    </a:lnTo>
                    <a:lnTo>
                      <a:pt x="63" y="272"/>
                    </a:lnTo>
                    <a:lnTo>
                      <a:pt x="72" y="275"/>
                    </a:lnTo>
                    <a:lnTo>
                      <a:pt x="72" y="275"/>
                    </a:lnTo>
                    <a:lnTo>
                      <a:pt x="81" y="279"/>
                    </a:lnTo>
                    <a:lnTo>
                      <a:pt x="91" y="282"/>
                    </a:lnTo>
                    <a:lnTo>
                      <a:pt x="97" y="282"/>
                    </a:lnTo>
                    <a:lnTo>
                      <a:pt x="99" y="280"/>
                    </a:lnTo>
                    <a:lnTo>
                      <a:pt x="97" y="277"/>
                    </a:lnTo>
                    <a:lnTo>
                      <a:pt x="97" y="277"/>
                    </a:lnTo>
                    <a:lnTo>
                      <a:pt x="96" y="276"/>
                    </a:lnTo>
                    <a:lnTo>
                      <a:pt x="96" y="275"/>
                    </a:lnTo>
                    <a:lnTo>
                      <a:pt x="99" y="273"/>
                    </a:lnTo>
                    <a:lnTo>
                      <a:pt x="101" y="273"/>
                    </a:lnTo>
                    <a:lnTo>
                      <a:pt x="108" y="273"/>
                    </a:lnTo>
                    <a:lnTo>
                      <a:pt x="113" y="276"/>
                    </a:lnTo>
                    <a:lnTo>
                      <a:pt x="113" y="276"/>
                    </a:lnTo>
                    <a:lnTo>
                      <a:pt x="114" y="277"/>
                    </a:lnTo>
                    <a:lnTo>
                      <a:pt x="117" y="277"/>
                    </a:lnTo>
                    <a:lnTo>
                      <a:pt x="121" y="275"/>
                    </a:lnTo>
                    <a:lnTo>
                      <a:pt x="127" y="272"/>
                    </a:lnTo>
                    <a:lnTo>
                      <a:pt x="131" y="272"/>
                    </a:lnTo>
                    <a:lnTo>
                      <a:pt x="134" y="272"/>
                    </a:lnTo>
                    <a:lnTo>
                      <a:pt x="134" y="272"/>
                    </a:lnTo>
                    <a:lnTo>
                      <a:pt x="137" y="272"/>
                    </a:lnTo>
                    <a:lnTo>
                      <a:pt x="140" y="272"/>
                    </a:lnTo>
                    <a:lnTo>
                      <a:pt x="145" y="269"/>
                    </a:lnTo>
                    <a:lnTo>
                      <a:pt x="148" y="267"/>
                    </a:lnTo>
                    <a:lnTo>
                      <a:pt x="151" y="267"/>
                    </a:lnTo>
                    <a:lnTo>
                      <a:pt x="154" y="269"/>
                    </a:lnTo>
                    <a:lnTo>
                      <a:pt x="154" y="269"/>
                    </a:lnTo>
                    <a:lnTo>
                      <a:pt x="164" y="272"/>
                    </a:lnTo>
                    <a:lnTo>
                      <a:pt x="178" y="275"/>
                    </a:lnTo>
                    <a:lnTo>
                      <a:pt x="194" y="277"/>
                    </a:lnTo>
                    <a:lnTo>
                      <a:pt x="205" y="282"/>
                    </a:lnTo>
                    <a:lnTo>
                      <a:pt x="205" y="282"/>
                    </a:lnTo>
                    <a:lnTo>
                      <a:pt x="215" y="286"/>
                    </a:lnTo>
                    <a:lnTo>
                      <a:pt x="224" y="289"/>
                    </a:lnTo>
                    <a:lnTo>
                      <a:pt x="229" y="293"/>
                    </a:lnTo>
                    <a:lnTo>
                      <a:pt x="231" y="296"/>
                    </a:lnTo>
                    <a:lnTo>
                      <a:pt x="231" y="299"/>
                    </a:lnTo>
                    <a:lnTo>
                      <a:pt x="231" y="299"/>
                    </a:lnTo>
                    <a:lnTo>
                      <a:pt x="231" y="302"/>
                    </a:lnTo>
                    <a:lnTo>
                      <a:pt x="232" y="304"/>
                    </a:lnTo>
                    <a:lnTo>
                      <a:pt x="237" y="310"/>
                    </a:lnTo>
                    <a:lnTo>
                      <a:pt x="244" y="316"/>
                    </a:lnTo>
                    <a:lnTo>
                      <a:pt x="254" y="320"/>
                    </a:lnTo>
                    <a:lnTo>
                      <a:pt x="254" y="320"/>
                    </a:lnTo>
                    <a:lnTo>
                      <a:pt x="258" y="323"/>
                    </a:lnTo>
                    <a:lnTo>
                      <a:pt x="261" y="326"/>
                    </a:lnTo>
                    <a:lnTo>
                      <a:pt x="266" y="331"/>
                    </a:lnTo>
                    <a:lnTo>
                      <a:pt x="268" y="340"/>
                    </a:lnTo>
                    <a:lnTo>
                      <a:pt x="268" y="346"/>
                    </a:lnTo>
                    <a:lnTo>
                      <a:pt x="268" y="346"/>
                    </a:lnTo>
                    <a:lnTo>
                      <a:pt x="268" y="349"/>
                    </a:lnTo>
                    <a:lnTo>
                      <a:pt x="271" y="351"/>
                    </a:lnTo>
                    <a:lnTo>
                      <a:pt x="275" y="357"/>
                    </a:lnTo>
                    <a:lnTo>
                      <a:pt x="279" y="360"/>
                    </a:lnTo>
                    <a:lnTo>
                      <a:pt x="279" y="363"/>
                    </a:lnTo>
                    <a:lnTo>
                      <a:pt x="279" y="364"/>
                    </a:lnTo>
                    <a:lnTo>
                      <a:pt x="279" y="364"/>
                    </a:lnTo>
                    <a:lnTo>
                      <a:pt x="279" y="367"/>
                    </a:lnTo>
                    <a:lnTo>
                      <a:pt x="279" y="370"/>
                    </a:lnTo>
                    <a:lnTo>
                      <a:pt x="282" y="376"/>
                    </a:lnTo>
                    <a:lnTo>
                      <a:pt x="288" y="380"/>
                    </a:lnTo>
                    <a:lnTo>
                      <a:pt x="288" y="380"/>
                    </a:lnTo>
                    <a:lnTo>
                      <a:pt x="289" y="383"/>
                    </a:lnTo>
                    <a:lnTo>
                      <a:pt x="289" y="386"/>
                    </a:lnTo>
                    <a:lnTo>
                      <a:pt x="285" y="391"/>
                    </a:lnTo>
                    <a:lnTo>
                      <a:pt x="279" y="395"/>
                    </a:lnTo>
                    <a:lnTo>
                      <a:pt x="279" y="398"/>
                    </a:lnTo>
                    <a:lnTo>
                      <a:pt x="279" y="400"/>
                    </a:lnTo>
                    <a:lnTo>
                      <a:pt x="279" y="400"/>
                    </a:lnTo>
                    <a:lnTo>
                      <a:pt x="281" y="403"/>
                    </a:lnTo>
                    <a:lnTo>
                      <a:pt x="281" y="405"/>
                    </a:lnTo>
                    <a:lnTo>
                      <a:pt x="279" y="413"/>
                    </a:lnTo>
                    <a:lnTo>
                      <a:pt x="279" y="415"/>
                    </a:lnTo>
                    <a:lnTo>
                      <a:pt x="281" y="418"/>
                    </a:lnTo>
                    <a:lnTo>
                      <a:pt x="282" y="421"/>
                    </a:lnTo>
                    <a:lnTo>
                      <a:pt x="288" y="423"/>
                    </a:lnTo>
                    <a:lnTo>
                      <a:pt x="288" y="423"/>
                    </a:lnTo>
                    <a:lnTo>
                      <a:pt x="292" y="423"/>
                    </a:lnTo>
                    <a:lnTo>
                      <a:pt x="296" y="421"/>
                    </a:lnTo>
                    <a:lnTo>
                      <a:pt x="301" y="418"/>
                    </a:lnTo>
                    <a:lnTo>
                      <a:pt x="305" y="414"/>
                    </a:lnTo>
                    <a:lnTo>
                      <a:pt x="308" y="413"/>
                    </a:lnTo>
                    <a:lnTo>
                      <a:pt x="312" y="411"/>
                    </a:lnTo>
                    <a:lnTo>
                      <a:pt x="312" y="411"/>
                    </a:lnTo>
                    <a:lnTo>
                      <a:pt x="315" y="413"/>
                    </a:lnTo>
                    <a:lnTo>
                      <a:pt x="316" y="413"/>
                    </a:lnTo>
                    <a:lnTo>
                      <a:pt x="316" y="415"/>
                    </a:lnTo>
                    <a:lnTo>
                      <a:pt x="316" y="417"/>
                    </a:lnTo>
                    <a:lnTo>
                      <a:pt x="315" y="423"/>
                    </a:lnTo>
                    <a:lnTo>
                      <a:pt x="315" y="425"/>
                    </a:lnTo>
                    <a:lnTo>
                      <a:pt x="318" y="428"/>
                    </a:lnTo>
                    <a:lnTo>
                      <a:pt x="318" y="428"/>
                    </a:lnTo>
                    <a:lnTo>
                      <a:pt x="323" y="431"/>
                    </a:lnTo>
                    <a:lnTo>
                      <a:pt x="330" y="434"/>
                    </a:lnTo>
                    <a:lnTo>
                      <a:pt x="339" y="437"/>
                    </a:lnTo>
                    <a:lnTo>
                      <a:pt x="347" y="442"/>
                    </a:lnTo>
                    <a:lnTo>
                      <a:pt x="347" y="442"/>
                    </a:lnTo>
                    <a:lnTo>
                      <a:pt x="352" y="445"/>
                    </a:lnTo>
                    <a:lnTo>
                      <a:pt x="353" y="448"/>
                    </a:lnTo>
                    <a:lnTo>
                      <a:pt x="353" y="451"/>
                    </a:lnTo>
                    <a:lnTo>
                      <a:pt x="353" y="452"/>
                    </a:lnTo>
                    <a:lnTo>
                      <a:pt x="352" y="452"/>
                    </a:lnTo>
                    <a:lnTo>
                      <a:pt x="349" y="452"/>
                    </a:lnTo>
                    <a:lnTo>
                      <a:pt x="342" y="450"/>
                    </a:lnTo>
                    <a:lnTo>
                      <a:pt x="342" y="450"/>
                    </a:lnTo>
                    <a:lnTo>
                      <a:pt x="336" y="447"/>
                    </a:lnTo>
                    <a:lnTo>
                      <a:pt x="330" y="445"/>
                    </a:lnTo>
                    <a:lnTo>
                      <a:pt x="316" y="444"/>
                    </a:lnTo>
                    <a:lnTo>
                      <a:pt x="303" y="444"/>
                    </a:lnTo>
                    <a:lnTo>
                      <a:pt x="299" y="445"/>
                    </a:lnTo>
                    <a:lnTo>
                      <a:pt x="299" y="445"/>
                    </a:lnTo>
                    <a:lnTo>
                      <a:pt x="299" y="445"/>
                    </a:lnTo>
                    <a:lnTo>
                      <a:pt x="303" y="451"/>
                    </a:lnTo>
                    <a:lnTo>
                      <a:pt x="318" y="458"/>
                    </a:lnTo>
                    <a:lnTo>
                      <a:pt x="332" y="464"/>
                    </a:lnTo>
                    <a:lnTo>
                      <a:pt x="338" y="465"/>
                    </a:lnTo>
                    <a:lnTo>
                      <a:pt x="342" y="465"/>
                    </a:lnTo>
                    <a:lnTo>
                      <a:pt x="342" y="465"/>
                    </a:lnTo>
                    <a:lnTo>
                      <a:pt x="345" y="465"/>
                    </a:lnTo>
                    <a:lnTo>
                      <a:pt x="347" y="467"/>
                    </a:lnTo>
                    <a:lnTo>
                      <a:pt x="353" y="471"/>
                    </a:lnTo>
                    <a:lnTo>
                      <a:pt x="356" y="477"/>
                    </a:lnTo>
                    <a:lnTo>
                      <a:pt x="357" y="479"/>
                    </a:lnTo>
                    <a:lnTo>
                      <a:pt x="356" y="482"/>
                    </a:lnTo>
                    <a:lnTo>
                      <a:pt x="356" y="482"/>
                    </a:lnTo>
                    <a:lnTo>
                      <a:pt x="353" y="487"/>
                    </a:lnTo>
                    <a:lnTo>
                      <a:pt x="353" y="494"/>
                    </a:lnTo>
                    <a:lnTo>
                      <a:pt x="353" y="505"/>
                    </a:lnTo>
                    <a:lnTo>
                      <a:pt x="353" y="505"/>
                    </a:lnTo>
                    <a:lnTo>
                      <a:pt x="352" y="506"/>
                    </a:lnTo>
                    <a:lnTo>
                      <a:pt x="350" y="506"/>
                    </a:lnTo>
                    <a:lnTo>
                      <a:pt x="345" y="506"/>
                    </a:lnTo>
                    <a:lnTo>
                      <a:pt x="339" y="505"/>
                    </a:lnTo>
                    <a:lnTo>
                      <a:pt x="332" y="505"/>
                    </a:lnTo>
                    <a:lnTo>
                      <a:pt x="332" y="505"/>
                    </a:lnTo>
                    <a:lnTo>
                      <a:pt x="328" y="506"/>
                    </a:lnTo>
                    <a:lnTo>
                      <a:pt x="323" y="508"/>
                    </a:lnTo>
                    <a:lnTo>
                      <a:pt x="320" y="512"/>
                    </a:lnTo>
                    <a:lnTo>
                      <a:pt x="319" y="516"/>
                    </a:lnTo>
                    <a:lnTo>
                      <a:pt x="319" y="516"/>
                    </a:lnTo>
                    <a:lnTo>
                      <a:pt x="319" y="519"/>
                    </a:lnTo>
                    <a:lnTo>
                      <a:pt x="318" y="522"/>
                    </a:lnTo>
                    <a:lnTo>
                      <a:pt x="313" y="528"/>
                    </a:lnTo>
                    <a:lnTo>
                      <a:pt x="309" y="533"/>
                    </a:lnTo>
                    <a:lnTo>
                      <a:pt x="308" y="536"/>
                    </a:lnTo>
                    <a:lnTo>
                      <a:pt x="306" y="541"/>
                    </a:lnTo>
                    <a:lnTo>
                      <a:pt x="306" y="541"/>
                    </a:lnTo>
                    <a:lnTo>
                      <a:pt x="306" y="543"/>
                    </a:lnTo>
                    <a:lnTo>
                      <a:pt x="308" y="546"/>
                    </a:lnTo>
                    <a:lnTo>
                      <a:pt x="311" y="549"/>
                    </a:lnTo>
                    <a:lnTo>
                      <a:pt x="316" y="552"/>
                    </a:lnTo>
                    <a:lnTo>
                      <a:pt x="322" y="555"/>
                    </a:lnTo>
                    <a:lnTo>
                      <a:pt x="322" y="555"/>
                    </a:lnTo>
                    <a:lnTo>
                      <a:pt x="323" y="556"/>
                    </a:lnTo>
                    <a:lnTo>
                      <a:pt x="322" y="558"/>
                    </a:lnTo>
                    <a:lnTo>
                      <a:pt x="318" y="560"/>
                    </a:lnTo>
                    <a:lnTo>
                      <a:pt x="312" y="563"/>
                    </a:lnTo>
                    <a:lnTo>
                      <a:pt x="311" y="566"/>
                    </a:lnTo>
                    <a:lnTo>
                      <a:pt x="309" y="569"/>
                    </a:lnTo>
                    <a:lnTo>
                      <a:pt x="309" y="569"/>
                    </a:lnTo>
                    <a:lnTo>
                      <a:pt x="309" y="572"/>
                    </a:lnTo>
                    <a:lnTo>
                      <a:pt x="312" y="575"/>
                    </a:lnTo>
                    <a:lnTo>
                      <a:pt x="318" y="582"/>
                    </a:lnTo>
                    <a:lnTo>
                      <a:pt x="325" y="588"/>
                    </a:lnTo>
                    <a:lnTo>
                      <a:pt x="332" y="592"/>
                    </a:lnTo>
                    <a:lnTo>
                      <a:pt x="332" y="592"/>
                    </a:lnTo>
                    <a:lnTo>
                      <a:pt x="333" y="593"/>
                    </a:lnTo>
                    <a:lnTo>
                      <a:pt x="335" y="596"/>
                    </a:lnTo>
                    <a:lnTo>
                      <a:pt x="335" y="603"/>
                    </a:lnTo>
                    <a:lnTo>
                      <a:pt x="333" y="612"/>
                    </a:lnTo>
                    <a:lnTo>
                      <a:pt x="335" y="619"/>
                    </a:lnTo>
                    <a:lnTo>
                      <a:pt x="335" y="619"/>
                    </a:lnTo>
                    <a:lnTo>
                      <a:pt x="336" y="622"/>
                    </a:lnTo>
                    <a:lnTo>
                      <a:pt x="338" y="623"/>
                    </a:lnTo>
                    <a:lnTo>
                      <a:pt x="340" y="623"/>
                    </a:lnTo>
                    <a:lnTo>
                      <a:pt x="343" y="623"/>
                    </a:lnTo>
                    <a:lnTo>
                      <a:pt x="343" y="625"/>
                    </a:lnTo>
                    <a:lnTo>
                      <a:pt x="345" y="627"/>
                    </a:lnTo>
                    <a:lnTo>
                      <a:pt x="345" y="627"/>
                    </a:lnTo>
                    <a:lnTo>
                      <a:pt x="345" y="632"/>
                    </a:lnTo>
                    <a:lnTo>
                      <a:pt x="345" y="634"/>
                    </a:lnTo>
                    <a:lnTo>
                      <a:pt x="347" y="637"/>
                    </a:lnTo>
                    <a:lnTo>
                      <a:pt x="350" y="640"/>
                    </a:lnTo>
                    <a:lnTo>
                      <a:pt x="352" y="644"/>
                    </a:lnTo>
                    <a:lnTo>
                      <a:pt x="352" y="644"/>
                    </a:lnTo>
                    <a:lnTo>
                      <a:pt x="353" y="646"/>
                    </a:lnTo>
                    <a:lnTo>
                      <a:pt x="355" y="647"/>
                    </a:lnTo>
                    <a:lnTo>
                      <a:pt x="359" y="650"/>
                    </a:lnTo>
                    <a:lnTo>
                      <a:pt x="363" y="653"/>
                    </a:lnTo>
                    <a:lnTo>
                      <a:pt x="365" y="654"/>
                    </a:lnTo>
                    <a:lnTo>
                      <a:pt x="365" y="657"/>
                    </a:lnTo>
                    <a:lnTo>
                      <a:pt x="365" y="657"/>
                    </a:lnTo>
                    <a:lnTo>
                      <a:pt x="365" y="663"/>
                    </a:lnTo>
                    <a:lnTo>
                      <a:pt x="366" y="669"/>
                    </a:lnTo>
                    <a:lnTo>
                      <a:pt x="372" y="677"/>
                    </a:lnTo>
                    <a:lnTo>
                      <a:pt x="372" y="677"/>
                    </a:lnTo>
                    <a:lnTo>
                      <a:pt x="382" y="686"/>
                    </a:lnTo>
                    <a:lnTo>
                      <a:pt x="386" y="691"/>
                    </a:lnTo>
                    <a:lnTo>
                      <a:pt x="390" y="696"/>
                    </a:lnTo>
                    <a:lnTo>
                      <a:pt x="390" y="696"/>
                    </a:lnTo>
                    <a:lnTo>
                      <a:pt x="393" y="701"/>
                    </a:lnTo>
                    <a:lnTo>
                      <a:pt x="397" y="706"/>
                    </a:lnTo>
                    <a:lnTo>
                      <a:pt x="402" y="708"/>
                    </a:lnTo>
                    <a:lnTo>
                      <a:pt x="404" y="708"/>
                    </a:lnTo>
                    <a:lnTo>
                      <a:pt x="409" y="708"/>
                    </a:lnTo>
                    <a:lnTo>
                      <a:pt x="409" y="708"/>
                    </a:lnTo>
                    <a:lnTo>
                      <a:pt x="413" y="707"/>
                    </a:lnTo>
                    <a:lnTo>
                      <a:pt x="417" y="710"/>
                    </a:lnTo>
                    <a:lnTo>
                      <a:pt x="420" y="711"/>
                    </a:lnTo>
                    <a:lnTo>
                      <a:pt x="424" y="713"/>
                    </a:lnTo>
                    <a:lnTo>
                      <a:pt x="424" y="713"/>
                    </a:lnTo>
                    <a:lnTo>
                      <a:pt x="429" y="713"/>
                    </a:lnTo>
                    <a:lnTo>
                      <a:pt x="434" y="714"/>
                    </a:lnTo>
                    <a:lnTo>
                      <a:pt x="440" y="717"/>
                    </a:lnTo>
                    <a:lnTo>
                      <a:pt x="443" y="721"/>
                    </a:lnTo>
                    <a:lnTo>
                      <a:pt x="443" y="721"/>
                    </a:lnTo>
                    <a:lnTo>
                      <a:pt x="444" y="723"/>
                    </a:lnTo>
                    <a:lnTo>
                      <a:pt x="447" y="724"/>
                    </a:lnTo>
                    <a:lnTo>
                      <a:pt x="456" y="728"/>
                    </a:lnTo>
                    <a:lnTo>
                      <a:pt x="471" y="731"/>
                    </a:lnTo>
                    <a:lnTo>
                      <a:pt x="471" y="731"/>
                    </a:lnTo>
                    <a:lnTo>
                      <a:pt x="473" y="731"/>
                    </a:lnTo>
                    <a:lnTo>
                      <a:pt x="474" y="730"/>
                    </a:lnTo>
                    <a:lnTo>
                      <a:pt x="477" y="727"/>
                    </a:lnTo>
                    <a:lnTo>
                      <a:pt x="480" y="723"/>
                    </a:lnTo>
                    <a:lnTo>
                      <a:pt x="483" y="720"/>
                    </a:lnTo>
                    <a:lnTo>
                      <a:pt x="483" y="720"/>
                    </a:lnTo>
                    <a:lnTo>
                      <a:pt x="484" y="717"/>
                    </a:lnTo>
                    <a:lnTo>
                      <a:pt x="485" y="714"/>
                    </a:lnTo>
                    <a:lnTo>
                      <a:pt x="487" y="706"/>
                    </a:lnTo>
                    <a:lnTo>
                      <a:pt x="488" y="698"/>
                    </a:lnTo>
                    <a:lnTo>
                      <a:pt x="488" y="696"/>
                    </a:lnTo>
                    <a:lnTo>
                      <a:pt x="491" y="694"/>
                    </a:lnTo>
                    <a:lnTo>
                      <a:pt x="491" y="694"/>
                    </a:lnTo>
                    <a:lnTo>
                      <a:pt x="493" y="693"/>
                    </a:lnTo>
                    <a:lnTo>
                      <a:pt x="493" y="690"/>
                    </a:lnTo>
                    <a:lnTo>
                      <a:pt x="494" y="681"/>
                    </a:lnTo>
                    <a:lnTo>
                      <a:pt x="493" y="673"/>
                    </a:lnTo>
                    <a:lnTo>
                      <a:pt x="491" y="670"/>
                    </a:lnTo>
                    <a:lnTo>
                      <a:pt x="490" y="669"/>
                    </a:lnTo>
                    <a:lnTo>
                      <a:pt x="490" y="669"/>
                    </a:lnTo>
                    <a:lnTo>
                      <a:pt x="487" y="667"/>
                    </a:lnTo>
                    <a:lnTo>
                      <a:pt x="487" y="664"/>
                    </a:lnTo>
                    <a:lnTo>
                      <a:pt x="491" y="661"/>
                    </a:lnTo>
                    <a:lnTo>
                      <a:pt x="497" y="661"/>
                    </a:lnTo>
                    <a:lnTo>
                      <a:pt x="497" y="661"/>
                    </a:lnTo>
                    <a:lnTo>
                      <a:pt x="501" y="661"/>
                    </a:lnTo>
                    <a:lnTo>
                      <a:pt x="503" y="660"/>
                    </a:lnTo>
                    <a:lnTo>
                      <a:pt x="505" y="656"/>
                    </a:lnTo>
                    <a:lnTo>
                      <a:pt x="507" y="653"/>
                    </a:lnTo>
                    <a:lnTo>
                      <a:pt x="508" y="652"/>
                    </a:lnTo>
                    <a:lnTo>
                      <a:pt x="510" y="650"/>
                    </a:lnTo>
                    <a:lnTo>
                      <a:pt x="510" y="650"/>
                    </a:lnTo>
                    <a:lnTo>
                      <a:pt x="511" y="649"/>
                    </a:lnTo>
                    <a:lnTo>
                      <a:pt x="513" y="647"/>
                    </a:lnTo>
                    <a:lnTo>
                      <a:pt x="514" y="643"/>
                    </a:lnTo>
                    <a:lnTo>
                      <a:pt x="514" y="640"/>
                    </a:lnTo>
                    <a:lnTo>
                      <a:pt x="517" y="637"/>
                    </a:lnTo>
                    <a:lnTo>
                      <a:pt x="517" y="637"/>
                    </a:lnTo>
                    <a:lnTo>
                      <a:pt x="518" y="636"/>
                    </a:lnTo>
                    <a:lnTo>
                      <a:pt x="518" y="633"/>
                    </a:lnTo>
                    <a:lnTo>
                      <a:pt x="518" y="630"/>
                    </a:lnTo>
                    <a:lnTo>
                      <a:pt x="517" y="626"/>
                    </a:lnTo>
                    <a:lnTo>
                      <a:pt x="517" y="626"/>
                    </a:lnTo>
                    <a:lnTo>
                      <a:pt x="515" y="623"/>
                    </a:lnTo>
                    <a:lnTo>
                      <a:pt x="517" y="622"/>
                    </a:lnTo>
                    <a:lnTo>
                      <a:pt x="520" y="620"/>
                    </a:lnTo>
                    <a:lnTo>
                      <a:pt x="522" y="619"/>
                    </a:lnTo>
                    <a:lnTo>
                      <a:pt x="522" y="619"/>
                    </a:lnTo>
                    <a:lnTo>
                      <a:pt x="525" y="617"/>
                    </a:lnTo>
                    <a:lnTo>
                      <a:pt x="527" y="613"/>
                    </a:lnTo>
                    <a:lnTo>
                      <a:pt x="524" y="610"/>
                    </a:lnTo>
                    <a:lnTo>
                      <a:pt x="520" y="607"/>
                    </a:lnTo>
                    <a:lnTo>
                      <a:pt x="520" y="607"/>
                    </a:lnTo>
                    <a:lnTo>
                      <a:pt x="515" y="605"/>
                    </a:lnTo>
                    <a:lnTo>
                      <a:pt x="515" y="600"/>
                    </a:lnTo>
                    <a:lnTo>
                      <a:pt x="515" y="599"/>
                    </a:lnTo>
                    <a:lnTo>
                      <a:pt x="517" y="599"/>
                    </a:lnTo>
                    <a:lnTo>
                      <a:pt x="520" y="599"/>
                    </a:lnTo>
                    <a:lnTo>
                      <a:pt x="522" y="600"/>
                    </a:lnTo>
                    <a:lnTo>
                      <a:pt x="522" y="600"/>
                    </a:lnTo>
                    <a:lnTo>
                      <a:pt x="527" y="603"/>
                    </a:lnTo>
                    <a:lnTo>
                      <a:pt x="531" y="603"/>
                    </a:lnTo>
                    <a:lnTo>
                      <a:pt x="532" y="600"/>
                    </a:lnTo>
                    <a:lnTo>
                      <a:pt x="531" y="596"/>
                    </a:lnTo>
                    <a:lnTo>
                      <a:pt x="531" y="596"/>
                    </a:lnTo>
                    <a:lnTo>
                      <a:pt x="530" y="595"/>
                    </a:lnTo>
                    <a:lnTo>
                      <a:pt x="530" y="593"/>
                    </a:lnTo>
                    <a:lnTo>
                      <a:pt x="532" y="590"/>
                    </a:lnTo>
                    <a:lnTo>
                      <a:pt x="538" y="588"/>
                    </a:lnTo>
                    <a:lnTo>
                      <a:pt x="547" y="588"/>
                    </a:lnTo>
                    <a:lnTo>
                      <a:pt x="547" y="588"/>
                    </a:lnTo>
                    <a:lnTo>
                      <a:pt x="552" y="586"/>
                    </a:lnTo>
                    <a:lnTo>
                      <a:pt x="557" y="583"/>
                    </a:lnTo>
                    <a:lnTo>
                      <a:pt x="559" y="579"/>
                    </a:lnTo>
                    <a:lnTo>
                      <a:pt x="559" y="573"/>
                    </a:lnTo>
                    <a:lnTo>
                      <a:pt x="559" y="573"/>
                    </a:lnTo>
                    <a:lnTo>
                      <a:pt x="559" y="570"/>
                    </a:lnTo>
                    <a:lnTo>
                      <a:pt x="559" y="569"/>
                    </a:lnTo>
                    <a:lnTo>
                      <a:pt x="564" y="568"/>
                    </a:lnTo>
                    <a:lnTo>
                      <a:pt x="567" y="569"/>
                    </a:lnTo>
                    <a:lnTo>
                      <a:pt x="568" y="570"/>
                    </a:lnTo>
                    <a:lnTo>
                      <a:pt x="568" y="573"/>
                    </a:lnTo>
                    <a:lnTo>
                      <a:pt x="568" y="573"/>
                    </a:lnTo>
                    <a:lnTo>
                      <a:pt x="565" y="578"/>
                    </a:lnTo>
                    <a:lnTo>
                      <a:pt x="567" y="582"/>
                    </a:lnTo>
                    <a:lnTo>
                      <a:pt x="568" y="583"/>
                    </a:lnTo>
                    <a:lnTo>
                      <a:pt x="571" y="582"/>
                    </a:lnTo>
                    <a:lnTo>
                      <a:pt x="571" y="582"/>
                    </a:lnTo>
                    <a:lnTo>
                      <a:pt x="575" y="579"/>
                    </a:lnTo>
                    <a:lnTo>
                      <a:pt x="581" y="578"/>
                    </a:lnTo>
                    <a:lnTo>
                      <a:pt x="589" y="578"/>
                    </a:lnTo>
                    <a:lnTo>
                      <a:pt x="601" y="575"/>
                    </a:lnTo>
                    <a:lnTo>
                      <a:pt x="601" y="575"/>
                    </a:lnTo>
                    <a:lnTo>
                      <a:pt x="612" y="570"/>
                    </a:lnTo>
                    <a:lnTo>
                      <a:pt x="623" y="563"/>
                    </a:lnTo>
                    <a:lnTo>
                      <a:pt x="631" y="553"/>
                    </a:lnTo>
                    <a:lnTo>
                      <a:pt x="633" y="549"/>
                    </a:lnTo>
                    <a:lnTo>
                      <a:pt x="636" y="545"/>
                    </a:lnTo>
                    <a:lnTo>
                      <a:pt x="636" y="545"/>
                    </a:lnTo>
                    <a:lnTo>
                      <a:pt x="638" y="541"/>
                    </a:lnTo>
                    <a:lnTo>
                      <a:pt x="641" y="536"/>
                    </a:lnTo>
                    <a:lnTo>
                      <a:pt x="648" y="532"/>
                    </a:lnTo>
                    <a:lnTo>
                      <a:pt x="655" y="529"/>
                    </a:lnTo>
                    <a:lnTo>
                      <a:pt x="656" y="528"/>
                    </a:lnTo>
                    <a:lnTo>
                      <a:pt x="656" y="525"/>
                    </a:lnTo>
                    <a:lnTo>
                      <a:pt x="656" y="525"/>
                    </a:lnTo>
                    <a:lnTo>
                      <a:pt x="656" y="519"/>
                    </a:lnTo>
                    <a:lnTo>
                      <a:pt x="656" y="518"/>
                    </a:lnTo>
                    <a:lnTo>
                      <a:pt x="658" y="516"/>
                    </a:lnTo>
                    <a:lnTo>
                      <a:pt x="663" y="515"/>
                    </a:lnTo>
                    <a:lnTo>
                      <a:pt x="672" y="518"/>
                    </a:lnTo>
                    <a:lnTo>
                      <a:pt x="672" y="518"/>
                    </a:lnTo>
                    <a:lnTo>
                      <a:pt x="676" y="521"/>
                    </a:lnTo>
                    <a:lnTo>
                      <a:pt x="678" y="519"/>
                    </a:lnTo>
                    <a:lnTo>
                      <a:pt x="679" y="518"/>
                    </a:lnTo>
                    <a:lnTo>
                      <a:pt x="680" y="516"/>
                    </a:lnTo>
                    <a:lnTo>
                      <a:pt x="683" y="515"/>
                    </a:lnTo>
                    <a:lnTo>
                      <a:pt x="687" y="515"/>
                    </a:lnTo>
                    <a:lnTo>
                      <a:pt x="687" y="515"/>
                    </a:lnTo>
                    <a:lnTo>
                      <a:pt x="695" y="514"/>
                    </a:lnTo>
                    <a:lnTo>
                      <a:pt x="699" y="512"/>
                    </a:lnTo>
                    <a:lnTo>
                      <a:pt x="703" y="511"/>
                    </a:lnTo>
                    <a:lnTo>
                      <a:pt x="710" y="509"/>
                    </a:lnTo>
                    <a:lnTo>
                      <a:pt x="710" y="509"/>
                    </a:lnTo>
                    <a:lnTo>
                      <a:pt x="723" y="508"/>
                    </a:lnTo>
                    <a:lnTo>
                      <a:pt x="740" y="505"/>
                    </a:lnTo>
                    <a:lnTo>
                      <a:pt x="756" y="499"/>
                    </a:lnTo>
                    <a:lnTo>
                      <a:pt x="763" y="496"/>
                    </a:lnTo>
                    <a:lnTo>
                      <a:pt x="769" y="494"/>
                    </a:lnTo>
                    <a:lnTo>
                      <a:pt x="769" y="494"/>
                    </a:lnTo>
                    <a:lnTo>
                      <a:pt x="779" y="487"/>
                    </a:lnTo>
                    <a:lnTo>
                      <a:pt x="791" y="481"/>
                    </a:lnTo>
                    <a:lnTo>
                      <a:pt x="804" y="475"/>
                    </a:lnTo>
                    <a:lnTo>
                      <a:pt x="814" y="469"/>
                    </a:lnTo>
                    <a:lnTo>
                      <a:pt x="814" y="469"/>
                    </a:lnTo>
                    <a:lnTo>
                      <a:pt x="820" y="465"/>
                    </a:lnTo>
                    <a:lnTo>
                      <a:pt x="823" y="462"/>
                    </a:lnTo>
                    <a:lnTo>
                      <a:pt x="823" y="461"/>
                    </a:lnTo>
                    <a:lnTo>
                      <a:pt x="820" y="462"/>
                    </a:lnTo>
                    <a:lnTo>
                      <a:pt x="820" y="462"/>
                    </a:lnTo>
                    <a:lnTo>
                      <a:pt x="814" y="464"/>
                    </a:lnTo>
                    <a:lnTo>
                      <a:pt x="807" y="465"/>
                    </a:lnTo>
                    <a:lnTo>
                      <a:pt x="798" y="464"/>
                    </a:lnTo>
                    <a:lnTo>
                      <a:pt x="791" y="464"/>
                    </a:lnTo>
                    <a:lnTo>
                      <a:pt x="791" y="464"/>
                    </a:lnTo>
                    <a:lnTo>
                      <a:pt x="774" y="458"/>
                    </a:lnTo>
                    <a:lnTo>
                      <a:pt x="764" y="457"/>
                    </a:lnTo>
                    <a:lnTo>
                      <a:pt x="760" y="457"/>
                    </a:lnTo>
                    <a:lnTo>
                      <a:pt x="756" y="459"/>
                    </a:lnTo>
                    <a:lnTo>
                      <a:pt x="756" y="459"/>
                    </a:lnTo>
                    <a:lnTo>
                      <a:pt x="753" y="461"/>
                    </a:lnTo>
                    <a:lnTo>
                      <a:pt x="750" y="459"/>
                    </a:lnTo>
                    <a:lnTo>
                      <a:pt x="750" y="458"/>
                    </a:lnTo>
                    <a:lnTo>
                      <a:pt x="750" y="457"/>
                    </a:lnTo>
                    <a:lnTo>
                      <a:pt x="754" y="451"/>
                    </a:lnTo>
                    <a:lnTo>
                      <a:pt x="757" y="450"/>
                    </a:lnTo>
                    <a:lnTo>
                      <a:pt x="760" y="448"/>
                    </a:lnTo>
                    <a:lnTo>
                      <a:pt x="760" y="448"/>
                    </a:lnTo>
                    <a:lnTo>
                      <a:pt x="764" y="447"/>
                    </a:lnTo>
                    <a:lnTo>
                      <a:pt x="766" y="444"/>
                    </a:lnTo>
                    <a:lnTo>
                      <a:pt x="763" y="434"/>
                    </a:lnTo>
                    <a:lnTo>
                      <a:pt x="763" y="434"/>
                    </a:lnTo>
                    <a:lnTo>
                      <a:pt x="763" y="431"/>
                    </a:lnTo>
                    <a:lnTo>
                      <a:pt x="764" y="430"/>
                    </a:lnTo>
                    <a:lnTo>
                      <a:pt x="767" y="428"/>
                    </a:lnTo>
                    <a:lnTo>
                      <a:pt x="771" y="430"/>
                    </a:lnTo>
                    <a:lnTo>
                      <a:pt x="779" y="434"/>
                    </a:lnTo>
                    <a:lnTo>
                      <a:pt x="783" y="437"/>
                    </a:lnTo>
                    <a:lnTo>
                      <a:pt x="786" y="441"/>
                    </a:lnTo>
                    <a:lnTo>
                      <a:pt x="786" y="441"/>
                    </a:lnTo>
                    <a:lnTo>
                      <a:pt x="793" y="448"/>
                    </a:lnTo>
                    <a:lnTo>
                      <a:pt x="801" y="452"/>
                    </a:lnTo>
                    <a:lnTo>
                      <a:pt x="811" y="454"/>
                    </a:lnTo>
                    <a:lnTo>
                      <a:pt x="821" y="452"/>
                    </a:lnTo>
                    <a:lnTo>
                      <a:pt x="821" y="452"/>
                    </a:lnTo>
                    <a:lnTo>
                      <a:pt x="824" y="451"/>
                    </a:lnTo>
                    <a:lnTo>
                      <a:pt x="827" y="448"/>
                    </a:lnTo>
                    <a:lnTo>
                      <a:pt x="827" y="447"/>
                    </a:lnTo>
                    <a:lnTo>
                      <a:pt x="827" y="444"/>
                    </a:lnTo>
                    <a:lnTo>
                      <a:pt x="825" y="437"/>
                    </a:lnTo>
                    <a:lnTo>
                      <a:pt x="825" y="434"/>
                    </a:lnTo>
                    <a:lnTo>
                      <a:pt x="827" y="431"/>
                    </a:lnTo>
                    <a:lnTo>
                      <a:pt x="827" y="431"/>
                    </a:lnTo>
                    <a:lnTo>
                      <a:pt x="827" y="430"/>
                    </a:lnTo>
                    <a:lnTo>
                      <a:pt x="827" y="428"/>
                    </a:lnTo>
                    <a:lnTo>
                      <a:pt x="823" y="424"/>
                    </a:lnTo>
                    <a:lnTo>
                      <a:pt x="808" y="413"/>
                    </a:lnTo>
                    <a:lnTo>
                      <a:pt x="793" y="403"/>
                    </a:lnTo>
                    <a:lnTo>
                      <a:pt x="787" y="398"/>
                    </a:lnTo>
                    <a:lnTo>
                      <a:pt x="786" y="394"/>
                    </a:lnTo>
                    <a:lnTo>
                      <a:pt x="786" y="394"/>
                    </a:lnTo>
                    <a:lnTo>
                      <a:pt x="784" y="393"/>
                    </a:lnTo>
                    <a:lnTo>
                      <a:pt x="786" y="391"/>
                    </a:lnTo>
                    <a:lnTo>
                      <a:pt x="791" y="391"/>
                    </a:lnTo>
                    <a:lnTo>
                      <a:pt x="800" y="394"/>
                    </a:lnTo>
                    <a:lnTo>
                      <a:pt x="808" y="397"/>
                    </a:lnTo>
                    <a:lnTo>
                      <a:pt x="808" y="397"/>
                    </a:lnTo>
                    <a:lnTo>
                      <a:pt x="813" y="398"/>
                    </a:lnTo>
                    <a:lnTo>
                      <a:pt x="817" y="398"/>
                    </a:lnTo>
                    <a:lnTo>
                      <a:pt x="818" y="395"/>
                    </a:lnTo>
                    <a:lnTo>
                      <a:pt x="821" y="394"/>
                    </a:lnTo>
                    <a:lnTo>
                      <a:pt x="823" y="387"/>
                    </a:lnTo>
                    <a:lnTo>
                      <a:pt x="824" y="381"/>
                    </a:lnTo>
                    <a:lnTo>
                      <a:pt x="824" y="381"/>
                    </a:lnTo>
                    <a:lnTo>
                      <a:pt x="823" y="378"/>
                    </a:lnTo>
                    <a:lnTo>
                      <a:pt x="820" y="377"/>
                    </a:lnTo>
                    <a:lnTo>
                      <a:pt x="808" y="376"/>
                    </a:lnTo>
                    <a:lnTo>
                      <a:pt x="797" y="377"/>
                    </a:lnTo>
                    <a:lnTo>
                      <a:pt x="790" y="378"/>
                    </a:lnTo>
                    <a:lnTo>
                      <a:pt x="786" y="380"/>
                    </a:lnTo>
                    <a:lnTo>
                      <a:pt x="786" y="380"/>
                    </a:lnTo>
                    <a:lnTo>
                      <a:pt x="781" y="381"/>
                    </a:lnTo>
                    <a:lnTo>
                      <a:pt x="777" y="381"/>
                    </a:lnTo>
                    <a:lnTo>
                      <a:pt x="774" y="380"/>
                    </a:lnTo>
                    <a:lnTo>
                      <a:pt x="771" y="378"/>
                    </a:lnTo>
                    <a:lnTo>
                      <a:pt x="770" y="376"/>
                    </a:lnTo>
                    <a:lnTo>
                      <a:pt x="771" y="373"/>
                    </a:lnTo>
                    <a:lnTo>
                      <a:pt x="773" y="371"/>
                    </a:lnTo>
                    <a:lnTo>
                      <a:pt x="779" y="370"/>
                    </a:lnTo>
                    <a:lnTo>
                      <a:pt x="779" y="370"/>
                    </a:lnTo>
                    <a:lnTo>
                      <a:pt x="783" y="368"/>
                    </a:lnTo>
                    <a:lnTo>
                      <a:pt x="786" y="367"/>
                    </a:lnTo>
                    <a:lnTo>
                      <a:pt x="786" y="366"/>
                    </a:lnTo>
                    <a:lnTo>
                      <a:pt x="786" y="364"/>
                    </a:lnTo>
                    <a:lnTo>
                      <a:pt x="784" y="360"/>
                    </a:lnTo>
                    <a:lnTo>
                      <a:pt x="784" y="358"/>
                    </a:lnTo>
                    <a:lnTo>
                      <a:pt x="784" y="357"/>
                    </a:lnTo>
                    <a:lnTo>
                      <a:pt x="784" y="357"/>
                    </a:lnTo>
                    <a:lnTo>
                      <a:pt x="787" y="356"/>
                    </a:lnTo>
                    <a:lnTo>
                      <a:pt x="790" y="357"/>
                    </a:lnTo>
                    <a:lnTo>
                      <a:pt x="800" y="361"/>
                    </a:lnTo>
                    <a:lnTo>
                      <a:pt x="811" y="366"/>
                    </a:lnTo>
                    <a:lnTo>
                      <a:pt x="816" y="367"/>
                    </a:lnTo>
                    <a:lnTo>
                      <a:pt x="820" y="367"/>
                    </a:lnTo>
                    <a:lnTo>
                      <a:pt x="820" y="367"/>
                    </a:lnTo>
                    <a:lnTo>
                      <a:pt x="827" y="366"/>
                    </a:lnTo>
                    <a:lnTo>
                      <a:pt x="834" y="366"/>
                    </a:lnTo>
                    <a:lnTo>
                      <a:pt x="841" y="364"/>
                    </a:lnTo>
                    <a:lnTo>
                      <a:pt x="847" y="360"/>
                    </a:lnTo>
                    <a:lnTo>
                      <a:pt x="847" y="360"/>
                    </a:lnTo>
                    <a:lnTo>
                      <a:pt x="850" y="357"/>
                    </a:lnTo>
                    <a:lnTo>
                      <a:pt x="848" y="356"/>
                    </a:lnTo>
                    <a:lnTo>
                      <a:pt x="845" y="353"/>
                    </a:lnTo>
                    <a:lnTo>
                      <a:pt x="841" y="350"/>
                    </a:lnTo>
                    <a:lnTo>
                      <a:pt x="833" y="346"/>
                    </a:lnTo>
                    <a:lnTo>
                      <a:pt x="825" y="340"/>
                    </a:lnTo>
                    <a:lnTo>
                      <a:pt x="825" y="340"/>
                    </a:lnTo>
                    <a:lnTo>
                      <a:pt x="825" y="339"/>
                    </a:lnTo>
                    <a:lnTo>
                      <a:pt x="828" y="337"/>
                    </a:lnTo>
                    <a:lnTo>
                      <a:pt x="838" y="336"/>
                    </a:lnTo>
                    <a:lnTo>
                      <a:pt x="861" y="337"/>
                    </a:lnTo>
                    <a:lnTo>
                      <a:pt x="861" y="337"/>
                    </a:lnTo>
                    <a:lnTo>
                      <a:pt x="864" y="337"/>
                    </a:lnTo>
                    <a:lnTo>
                      <a:pt x="867" y="336"/>
                    </a:lnTo>
                    <a:lnTo>
                      <a:pt x="870" y="330"/>
                    </a:lnTo>
                    <a:lnTo>
                      <a:pt x="870" y="329"/>
                    </a:lnTo>
                    <a:lnTo>
                      <a:pt x="870" y="327"/>
                    </a:lnTo>
                    <a:lnTo>
                      <a:pt x="868" y="326"/>
                    </a:lnTo>
                    <a:lnTo>
                      <a:pt x="865" y="326"/>
                    </a:lnTo>
                    <a:lnTo>
                      <a:pt x="865" y="326"/>
                    </a:lnTo>
                    <a:lnTo>
                      <a:pt x="862" y="327"/>
                    </a:lnTo>
                    <a:lnTo>
                      <a:pt x="857" y="326"/>
                    </a:lnTo>
                    <a:lnTo>
                      <a:pt x="847" y="322"/>
                    </a:lnTo>
                    <a:lnTo>
                      <a:pt x="841" y="319"/>
                    </a:lnTo>
                    <a:lnTo>
                      <a:pt x="838" y="314"/>
                    </a:lnTo>
                    <a:lnTo>
                      <a:pt x="835" y="312"/>
                    </a:lnTo>
                    <a:lnTo>
                      <a:pt x="837" y="309"/>
                    </a:lnTo>
                    <a:lnTo>
                      <a:pt x="837" y="309"/>
                    </a:lnTo>
                    <a:lnTo>
                      <a:pt x="838" y="306"/>
                    </a:lnTo>
                    <a:lnTo>
                      <a:pt x="841" y="304"/>
                    </a:lnTo>
                    <a:lnTo>
                      <a:pt x="848" y="304"/>
                    </a:lnTo>
                    <a:lnTo>
                      <a:pt x="855" y="306"/>
                    </a:lnTo>
                    <a:lnTo>
                      <a:pt x="860" y="304"/>
                    </a:lnTo>
                    <a:lnTo>
                      <a:pt x="865" y="303"/>
                    </a:lnTo>
                    <a:lnTo>
                      <a:pt x="865" y="303"/>
                    </a:lnTo>
                    <a:lnTo>
                      <a:pt x="868" y="300"/>
                    </a:lnTo>
                    <a:lnTo>
                      <a:pt x="870" y="296"/>
                    </a:lnTo>
                    <a:lnTo>
                      <a:pt x="870" y="292"/>
                    </a:lnTo>
                    <a:lnTo>
                      <a:pt x="868" y="286"/>
                    </a:lnTo>
                    <a:lnTo>
                      <a:pt x="867" y="282"/>
                    </a:lnTo>
                    <a:lnTo>
                      <a:pt x="864" y="277"/>
                    </a:lnTo>
                    <a:lnTo>
                      <a:pt x="860" y="275"/>
                    </a:lnTo>
                    <a:lnTo>
                      <a:pt x="857" y="275"/>
                    </a:lnTo>
                    <a:lnTo>
                      <a:pt x="857" y="275"/>
                    </a:lnTo>
                    <a:lnTo>
                      <a:pt x="840" y="272"/>
                    </a:lnTo>
                    <a:lnTo>
                      <a:pt x="831" y="270"/>
                    </a:lnTo>
                    <a:lnTo>
                      <a:pt x="830" y="269"/>
                    </a:lnTo>
                    <a:lnTo>
                      <a:pt x="828" y="267"/>
                    </a:lnTo>
                    <a:lnTo>
                      <a:pt x="828" y="267"/>
                    </a:lnTo>
                    <a:lnTo>
                      <a:pt x="828" y="265"/>
                    </a:lnTo>
                    <a:lnTo>
                      <a:pt x="825" y="263"/>
                    </a:lnTo>
                    <a:lnTo>
                      <a:pt x="821" y="260"/>
                    </a:lnTo>
                    <a:lnTo>
                      <a:pt x="817" y="257"/>
                    </a:lnTo>
                    <a:lnTo>
                      <a:pt x="816" y="256"/>
                    </a:lnTo>
                    <a:lnTo>
                      <a:pt x="817" y="255"/>
                    </a:lnTo>
                    <a:lnTo>
                      <a:pt x="817" y="255"/>
                    </a:lnTo>
                    <a:lnTo>
                      <a:pt x="818" y="253"/>
                    </a:lnTo>
                    <a:lnTo>
                      <a:pt x="821" y="253"/>
                    </a:lnTo>
                    <a:lnTo>
                      <a:pt x="825" y="255"/>
                    </a:lnTo>
                    <a:lnTo>
                      <a:pt x="831" y="255"/>
                    </a:lnTo>
                    <a:lnTo>
                      <a:pt x="834" y="255"/>
                    </a:lnTo>
                    <a:lnTo>
                      <a:pt x="838" y="252"/>
                    </a:lnTo>
                    <a:lnTo>
                      <a:pt x="838" y="252"/>
                    </a:lnTo>
                    <a:lnTo>
                      <a:pt x="843" y="249"/>
                    </a:lnTo>
                    <a:lnTo>
                      <a:pt x="848" y="249"/>
                    </a:lnTo>
                    <a:lnTo>
                      <a:pt x="861" y="249"/>
                    </a:lnTo>
                    <a:lnTo>
                      <a:pt x="872" y="252"/>
                    </a:lnTo>
                    <a:lnTo>
                      <a:pt x="882" y="252"/>
                    </a:lnTo>
                    <a:lnTo>
                      <a:pt x="882" y="252"/>
                    </a:lnTo>
                    <a:lnTo>
                      <a:pt x="885" y="250"/>
                    </a:lnTo>
                    <a:lnTo>
                      <a:pt x="885" y="248"/>
                    </a:lnTo>
                    <a:lnTo>
                      <a:pt x="885" y="245"/>
                    </a:lnTo>
                    <a:lnTo>
                      <a:pt x="882" y="242"/>
                    </a:lnTo>
                    <a:lnTo>
                      <a:pt x="878" y="236"/>
                    </a:lnTo>
                    <a:lnTo>
                      <a:pt x="875" y="235"/>
                    </a:lnTo>
                    <a:lnTo>
                      <a:pt x="872" y="235"/>
                    </a:lnTo>
                    <a:lnTo>
                      <a:pt x="872" y="235"/>
                    </a:lnTo>
                    <a:lnTo>
                      <a:pt x="865" y="236"/>
                    </a:lnTo>
                    <a:lnTo>
                      <a:pt x="857" y="236"/>
                    </a:lnTo>
                    <a:lnTo>
                      <a:pt x="853" y="236"/>
                    </a:lnTo>
                    <a:lnTo>
                      <a:pt x="850" y="235"/>
                    </a:lnTo>
                    <a:lnTo>
                      <a:pt x="847" y="232"/>
                    </a:lnTo>
                    <a:lnTo>
                      <a:pt x="845" y="229"/>
                    </a:lnTo>
                    <a:lnTo>
                      <a:pt x="845" y="229"/>
                    </a:lnTo>
                    <a:lnTo>
                      <a:pt x="845" y="226"/>
                    </a:lnTo>
                    <a:lnTo>
                      <a:pt x="848" y="225"/>
                    </a:lnTo>
                    <a:lnTo>
                      <a:pt x="855" y="225"/>
                    </a:lnTo>
                    <a:lnTo>
                      <a:pt x="862" y="226"/>
                    </a:lnTo>
                    <a:lnTo>
                      <a:pt x="865" y="225"/>
                    </a:lnTo>
                    <a:lnTo>
                      <a:pt x="868" y="225"/>
                    </a:lnTo>
                    <a:lnTo>
                      <a:pt x="868" y="225"/>
                    </a:lnTo>
                    <a:lnTo>
                      <a:pt x="867" y="222"/>
                    </a:lnTo>
                    <a:lnTo>
                      <a:pt x="864" y="219"/>
                    </a:lnTo>
                    <a:lnTo>
                      <a:pt x="854" y="215"/>
                    </a:lnTo>
                    <a:lnTo>
                      <a:pt x="848" y="213"/>
                    </a:lnTo>
                    <a:lnTo>
                      <a:pt x="843" y="213"/>
                    </a:lnTo>
                    <a:lnTo>
                      <a:pt x="838" y="215"/>
                    </a:lnTo>
                    <a:lnTo>
                      <a:pt x="835" y="218"/>
                    </a:lnTo>
                    <a:lnTo>
                      <a:pt x="835" y="218"/>
                    </a:lnTo>
                    <a:lnTo>
                      <a:pt x="833" y="220"/>
                    </a:lnTo>
                    <a:lnTo>
                      <a:pt x="830" y="222"/>
                    </a:lnTo>
                    <a:lnTo>
                      <a:pt x="827" y="223"/>
                    </a:lnTo>
                    <a:lnTo>
                      <a:pt x="824" y="223"/>
                    </a:lnTo>
                    <a:lnTo>
                      <a:pt x="821" y="223"/>
                    </a:lnTo>
                    <a:lnTo>
                      <a:pt x="820" y="222"/>
                    </a:lnTo>
                    <a:lnTo>
                      <a:pt x="820" y="220"/>
                    </a:lnTo>
                    <a:lnTo>
                      <a:pt x="823" y="218"/>
                    </a:lnTo>
                    <a:lnTo>
                      <a:pt x="823" y="218"/>
                    </a:lnTo>
                    <a:lnTo>
                      <a:pt x="825" y="215"/>
                    </a:lnTo>
                    <a:lnTo>
                      <a:pt x="828" y="212"/>
                    </a:lnTo>
                    <a:lnTo>
                      <a:pt x="831" y="203"/>
                    </a:lnTo>
                    <a:lnTo>
                      <a:pt x="833" y="195"/>
                    </a:lnTo>
                    <a:lnTo>
                      <a:pt x="833" y="188"/>
                    </a:lnTo>
                    <a:lnTo>
                      <a:pt x="833" y="188"/>
                    </a:lnTo>
                    <a:lnTo>
                      <a:pt x="834" y="185"/>
                    </a:lnTo>
                    <a:lnTo>
                      <a:pt x="837" y="184"/>
                    </a:lnTo>
                    <a:lnTo>
                      <a:pt x="848" y="179"/>
                    </a:lnTo>
                    <a:lnTo>
                      <a:pt x="854" y="176"/>
                    </a:lnTo>
                    <a:lnTo>
                      <a:pt x="858" y="174"/>
                    </a:lnTo>
                    <a:lnTo>
                      <a:pt x="861" y="171"/>
                    </a:lnTo>
                    <a:lnTo>
                      <a:pt x="861" y="166"/>
                    </a:lnTo>
                    <a:lnTo>
                      <a:pt x="861" y="166"/>
                    </a:lnTo>
                    <a:lnTo>
                      <a:pt x="861" y="162"/>
                    </a:lnTo>
                    <a:lnTo>
                      <a:pt x="862" y="158"/>
                    </a:lnTo>
                    <a:lnTo>
                      <a:pt x="865" y="155"/>
                    </a:lnTo>
                    <a:lnTo>
                      <a:pt x="868" y="154"/>
                    </a:lnTo>
                    <a:lnTo>
                      <a:pt x="878" y="151"/>
                    </a:lnTo>
                    <a:lnTo>
                      <a:pt x="888" y="151"/>
                    </a:lnTo>
                    <a:lnTo>
                      <a:pt x="888" y="151"/>
                    </a:lnTo>
                    <a:lnTo>
                      <a:pt x="891" y="149"/>
                    </a:lnTo>
                    <a:lnTo>
                      <a:pt x="892" y="148"/>
                    </a:lnTo>
                    <a:lnTo>
                      <a:pt x="891" y="145"/>
                    </a:lnTo>
                    <a:lnTo>
                      <a:pt x="889" y="144"/>
                    </a:lnTo>
                    <a:lnTo>
                      <a:pt x="884" y="139"/>
                    </a:lnTo>
                    <a:lnTo>
                      <a:pt x="881" y="138"/>
                    </a:lnTo>
                    <a:lnTo>
                      <a:pt x="877" y="138"/>
                    </a:lnTo>
                    <a:lnTo>
                      <a:pt x="877" y="138"/>
                    </a:lnTo>
                    <a:lnTo>
                      <a:pt x="868" y="139"/>
                    </a:lnTo>
                    <a:lnTo>
                      <a:pt x="861" y="144"/>
                    </a:lnTo>
                    <a:lnTo>
                      <a:pt x="855" y="147"/>
                    </a:lnTo>
                    <a:lnTo>
                      <a:pt x="853" y="147"/>
                    </a:lnTo>
                    <a:lnTo>
                      <a:pt x="850" y="147"/>
                    </a:lnTo>
                    <a:lnTo>
                      <a:pt x="850" y="147"/>
                    </a:lnTo>
                    <a:lnTo>
                      <a:pt x="850" y="144"/>
                    </a:lnTo>
                    <a:lnTo>
                      <a:pt x="850" y="142"/>
                    </a:lnTo>
                    <a:lnTo>
                      <a:pt x="855" y="138"/>
                    </a:lnTo>
                    <a:lnTo>
                      <a:pt x="864" y="134"/>
                    </a:lnTo>
                    <a:lnTo>
                      <a:pt x="872" y="132"/>
                    </a:lnTo>
                    <a:lnTo>
                      <a:pt x="872" y="132"/>
                    </a:lnTo>
                    <a:lnTo>
                      <a:pt x="892" y="132"/>
                    </a:lnTo>
                    <a:lnTo>
                      <a:pt x="904" y="129"/>
                    </a:lnTo>
                    <a:lnTo>
                      <a:pt x="912" y="127"/>
                    </a:lnTo>
                    <a:lnTo>
                      <a:pt x="912" y="127"/>
                    </a:lnTo>
                    <a:lnTo>
                      <a:pt x="914" y="125"/>
                    </a:lnTo>
                    <a:lnTo>
                      <a:pt x="914" y="124"/>
                    </a:lnTo>
                    <a:lnTo>
                      <a:pt x="907" y="121"/>
                    </a:lnTo>
                    <a:lnTo>
                      <a:pt x="895" y="119"/>
                    </a:lnTo>
                    <a:lnTo>
                      <a:pt x="882" y="119"/>
                    </a:lnTo>
                    <a:lnTo>
                      <a:pt x="882" y="119"/>
                    </a:lnTo>
                    <a:lnTo>
                      <a:pt x="874" y="119"/>
                    </a:lnTo>
                    <a:lnTo>
                      <a:pt x="872" y="119"/>
                    </a:lnTo>
                    <a:lnTo>
                      <a:pt x="872" y="118"/>
                    </a:lnTo>
                    <a:lnTo>
                      <a:pt x="874" y="117"/>
                    </a:lnTo>
                    <a:lnTo>
                      <a:pt x="877" y="115"/>
                    </a:lnTo>
                    <a:lnTo>
                      <a:pt x="891" y="115"/>
                    </a:lnTo>
                    <a:lnTo>
                      <a:pt x="891" y="115"/>
                    </a:lnTo>
                    <a:lnTo>
                      <a:pt x="904" y="114"/>
                    </a:lnTo>
                    <a:lnTo>
                      <a:pt x="911" y="111"/>
                    </a:lnTo>
                    <a:lnTo>
                      <a:pt x="917" y="110"/>
                    </a:lnTo>
                    <a:lnTo>
                      <a:pt x="925" y="108"/>
                    </a:lnTo>
                    <a:lnTo>
                      <a:pt x="925" y="108"/>
                    </a:lnTo>
                    <a:lnTo>
                      <a:pt x="934" y="105"/>
                    </a:lnTo>
                    <a:lnTo>
                      <a:pt x="938" y="102"/>
                    </a:lnTo>
                    <a:lnTo>
                      <a:pt x="941" y="100"/>
                    </a:lnTo>
                    <a:lnTo>
                      <a:pt x="946" y="98"/>
                    </a:lnTo>
                    <a:lnTo>
                      <a:pt x="946" y="98"/>
                    </a:lnTo>
                    <a:lnTo>
                      <a:pt x="956" y="97"/>
                    </a:lnTo>
                    <a:lnTo>
                      <a:pt x="968" y="92"/>
                    </a:lnTo>
                    <a:lnTo>
                      <a:pt x="978" y="87"/>
                    </a:lnTo>
                    <a:lnTo>
                      <a:pt x="981" y="84"/>
                    </a:lnTo>
                    <a:lnTo>
                      <a:pt x="982" y="83"/>
                    </a:lnTo>
                    <a:lnTo>
                      <a:pt x="982" y="83"/>
                    </a:lnTo>
                    <a:lnTo>
                      <a:pt x="981" y="80"/>
                    </a:lnTo>
                    <a:lnTo>
                      <a:pt x="976" y="77"/>
                    </a:lnTo>
                    <a:lnTo>
                      <a:pt x="961" y="73"/>
                    </a:lnTo>
                    <a:lnTo>
                      <a:pt x="944" y="68"/>
                    </a:lnTo>
                    <a:lnTo>
                      <a:pt x="928" y="67"/>
                    </a:lnTo>
                    <a:lnTo>
                      <a:pt x="928" y="67"/>
                    </a:lnTo>
                    <a:close/>
                    <a:moveTo>
                      <a:pt x="336" y="479"/>
                    </a:moveTo>
                    <a:lnTo>
                      <a:pt x="336" y="479"/>
                    </a:lnTo>
                    <a:lnTo>
                      <a:pt x="336" y="477"/>
                    </a:lnTo>
                    <a:lnTo>
                      <a:pt x="335" y="475"/>
                    </a:lnTo>
                    <a:lnTo>
                      <a:pt x="332" y="474"/>
                    </a:lnTo>
                    <a:lnTo>
                      <a:pt x="328" y="472"/>
                    </a:lnTo>
                    <a:lnTo>
                      <a:pt x="326" y="471"/>
                    </a:lnTo>
                    <a:lnTo>
                      <a:pt x="323" y="468"/>
                    </a:lnTo>
                    <a:lnTo>
                      <a:pt x="323" y="468"/>
                    </a:lnTo>
                    <a:lnTo>
                      <a:pt x="320" y="464"/>
                    </a:lnTo>
                    <a:lnTo>
                      <a:pt x="318" y="462"/>
                    </a:lnTo>
                    <a:lnTo>
                      <a:pt x="308" y="458"/>
                    </a:lnTo>
                    <a:lnTo>
                      <a:pt x="298" y="458"/>
                    </a:lnTo>
                    <a:lnTo>
                      <a:pt x="293" y="459"/>
                    </a:lnTo>
                    <a:lnTo>
                      <a:pt x="292" y="462"/>
                    </a:lnTo>
                    <a:lnTo>
                      <a:pt x="292" y="462"/>
                    </a:lnTo>
                    <a:lnTo>
                      <a:pt x="288" y="467"/>
                    </a:lnTo>
                    <a:lnTo>
                      <a:pt x="288" y="471"/>
                    </a:lnTo>
                    <a:lnTo>
                      <a:pt x="288" y="474"/>
                    </a:lnTo>
                    <a:lnTo>
                      <a:pt x="291" y="475"/>
                    </a:lnTo>
                    <a:lnTo>
                      <a:pt x="291" y="475"/>
                    </a:lnTo>
                    <a:lnTo>
                      <a:pt x="295" y="479"/>
                    </a:lnTo>
                    <a:lnTo>
                      <a:pt x="298" y="481"/>
                    </a:lnTo>
                    <a:lnTo>
                      <a:pt x="302" y="482"/>
                    </a:lnTo>
                    <a:lnTo>
                      <a:pt x="308" y="487"/>
                    </a:lnTo>
                    <a:lnTo>
                      <a:pt x="308" y="487"/>
                    </a:lnTo>
                    <a:lnTo>
                      <a:pt x="311" y="488"/>
                    </a:lnTo>
                    <a:lnTo>
                      <a:pt x="315" y="489"/>
                    </a:lnTo>
                    <a:lnTo>
                      <a:pt x="325" y="488"/>
                    </a:lnTo>
                    <a:lnTo>
                      <a:pt x="333" y="485"/>
                    </a:lnTo>
                    <a:lnTo>
                      <a:pt x="335" y="482"/>
                    </a:lnTo>
                    <a:lnTo>
                      <a:pt x="336" y="479"/>
                    </a:lnTo>
                    <a:lnTo>
                      <a:pt x="336" y="47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7" name="Italy">
                <a:extLst>
                  <a:ext uri="{FF2B5EF4-FFF2-40B4-BE49-F238E27FC236}">
                    <a16:creationId xmlns:a16="http://schemas.microsoft.com/office/drawing/2014/main" id="{A49963A1-E042-9441-AB1B-899CBE4A6363}"/>
                  </a:ext>
                </a:extLst>
              </p:cNvPr>
              <p:cNvSpPr>
                <a:spLocks noEditPoints="1"/>
              </p:cNvSpPr>
              <p:nvPr/>
            </p:nvSpPr>
            <p:spPr bwMode="auto">
              <a:xfrm>
                <a:off x="4484693" y="3093357"/>
                <a:ext cx="269320" cy="298916"/>
              </a:xfrm>
              <a:custGeom>
                <a:avLst/>
                <a:gdLst/>
                <a:ahLst/>
                <a:cxnLst>
                  <a:cxn ang="0">
                    <a:pos x="107" y="175"/>
                  </a:cxn>
                  <a:cxn ang="0">
                    <a:pos x="94" y="180"/>
                  </a:cxn>
                  <a:cxn ang="0">
                    <a:pos x="110" y="190"/>
                  </a:cxn>
                  <a:cxn ang="0">
                    <a:pos x="128" y="202"/>
                  </a:cxn>
                  <a:cxn ang="0">
                    <a:pos x="132" y="190"/>
                  </a:cxn>
                  <a:cxn ang="0">
                    <a:pos x="139" y="175"/>
                  </a:cxn>
                  <a:cxn ang="0">
                    <a:pos x="127" y="175"/>
                  </a:cxn>
                  <a:cxn ang="0">
                    <a:pos x="26" y="122"/>
                  </a:cxn>
                  <a:cxn ang="0">
                    <a:pos x="26" y="132"/>
                  </a:cxn>
                  <a:cxn ang="0">
                    <a:pos x="28" y="151"/>
                  </a:cxn>
                  <a:cxn ang="0">
                    <a:pos x="36" y="159"/>
                  </a:cxn>
                  <a:cxn ang="0">
                    <a:pos x="47" y="152"/>
                  </a:cxn>
                  <a:cxn ang="0">
                    <a:pos x="50" y="126"/>
                  </a:cxn>
                  <a:cxn ang="0">
                    <a:pos x="34" y="121"/>
                  </a:cxn>
                  <a:cxn ang="0">
                    <a:pos x="146" y="106"/>
                  </a:cxn>
                  <a:cxn ang="0">
                    <a:pos x="131" y="102"/>
                  </a:cxn>
                  <a:cxn ang="0">
                    <a:pos x="112" y="74"/>
                  </a:cxn>
                  <a:cxn ang="0">
                    <a:pos x="91" y="55"/>
                  </a:cxn>
                  <a:cxn ang="0">
                    <a:pos x="92" y="38"/>
                  </a:cxn>
                  <a:cxn ang="0">
                    <a:pos x="98" y="30"/>
                  </a:cxn>
                  <a:cxn ang="0">
                    <a:pos x="91" y="7"/>
                  </a:cxn>
                  <a:cxn ang="0">
                    <a:pos x="78" y="1"/>
                  </a:cxn>
                  <a:cxn ang="0">
                    <a:pos x="65" y="5"/>
                  </a:cxn>
                  <a:cxn ang="0">
                    <a:pos x="60" y="8"/>
                  </a:cxn>
                  <a:cxn ang="0">
                    <a:pos x="54" y="11"/>
                  </a:cxn>
                  <a:cxn ang="0">
                    <a:pos x="45" y="14"/>
                  </a:cxn>
                  <a:cxn ang="0">
                    <a:pos x="40" y="18"/>
                  </a:cxn>
                  <a:cxn ang="0">
                    <a:pos x="30" y="17"/>
                  </a:cxn>
                  <a:cxn ang="0">
                    <a:pos x="21" y="22"/>
                  </a:cxn>
                  <a:cxn ang="0">
                    <a:pos x="4" y="30"/>
                  </a:cxn>
                  <a:cxn ang="0">
                    <a:pos x="4" y="38"/>
                  </a:cxn>
                  <a:cxn ang="0">
                    <a:pos x="0" y="42"/>
                  </a:cxn>
                  <a:cxn ang="0">
                    <a:pos x="4" y="54"/>
                  </a:cxn>
                  <a:cxn ang="0">
                    <a:pos x="14" y="59"/>
                  </a:cxn>
                  <a:cxn ang="0">
                    <a:pos x="14" y="67"/>
                  </a:cxn>
                  <a:cxn ang="0">
                    <a:pos x="28" y="57"/>
                  </a:cxn>
                  <a:cxn ang="0">
                    <a:pos x="53" y="61"/>
                  </a:cxn>
                  <a:cxn ang="0">
                    <a:pos x="61" y="74"/>
                  </a:cxn>
                  <a:cxn ang="0">
                    <a:pos x="75" y="94"/>
                  </a:cxn>
                  <a:cxn ang="0">
                    <a:pos x="98" y="112"/>
                  </a:cxn>
                  <a:cxn ang="0">
                    <a:pos x="119" y="123"/>
                  </a:cxn>
                  <a:cxn ang="0">
                    <a:pos x="135" y="136"/>
                  </a:cxn>
                  <a:cxn ang="0">
                    <a:pos x="142" y="143"/>
                  </a:cxn>
                  <a:cxn ang="0">
                    <a:pos x="146" y="160"/>
                  </a:cxn>
                  <a:cxn ang="0">
                    <a:pos x="144" y="176"/>
                  </a:cxn>
                  <a:cxn ang="0">
                    <a:pos x="154" y="163"/>
                  </a:cxn>
                  <a:cxn ang="0">
                    <a:pos x="162" y="155"/>
                  </a:cxn>
                  <a:cxn ang="0">
                    <a:pos x="158" y="146"/>
                  </a:cxn>
                  <a:cxn ang="0">
                    <a:pos x="159" y="133"/>
                  </a:cxn>
                  <a:cxn ang="0">
                    <a:pos x="179" y="141"/>
                  </a:cxn>
                  <a:cxn ang="0">
                    <a:pos x="179" y="129"/>
                  </a:cxn>
                </a:cxnLst>
                <a:rect l="0" t="0" r="r" b="b"/>
                <a:pathLst>
                  <a:path w="182" h="202">
                    <a:moveTo>
                      <a:pt x="127" y="175"/>
                    </a:moveTo>
                    <a:lnTo>
                      <a:pt x="127" y="175"/>
                    </a:lnTo>
                    <a:lnTo>
                      <a:pt x="115" y="176"/>
                    </a:lnTo>
                    <a:lnTo>
                      <a:pt x="111" y="176"/>
                    </a:lnTo>
                    <a:lnTo>
                      <a:pt x="107" y="175"/>
                    </a:lnTo>
                    <a:lnTo>
                      <a:pt x="107" y="175"/>
                    </a:lnTo>
                    <a:lnTo>
                      <a:pt x="102" y="173"/>
                    </a:lnTo>
                    <a:lnTo>
                      <a:pt x="98" y="175"/>
                    </a:lnTo>
                    <a:lnTo>
                      <a:pt x="94" y="178"/>
                    </a:lnTo>
                    <a:lnTo>
                      <a:pt x="94" y="180"/>
                    </a:lnTo>
                    <a:lnTo>
                      <a:pt x="94" y="180"/>
                    </a:lnTo>
                    <a:lnTo>
                      <a:pt x="95" y="183"/>
                    </a:lnTo>
                    <a:lnTo>
                      <a:pt x="98" y="185"/>
                    </a:lnTo>
                    <a:lnTo>
                      <a:pt x="102" y="188"/>
                    </a:lnTo>
                    <a:lnTo>
                      <a:pt x="110" y="190"/>
                    </a:lnTo>
                    <a:lnTo>
                      <a:pt x="110" y="190"/>
                    </a:lnTo>
                    <a:lnTo>
                      <a:pt x="117" y="193"/>
                    </a:lnTo>
                    <a:lnTo>
                      <a:pt x="122" y="196"/>
                    </a:lnTo>
                    <a:lnTo>
                      <a:pt x="125" y="200"/>
                    </a:lnTo>
                    <a:lnTo>
                      <a:pt x="128" y="202"/>
                    </a:lnTo>
                    <a:lnTo>
                      <a:pt x="128" y="202"/>
                    </a:lnTo>
                    <a:lnTo>
                      <a:pt x="131" y="200"/>
                    </a:lnTo>
                    <a:lnTo>
                      <a:pt x="132" y="197"/>
                    </a:lnTo>
                    <a:lnTo>
                      <a:pt x="134" y="195"/>
                    </a:lnTo>
                    <a:lnTo>
                      <a:pt x="132" y="190"/>
                    </a:lnTo>
                    <a:lnTo>
                      <a:pt x="132" y="190"/>
                    </a:lnTo>
                    <a:lnTo>
                      <a:pt x="132" y="185"/>
                    </a:lnTo>
                    <a:lnTo>
                      <a:pt x="135" y="180"/>
                    </a:lnTo>
                    <a:lnTo>
                      <a:pt x="139" y="175"/>
                    </a:lnTo>
                    <a:lnTo>
                      <a:pt x="139" y="175"/>
                    </a:lnTo>
                    <a:lnTo>
                      <a:pt x="139" y="175"/>
                    </a:lnTo>
                    <a:lnTo>
                      <a:pt x="137" y="173"/>
                    </a:lnTo>
                    <a:lnTo>
                      <a:pt x="132" y="173"/>
                    </a:lnTo>
                    <a:lnTo>
                      <a:pt x="127" y="175"/>
                    </a:lnTo>
                    <a:lnTo>
                      <a:pt x="127" y="175"/>
                    </a:lnTo>
                    <a:close/>
                    <a:moveTo>
                      <a:pt x="34" y="121"/>
                    </a:moveTo>
                    <a:lnTo>
                      <a:pt x="34" y="121"/>
                    </a:lnTo>
                    <a:lnTo>
                      <a:pt x="31" y="122"/>
                    </a:lnTo>
                    <a:lnTo>
                      <a:pt x="27" y="122"/>
                    </a:lnTo>
                    <a:lnTo>
                      <a:pt x="26" y="122"/>
                    </a:lnTo>
                    <a:lnTo>
                      <a:pt x="23" y="123"/>
                    </a:lnTo>
                    <a:lnTo>
                      <a:pt x="23" y="123"/>
                    </a:lnTo>
                    <a:lnTo>
                      <a:pt x="23" y="125"/>
                    </a:lnTo>
                    <a:lnTo>
                      <a:pt x="23" y="128"/>
                    </a:lnTo>
                    <a:lnTo>
                      <a:pt x="26" y="132"/>
                    </a:lnTo>
                    <a:lnTo>
                      <a:pt x="28" y="138"/>
                    </a:lnTo>
                    <a:lnTo>
                      <a:pt x="30" y="141"/>
                    </a:lnTo>
                    <a:lnTo>
                      <a:pt x="28" y="143"/>
                    </a:lnTo>
                    <a:lnTo>
                      <a:pt x="28" y="143"/>
                    </a:lnTo>
                    <a:lnTo>
                      <a:pt x="28" y="151"/>
                    </a:lnTo>
                    <a:lnTo>
                      <a:pt x="30" y="158"/>
                    </a:lnTo>
                    <a:lnTo>
                      <a:pt x="31" y="160"/>
                    </a:lnTo>
                    <a:lnTo>
                      <a:pt x="34" y="160"/>
                    </a:lnTo>
                    <a:lnTo>
                      <a:pt x="36" y="159"/>
                    </a:lnTo>
                    <a:lnTo>
                      <a:pt x="36" y="159"/>
                    </a:lnTo>
                    <a:lnTo>
                      <a:pt x="40" y="156"/>
                    </a:lnTo>
                    <a:lnTo>
                      <a:pt x="43" y="155"/>
                    </a:lnTo>
                    <a:lnTo>
                      <a:pt x="44" y="155"/>
                    </a:lnTo>
                    <a:lnTo>
                      <a:pt x="47" y="152"/>
                    </a:lnTo>
                    <a:lnTo>
                      <a:pt x="47" y="152"/>
                    </a:lnTo>
                    <a:lnTo>
                      <a:pt x="48" y="148"/>
                    </a:lnTo>
                    <a:lnTo>
                      <a:pt x="48" y="141"/>
                    </a:lnTo>
                    <a:lnTo>
                      <a:pt x="48" y="133"/>
                    </a:lnTo>
                    <a:lnTo>
                      <a:pt x="50" y="126"/>
                    </a:lnTo>
                    <a:lnTo>
                      <a:pt x="50" y="126"/>
                    </a:lnTo>
                    <a:lnTo>
                      <a:pt x="50" y="123"/>
                    </a:lnTo>
                    <a:lnTo>
                      <a:pt x="48" y="122"/>
                    </a:lnTo>
                    <a:lnTo>
                      <a:pt x="44" y="119"/>
                    </a:lnTo>
                    <a:lnTo>
                      <a:pt x="40" y="119"/>
                    </a:lnTo>
                    <a:lnTo>
                      <a:pt x="34" y="121"/>
                    </a:lnTo>
                    <a:lnTo>
                      <a:pt x="34" y="121"/>
                    </a:lnTo>
                    <a:close/>
                    <a:moveTo>
                      <a:pt x="151" y="114"/>
                    </a:moveTo>
                    <a:lnTo>
                      <a:pt x="151" y="114"/>
                    </a:lnTo>
                    <a:lnTo>
                      <a:pt x="148" y="109"/>
                    </a:lnTo>
                    <a:lnTo>
                      <a:pt x="146" y="106"/>
                    </a:lnTo>
                    <a:lnTo>
                      <a:pt x="144" y="104"/>
                    </a:lnTo>
                    <a:lnTo>
                      <a:pt x="139" y="104"/>
                    </a:lnTo>
                    <a:lnTo>
                      <a:pt x="139" y="104"/>
                    </a:lnTo>
                    <a:lnTo>
                      <a:pt x="135" y="104"/>
                    </a:lnTo>
                    <a:lnTo>
                      <a:pt x="131" y="102"/>
                    </a:lnTo>
                    <a:lnTo>
                      <a:pt x="124" y="96"/>
                    </a:lnTo>
                    <a:lnTo>
                      <a:pt x="118" y="88"/>
                    </a:lnTo>
                    <a:lnTo>
                      <a:pt x="114" y="78"/>
                    </a:lnTo>
                    <a:lnTo>
                      <a:pt x="114" y="78"/>
                    </a:lnTo>
                    <a:lnTo>
                      <a:pt x="112" y="74"/>
                    </a:lnTo>
                    <a:lnTo>
                      <a:pt x="110" y="69"/>
                    </a:lnTo>
                    <a:lnTo>
                      <a:pt x="102" y="64"/>
                    </a:lnTo>
                    <a:lnTo>
                      <a:pt x="97" y="59"/>
                    </a:lnTo>
                    <a:lnTo>
                      <a:pt x="94" y="58"/>
                    </a:lnTo>
                    <a:lnTo>
                      <a:pt x="91" y="55"/>
                    </a:lnTo>
                    <a:lnTo>
                      <a:pt x="91" y="55"/>
                    </a:lnTo>
                    <a:lnTo>
                      <a:pt x="91" y="50"/>
                    </a:lnTo>
                    <a:lnTo>
                      <a:pt x="91" y="47"/>
                    </a:lnTo>
                    <a:lnTo>
                      <a:pt x="92" y="42"/>
                    </a:lnTo>
                    <a:lnTo>
                      <a:pt x="92" y="38"/>
                    </a:lnTo>
                    <a:lnTo>
                      <a:pt x="92" y="38"/>
                    </a:lnTo>
                    <a:lnTo>
                      <a:pt x="91" y="35"/>
                    </a:lnTo>
                    <a:lnTo>
                      <a:pt x="92" y="34"/>
                    </a:lnTo>
                    <a:lnTo>
                      <a:pt x="98" y="30"/>
                    </a:lnTo>
                    <a:lnTo>
                      <a:pt x="98" y="30"/>
                    </a:lnTo>
                    <a:lnTo>
                      <a:pt x="100" y="18"/>
                    </a:lnTo>
                    <a:lnTo>
                      <a:pt x="100" y="8"/>
                    </a:lnTo>
                    <a:lnTo>
                      <a:pt x="100" y="8"/>
                    </a:lnTo>
                    <a:lnTo>
                      <a:pt x="91" y="7"/>
                    </a:lnTo>
                    <a:lnTo>
                      <a:pt x="91" y="7"/>
                    </a:lnTo>
                    <a:lnTo>
                      <a:pt x="90" y="3"/>
                    </a:lnTo>
                    <a:lnTo>
                      <a:pt x="88" y="0"/>
                    </a:lnTo>
                    <a:lnTo>
                      <a:pt x="88" y="0"/>
                    </a:lnTo>
                    <a:lnTo>
                      <a:pt x="82" y="0"/>
                    </a:lnTo>
                    <a:lnTo>
                      <a:pt x="78" y="1"/>
                    </a:lnTo>
                    <a:lnTo>
                      <a:pt x="75" y="1"/>
                    </a:lnTo>
                    <a:lnTo>
                      <a:pt x="75" y="1"/>
                    </a:lnTo>
                    <a:lnTo>
                      <a:pt x="71" y="4"/>
                    </a:lnTo>
                    <a:lnTo>
                      <a:pt x="68" y="5"/>
                    </a:lnTo>
                    <a:lnTo>
                      <a:pt x="65" y="5"/>
                    </a:lnTo>
                    <a:lnTo>
                      <a:pt x="65" y="5"/>
                    </a:lnTo>
                    <a:lnTo>
                      <a:pt x="64" y="4"/>
                    </a:lnTo>
                    <a:lnTo>
                      <a:pt x="61" y="7"/>
                    </a:lnTo>
                    <a:lnTo>
                      <a:pt x="61" y="7"/>
                    </a:lnTo>
                    <a:lnTo>
                      <a:pt x="60" y="8"/>
                    </a:lnTo>
                    <a:lnTo>
                      <a:pt x="60" y="10"/>
                    </a:lnTo>
                    <a:lnTo>
                      <a:pt x="58" y="11"/>
                    </a:lnTo>
                    <a:lnTo>
                      <a:pt x="58" y="11"/>
                    </a:lnTo>
                    <a:lnTo>
                      <a:pt x="55" y="10"/>
                    </a:lnTo>
                    <a:lnTo>
                      <a:pt x="54" y="11"/>
                    </a:lnTo>
                    <a:lnTo>
                      <a:pt x="54" y="13"/>
                    </a:lnTo>
                    <a:lnTo>
                      <a:pt x="54" y="13"/>
                    </a:lnTo>
                    <a:lnTo>
                      <a:pt x="53" y="14"/>
                    </a:lnTo>
                    <a:lnTo>
                      <a:pt x="50" y="15"/>
                    </a:lnTo>
                    <a:lnTo>
                      <a:pt x="45" y="14"/>
                    </a:lnTo>
                    <a:lnTo>
                      <a:pt x="45" y="14"/>
                    </a:lnTo>
                    <a:lnTo>
                      <a:pt x="43" y="15"/>
                    </a:lnTo>
                    <a:lnTo>
                      <a:pt x="41" y="15"/>
                    </a:lnTo>
                    <a:lnTo>
                      <a:pt x="40" y="18"/>
                    </a:lnTo>
                    <a:lnTo>
                      <a:pt x="40" y="18"/>
                    </a:lnTo>
                    <a:lnTo>
                      <a:pt x="40" y="22"/>
                    </a:lnTo>
                    <a:lnTo>
                      <a:pt x="38" y="24"/>
                    </a:lnTo>
                    <a:lnTo>
                      <a:pt x="36" y="24"/>
                    </a:lnTo>
                    <a:lnTo>
                      <a:pt x="36" y="24"/>
                    </a:lnTo>
                    <a:lnTo>
                      <a:pt x="30" y="17"/>
                    </a:lnTo>
                    <a:lnTo>
                      <a:pt x="28" y="14"/>
                    </a:lnTo>
                    <a:lnTo>
                      <a:pt x="27" y="13"/>
                    </a:lnTo>
                    <a:lnTo>
                      <a:pt x="27" y="13"/>
                    </a:lnTo>
                    <a:lnTo>
                      <a:pt x="24" y="18"/>
                    </a:lnTo>
                    <a:lnTo>
                      <a:pt x="21" y="22"/>
                    </a:lnTo>
                    <a:lnTo>
                      <a:pt x="18" y="24"/>
                    </a:lnTo>
                    <a:lnTo>
                      <a:pt x="18" y="24"/>
                    </a:lnTo>
                    <a:lnTo>
                      <a:pt x="6" y="25"/>
                    </a:lnTo>
                    <a:lnTo>
                      <a:pt x="6" y="25"/>
                    </a:lnTo>
                    <a:lnTo>
                      <a:pt x="4" y="30"/>
                    </a:lnTo>
                    <a:lnTo>
                      <a:pt x="7" y="32"/>
                    </a:lnTo>
                    <a:lnTo>
                      <a:pt x="7" y="32"/>
                    </a:lnTo>
                    <a:lnTo>
                      <a:pt x="7" y="34"/>
                    </a:lnTo>
                    <a:lnTo>
                      <a:pt x="7" y="35"/>
                    </a:lnTo>
                    <a:lnTo>
                      <a:pt x="4" y="38"/>
                    </a:lnTo>
                    <a:lnTo>
                      <a:pt x="4" y="38"/>
                    </a:lnTo>
                    <a:lnTo>
                      <a:pt x="0" y="40"/>
                    </a:lnTo>
                    <a:lnTo>
                      <a:pt x="0" y="41"/>
                    </a:lnTo>
                    <a:lnTo>
                      <a:pt x="0" y="42"/>
                    </a:lnTo>
                    <a:lnTo>
                      <a:pt x="0" y="42"/>
                    </a:lnTo>
                    <a:lnTo>
                      <a:pt x="4" y="47"/>
                    </a:lnTo>
                    <a:lnTo>
                      <a:pt x="6" y="48"/>
                    </a:lnTo>
                    <a:lnTo>
                      <a:pt x="6" y="51"/>
                    </a:lnTo>
                    <a:lnTo>
                      <a:pt x="6" y="51"/>
                    </a:lnTo>
                    <a:lnTo>
                      <a:pt x="4" y="54"/>
                    </a:lnTo>
                    <a:lnTo>
                      <a:pt x="4" y="57"/>
                    </a:lnTo>
                    <a:lnTo>
                      <a:pt x="6" y="58"/>
                    </a:lnTo>
                    <a:lnTo>
                      <a:pt x="8" y="58"/>
                    </a:lnTo>
                    <a:lnTo>
                      <a:pt x="8" y="58"/>
                    </a:lnTo>
                    <a:lnTo>
                      <a:pt x="14" y="59"/>
                    </a:lnTo>
                    <a:lnTo>
                      <a:pt x="16" y="59"/>
                    </a:lnTo>
                    <a:lnTo>
                      <a:pt x="16" y="61"/>
                    </a:lnTo>
                    <a:lnTo>
                      <a:pt x="16" y="61"/>
                    </a:lnTo>
                    <a:lnTo>
                      <a:pt x="14" y="67"/>
                    </a:lnTo>
                    <a:lnTo>
                      <a:pt x="14" y="67"/>
                    </a:lnTo>
                    <a:lnTo>
                      <a:pt x="23" y="64"/>
                    </a:lnTo>
                    <a:lnTo>
                      <a:pt x="23" y="64"/>
                    </a:lnTo>
                    <a:lnTo>
                      <a:pt x="24" y="62"/>
                    </a:lnTo>
                    <a:lnTo>
                      <a:pt x="27" y="59"/>
                    </a:lnTo>
                    <a:lnTo>
                      <a:pt x="28" y="57"/>
                    </a:lnTo>
                    <a:lnTo>
                      <a:pt x="33" y="55"/>
                    </a:lnTo>
                    <a:lnTo>
                      <a:pt x="33" y="55"/>
                    </a:lnTo>
                    <a:lnTo>
                      <a:pt x="40" y="55"/>
                    </a:lnTo>
                    <a:lnTo>
                      <a:pt x="47" y="57"/>
                    </a:lnTo>
                    <a:lnTo>
                      <a:pt x="53" y="61"/>
                    </a:lnTo>
                    <a:lnTo>
                      <a:pt x="55" y="64"/>
                    </a:lnTo>
                    <a:lnTo>
                      <a:pt x="55" y="64"/>
                    </a:lnTo>
                    <a:lnTo>
                      <a:pt x="60" y="69"/>
                    </a:lnTo>
                    <a:lnTo>
                      <a:pt x="61" y="74"/>
                    </a:lnTo>
                    <a:lnTo>
                      <a:pt x="61" y="74"/>
                    </a:lnTo>
                    <a:lnTo>
                      <a:pt x="61" y="78"/>
                    </a:lnTo>
                    <a:lnTo>
                      <a:pt x="64" y="82"/>
                    </a:lnTo>
                    <a:lnTo>
                      <a:pt x="68" y="88"/>
                    </a:lnTo>
                    <a:lnTo>
                      <a:pt x="75" y="94"/>
                    </a:lnTo>
                    <a:lnTo>
                      <a:pt x="75" y="94"/>
                    </a:lnTo>
                    <a:lnTo>
                      <a:pt x="84" y="99"/>
                    </a:lnTo>
                    <a:lnTo>
                      <a:pt x="88" y="104"/>
                    </a:lnTo>
                    <a:lnTo>
                      <a:pt x="94" y="109"/>
                    </a:lnTo>
                    <a:lnTo>
                      <a:pt x="98" y="112"/>
                    </a:lnTo>
                    <a:lnTo>
                      <a:pt x="98" y="112"/>
                    </a:lnTo>
                    <a:lnTo>
                      <a:pt x="107" y="115"/>
                    </a:lnTo>
                    <a:lnTo>
                      <a:pt x="110" y="116"/>
                    </a:lnTo>
                    <a:lnTo>
                      <a:pt x="114" y="119"/>
                    </a:lnTo>
                    <a:lnTo>
                      <a:pt x="114" y="119"/>
                    </a:lnTo>
                    <a:lnTo>
                      <a:pt x="119" y="123"/>
                    </a:lnTo>
                    <a:lnTo>
                      <a:pt x="127" y="128"/>
                    </a:lnTo>
                    <a:lnTo>
                      <a:pt x="127" y="128"/>
                    </a:lnTo>
                    <a:lnTo>
                      <a:pt x="131" y="131"/>
                    </a:lnTo>
                    <a:lnTo>
                      <a:pt x="132" y="133"/>
                    </a:lnTo>
                    <a:lnTo>
                      <a:pt x="135" y="136"/>
                    </a:lnTo>
                    <a:lnTo>
                      <a:pt x="138" y="138"/>
                    </a:lnTo>
                    <a:lnTo>
                      <a:pt x="138" y="138"/>
                    </a:lnTo>
                    <a:lnTo>
                      <a:pt x="141" y="139"/>
                    </a:lnTo>
                    <a:lnTo>
                      <a:pt x="142" y="141"/>
                    </a:lnTo>
                    <a:lnTo>
                      <a:pt x="142" y="143"/>
                    </a:lnTo>
                    <a:lnTo>
                      <a:pt x="144" y="146"/>
                    </a:lnTo>
                    <a:lnTo>
                      <a:pt x="144" y="146"/>
                    </a:lnTo>
                    <a:lnTo>
                      <a:pt x="145" y="151"/>
                    </a:lnTo>
                    <a:lnTo>
                      <a:pt x="146" y="155"/>
                    </a:lnTo>
                    <a:lnTo>
                      <a:pt x="146" y="160"/>
                    </a:lnTo>
                    <a:lnTo>
                      <a:pt x="145" y="165"/>
                    </a:lnTo>
                    <a:lnTo>
                      <a:pt x="145" y="165"/>
                    </a:lnTo>
                    <a:lnTo>
                      <a:pt x="142" y="168"/>
                    </a:lnTo>
                    <a:lnTo>
                      <a:pt x="142" y="172"/>
                    </a:lnTo>
                    <a:lnTo>
                      <a:pt x="144" y="176"/>
                    </a:lnTo>
                    <a:lnTo>
                      <a:pt x="145" y="178"/>
                    </a:lnTo>
                    <a:lnTo>
                      <a:pt x="145" y="178"/>
                    </a:lnTo>
                    <a:lnTo>
                      <a:pt x="148" y="176"/>
                    </a:lnTo>
                    <a:lnTo>
                      <a:pt x="149" y="172"/>
                    </a:lnTo>
                    <a:lnTo>
                      <a:pt x="154" y="163"/>
                    </a:lnTo>
                    <a:lnTo>
                      <a:pt x="154" y="163"/>
                    </a:lnTo>
                    <a:lnTo>
                      <a:pt x="155" y="160"/>
                    </a:lnTo>
                    <a:lnTo>
                      <a:pt x="156" y="159"/>
                    </a:lnTo>
                    <a:lnTo>
                      <a:pt x="159" y="158"/>
                    </a:lnTo>
                    <a:lnTo>
                      <a:pt x="162" y="155"/>
                    </a:lnTo>
                    <a:lnTo>
                      <a:pt x="162" y="155"/>
                    </a:lnTo>
                    <a:lnTo>
                      <a:pt x="164" y="152"/>
                    </a:lnTo>
                    <a:lnTo>
                      <a:pt x="164" y="151"/>
                    </a:lnTo>
                    <a:lnTo>
                      <a:pt x="161" y="149"/>
                    </a:lnTo>
                    <a:lnTo>
                      <a:pt x="158" y="146"/>
                    </a:lnTo>
                    <a:lnTo>
                      <a:pt x="155" y="142"/>
                    </a:lnTo>
                    <a:lnTo>
                      <a:pt x="155" y="142"/>
                    </a:lnTo>
                    <a:lnTo>
                      <a:pt x="155" y="139"/>
                    </a:lnTo>
                    <a:lnTo>
                      <a:pt x="155" y="138"/>
                    </a:lnTo>
                    <a:lnTo>
                      <a:pt x="159" y="133"/>
                    </a:lnTo>
                    <a:lnTo>
                      <a:pt x="165" y="132"/>
                    </a:lnTo>
                    <a:lnTo>
                      <a:pt x="168" y="133"/>
                    </a:lnTo>
                    <a:lnTo>
                      <a:pt x="171" y="135"/>
                    </a:lnTo>
                    <a:lnTo>
                      <a:pt x="171" y="135"/>
                    </a:lnTo>
                    <a:lnTo>
                      <a:pt x="179" y="141"/>
                    </a:lnTo>
                    <a:lnTo>
                      <a:pt x="182" y="139"/>
                    </a:lnTo>
                    <a:lnTo>
                      <a:pt x="182" y="135"/>
                    </a:lnTo>
                    <a:lnTo>
                      <a:pt x="182" y="135"/>
                    </a:lnTo>
                    <a:lnTo>
                      <a:pt x="182" y="132"/>
                    </a:lnTo>
                    <a:lnTo>
                      <a:pt x="179" y="129"/>
                    </a:lnTo>
                    <a:lnTo>
                      <a:pt x="169" y="122"/>
                    </a:lnTo>
                    <a:lnTo>
                      <a:pt x="151" y="114"/>
                    </a:lnTo>
                    <a:lnTo>
                      <a:pt x="151" y="11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8" name="Spain">
                <a:extLst>
                  <a:ext uri="{FF2B5EF4-FFF2-40B4-BE49-F238E27FC236}">
                    <a16:creationId xmlns:a16="http://schemas.microsoft.com/office/drawing/2014/main" id="{D302D4BC-69CE-3A47-A391-426D287FC61E}"/>
                  </a:ext>
                </a:extLst>
              </p:cNvPr>
              <p:cNvSpPr>
                <a:spLocks/>
              </p:cNvSpPr>
              <p:nvPr/>
            </p:nvSpPr>
            <p:spPr bwMode="auto">
              <a:xfrm>
                <a:off x="4102909" y="3192504"/>
                <a:ext cx="298916" cy="216049"/>
              </a:xfrm>
              <a:custGeom>
                <a:avLst/>
                <a:gdLst/>
                <a:ahLst/>
                <a:cxnLst>
                  <a:cxn ang="0">
                    <a:pos x="194" y="27"/>
                  </a:cxn>
                  <a:cxn ang="0">
                    <a:pos x="175" y="24"/>
                  </a:cxn>
                  <a:cxn ang="0">
                    <a:pos x="167" y="21"/>
                  </a:cxn>
                  <a:cxn ang="0">
                    <a:pos x="158" y="19"/>
                  </a:cxn>
                  <a:cxn ang="0">
                    <a:pos x="154" y="22"/>
                  </a:cxn>
                  <a:cxn ang="0">
                    <a:pos x="147" y="19"/>
                  </a:cxn>
                  <a:cxn ang="0">
                    <a:pos x="131" y="12"/>
                  </a:cxn>
                  <a:cxn ang="0">
                    <a:pos x="117" y="8"/>
                  </a:cxn>
                  <a:cxn ang="0">
                    <a:pos x="94" y="5"/>
                  </a:cxn>
                  <a:cxn ang="0">
                    <a:pos x="69" y="5"/>
                  </a:cxn>
                  <a:cxn ang="0">
                    <a:pos x="33" y="4"/>
                  </a:cxn>
                  <a:cxn ang="0">
                    <a:pos x="22" y="0"/>
                  </a:cxn>
                  <a:cxn ang="0">
                    <a:pos x="16" y="4"/>
                  </a:cxn>
                  <a:cxn ang="0">
                    <a:pos x="9" y="8"/>
                  </a:cxn>
                  <a:cxn ang="0">
                    <a:pos x="0" y="15"/>
                  </a:cxn>
                  <a:cxn ang="0">
                    <a:pos x="8" y="22"/>
                  </a:cxn>
                  <a:cxn ang="0">
                    <a:pos x="8" y="35"/>
                  </a:cxn>
                  <a:cxn ang="0">
                    <a:pos x="12" y="34"/>
                  </a:cxn>
                  <a:cxn ang="0">
                    <a:pos x="18" y="32"/>
                  </a:cxn>
                  <a:cxn ang="0">
                    <a:pos x="19" y="37"/>
                  </a:cxn>
                  <a:cxn ang="0">
                    <a:pos x="28" y="37"/>
                  </a:cxn>
                  <a:cxn ang="0">
                    <a:pos x="32" y="38"/>
                  </a:cxn>
                  <a:cxn ang="0">
                    <a:pos x="37" y="35"/>
                  </a:cxn>
                  <a:cxn ang="0">
                    <a:pos x="43" y="38"/>
                  </a:cxn>
                  <a:cxn ang="0">
                    <a:pos x="47" y="41"/>
                  </a:cxn>
                  <a:cxn ang="0">
                    <a:pos x="47" y="45"/>
                  </a:cxn>
                  <a:cxn ang="0">
                    <a:pos x="37" y="54"/>
                  </a:cxn>
                  <a:cxn ang="0">
                    <a:pos x="40" y="65"/>
                  </a:cxn>
                  <a:cxn ang="0">
                    <a:pos x="37" y="72"/>
                  </a:cxn>
                  <a:cxn ang="0">
                    <a:pos x="36" y="79"/>
                  </a:cxn>
                  <a:cxn ang="0">
                    <a:pos x="33" y="81"/>
                  </a:cxn>
                  <a:cxn ang="0">
                    <a:pos x="32" y="86"/>
                  </a:cxn>
                  <a:cxn ang="0">
                    <a:pos x="37" y="93"/>
                  </a:cxn>
                  <a:cxn ang="0">
                    <a:pos x="33" y="96"/>
                  </a:cxn>
                  <a:cxn ang="0">
                    <a:pos x="32" y="103"/>
                  </a:cxn>
                  <a:cxn ang="0">
                    <a:pos x="37" y="111"/>
                  </a:cxn>
                  <a:cxn ang="0">
                    <a:pos x="36" y="112"/>
                  </a:cxn>
                  <a:cxn ang="0">
                    <a:pos x="29" y="121"/>
                  </a:cxn>
                  <a:cxn ang="0">
                    <a:pos x="32" y="126"/>
                  </a:cxn>
                  <a:cxn ang="0">
                    <a:pos x="40" y="128"/>
                  </a:cxn>
                  <a:cxn ang="0">
                    <a:pos x="49" y="138"/>
                  </a:cxn>
                  <a:cxn ang="0">
                    <a:pos x="60" y="146"/>
                  </a:cxn>
                  <a:cxn ang="0">
                    <a:pos x="62" y="143"/>
                  </a:cxn>
                  <a:cxn ang="0">
                    <a:pos x="64" y="139"/>
                  </a:cxn>
                  <a:cxn ang="0">
                    <a:pos x="73" y="140"/>
                  </a:cxn>
                  <a:cxn ang="0">
                    <a:pos x="82" y="135"/>
                  </a:cxn>
                  <a:cxn ang="0">
                    <a:pos x="107" y="133"/>
                  </a:cxn>
                  <a:cxn ang="0">
                    <a:pos x="116" y="132"/>
                  </a:cxn>
                  <a:cxn ang="0">
                    <a:pos x="120" y="128"/>
                  </a:cxn>
                  <a:cxn ang="0">
                    <a:pos x="127" y="121"/>
                  </a:cxn>
                  <a:cxn ang="0">
                    <a:pos x="136" y="118"/>
                  </a:cxn>
                  <a:cxn ang="0">
                    <a:pos x="138" y="108"/>
                  </a:cxn>
                  <a:cxn ang="0">
                    <a:pos x="147" y="98"/>
                  </a:cxn>
                  <a:cxn ang="0">
                    <a:pos x="148" y="92"/>
                  </a:cxn>
                  <a:cxn ang="0">
                    <a:pos x="148" y="76"/>
                  </a:cxn>
                  <a:cxn ang="0">
                    <a:pos x="154" y="66"/>
                  </a:cxn>
                  <a:cxn ang="0">
                    <a:pos x="163" y="56"/>
                  </a:cxn>
                  <a:cxn ang="0">
                    <a:pos x="167" y="51"/>
                  </a:cxn>
                  <a:cxn ang="0">
                    <a:pos x="178" y="48"/>
                  </a:cxn>
                  <a:cxn ang="0">
                    <a:pos x="191" y="42"/>
                  </a:cxn>
                  <a:cxn ang="0">
                    <a:pos x="200" y="37"/>
                  </a:cxn>
                  <a:cxn ang="0">
                    <a:pos x="202" y="25"/>
                  </a:cxn>
                </a:cxnLst>
                <a:rect l="0" t="0" r="r" b="b"/>
                <a:pathLst>
                  <a:path w="202" h="146">
                    <a:moveTo>
                      <a:pt x="202" y="25"/>
                    </a:moveTo>
                    <a:lnTo>
                      <a:pt x="202" y="25"/>
                    </a:lnTo>
                    <a:lnTo>
                      <a:pt x="194" y="27"/>
                    </a:lnTo>
                    <a:lnTo>
                      <a:pt x="185" y="25"/>
                    </a:lnTo>
                    <a:lnTo>
                      <a:pt x="185" y="25"/>
                    </a:lnTo>
                    <a:lnTo>
                      <a:pt x="175" y="24"/>
                    </a:lnTo>
                    <a:lnTo>
                      <a:pt x="170" y="22"/>
                    </a:lnTo>
                    <a:lnTo>
                      <a:pt x="167" y="21"/>
                    </a:lnTo>
                    <a:lnTo>
                      <a:pt x="167" y="21"/>
                    </a:lnTo>
                    <a:lnTo>
                      <a:pt x="161" y="18"/>
                    </a:lnTo>
                    <a:lnTo>
                      <a:pt x="160" y="18"/>
                    </a:lnTo>
                    <a:lnTo>
                      <a:pt x="158" y="19"/>
                    </a:lnTo>
                    <a:lnTo>
                      <a:pt x="158" y="19"/>
                    </a:lnTo>
                    <a:lnTo>
                      <a:pt x="158" y="21"/>
                    </a:lnTo>
                    <a:lnTo>
                      <a:pt x="154" y="22"/>
                    </a:lnTo>
                    <a:lnTo>
                      <a:pt x="150" y="22"/>
                    </a:lnTo>
                    <a:lnTo>
                      <a:pt x="147" y="19"/>
                    </a:lnTo>
                    <a:lnTo>
                      <a:pt x="147" y="19"/>
                    </a:lnTo>
                    <a:lnTo>
                      <a:pt x="138" y="17"/>
                    </a:lnTo>
                    <a:lnTo>
                      <a:pt x="131" y="12"/>
                    </a:lnTo>
                    <a:lnTo>
                      <a:pt x="131" y="12"/>
                    </a:lnTo>
                    <a:lnTo>
                      <a:pt x="121" y="8"/>
                    </a:lnTo>
                    <a:lnTo>
                      <a:pt x="121" y="8"/>
                    </a:lnTo>
                    <a:lnTo>
                      <a:pt x="117" y="8"/>
                    </a:lnTo>
                    <a:lnTo>
                      <a:pt x="110" y="7"/>
                    </a:lnTo>
                    <a:lnTo>
                      <a:pt x="101" y="5"/>
                    </a:lnTo>
                    <a:lnTo>
                      <a:pt x="94" y="5"/>
                    </a:lnTo>
                    <a:lnTo>
                      <a:pt x="94" y="5"/>
                    </a:lnTo>
                    <a:lnTo>
                      <a:pt x="83" y="5"/>
                    </a:lnTo>
                    <a:lnTo>
                      <a:pt x="69" y="5"/>
                    </a:lnTo>
                    <a:lnTo>
                      <a:pt x="42" y="5"/>
                    </a:lnTo>
                    <a:lnTo>
                      <a:pt x="42" y="5"/>
                    </a:lnTo>
                    <a:lnTo>
                      <a:pt x="33" y="4"/>
                    </a:lnTo>
                    <a:lnTo>
                      <a:pt x="29" y="2"/>
                    </a:lnTo>
                    <a:lnTo>
                      <a:pt x="26" y="1"/>
                    </a:lnTo>
                    <a:lnTo>
                      <a:pt x="22" y="0"/>
                    </a:lnTo>
                    <a:lnTo>
                      <a:pt x="22" y="0"/>
                    </a:lnTo>
                    <a:lnTo>
                      <a:pt x="18" y="1"/>
                    </a:lnTo>
                    <a:lnTo>
                      <a:pt x="16" y="4"/>
                    </a:lnTo>
                    <a:lnTo>
                      <a:pt x="13" y="7"/>
                    </a:lnTo>
                    <a:lnTo>
                      <a:pt x="9" y="8"/>
                    </a:lnTo>
                    <a:lnTo>
                      <a:pt x="9" y="8"/>
                    </a:lnTo>
                    <a:lnTo>
                      <a:pt x="3" y="10"/>
                    </a:lnTo>
                    <a:lnTo>
                      <a:pt x="0" y="12"/>
                    </a:lnTo>
                    <a:lnTo>
                      <a:pt x="0" y="15"/>
                    </a:lnTo>
                    <a:lnTo>
                      <a:pt x="5" y="19"/>
                    </a:lnTo>
                    <a:lnTo>
                      <a:pt x="5" y="19"/>
                    </a:lnTo>
                    <a:lnTo>
                      <a:pt x="8" y="22"/>
                    </a:lnTo>
                    <a:lnTo>
                      <a:pt x="8" y="27"/>
                    </a:lnTo>
                    <a:lnTo>
                      <a:pt x="8" y="35"/>
                    </a:lnTo>
                    <a:lnTo>
                      <a:pt x="8" y="35"/>
                    </a:lnTo>
                    <a:lnTo>
                      <a:pt x="10" y="35"/>
                    </a:lnTo>
                    <a:lnTo>
                      <a:pt x="12" y="34"/>
                    </a:lnTo>
                    <a:lnTo>
                      <a:pt x="12" y="34"/>
                    </a:lnTo>
                    <a:lnTo>
                      <a:pt x="15" y="32"/>
                    </a:lnTo>
                    <a:lnTo>
                      <a:pt x="16" y="31"/>
                    </a:lnTo>
                    <a:lnTo>
                      <a:pt x="18" y="32"/>
                    </a:lnTo>
                    <a:lnTo>
                      <a:pt x="18" y="34"/>
                    </a:lnTo>
                    <a:lnTo>
                      <a:pt x="18" y="34"/>
                    </a:lnTo>
                    <a:lnTo>
                      <a:pt x="19" y="37"/>
                    </a:lnTo>
                    <a:lnTo>
                      <a:pt x="22" y="37"/>
                    </a:lnTo>
                    <a:lnTo>
                      <a:pt x="28" y="37"/>
                    </a:lnTo>
                    <a:lnTo>
                      <a:pt x="28" y="37"/>
                    </a:lnTo>
                    <a:lnTo>
                      <a:pt x="29" y="37"/>
                    </a:lnTo>
                    <a:lnTo>
                      <a:pt x="30" y="38"/>
                    </a:lnTo>
                    <a:lnTo>
                      <a:pt x="32" y="38"/>
                    </a:lnTo>
                    <a:lnTo>
                      <a:pt x="33" y="37"/>
                    </a:lnTo>
                    <a:lnTo>
                      <a:pt x="33" y="37"/>
                    </a:lnTo>
                    <a:lnTo>
                      <a:pt x="37" y="35"/>
                    </a:lnTo>
                    <a:lnTo>
                      <a:pt x="40" y="35"/>
                    </a:lnTo>
                    <a:lnTo>
                      <a:pt x="43" y="37"/>
                    </a:lnTo>
                    <a:lnTo>
                      <a:pt x="43" y="38"/>
                    </a:lnTo>
                    <a:lnTo>
                      <a:pt x="43" y="38"/>
                    </a:lnTo>
                    <a:lnTo>
                      <a:pt x="45" y="39"/>
                    </a:lnTo>
                    <a:lnTo>
                      <a:pt x="47" y="41"/>
                    </a:lnTo>
                    <a:lnTo>
                      <a:pt x="49" y="42"/>
                    </a:lnTo>
                    <a:lnTo>
                      <a:pt x="47" y="45"/>
                    </a:lnTo>
                    <a:lnTo>
                      <a:pt x="47" y="45"/>
                    </a:lnTo>
                    <a:lnTo>
                      <a:pt x="40" y="49"/>
                    </a:lnTo>
                    <a:lnTo>
                      <a:pt x="39" y="51"/>
                    </a:lnTo>
                    <a:lnTo>
                      <a:pt x="37" y="54"/>
                    </a:lnTo>
                    <a:lnTo>
                      <a:pt x="37" y="54"/>
                    </a:lnTo>
                    <a:lnTo>
                      <a:pt x="39" y="61"/>
                    </a:lnTo>
                    <a:lnTo>
                      <a:pt x="40" y="65"/>
                    </a:lnTo>
                    <a:lnTo>
                      <a:pt x="39" y="69"/>
                    </a:lnTo>
                    <a:lnTo>
                      <a:pt x="39" y="69"/>
                    </a:lnTo>
                    <a:lnTo>
                      <a:pt x="37" y="72"/>
                    </a:lnTo>
                    <a:lnTo>
                      <a:pt x="37" y="75"/>
                    </a:lnTo>
                    <a:lnTo>
                      <a:pt x="37" y="78"/>
                    </a:lnTo>
                    <a:lnTo>
                      <a:pt x="36" y="79"/>
                    </a:lnTo>
                    <a:lnTo>
                      <a:pt x="36" y="79"/>
                    </a:lnTo>
                    <a:lnTo>
                      <a:pt x="36" y="79"/>
                    </a:lnTo>
                    <a:lnTo>
                      <a:pt x="33" y="81"/>
                    </a:lnTo>
                    <a:lnTo>
                      <a:pt x="30" y="81"/>
                    </a:lnTo>
                    <a:lnTo>
                      <a:pt x="30" y="84"/>
                    </a:lnTo>
                    <a:lnTo>
                      <a:pt x="32" y="86"/>
                    </a:lnTo>
                    <a:lnTo>
                      <a:pt x="32" y="86"/>
                    </a:lnTo>
                    <a:lnTo>
                      <a:pt x="37" y="92"/>
                    </a:lnTo>
                    <a:lnTo>
                      <a:pt x="37" y="93"/>
                    </a:lnTo>
                    <a:lnTo>
                      <a:pt x="36" y="95"/>
                    </a:lnTo>
                    <a:lnTo>
                      <a:pt x="36" y="95"/>
                    </a:lnTo>
                    <a:lnTo>
                      <a:pt x="33" y="96"/>
                    </a:lnTo>
                    <a:lnTo>
                      <a:pt x="32" y="98"/>
                    </a:lnTo>
                    <a:lnTo>
                      <a:pt x="32" y="101"/>
                    </a:lnTo>
                    <a:lnTo>
                      <a:pt x="32" y="103"/>
                    </a:lnTo>
                    <a:lnTo>
                      <a:pt x="32" y="103"/>
                    </a:lnTo>
                    <a:lnTo>
                      <a:pt x="37" y="108"/>
                    </a:lnTo>
                    <a:lnTo>
                      <a:pt x="37" y="111"/>
                    </a:lnTo>
                    <a:lnTo>
                      <a:pt x="37" y="111"/>
                    </a:lnTo>
                    <a:lnTo>
                      <a:pt x="36" y="112"/>
                    </a:lnTo>
                    <a:lnTo>
                      <a:pt x="36" y="112"/>
                    </a:lnTo>
                    <a:lnTo>
                      <a:pt x="32" y="113"/>
                    </a:lnTo>
                    <a:lnTo>
                      <a:pt x="30" y="115"/>
                    </a:lnTo>
                    <a:lnTo>
                      <a:pt x="29" y="121"/>
                    </a:lnTo>
                    <a:lnTo>
                      <a:pt x="29" y="121"/>
                    </a:lnTo>
                    <a:lnTo>
                      <a:pt x="32" y="126"/>
                    </a:lnTo>
                    <a:lnTo>
                      <a:pt x="32" y="126"/>
                    </a:lnTo>
                    <a:lnTo>
                      <a:pt x="36" y="126"/>
                    </a:lnTo>
                    <a:lnTo>
                      <a:pt x="40" y="128"/>
                    </a:lnTo>
                    <a:lnTo>
                      <a:pt x="40" y="128"/>
                    </a:lnTo>
                    <a:lnTo>
                      <a:pt x="43" y="129"/>
                    </a:lnTo>
                    <a:lnTo>
                      <a:pt x="45" y="132"/>
                    </a:lnTo>
                    <a:lnTo>
                      <a:pt x="49" y="138"/>
                    </a:lnTo>
                    <a:lnTo>
                      <a:pt x="53" y="143"/>
                    </a:lnTo>
                    <a:lnTo>
                      <a:pt x="56" y="145"/>
                    </a:lnTo>
                    <a:lnTo>
                      <a:pt x="60" y="146"/>
                    </a:lnTo>
                    <a:lnTo>
                      <a:pt x="60" y="146"/>
                    </a:lnTo>
                    <a:lnTo>
                      <a:pt x="62" y="145"/>
                    </a:lnTo>
                    <a:lnTo>
                      <a:pt x="62" y="143"/>
                    </a:lnTo>
                    <a:lnTo>
                      <a:pt x="63" y="140"/>
                    </a:lnTo>
                    <a:lnTo>
                      <a:pt x="63" y="140"/>
                    </a:lnTo>
                    <a:lnTo>
                      <a:pt x="64" y="139"/>
                    </a:lnTo>
                    <a:lnTo>
                      <a:pt x="67" y="139"/>
                    </a:lnTo>
                    <a:lnTo>
                      <a:pt x="73" y="140"/>
                    </a:lnTo>
                    <a:lnTo>
                      <a:pt x="73" y="140"/>
                    </a:lnTo>
                    <a:lnTo>
                      <a:pt x="76" y="139"/>
                    </a:lnTo>
                    <a:lnTo>
                      <a:pt x="77" y="138"/>
                    </a:lnTo>
                    <a:lnTo>
                      <a:pt x="82" y="135"/>
                    </a:lnTo>
                    <a:lnTo>
                      <a:pt x="87" y="135"/>
                    </a:lnTo>
                    <a:lnTo>
                      <a:pt x="87" y="135"/>
                    </a:lnTo>
                    <a:lnTo>
                      <a:pt x="107" y="133"/>
                    </a:lnTo>
                    <a:lnTo>
                      <a:pt x="107" y="133"/>
                    </a:lnTo>
                    <a:lnTo>
                      <a:pt x="111" y="133"/>
                    </a:lnTo>
                    <a:lnTo>
                      <a:pt x="116" y="132"/>
                    </a:lnTo>
                    <a:lnTo>
                      <a:pt x="117" y="130"/>
                    </a:lnTo>
                    <a:lnTo>
                      <a:pt x="120" y="128"/>
                    </a:lnTo>
                    <a:lnTo>
                      <a:pt x="120" y="128"/>
                    </a:lnTo>
                    <a:lnTo>
                      <a:pt x="121" y="125"/>
                    </a:lnTo>
                    <a:lnTo>
                      <a:pt x="124" y="122"/>
                    </a:lnTo>
                    <a:lnTo>
                      <a:pt x="127" y="121"/>
                    </a:lnTo>
                    <a:lnTo>
                      <a:pt x="131" y="119"/>
                    </a:lnTo>
                    <a:lnTo>
                      <a:pt x="131" y="119"/>
                    </a:lnTo>
                    <a:lnTo>
                      <a:pt x="136" y="118"/>
                    </a:lnTo>
                    <a:lnTo>
                      <a:pt x="137" y="115"/>
                    </a:lnTo>
                    <a:lnTo>
                      <a:pt x="138" y="108"/>
                    </a:lnTo>
                    <a:lnTo>
                      <a:pt x="138" y="108"/>
                    </a:lnTo>
                    <a:lnTo>
                      <a:pt x="140" y="105"/>
                    </a:lnTo>
                    <a:lnTo>
                      <a:pt x="144" y="102"/>
                    </a:lnTo>
                    <a:lnTo>
                      <a:pt x="147" y="98"/>
                    </a:lnTo>
                    <a:lnTo>
                      <a:pt x="150" y="95"/>
                    </a:lnTo>
                    <a:lnTo>
                      <a:pt x="150" y="95"/>
                    </a:lnTo>
                    <a:lnTo>
                      <a:pt x="148" y="92"/>
                    </a:lnTo>
                    <a:lnTo>
                      <a:pt x="147" y="86"/>
                    </a:lnTo>
                    <a:lnTo>
                      <a:pt x="147" y="79"/>
                    </a:lnTo>
                    <a:lnTo>
                      <a:pt x="148" y="76"/>
                    </a:lnTo>
                    <a:lnTo>
                      <a:pt x="150" y="72"/>
                    </a:lnTo>
                    <a:lnTo>
                      <a:pt x="150" y="72"/>
                    </a:lnTo>
                    <a:lnTo>
                      <a:pt x="154" y="66"/>
                    </a:lnTo>
                    <a:lnTo>
                      <a:pt x="158" y="62"/>
                    </a:lnTo>
                    <a:lnTo>
                      <a:pt x="163" y="59"/>
                    </a:lnTo>
                    <a:lnTo>
                      <a:pt x="163" y="56"/>
                    </a:lnTo>
                    <a:lnTo>
                      <a:pt x="163" y="56"/>
                    </a:lnTo>
                    <a:lnTo>
                      <a:pt x="164" y="54"/>
                    </a:lnTo>
                    <a:lnTo>
                      <a:pt x="167" y="51"/>
                    </a:lnTo>
                    <a:lnTo>
                      <a:pt x="173" y="49"/>
                    </a:lnTo>
                    <a:lnTo>
                      <a:pt x="178" y="48"/>
                    </a:lnTo>
                    <a:lnTo>
                      <a:pt x="178" y="48"/>
                    </a:lnTo>
                    <a:lnTo>
                      <a:pt x="183" y="47"/>
                    </a:lnTo>
                    <a:lnTo>
                      <a:pt x="187" y="45"/>
                    </a:lnTo>
                    <a:lnTo>
                      <a:pt x="191" y="42"/>
                    </a:lnTo>
                    <a:lnTo>
                      <a:pt x="195" y="39"/>
                    </a:lnTo>
                    <a:lnTo>
                      <a:pt x="195" y="39"/>
                    </a:lnTo>
                    <a:lnTo>
                      <a:pt x="200" y="37"/>
                    </a:lnTo>
                    <a:lnTo>
                      <a:pt x="201" y="34"/>
                    </a:lnTo>
                    <a:lnTo>
                      <a:pt x="202" y="31"/>
                    </a:lnTo>
                    <a:lnTo>
                      <a:pt x="202" y="25"/>
                    </a:lnTo>
                    <a:lnTo>
                      <a:pt x="202" y="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9" name="Portugal">
                <a:extLst>
                  <a:ext uri="{FF2B5EF4-FFF2-40B4-BE49-F238E27FC236}">
                    <a16:creationId xmlns:a16="http://schemas.microsoft.com/office/drawing/2014/main" id="{5BD36D1D-ABB8-6544-808A-F2A959ADB6DA}"/>
                  </a:ext>
                </a:extLst>
              </p:cNvPr>
              <p:cNvSpPr>
                <a:spLocks/>
              </p:cNvSpPr>
              <p:nvPr/>
            </p:nvSpPr>
            <p:spPr bwMode="auto">
              <a:xfrm>
                <a:off x="4096990" y="3238377"/>
                <a:ext cx="78429" cy="145019"/>
              </a:xfrm>
              <a:custGeom>
                <a:avLst/>
                <a:gdLst/>
                <a:ahLst/>
                <a:cxnLst>
                  <a:cxn ang="0">
                    <a:pos x="40" y="81"/>
                  </a:cxn>
                  <a:cxn ang="0">
                    <a:pos x="41" y="80"/>
                  </a:cxn>
                  <a:cxn ang="0">
                    <a:pos x="36" y="72"/>
                  </a:cxn>
                  <a:cxn ang="0">
                    <a:pos x="36" y="70"/>
                  </a:cxn>
                  <a:cxn ang="0">
                    <a:pos x="37" y="65"/>
                  </a:cxn>
                  <a:cxn ang="0">
                    <a:pos x="40" y="64"/>
                  </a:cxn>
                  <a:cxn ang="0">
                    <a:pos x="41" y="61"/>
                  </a:cxn>
                  <a:cxn ang="0">
                    <a:pos x="36" y="55"/>
                  </a:cxn>
                  <a:cxn ang="0">
                    <a:pos x="34" y="50"/>
                  </a:cxn>
                  <a:cxn ang="0">
                    <a:pos x="40" y="48"/>
                  </a:cxn>
                  <a:cxn ang="0">
                    <a:pos x="40" y="48"/>
                  </a:cxn>
                  <a:cxn ang="0">
                    <a:pos x="41" y="44"/>
                  </a:cxn>
                  <a:cxn ang="0">
                    <a:pos x="43" y="38"/>
                  </a:cxn>
                  <a:cxn ang="0">
                    <a:pos x="44" y="34"/>
                  </a:cxn>
                  <a:cxn ang="0">
                    <a:pos x="41" y="23"/>
                  </a:cxn>
                  <a:cxn ang="0">
                    <a:pos x="43" y="20"/>
                  </a:cxn>
                  <a:cxn ang="0">
                    <a:pos x="51" y="14"/>
                  </a:cxn>
                  <a:cxn ang="0">
                    <a:pos x="53" y="11"/>
                  </a:cxn>
                  <a:cxn ang="0">
                    <a:pos x="49" y="8"/>
                  </a:cxn>
                  <a:cxn ang="0">
                    <a:pos x="47" y="7"/>
                  </a:cxn>
                  <a:cxn ang="0">
                    <a:pos x="44" y="4"/>
                  </a:cxn>
                  <a:cxn ang="0">
                    <a:pos x="37" y="6"/>
                  </a:cxn>
                  <a:cxn ang="0">
                    <a:pos x="36" y="7"/>
                  </a:cxn>
                  <a:cxn ang="0">
                    <a:pos x="33" y="6"/>
                  </a:cxn>
                  <a:cxn ang="0">
                    <a:pos x="32" y="6"/>
                  </a:cxn>
                  <a:cxn ang="0">
                    <a:pos x="23" y="6"/>
                  </a:cxn>
                  <a:cxn ang="0">
                    <a:pos x="22" y="3"/>
                  </a:cxn>
                  <a:cxn ang="0">
                    <a:pos x="20" y="0"/>
                  </a:cxn>
                  <a:cxn ang="0">
                    <a:pos x="16" y="3"/>
                  </a:cxn>
                  <a:cxn ang="0">
                    <a:pos x="14" y="4"/>
                  </a:cxn>
                  <a:cxn ang="0">
                    <a:pos x="12" y="4"/>
                  </a:cxn>
                  <a:cxn ang="0">
                    <a:pos x="12" y="16"/>
                  </a:cxn>
                  <a:cxn ang="0">
                    <a:pos x="13" y="18"/>
                  </a:cxn>
                  <a:cxn ang="0">
                    <a:pos x="10" y="34"/>
                  </a:cxn>
                  <a:cxn ang="0">
                    <a:pos x="2" y="54"/>
                  </a:cxn>
                  <a:cxn ang="0">
                    <a:pos x="0" y="58"/>
                  </a:cxn>
                  <a:cxn ang="0">
                    <a:pos x="3" y="64"/>
                  </a:cxn>
                  <a:cxn ang="0">
                    <a:pos x="9" y="68"/>
                  </a:cxn>
                  <a:cxn ang="0">
                    <a:pos x="12" y="74"/>
                  </a:cxn>
                  <a:cxn ang="0">
                    <a:pos x="10" y="95"/>
                  </a:cxn>
                  <a:cxn ang="0">
                    <a:pos x="12" y="97"/>
                  </a:cxn>
                  <a:cxn ang="0">
                    <a:pos x="23" y="98"/>
                  </a:cxn>
                  <a:cxn ang="0">
                    <a:pos x="29" y="97"/>
                  </a:cxn>
                  <a:cxn ang="0">
                    <a:pos x="36" y="95"/>
                  </a:cxn>
                  <a:cxn ang="0">
                    <a:pos x="33" y="90"/>
                  </a:cxn>
                  <a:cxn ang="0">
                    <a:pos x="36" y="82"/>
                  </a:cxn>
                  <a:cxn ang="0">
                    <a:pos x="40" y="81"/>
                  </a:cxn>
                </a:cxnLst>
                <a:rect l="0" t="0" r="r" b="b"/>
                <a:pathLst>
                  <a:path w="53" h="98">
                    <a:moveTo>
                      <a:pt x="40" y="81"/>
                    </a:moveTo>
                    <a:lnTo>
                      <a:pt x="40" y="81"/>
                    </a:lnTo>
                    <a:lnTo>
                      <a:pt x="41" y="80"/>
                    </a:lnTo>
                    <a:lnTo>
                      <a:pt x="41" y="80"/>
                    </a:lnTo>
                    <a:lnTo>
                      <a:pt x="41" y="77"/>
                    </a:lnTo>
                    <a:lnTo>
                      <a:pt x="36" y="72"/>
                    </a:lnTo>
                    <a:lnTo>
                      <a:pt x="36" y="72"/>
                    </a:lnTo>
                    <a:lnTo>
                      <a:pt x="36" y="70"/>
                    </a:lnTo>
                    <a:lnTo>
                      <a:pt x="36" y="67"/>
                    </a:lnTo>
                    <a:lnTo>
                      <a:pt x="37" y="65"/>
                    </a:lnTo>
                    <a:lnTo>
                      <a:pt x="40" y="64"/>
                    </a:lnTo>
                    <a:lnTo>
                      <a:pt x="40" y="64"/>
                    </a:lnTo>
                    <a:lnTo>
                      <a:pt x="41" y="62"/>
                    </a:lnTo>
                    <a:lnTo>
                      <a:pt x="41" y="61"/>
                    </a:lnTo>
                    <a:lnTo>
                      <a:pt x="36" y="55"/>
                    </a:lnTo>
                    <a:lnTo>
                      <a:pt x="36" y="55"/>
                    </a:lnTo>
                    <a:lnTo>
                      <a:pt x="34" y="53"/>
                    </a:lnTo>
                    <a:lnTo>
                      <a:pt x="34" y="50"/>
                    </a:lnTo>
                    <a:lnTo>
                      <a:pt x="37" y="50"/>
                    </a:lnTo>
                    <a:lnTo>
                      <a:pt x="40" y="48"/>
                    </a:lnTo>
                    <a:lnTo>
                      <a:pt x="40" y="48"/>
                    </a:lnTo>
                    <a:lnTo>
                      <a:pt x="40" y="48"/>
                    </a:lnTo>
                    <a:lnTo>
                      <a:pt x="41" y="47"/>
                    </a:lnTo>
                    <a:lnTo>
                      <a:pt x="41" y="44"/>
                    </a:lnTo>
                    <a:lnTo>
                      <a:pt x="41" y="41"/>
                    </a:lnTo>
                    <a:lnTo>
                      <a:pt x="43" y="38"/>
                    </a:lnTo>
                    <a:lnTo>
                      <a:pt x="43" y="38"/>
                    </a:lnTo>
                    <a:lnTo>
                      <a:pt x="44" y="34"/>
                    </a:lnTo>
                    <a:lnTo>
                      <a:pt x="43" y="30"/>
                    </a:lnTo>
                    <a:lnTo>
                      <a:pt x="41" y="23"/>
                    </a:lnTo>
                    <a:lnTo>
                      <a:pt x="41" y="23"/>
                    </a:lnTo>
                    <a:lnTo>
                      <a:pt x="43" y="20"/>
                    </a:lnTo>
                    <a:lnTo>
                      <a:pt x="44" y="18"/>
                    </a:lnTo>
                    <a:lnTo>
                      <a:pt x="51" y="14"/>
                    </a:lnTo>
                    <a:lnTo>
                      <a:pt x="51" y="14"/>
                    </a:lnTo>
                    <a:lnTo>
                      <a:pt x="53" y="11"/>
                    </a:lnTo>
                    <a:lnTo>
                      <a:pt x="51" y="10"/>
                    </a:lnTo>
                    <a:lnTo>
                      <a:pt x="49" y="8"/>
                    </a:lnTo>
                    <a:lnTo>
                      <a:pt x="47" y="7"/>
                    </a:lnTo>
                    <a:lnTo>
                      <a:pt x="47" y="7"/>
                    </a:lnTo>
                    <a:lnTo>
                      <a:pt x="47" y="6"/>
                    </a:lnTo>
                    <a:lnTo>
                      <a:pt x="44" y="4"/>
                    </a:lnTo>
                    <a:lnTo>
                      <a:pt x="41" y="4"/>
                    </a:lnTo>
                    <a:lnTo>
                      <a:pt x="37" y="6"/>
                    </a:lnTo>
                    <a:lnTo>
                      <a:pt x="37" y="6"/>
                    </a:lnTo>
                    <a:lnTo>
                      <a:pt x="36" y="7"/>
                    </a:lnTo>
                    <a:lnTo>
                      <a:pt x="34" y="7"/>
                    </a:lnTo>
                    <a:lnTo>
                      <a:pt x="33" y="6"/>
                    </a:lnTo>
                    <a:lnTo>
                      <a:pt x="32" y="6"/>
                    </a:lnTo>
                    <a:lnTo>
                      <a:pt x="32" y="6"/>
                    </a:lnTo>
                    <a:lnTo>
                      <a:pt x="26" y="6"/>
                    </a:lnTo>
                    <a:lnTo>
                      <a:pt x="23" y="6"/>
                    </a:lnTo>
                    <a:lnTo>
                      <a:pt x="22" y="3"/>
                    </a:lnTo>
                    <a:lnTo>
                      <a:pt x="22" y="3"/>
                    </a:lnTo>
                    <a:lnTo>
                      <a:pt x="22" y="1"/>
                    </a:lnTo>
                    <a:lnTo>
                      <a:pt x="20" y="0"/>
                    </a:lnTo>
                    <a:lnTo>
                      <a:pt x="19" y="1"/>
                    </a:lnTo>
                    <a:lnTo>
                      <a:pt x="16" y="3"/>
                    </a:lnTo>
                    <a:lnTo>
                      <a:pt x="16" y="3"/>
                    </a:lnTo>
                    <a:lnTo>
                      <a:pt x="14" y="4"/>
                    </a:lnTo>
                    <a:lnTo>
                      <a:pt x="12" y="4"/>
                    </a:lnTo>
                    <a:lnTo>
                      <a:pt x="12" y="4"/>
                    </a:lnTo>
                    <a:lnTo>
                      <a:pt x="12" y="11"/>
                    </a:lnTo>
                    <a:lnTo>
                      <a:pt x="12" y="16"/>
                    </a:lnTo>
                    <a:lnTo>
                      <a:pt x="12" y="16"/>
                    </a:lnTo>
                    <a:lnTo>
                      <a:pt x="13" y="18"/>
                    </a:lnTo>
                    <a:lnTo>
                      <a:pt x="13" y="23"/>
                    </a:lnTo>
                    <a:lnTo>
                      <a:pt x="10" y="34"/>
                    </a:lnTo>
                    <a:lnTo>
                      <a:pt x="7" y="45"/>
                    </a:lnTo>
                    <a:lnTo>
                      <a:pt x="2" y="54"/>
                    </a:lnTo>
                    <a:lnTo>
                      <a:pt x="2" y="54"/>
                    </a:lnTo>
                    <a:lnTo>
                      <a:pt x="0" y="58"/>
                    </a:lnTo>
                    <a:lnTo>
                      <a:pt x="0" y="61"/>
                    </a:lnTo>
                    <a:lnTo>
                      <a:pt x="3" y="64"/>
                    </a:lnTo>
                    <a:lnTo>
                      <a:pt x="9" y="68"/>
                    </a:lnTo>
                    <a:lnTo>
                      <a:pt x="9" y="68"/>
                    </a:lnTo>
                    <a:lnTo>
                      <a:pt x="10" y="70"/>
                    </a:lnTo>
                    <a:lnTo>
                      <a:pt x="12" y="74"/>
                    </a:lnTo>
                    <a:lnTo>
                      <a:pt x="12" y="81"/>
                    </a:lnTo>
                    <a:lnTo>
                      <a:pt x="10" y="95"/>
                    </a:lnTo>
                    <a:lnTo>
                      <a:pt x="10" y="95"/>
                    </a:lnTo>
                    <a:lnTo>
                      <a:pt x="12" y="97"/>
                    </a:lnTo>
                    <a:lnTo>
                      <a:pt x="14" y="98"/>
                    </a:lnTo>
                    <a:lnTo>
                      <a:pt x="23" y="98"/>
                    </a:lnTo>
                    <a:lnTo>
                      <a:pt x="23" y="98"/>
                    </a:lnTo>
                    <a:lnTo>
                      <a:pt x="29" y="97"/>
                    </a:lnTo>
                    <a:lnTo>
                      <a:pt x="36" y="95"/>
                    </a:lnTo>
                    <a:lnTo>
                      <a:pt x="36" y="95"/>
                    </a:lnTo>
                    <a:lnTo>
                      <a:pt x="33" y="90"/>
                    </a:lnTo>
                    <a:lnTo>
                      <a:pt x="33" y="90"/>
                    </a:lnTo>
                    <a:lnTo>
                      <a:pt x="34" y="84"/>
                    </a:lnTo>
                    <a:lnTo>
                      <a:pt x="36" y="82"/>
                    </a:lnTo>
                    <a:lnTo>
                      <a:pt x="40" y="81"/>
                    </a:lnTo>
                    <a:lnTo>
                      <a:pt x="40" y="8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0" name="United Kingdom">
                <a:extLst>
                  <a:ext uri="{FF2B5EF4-FFF2-40B4-BE49-F238E27FC236}">
                    <a16:creationId xmlns:a16="http://schemas.microsoft.com/office/drawing/2014/main" id="{483F7BA0-654B-2E46-A31B-DD69945A1D06}"/>
                  </a:ext>
                </a:extLst>
              </p:cNvPr>
              <p:cNvSpPr>
                <a:spLocks noEditPoints="1"/>
              </p:cNvSpPr>
              <p:nvPr/>
            </p:nvSpPr>
            <p:spPr bwMode="auto">
              <a:xfrm>
                <a:off x="4132505" y="2707134"/>
                <a:ext cx="233805" cy="297437"/>
              </a:xfrm>
              <a:custGeom>
                <a:avLst/>
                <a:gdLst/>
                <a:ahLst/>
                <a:cxnLst>
                  <a:cxn ang="0">
                    <a:pos x="15" y="89"/>
                  </a:cxn>
                  <a:cxn ang="0">
                    <a:pos x="0" y="104"/>
                  </a:cxn>
                  <a:cxn ang="0">
                    <a:pos x="12" y="110"/>
                  </a:cxn>
                  <a:cxn ang="0">
                    <a:pos x="20" y="107"/>
                  </a:cxn>
                  <a:cxn ang="0">
                    <a:pos x="39" y="104"/>
                  </a:cxn>
                  <a:cxn ang="0">
                    <a:pos x="29" y="87"/>
                  </a:cxn>
                  <a:cxn ang="0">
                    <a:pos x="151" y="137"/>
                  </a:cxn>
                  <a:cxn ang="0">
                    <a:pos x="138" y="140"/>
                  </a:cxn>
                  <a:cxn ang="0">
                    <a:pos x="134" y="128"/>
                  </a:cxn>
                  <a:cxn ang="0">
                    <a:pos x="128" y="118"/>
                  </a:cxn>
                  <a:cxn ang="0">
                    <a:pos x="117" y="100"/>
                  </a:cxn>
                  <a:cxn ang="0">
                    <a:pos x="106" y="80"/>
                  </a:cxn>
                  <a:cxn ang="0">
                    <a:pos x="91" y="69"/>
                  </a:cxn>
                  <a:cxn ang="0">
                    <a:pos x="83" y="63"/>
                  </a:cxn>
                  <a:cxn ang="0">
                    <a:pos x="99" y="32"/>
                  </a:cxn>
                  <a:cxn ang="0">
                    <a:pos x="69" y="30"/>
                  </a:cxn>
                  <a:cxn ang="0">
                    <a:pos x="64" y="25"/>
                  </a:cxn>
                  <a:cxn ang="0">
                    <a:pos x="76" y="9"/>
                  </a:cxn>
                  <a:cxn ang="0">
                    <a:pos x="74" y="3"/>
                  </a:cxn>
                  <a:cxn ang="0">
                    <a:pos x="54" y="9"/>
                  </a:cxn>
                  <a:cxn ang="0">
                    <a:pos x="44" y="22"/>
                  </a:cxn>
                  <a:cxn ang="0">
                    <a:pos x="37" y="33"/>
                  </a:cxn>
                  <a:cxn ang="0">
                    <a:pos x="29" y="33"/>
                  </a:cxn>
                  <a:cxn ang="0">
                    <a:pos x="25" y="40"/>
                  </a:cxn>
                  <a:cxn ang="0">
                    <a:pos x="35" y="47"/>
                  </a:cxn>
                  <a:cxn ang="0">
                    <a:pos x="32" y="60"/>
                  </a:cxn>
                  <a:cxn ang="0">
                    <a:pos x="36" y="66"/>
                  </a:cxn>
                  <a:cxn ang="0">
                    <a:pos x="25" y="74"/>
                  </a:cxn>
                  <a:cxn ang="0">
                    <a:pos x="36" y="70"/>
                  </a:cxn>
                  <a:cxn ang="0">
                    <a:pos x="44" y="79"/>
                  </a:cxn>
                  <a:cxn ang="0">
                    <a:pos x="52" y="67"/>
                  </a:cxn>
                  <a:cxn ang="0">
                    <a:pos x="53" y="80"/>
                  </a:cxn>
                  <a:cxn ang="0">
                    <a:pos x="47" y="96"/>
                  </a:cxn>
                  <a:cxn ang="0">
                    <a:pos x="70" y="91"/>
                  </a:cxn>
                  <a:cxn ang="0">
                    <a:pos x="72" y="100"/>
                  </a:cxn>
                  <a:cxn ang="0">
                    <a:pos x="81" y="110"/>
                  </a:cxn>
                  <a:cxn ang="0">
                    <a:pos x="80" y="127"/>
                  </a:cxn>
                  <a:cxn ang="0">
                    <a:pos x="63" y="127"/>
                  </a:cxn>
                  <a:cxn ang="0">
                    <a:pos x="57" y="133"/>
                  </a:cxn>
                  <a:cxn ang="0">
                    <a:pos x="59" y="143"/>
                  </a:cxn>
                  <a:cxn ang="0">
                    <a:pos x="53" y="155"/>
                  </a:cxn>
                  <a:cxn ang="0">
                    <a:pos x="46" y="163"/>
                  </a:cxn>
                  <a:cxn ang="0">
                    <a:pos x="57" y="164"/>
                  </a:cxn>
                  <a:cxn ang="0">
                    <a:pos x="76" y="170"/>
                  </a:cxn>
                  <a:cxn ang="0">
                    <a:pos x="81" y="173"/>
                  </a:cxn>
                  <a:cxn ang="0">
                    <a:pos x="63" y="175"/>
                  </a:cxn>
                  <a:cxn ang="0">
                    <a:pos x="43" y="200"/>
                  </a:cxn>
                  <a:cxn ang="0">
                    <a:pos x="59" y="192"/>
                  </a:cxn>
                  <a:cxn ang="0">
                    <a:pos x="70" y="192"/>
                  </a:cxn>
                  <a:cxn ang="0">
                    <a:pos x="81" y="187"/>
                  </a:cxn>
                  <a:cxn ang="0">
                    <a:pos x="99" y="184"/>
                  </a:cxn>
                  <a:cxn ang="0">
                    <a:pos x="118" y="184"/>
                  </a:cxn>
                  <a:cxn ang="0">
                    <a:pos x="151" y="174"/>
                  </a:cxn>
                  <a:cxn ang="0">
                    <a:pos x="141" y="168"/>
                  </a:cxn>
                  <a:cxn ang="0">
                    <a:pos x="158" y="145"/>
                  </a:cxn>
                </a:cxnLst>
                <a:rect l="0" t="0" r="r" b="b"/>
                <a:pathLst>
                  <a:path w="158" h="201">
                    <a:moveTo>
                      <a:pt x="29" y="87"/>
                    </a:moveTo>
                    <a:lnTo>
                      <a:pt x="29" y="87"/>
                    </a:lnTo>
                    <a:lnTo>
                      <a:pt x="27" y="86"/>
                    </a:lnTo>
                    <a:lnTo>
                      <a:pt x="25" y="84"/>
                    </a:lnTo>
                    <a:lnTo>
                      <a:pt x="19" y="86"/>
                    </a:lnTo>
                    <a:lnTo>
                      <a:pt x="15" y="89"/>
                    </a:lnTo>
                    <a:lnTo>
                      <a:pt x="9" y="90"/>
                    </a:lnTo>
                    <a:lnTo>
                      <a:pt x="9" y="90"/>
                    </a:lnTo>
                    <a:lnTo>
                      <a:pt x="8" y="96"/>
                    </a:lnTo>
                    <a:lnTo>
                      <a:pt x="5" y="99"/>
                    </a:lnTo>
                    <a:lnTo>
                      <a:pt x="5" y="99"/>
                    </a:lnTo>
                    <a:lnTo>
                      <a:pt x="0" y="104"/>
                    </a:lnTo>
                    <a:lnTo>
                      <a:pt x="0" y="107"/>
                    </a:lnTo>
                    <a:lnTo>
                      <a:pt x="0" y="109"/>
                    </a:lnTo>
                    <a:lnTo>
                      <a:pt x="0" y="109"/>
                    </a:lnTo>
                    <a:lnTo>
                      <a:pt x="8" y="111"/>
                    </a:lnTo>
                    <a:lnTo>
                      <a:pt x="10" y="113"/>
                    </a:lnTo>
                    <a:lnTo>
                      <a:pt x="12" y="110"/>
                    </a:lnTo>
                    <a:lnTo>
                      <a:pt x="12" y="110"/>
                    </a:lnTo>
                    <a:lnTo>
                      <a:pt x="12" y="107"/>
                    </a:lnTo>
                    <a:lnTo>
                      <a:pt x="13" y="104"/>
                    </a:lnTo>
                    <a:lnTo>
                      <a:pt x="16" y="104"/>
                    </a:lnTo>
                    <a:lnTo>
                      <a:pt x="20" y="107"/>
                    </a:lnTo>
                    <a:lnTo>
                      <a:pt x="20" y="107"/>
                    </a:lnTo>
                    <a:lnTo>
                      <a:pt x="26" y="113"/>
                    </a:lnTo>
                    <a:lnTo>
                      <a:pt x="26" y="113"/>
                    </a:lnTo>
                    <a:lnTo>
                      <a:pt x="27" y="110"/>
                    </a:lnTo>
                    <a:lnTo>
                      <a:pt x="30" y="109"/>
                    </a:lnTo>
                    <a:lnTo>
                      <a:pt x="35" y="107"/>
                    </a:lnTo>
                    <a:lnTo>
                      <a:pt x="39" y="104"/>
                    </a:lnTo>
                    <a:lnTo>
                      <a:pt x="39" y="104"/>
                    </a:lnTo>
                    <a:lnTo>
                      <a:pt x="39" y="103"/>
                    </a:lnTo>
                    <a:lnTo>
                      <a:pt x="40" y="101"/>
                    </a:lnTo>
                    <a:lnTo>
                      <a:pt x="37" y="97"/>
                    </a:lnTo>
                    <a:lnTo>
                      <a:pt x="35" y="91"/>
                    </a:lnTo>
                    <a:lnTo>
                      <a:pt x="29" y="87"/>
                    </a:lnTo>
                    <a:lnTo>
                      <a:pt x="29" y="87"/>
                    </a:lnTo>
                    <a:close/>
                    <a:moveTo>
                      <a:pt x="158" y="145"/>
                    </a:moveTo>
                    <a:lnTo>
                      <a:pt x="158" y="145"/>
                    </a:lnTo>
                    <a:lnTo>
                      <a:pt x="158" y="143"/>
                    </a:lnTo>
                    <a:lnTo>
                      <a:pt x="157" y="141"/>
                    </a:lnTo>
                    <a:lnTo>
                      <a:pt x="151" y="137"/>
                    </a:lnTo>
                    <a:lnTo>
                      <a:pt x="145" y="136"/>
                    </a:lnTo>
                    <a:lnTo>
                      <a:pt x="143" y="137"/>
                    </a:lnTo>
                    <a:lnTo>
                      <a:pt x="143" y="137"/>
                    </a:lnTo>
                    <a:lnTo>
                      <a:pt x="143" y="137"/>
                    </a:lnTo>
                    <a:lnTo>
                      <a:pt x="140" y="140"/>
                    </a:lnTo>
                    <a:lnTo>
                      <a:pt x="138" y="140"/>
                    </a:lnTo>
                    <a:lnTo>
                      <a:pt x="136" y="138"/>
                    </a:lnTo>
                    <a:lnTo>
                      <a:pt x="134" y="137"/>
                    </a:lnTo>
                    <a:lnTo>
                      <a:pt x="134" y="137"/>
                    </a:lnTo>
                    <a:lnTo>
                      <a:pt x="133" y="133"/>
                    </a:lnTo>
                    <a:lnTo>
                      <a:pt x="134" y="131"/>
                    </a:lnTo>
                    <a:lnTo>
                      <a:pt x="134" y="128"/>
                    </a:lnTo>
                    <a:lnTo>
                      <a:pt x="134" y="127"/>
                    </a:lnTo>
                    <a:lnTo>
                      <a:pt x="134" y="127"/>
                    </a:lnTo>
                    <a:lnTo>
                      <a:pt x="131" y="127"/>
                    </a:lnTo>
                    <a:lnTo>
                      <a:pt x="130" y="124"/>
                    </a:lnTo>
                    <a:lnTo>
                      <a:pt x="128" y="121"/>
                    </a:lnTo>
                    <a:lnTo>
                      <a:pt x="128" y="118"/>
                    </a:lnTo>
                    <a:lnTo>
                      <a:pt x="128" y="118"/>
                    </a:lnTo>
                    <a:lnTo>
                      <a:pt x="128" y="116"/>
                    </a:lnTo>
                    <a:lnTo>
                      <a:pt x="126" y="109"/>
                    </a:lnTo>
                    <a:lnTo>
                      <a:pt x="121" y="103"/>
                    </a:lnTo>
                    <a:lnTo>
                      <a:pt x="120" y="100"/>
                    </a:lnTo>
                    <a:lnTo>
                      <a:pt x="117" y="100"/>
                    </a:lnTo>
                    <a:lnTo>
                      <a:pt x="117" y="100"/>
                    </a:lnTo>
                    <a:lnTo>
                      <a:pt x="114" y="99"/>
                    </a:lnTo>
                    <a:lnTo>
                      <a:pt x="111" y="96"/>
                    </a:lnTo>
                    <a:lnTo>
                      <a:pt x="109" y="91"/>
                    </a:lnTo>
                    <a:lnTo>
                      <a:pt x="106" y="80"/>
                    </a:lnTo>
                    <a:lnTo>
                      <a:pt x="106" y="80"/>
                    </a:lnTo>
                    <a:lnTo>
                      <a:pt x="104" y="77"/>
                    </a:lnTo>
                    <a:lnTo>
                      <a:pt x="101" y="76"/>
                    </a:lnTo>
                    <a:lnTo>
                      <a:pt x="99" y="74"/>
                    </a:lnTo>
                    <a:lnTo>
                      <a:pt x="96" y="72"/>
                    </a:lnTo>
                    <a:lnTo>
                      <a:pt x="96" y="72"/>
                    </a:lnTo>
                    <a:lnTo>
                      <a:pt x="91" y="69"/>
                    </a:lnTo>
                    <a:lnTo>
                      <a:pt x="87" y="69"/>
                    </a:lnTo>
                    <a:lnTo>
                      <a:pt x="81" y="70"/>
                    </a:lnTo>
                    <a:lnTo>
                      <a:pt x="81" y="70"/>
                    </a:lnTo>
                    <a:lnTo>
                      <a:pt x="80" y="69"/>
                    </a:lnTo>
                    <a:lnTo>
                      <a:pt x="80" y="66"/>
                    </a:lnTo>
                    <a:lnTo>
                      <a:pt x="83" y="63"/>
                    </a:lnTo>
                    <a:lnTo>
                      <a:pt x="87" y="59"/>
                    </a:lnTo>
                    <a:lnTo>
                      <a:pt x="87" y="59"/>
                    </a:lnTo>
                    <a:lnTo>
                      <a:pt x="91" y="53"/>
                    </a:lnTo>
                    <a:lnTo>
                      <a:pt x="94" y="44"/>
                    </a:lnTo>
                    <a:lnTo>
                      <a:pt x="97" y="36"/>
                    </a:lnTo>
                    <a:lnTo>
                      <a:pt x="99" y="32"/>
                    </a:lnTo>
                    <a:lnTo>
                      <a:pt x="99" y="32"/>
                    </a:lnTo>
                    <a:lnTo>
                      <a:pt x="97" y="30"/>
                    </a:lnTo>
                    <a:lnTo>
                      <a:pt x="94" y="29"/>
                    </a:lnTo>
                    <a:lnTo>
                      <a:pt x="86" y="27"/>
                    </a:lnTo>
                    <a:lnTo>
                      <a:pt x="76" y="29"/>
                    </a:lnTo>
                    <a:lnTo>
                      <a:pt x="69" y="30"/>
                    </a:lnTo>
                    <a:lnTo>
                      <a:pt x="69" y="30"/>
                    </a:lnTo>
                    <a:lnTo>
                      <a:pt x="66" y="30"/>
                    </a:lnTo>
                    <a:lnTo>
                      <a:pt x="63" y="29"/>
                    </a:lnTo>
                    <a:lnTo>
                      <a:pt x="62" y="26"/>
                    </a:lnTo>
                    <a:lnTo>
                      <a:pt x="64" y="25"/>
                    </a:lnTo>
                    <a:lnTo>
                      <a:pt x="64" y="25"/>
                    </a:lnTo>
                    <a:lnTo>
                      <a:pt x="67" y="22"/>
                    </a:lnTo>
                    <a:lnTo>
                      <a:pt x="72" y="19"/>
                    </a:lnTo>
                    <a:lnTo>
                      <a:pt x="74" y="15"/>
                    </a:lnTo>
                    <a:lnTo>
                      <a:pt x="76" y="12"/>
                    </a:lnTo>
                    <a:lnTo>
                      <a:pt x="76" y="12"/>
                    </a:lnTo>
                    <a:lnTo>
                      <a:pt x="76" y="9"/>
                    </a:lnTo>
                    <a:lnTo>
                      <a:pt x="79" y="6"/>
                    </a:lnTo>
                    <a:lnTo>
                      <a:pt x="79" y="5"/>
                    </a:lnTo>
                    <a:lnTo>
                      <a:pt x="79" y="2"/>
                    </a:lnTo>
                    <a:lnTo>
                      <a:pt x="79" y="2"/>
                    </a:lnTo>
                    <a:lnTo>
                      <a:pt x="76" y="0"/>
                    </a:lnTo>
                    <a:lnTo>
                      <a:pt x="74" y="3"/>
                    </a:lnTo>
                    <a:lnTo>
                      <a:pt x="73" y="6"/>
                    </a:lnTo>
                    <a:lnTo>
                      <a:pt x="72" y="8"/>
                    </a:lnTo>
                    <a:lnTo>
                      <a:pt x="72" y="8"/>
                    </a:lnTo>
                    <a:lnTo>
                      <a:pt x="69" y="9"/>
                    </a:lnTo>
                    <a:lnTo>
                      <a:pt x="64" y="10"/>
                    </a:lnTo>
                    <a:lnTo>
                      <a:pt x="54" y="9"/>
                    </a:lnTo>
                    <a:lnTo>
                      <a:pt x="54" y="9"/>
                    </a:lnTo>
                    <a:lnTo>
                      <a:pt x="52" y="9"/>
                    </a:lnTo>
                    <a:lnTo>
                      <a:pt x="49" y="9"/>
                    </a:lnTo>
                    <a:lnTo>
                      <a:pt x="46" y="13"/>
                    </a:lnTo>
                    <a:lnTo>
                      <a:pt x="44" y="17"/>
                    </a:lnTo>
                    <a:lnTo>
                      <a:pt x="44" y="22"/>
                    </a:lnTo>
                    <a:lnTo>
                      <a:pt x="44" y="22"/>
                    </a:lnTo>
                    <a:lnTo>
                      <a:pt x="43" y="25"/>
                    </a:lnTo>
                    <a:lnTo>
                      <a:pt x="40" y="27"/>
                    </a:lnTo>
                    <a:lnTo>
                      <a:pt x="37" y="30"/>
                    </a:lnTo>
                    <a:lnTo>
                      <a:pt x="37" y="33"/>
                    </a:lnTo>
                    <a:lnTo>
                      <a:pt x="37" y="33"/>
                    </a:lnTo>
                    <a:lnTo>
                      <a:pt x="37" y="36"/>
                    </a:lnTo>
                    <a:lnTo>
                      <a:pt x="36" y="37"/>
                    </a:lnTo>
                    <a:lnTo>
                      <a:pt x="35" y="37"/>
                    </a:lnTo>
                    <a:lnTo>
                      <a:pt x="33" y="37"/>
                    </a:lnTo>
                    <a:lnTo>
                      <a:pt x="33" y="37"/>
                    </a:lnTo>
                    <a:lnTo>
                      <a:pt x="29" y="33"/>
                    </a:lnTo>
                    <a:lnTo>
                      <a:pt x="26" y="32"/>
                    </a:lnTo>
                    <a:lnTo>
                      <a:pt x="23" y="33"/>
                    </a:lnTo>
                    <a:lnTo>
                      <a:pt x="23" y="33"/>
                    </a:lnTo>
                    <a:lnTo>
                      <a:pt x="22" y="35"/>
                    </a:lnTo>
                    <a:lnTo>
                      <a:pt x="22" y="37"/>
                    </a:lnTo>
                    <a:lnTo>
                      <a:pt x="25" y="40"/>
                    </a:lnTo>
                    <a:lnTo>
                      <a:pt x="29" y="42"/>
                    </a:lnTo>
                    <a:lnTo>
                      <a:pt x="35" y="43"/>
                    </a:lnTo>
                    <a:lnTo>
                      <a:pt x="35" y="43"/>
                    </a:lnTo>
                    <a:lnTo>
                      <a:pt x="36" y="43"/>
                    </a:lnTo>
                    <a:lnTo>
                      <a:pt x="36" y="44"/>
                    </a:lnTo>
                    <a:lnTo>
                      <a:pt x="35" y="47"/>
                    </a:lnTo>
                    <a:lnTo>
                      <a:pt x="30" y="50"/>
                    </a:lnTo>
                    <a:lnTo>
                      <a:pt x="29" y="54"/>
                    </a:lnTo>
                    <a:lnTo>
                      <a:pt x="29" y="54"/>
                    </a:lnTo>
                    <a:lnTo>
                      <a:pt x="29" y="57"/>
                    </a:lnTo>
                    <a:lnTo>
                      <a:pt x="29" y="59"/>
                    </a:lnTo>
                    <a:lnTo>
                      <a:pt x="32" y="60"/>
                    </a:lnTo>
                    <a:lnTo>
                      <a:pt x="36" y="62"/>
                    </a:lnTo>
                    <a:lnTo>
                      <a:pt x="36" y="62"/>
                    </a:lnTo>
                    <a:lnTo>
                      <a:pt x="37" y="63"/>
                    </a:lnTo>
                    <a:lnTo>
                      <a:pt x="37" y="63"/>
                    </a:lnTo>
                    <a:lnTo>
                      <a:pt x="37" y="66"/>
                    </a:lnTo>
                    <a:lnTo>
                      <a:pt x="36" y="66"/>
                    </a:lnTo>
                    <a:lnTo>
                      <a:pt x="30" y="69"/>
                    </a:lnTo>
                    <a:lnTo>
                      <a:pt x="26" y="70"/>
                    </a:lnTo>
                    <a:lnTo>
                      <a:pt x="25" y="72"/>
                    </a:lnTo>
                    <a:lnTo>
                      <a:pt x="25" y="73"/>
                    </a:lnTo>
                    <a:lnTo>
                      <a:pt x="25" y="73"/>
                    </a:lnTo>
                    <a:lnTo>
                      <a:pt x="25" y="74"/>
                    </a:lnTo>
                    <a:lnTo>
                      <a:pt x="25" y="74"/>
                    </a:lnTo>
                    <a:lnTo>
                      <a:pt x="29" y="74"/>
                    </a:lnTo>
                    <a:lnTo>
                      <a:pt x="36" y="70"/>
                    </a:lnTo>
                    <a:lnTo>
                      <a:pt x="36" y="70"/>
                    </a:lnTo>
                    <a:lnTo>
                      <a:pt x="36" y="70"/>
                    </a:lnTo>
                    <a:lnTo>
                      <a:pt x="36" y="70"/>
                    </a:lnTo>
                    <a:lnTo>
                      <a:pt x="37" y="74"/>
                    </a:lnTo>
                    <a:lnTo>
                      <a:pt x="37" y="79"/>
                    </a:lnTo>
                    <a:lnTo>
                      <a:pt x="39" y="79"/>
                    </a:lnTo>
                    <a:lnTo>
                      <a:pt x="42" y="79"/>
                    </a:lnTo>
                    <a:lnTo>
                      <a:pt x="42" y="79"/>
                    </a:lnTo>
                    <a:lnTo>
                      <a:pt x="44" y="79"/>
                    </a:lnTo>
                    <a:lnTo>
                      <a:pt x="46" y="77"/>
                    </a:lnTo>
                    <a:lnTo>
                      <a:pt x="49" y="72"/>
                    </a:lnTo>
                    <a:lnTo>
                      <a:pt x="50" y="69"/>
                    </a:lnTo>
                    <a:lnTo>
                      <a:pt x="50" y="67"/>
                    </a:lnTo>
                    <a:lnTo>
                      <a:pt x="52" y="67"/>
                    </a:lnTo>
                    <a:lnTo>
                      <a:pt x="52" y="67"/>
                    </a:lnTo>
                    <a:lnTo>
                      <a:pt x="52" y="67"/>
                    </a:lnTo>
                    <a:lnTo>
                      <a:pt x="52" y="70"/>
                    </a:lnTo>
                    <a:lnTo>
                      <a:pt x="52" y="74"/>
                    </a:lnTo>
                    <a:lnTo>
                      <a:pt x="53" y="77"/>
                    </a:lnTo>
                    <a:lnTo>
                      <a:pt x="53" y="77"/>
                    </a:lnTo>
                    <a:lnTo>
                      <a:pt x="53" y="80"/>
                    </a:lnTo>
                    <a:lnTo>
                      <a:pt x="53" y="81"/>
                    </a:lnTo>
                    <a:lnTo>
                      <a:pt x="50" y="86"/>
                    </a:lnTo>
                    <a:lnTo>
                      <a:pt x="47" y="90"/>
                    </a:lnTo>
                    <a:lnTo>
                      <a:pt x="47" y="94"/>
                    </a:lnTo>
                    <a:lnTo>
                      <a:pt x="47" y="94"/>
                    </a:lnTo>
                    <a:lnTo>
                      <a:pt x="47" y="96"/>
                    </a:lnTo>
                    <a:lnTo>
                      <a:pt x="50" y="96"/>
                    </a:lnTo>
                    <a:lnTo>
                      <a:pt x="56" y="96"/>
                    </a:lnTo>
                    <a:lnTo>
                      <a:pt x="64" y="96"/>
                    </a:lnTo>
                    <a:lnTo>
                      <a:pt x="67" y="94"/>
                    </a:lnTo>
                    <a:lnTo>
                      <a:pt x="70" y="91"/>
                    </a:lnTo>
                    <a:lnTo>
                      <a:pt x="70" y="91"/>
                    </a:lnTo>
                    <a:lnTo>
                      <a:pt x="73" y="90"/>
                    </a:lnTo>
                    <a:lnTo>
                      <a:pt x="76" y="90"/>
                    </a:lnTo>
                    <a:lnTo>
                      <a:pt x="76" y="93"/>
                    </a:lnTo>
                    <a:lnTo>
                      <a:pt x="74" y="97"/>
                    </a:lnTo>
                    <a:lnTo>
                      <a:pt x="74" y="97"/>
                    </a:lnTo>
                    <a:lnTo>
                      <a:pt x="72" y="100"/>
                    </a:lnTo>
                    <a:lnTo>
                      <a:pt x="72" y="103"/>
                    </a:lnTo>
                    <a:lnTo>
                      <a:pt x="73" y="104"/>
                    </a:lnTo>
                    <a:lnTo>
                      <a:pt x="77" y="107"/>
                    </a:lnTo>
                    <a:lnTo>
                      <a:pt x="77" y="107"/>
                    </a:lnTo>
                    <a:lnTo>
                      <a:pt x="81" y="109"/>
                    </a:lnTo>
                    <a:lnTo>
                      <a:pt x="81" y="110"/>
                    </a:lnTo>
                    <a:lnTo>
                      <a:pt x="81" y="113"/>
                    </a:lnTo>
                    <a:lnTo>
                      <a:pt x="81" y="113"/>
                    </a:lnTo>
                    <a:lnTo>
                      <a:pt x="80" y="116"/>
                    </a:lnTo>
                    <a:lnTo>
                      <a:pt x="80" y="120"/>
                    </a:lnTo>
                    <a:lnTo>
                      <a:pt x="80" y="127"/>
                    </a:lnTo>
                    <a:lnTo>
                      <a:pt x="80" y="127"/>
                    </a:lnTo>
                    <a:lnTo>
                      <a:pt x="79" y="128"/>
                    </a:lnTo>
                    <a:lnTo>
                      <a:pt x="76" y="128"/>
                    </a:lnTo>
                    <a:lnTo>
                      <a:pt x="72" y="130"/>
                    </a:lnTo>
                    <a:lnTo>
                      <a:pt x="66" y="128"/>
                    </a:lnTo>
                    <a:lnTo>
                      <a:pt x="63" y="127"/>
                    </a:lnTo>
                    <a:lnTo>
                      <a:pt x="63" y="127"/>
                    </a:lnTo>
                    <a:lnTo>
                      <a:pt x="62" y="127"/>
                    </a:lnTo>
                    <a:lnTo>
                      <a:pt x="60" y="127"/>
                    </a:lnTo>
                    <a:lnTo>
                      <a:pt x="59" y="128"/>
                    </a:lnTo>
                    <a:lnTo>
                      <a:pt x="59" y="130"/>
                    </a:lnTo>
                    <a:lnTo>
                      <a:pt x="59" y="130"/>
                    </a:lnTo>
                    <a:lnTo>
                      <a:pt x="57" y="133"/>
                    </a:lnTo>
                    <a:lnTo>
                      <a:pt x="56" y="136"/>
                    </a:lnTo>
                    <a:lnTo>
                      <a:pt x="54" y="138"/>
                    </a:lnTo>
                    <a:lnTo>
                      <a:pt x="53" y="140"/>
                    </a:lnTo>
                    <a:lnTo>
                      <a:pt x="53" y="140"/>
                    </a:lnTo>
                    <a:lnTo>
                      <a:pt x="54" y="141"/>
                    </a:lnTo>
                    <a:lnTo>
                      <a:pt x="59" y="143"/>
                    </a:lnTo>
                    <a:lnTo>
                      <a:pt x="62" y="144"/>
                    </a:lnTo>
                    <a:lnTo>
                      <a:pt x="63" y="147"/>
                    </a:lnTo>
                    <a:lnTo>
                      <a:pt x="63" y="147"/>
                    </a:lnTo>
                    <a:lnTo>
                      <a:pt x="62" y="150"/>
                    </a:lnTo>
                    <a:lnTo>
                      <a:pt x="59" y="153"/>
                    </a:lnTo>
                    <a:lnTo>
                      <a:pt x="53" y="155"/>
                    </a:lnTo>
                    <a:lnTo>
                      <a:pt x="47" y="157"/>
                    </a:lnTo>
                    <a:lnTo>
                      <a:pt x="47" y="157"/>
                    </a:lnTo>
                    <a:lnTo>
                      <a:pt x="44" y="158"/>
                    </a:lnTo>
                    <a:lnTo>
                      <a:pt x="44" y="160"/>
                    </a:lnTo>
                    <a:lnTo>
                      <a:pt x="44" y="161"/>
                    </a:lnTo>
                    <a:lnTo>
                      <a:pt x="46" y="163"/>
                    </a:lnTo>
                    <a:lnTo>
                      <a:pt x="50" y="164"/>
                    </a:lnTo>
                    <a:lnTo>
                      <a:pt x="52" y="164"/>
                    </a:lnTo>
                    <a:lnTo>
                      <a:pt x="53" y="164"/>
                    </a:lnTo>
                    <a:lnTo>
                      <a:pt x="53" y="164"/>
                    </a:lnTo>
                    <a:lnTo>
                      <a:pt x="56" y="163"/>
                    </a:lnTo>
                    <a:lnTo>
                      <a:pt x="57" y="164"/>
                    </a:lnTo>
                    <a:lnTo>
                      <a:pt x="60" y="165"/>
                    </a:lnTo>
                    <a:lnTo>
                      <a:pt x="63" y="165"/>
                    </a:lnTo>
                    <a:lnTo>
                      <a:pt x="63" y="165"/>
                    </a:lnTo>
                    <a:lnTo>
                      <a:pt x="67" y="167"/>
                    </a:lnTo>
                    <a:lnTo>
                      <a:pt x="72" y="168"/>
                    </a:lnTo>
                    <a:lnTo>
                      <a:pt x="76" y="170"/>
                    </a:lnTo>
                    <a:lnTo>
                      <a:pt x="80" y="168"/>
                    </a:lnTo>
                    <a:lnTo>
                      <a:pt x="80" y="168"/>
                    </a:lnTo>
                    <a:lnTo>
                      <a:pt x="84" y="167"/>
                    </a:lnTo>
                    <a:lnTo>
                      <a:pt x="86" y="168"/>
                    </a:lnTo>
                    <a:lnTo>
                      <a:pt x="84" y="170"/>
                    </a:lnTo>
                    <a:lnTo>
                      <a:pt x="81" y="173"/>
                    </a:lnTo>
                    <a:lnTo>
                      <a:pt x="81" y="173"/>
                    </a:lnTo>
                    <a:lnTo>
                      <a:pt x="77" y="174"/>
                    </a:lnTo>
                    <a:lnTo>
                      <a:pt x="72" y="174"/>
                    </a:lnTo>
                    <a:lnTo>
                      <a:pt x="67" y="174"/>
                    </a:lnTo>
                    <a:lnTo>
                      <a:pt x="63" y="175"/>
                    </a:lnTo>
                    <a:lnTo>
                      <a:pt x="63" y="175"/>
                    </a:lnTo>
                    <a:lnTo>
                      <a:pt x="57" y="180"/>
                    </a:lnTo>
                    <a:lnTo>
                      <a:pt x="50" y="187"/>
                    </a:lnTo>
                    <a:lnTo>
                      <a:pt x="44" y="194"/>
                    </a:lnTo>
                    <a:lnTo>
                      <a:pt x="43" y="198"/>
                    </a:lnTo>
                    <a:lnTo>
                      <a:pt x="43" y="200"/>
                    </a:lnTo>
                    <a:lnTo>
                      <a:pt x="43" y="200"/>
                    </a:lnTo>
                    <a:lnTo>
                      <a:pt x="44" y="201"/>
                    </a:lnTo>
                    <a:lnTo>
                      <a:pt x="47" y="198"/>
                    </a:lnTo>
                    <a:lnTo>
                      <a:pt x="50" y="195"/>
                    </a:lnTo>
                    <a:lnTo>
                      <a:pt x="54" y="194"/>
                    </a:lnTo>
                    <a:lnTo>
                      <a:pt x="54" y="194"/>
                    </a:lnTo>
                    <a:lnTo>
                      <a:pt x="59" y="192"/>
                    </a:lnTo>
                    <a:lnTo>
                      <a:pt x="62" y="194"/>
                    </a:lnTo>
                    <a:lnTo>
                      <a:pt x="64" y="195"/>
                    </a:lnTo>
                    <a:lnTo>
                      <a:pt x="67" y="195"/>
                    </a:lnTo>
                    <a:lnTo>
                      <a:pt x="67" y="195"/>
                    </a:lnTo>
                    <a:lnTo>
                      <a:pt x="69" y="195"/>
                    </a:lnTo>
                    <a:lnTo>
                      <a:pt x="70" y="192"/>
                    </a:lnTo>
                    <a:lnTo>
                      <a:pt x="72" y="190"/>
                    </a:lnTo>
                    <a:lnTo>
                      <a:pt x="74" y="188"/>
                    </a:lnTo>
                    <a:lnTo>
                      <a:pt x="74" y="188"/>
                    </a:lnTo>
                    <a:lnTo>
                      <a:pt x="76" y="188"/>
                    </a:lnTo>
                    <a:lnTo>
                      <a:pt x="79" y="188"/>
                    </a:lnTo>
                    <a:lnTo>
                      <a:pt x="81" y="187"/>
                    </a:lnTo>
                    <a:lnTo>
                      <a:pt x="86" y="187"/>
                    </a:lnTo>
                    <a:lnTo>
                      <a:pt x="86" y="187"/>
                    </a:lnTo>
                    <a:lnTo>
                      <a:pt x="90" y="187"/>
                    </a:lnTo>
                    <a:lnTo>
                      <a:pt x="93" y="187"/>
                    </a:lnTo>
                    <a:lnTo>
                      <a:pt x="99" y="184"/>
                    </a:lnTo>
                    <a:lnTo>
                      <a:pt x="99" y="184"/>
                    </a:lnTo>
                    <a:lnTo>
                      <a:pt x="101" y="182"/>
                    </a:lnTo>
                    <a:lnTo>
                      <a:pt x="104" y="184"/>
                    </a:lnTo>
                    <a:lnTo>
                      <a:pt x="109" y="187"/>
                    </a:lnTo>
                    <a:lnTo>
                      <a:pt x="111" y="187"/>
                    </a:lnTo>
                    <a:lnTo>
                      <a:pt x="111" y="187"/>
                    </a:lnTo>
                    <a:lnTo>
                      <a:pt x="118" y="184"/>
                    </a:lnTo>
                    <a:lnTo>
                      <a:pt x="128" y="182"/>
                    </a:lnTo>
                    <a:lnTo>
                      <a:pt x="128" y="182"/>
                    </a:lnTo>
                    <a:lnTo>
                      <a:pt x="134" y="182"/>
                    </a:lnTo>
                    <a:lnTo>
                      <a:pt x="141" y="180"/>
                    </a:lnTo>
                    <a:lnTo>
                      <a:pt x="151" y="174"/>
                    </a:lnTo>
                    <a:lnTo>
                      <a:pt x="151" y="174"/>
                    </a:lnTo>
                    <a:lnTo>
                      <a:pt x="153" y="171"/>
                    </a:lnTo>
                    <a:lnTo>
                      <a:pt x="151" y="171"/>
                    </a:lnTo>
                    <a:lnTo>
                      <a:pt x="144" y="171"/>
                    </a:lnTo>
                    <a:lnTo>
                      <a:pt x="144" y="171"/>
                    </a:lnTo>
                    <a:lnTo>
                      <a:pt x="141" y="170"/>
                    </a:lnTo>
                    <a:lnTo>
                      <a:pt x="141" y="168"/>
                    </a:lnTo>
                    <a:lnTo>
                      <a:pt x="143" y="164"/>
                    </a:lnTo>
                    <a:lnTo>
                      <a:pt x="145" y="161"/>
                    </a:lnTo>
                    <a:lnTo>
                      <a:pt x="145" y="161"/>
                    </a:lnTo>
                    <a:lnTo>
                      <a:pt x="154" y="154"/>
                    </a:lnTo>
                    <a:lnTo>
                      <a:pt x="157" y="150"/>
                    </a:lnTo>
                    <a:lnTo>
                      <a:pt x="158" y="145"/>
                    </a:lnTo>
                    <a:lnTo>
                      <a:pt x="158" y="14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1" name="Russia">
                <a:extLst>
                  <a:ext uri="{FF2B5EF4-FFF2-40B4-BE49-F238E27FC236}">
                    <a16:creationId xmlns:a16="http://schemas.microsoft.com/office/drawing/2014/main" id="{9BEE90F2-CE4D-524F-9DE3-8DFBC0F6B4A4}"/>
                  </a:ext>
                </a:extLst>
              </p:cNvPr>
              <p:cNvSpPr>
                <a:spLocks noEditPoints="1"/>
              </p:cNvSpPr>
              <p:nvPr/>
            </p:nvSpPr>
            <p:spPr bwMode="auto">
              <a:xfrm>
                <a:off x="4783609" y="1922849"/>
                <a:ext cx="4050169" cy="1342164"/>
              </a:xfrm>
              <a:custGeom>
                <a:avLst/>
                <a:gdLst/>
                <a:ahLst/>
                <a:cxnLst>
                  <a:cxn ang="0">
                    <a:pos x="819" y="141"/>
                  </a:cxn>
                  <a:cxn ang="0">
                    <a:pos x="1960" y="651"/>
                  </a:cxn>
                  <a:cxn ang="0">
                    <a:pos x="1975" y="749"/>
                  </a:cxn>
                  <a:cxn ang="0">
                    <a:pos x="2636" y="306"/>
                  </a:cxn>
                  <a:cxn ang="0">
                    <a:pos x="2384" y="256"/>
                  </a:cxn>
                  <a:cxn ang="0">
                    <a:pos x="2159" y="217"/>
                  </a:cxn>
                  <a:cxn ang="0">
                    <a:pos x="2014" y="180"/>
                  </a:cxn>
                  <a:cxn ang="0">
                    <a:pos x="1912" y="202"/>
                  </a:cxn>
                  <a:cxn ang="0">
                    <a:pos x="1750" y="202"/>
                  </a:cxn>
                  <a:cxn ang="0">
                    <a:pos x="1671" y="126"/>
                  </a:cxn>
                  <a:cxn ang="0">
                    <a:pos x="1495" y="139"/>
                  </a:cxn>
                  <a:cxn ang="0">
                    <a:pos x="1388" y="138"/>
                  </a:cxn>
                  <a:cxn ang="0">
                    <a:pos x="1472" y="38"/>
                  </a:cxn>
                  <a:cxn ang="0">
                    <a:pos x="1330" y="1"/>
                  </a:cxn>
                  <a:cxn ang="0">
                    <a:pos x="1209" y="52"/>
                  </a:cxn>
                  <a:cxn ang="0">
                    <a:pos x="1078" y="99"/>
                  </a:cxn>
                  <a:cxn ang="0">
                    <a:pos x="990" y="155"/>
                  </a:cxn>
                  <a:cxn ang="0">
                    <a:pos x="946" y="206"/>
                  </a:cxn>
                  <a:cxn ang="0">
                    <a:pos x="881" y="236"/>
                  </a:cxn>
                  <a:cxn ang="0">
                    <a:pos x="898" y="276"/>
                  </a:cxn>
                  <a:cxn ang="0">
                    <a:pos x="839" y="335"/>
                  </a:cxn>
                  <a:cxn ang="0">
                    <a:pos x="855" y="190"/>
                  </a:cxn>
                  <a:cxn ang="0">
                    <a:pos x="797" y="274"/>
                  </a:cxn>
                  <a:cxn ang="0">
                    <a:pos x="653" y="280"/>
                  </a:cxn>
                  <a:cxn ang="0">
                    <a:pos x="529" y="287"/>
                  </a:cxn>
                  <a:cxn ang="0">
                    <a:pos x="407" y="281"/>
                  </a:cxn>
                  <a:cxn ang="0">
                    <a:pos x="327" y="374"/>
                  </a:cxn>
                  <a:cxn ang="0">
                    <a:pos x="240" y="374"/>
                  </a:cxn>
                  <a:cxn ang="0">
                    <a:pos x="333" y="299"/>
                  </a:cxn>
                  <a:cxn ang="0">
                    <a:pos x="178" y="250"/>
                  </a:cxn>
                  <a:cxn ang="0">
                    <a:pos x="168" y="384"/>
                  </a:cxn>
                  <a:cxn ang="0">
                    <a:pos x="137" y="510"/>
                  </a:cxn>
                  <a:cxn ang="0">
                    <a:pos x="185" y="633"/>
                  </a:cxn>
                  <a:cxn ang="0">
                    <a:pos x="262" y="721"/>
                  </a:cxn>
                  <a:cxn ang="0">
                    <a:pos x="310" y="789"/>
                  </a:cxn>
                  <a:cxn ang="0">
                    <a:pos x="410" y="879"/>
                  </a:cxn>
                  <a:cxn ang="0">
                    <a:pos x="454" y="776"/>
                  </a:cxn>
                  <a:cxn ang="0">
                    <a:pos x="514" y="700"/>
                  </a:cxn>
                  <a:cxn ang="0">
                    <a:pos x="666" y="718"/>
                  </a:cxn>
                  <a:cxn ang="0">
                    <a:pos x="780" y="626"/>
                  </a:cxn>
                  <a:cxn ang="0">
                    <a:pos x="882" y="654"/>
                  </a:cxn>
                  <a:cxn ang="0">
                    <a:pos x="1053" y="737"/>
                  </a:cxn>
                  <a:cxn ang="0">
                    <a:pos x="1229" y="738"/>
                  </a:cxn>
                  <a:cxn ang="0">
                    <a:pos x="1373" y="727"/>
                  </a:cxn>
                  <a:cxn ang="0">
                    <a:pos x="1578" y="734"/>
                  </a:cxn>
                  <a:cxn ang="0">
                    <a:pos x="1720" y="728"/>
                  </a:cxn>
                  <a:cxn ang="0">
                    <a:pos x="1809" y="828"/>
                  </a:cxn>
                  <a:cxn ang="0">
                    <a:pos x="1935" y="707"/>
                  </a:cxn>
                  <a:cxn ang="0">
                    <a:pos x="1871" y="650"/>
                  </a:cxn>
                  <a:cxn ang="0">
                    <a:pos x="2054" y="525"/>
                  </a:cxn>
                  <a:cxn ang="0">
                    <a:pos x="2182" y="488"/>
                  </a:cxn>
                  <a:cxn ang="0">
                    <a:pos x="2329" y="446"/>
                  </a:cxn>
                  <a:cxn ang="0">
                    <a:pos x="2178" y="648"/>
                  </a:cxn>
                  <a:cxn ang="0">
                    <a:pos x="2286" y="599"/>
                  </a:cxn>
                  <a:cxn ang="0">
                    <a:pos x="2361" y="502"/>
                  </a:cxn>
                  <a:cxn ang="0">
                    <a:pos x="2551" y="419"/>
                  </a:cxn>
                  <a:cxn ang="0">
                    <a:pos x="2593" y="350"/>
                  </a:cxn>
                  <a:cxn ang="0">
                    <a:pos x="2696" y="385"/>
                  </a:cxn>
                  <a:cxn ang="0">
                    <a:pos x="1370" y="675"/>
                  </a:cxn>
                  <a:cxn ang="0">
                    <a:pos x="531" y="176"/>
                  </a:cxn>
                  <a:cxn ang="0">
                    <a:pos x="593" y="152"/>
                  </a:cxn>
                  <a:cxn ang="0">
                    <a:pos x="721" y="44"/>
                  </a:cxn>
                  <a:cxn ang="0">
                    <a:pos x="560" y="128"/>
                  </a:cxn>
                </a:cxnLst>
                <a:rect l="0" t="0" r="r" b="b"/>
                <a:pathLst>
                  <a:path w="2737" h="907">
                    <a:moveTo>
                      <a:pt x="41" y="619"/>
                    </a:moveTo>
                    <a:lnTo>
                      <a:pt x="41" y="619"/>
                    </a:lnTo>
                    <a:lnTo>
                      <a:pt x="38" y="619"/>
                    </a:lnTo>
                    <a:lnTo>
                      <a:pt x="36" y="617"/>
                    </a:lnTo>
                    <a:lnTo>
                      <a:pt x="31" y="614"/>
                    </a:lnTo>
                    <a:lnTo>
                      <a:pt x="31" y="614"/>
                    </a:lnTo>
                    <a:lnTo>
                      <a:pt x="30" y="613"/>
                    </a:lnTo>
                    <a:lnTo>
                      <a:pt x="27" y="613"/>
                    </a:lnTo>
                    <a:lnTo>
                      <a:pt x="21" y="614"/>
                    </a:lnTo>
                    <a:lnTo>
                      <a:pt x="21" y="614"/>
                    </a:lnTo>
                    <a:lnTo>
                      <a:pt x="24" y="616"/>
                    </a:lnTo>
                    <a:lnTo>
                      <a:pt x="24" y="616"/>
                    </a:lnTo>
                    <a:lnTo>
                      <a:pt x="24" y="617"/>
                    </a:lnTo>
                    <a:lnTo>
                      <a:pt x="24" y="619"/>
                    </a:lnTo>
                    <a:lnTo>
                      <a:pt x="21" y="620"/>
                    </a:lnTo>
                    <a:lnTo>
                      <a:pt x="18" y="621"/>
                    </a:lnTo>
                    <a:lnTo>
                      <a:pt x="18" y="623"/>
                    </a:lnTo>
                    <a:lnTo>
                      <a:pt x="18" y="624"/>
                    </a:lnTo>
                    <a:lnTo>
                      <a:pt x="18" y="624"/>
                    </a:lnTo>
                    <a:lnTo>
                      <a:pt x="20" y="626"/>
                    </a:lnTo>
                    <a:lnTo>
                      <a:pt x="18" y="627"/>
                    </a:lnTo>
                    <a:lnTo>
                      <a:pt x="17" y="629"/>
                    </a:lnTo>
                    <a:lnTo>
                      <a:pt x="13" y="627"/>
                    </a:lnTo>
                    <a:lnTo>
                      <a:pt x="11" y="627"/>
                    </a:lnTo>
                    <a:lnTo>
                      <a:pt x="11" y="624"/>
                    </a:lnTo>
                    <a:lnTo>
                      <a:pt x="11" y="624"/>
                    </a:lnTo>
                    <a:lnTo>
                      <a:pt x="11" y="623"/>
                    </a:lnTo>
                    <a:lnTo>
                      <a:pt x="10" y="623"/>
                    </a:lnTo>
                    <a:lnTo>
                      <a:pt x="6" y="623"/>
                    </a:lnTo>
                    <a:lnTo>
                      <a:pt x="1" y="623"/>
                    </a:lnTo>
                    <a:lnTo>
                      <a:pt x="0" y="626"/>
                    </a:lnTo>
                    <a:lnTo>
                      <a:pt x="0" y="626"/>
                    </a:lnTo>
                    <a:lnTo>
                      <a:pt x="0" y="630"/>
                    </a:lnTo>
                    <a:lnTo>
                      <a:pt x="0" y="630"/>
                    </a:lnTo>
                    <a:lnTo>
                      <a:pt x="7" y="633"/>
                    </a:lnTo>
                    <a:lnTo>
                      <a:pt x="7" y="633"/>
                    </a:lnTo>
                    <a:lnTo>
                      <a:pt x="26" y="634"/>
                    </a:lnTo>
                    <a:lnTo>
                      <a:pt x="38" y="634"/>
                    </a:lnTo>
                    <a:lnTo>
                      <a:pt x="50" y="634"/>
                    </a:lnTo>
                    <a:lnTo>
                      <a:pt x="50" y="634"/>
                    </a:lnTo>
                    <a:lnTo>
                      <a:pt x="50" y="629"/>
                    </a:lnTo>
                    <a:lnTo>
                      <a:pt x="50" y="623"/>
                    </a:lnTo>
                    <a:lnTo>
                      <a:pt x="50" y="623"/>
                    </a:lnTo>
                    <a:lnTo>
                      <a:pt x="48" y="621"/>
                    </a:lnTo>
                    <a:lnTo>
                      <a:pt x="47" y="620"/>
                    </a:lnTo>
                    <a:lnTo>
                      <a:pt x="43" y="619"/>
                    </a:lnTo>
                    <a:lnTo>
                      <a:pt x="41" y="619"/>
                    </a:lnTo>
                    <a:lnTo>
                      <a:pt x="41" y="619"/>
                    </a:lnTo>
                    <a:close/>
                    <a:moveTo>
                      <a:pt x="819" y="152"/>
                    </a:moveTo>
                    <a:lnTo>
                      <a:pt x="819" y="152"/>
                    </a:lnTo>
                    <a:lnTo>
                      <a:pt x="825" y="152"/>
                    </a:lnTo>
                    <a:lnTo>
                      <a:pt x="832" y="151"/>
                    </a:lnTo>
                    <a:lnTo>
                      <a:pt x="839" y="148"/>
                    </a:lnTo>
                    <a:lnTo>
                      <a:pt x="844" y="146"/>
                    </a:lnTo>
                    <a:lnTo>
                      <a:pt x="844" y="146"/>
                    </a:lnTo>
                    <a:lnTo>
                      <a:pt x="844" y="145"/>
                    </a:lnTo>
                    <a:lnTo>
                      <a:pt x="844" y="143"/>
                    </a:lnTo>
                    <a:lnTo>
                      <a:pt x="839" y="141"/>
                    </a:lnTo>
                    <a:lnTo>
                      <a:pt x="834" y="139"/>
                    </a:lnTo>
                    <a:lnTo>
                      <a:pt x="826" y="139"/>
                    </a:lnTo>
                    <a:lnTo>
                      <a:pt x="826" y="139"/>
                    </a:lnTo>
                    <a:lnTo>
                      <a:pt x="822" y="139"/>
                    </a:lnTo>
                    <a:lnTo>
                      <a:pt x="819" y="141"/>
                    </a:lnTo>
                    <a:lnTo>
                      <a:pt x="818" y="142"/>
                    </a:lnTo>
                    <a:lnTo>
                      <a:pt x="817" y="145"/>
                    </a:lnTo>
                    <a:lnTo>
                      <a:pt x="817" y="149"/>
                    </a:lnTo>
                    <a:lnTo>
                      <a:pt x="817" y="151"/>
                    </a:lnTo>
                    <a:lnTo>
                      <a:pt x="819" y="152"/>
                    </a:lnTo>
                    <a:lnTo>
                      <a:pt x="819" y="152"/>
                    </a:lnTo>
                    <a:close/>
                    <a:moveTo>
                      <a:pt x="957" y="159"/>
                    </a:moveTo>
                    <a:lnTo>
                      <a:pt x="957" y="159"/>
                    </a:lnTo>
                    <a:lnTo>
                      <a:pt x="963" y="161"/>
                    </a:lnTo>
                    <a:lnTo>
                      <a:pt x="966" y="161"/>
                    </a:lnTo>
                    <a:lnTo>
                      <a:pt x="969" y="158"/>
                    </a:lnTo>
                    <a:lnTo>
                      <a:pt x="970" y="153"/>
                    </a:lnTo>
                    <a:lnTo>
                      <a:pt x="970" y="153"/>
                    </a:lnTo>
                    <a:lnTo>
                      <a:pt x="969" y="151"/>
                    </a:lnTo>
                    <a:lnTo>
                      <a:pt x="966" y="151"/>
                    </a:lnTo>
                    <a:lnTo>
                      <a:pt x="960" y="152"/>
                    </a:lnTo>
                    <a:lnTo>
                      <a:pt x="956" y="155"/>
                    </a:lnTo>
                    <a:lnTo>
                      <a:pt x="956" y="158"/>
                    </a:lnTo>
                    <a:lnTo>
                      <a:pt x="957" y="159"/>
                    </a:lnTo>
                    <a:lnTo>
                      <a:pt x="957" y="159"/>
                    </a:lnTo>
                    <a:close/>
                    <a:moveTo>
                      <a:pt x="464" y="273"/>
                    </a:moveTo>
                    <a:lnTo>
                      <a:pt x="464" y="273"/>
                    </a:lnTo>
                    <a:lnTo>
                      <a:pt x="468" y="276"/>
                    </a:lnTo>
                    <a:lnTo>
                      <a:pt x="472" y="277"/>
                    </a:lnTo>
                    <a:lnTo>
                      <a:pt x="477" y="276"/>
                    </a:lnTo>
                    <a:lnTo>
                      <a:pt x="481" y="274"/>
                    </a:lnTo>
                    <a:lnTo>
                      <a:pt x="488" y="270"/>
                    </a:lnTo>
                    <a:lnTo>
                      <a:pt x="494" y="267"/>
                    </a:lnTo>
                    <a:lnTo>
                      <a:pt x="494" y="267"/>
                    </a:lnTo>
                    <a:lnTo>
                      <a:pt x="495" y="266"/>
                    </a:lnTo>
                    <a:lnTo>
                      <a:pt x="495" y="264"/>
                    </a:lnTo>
                    <a:lnTo>
                      <a:pt x="492" y="262"/>
                    </a:lnTo>
                    <a:lnTo>
                      <a:pt x="486" y="259"/>
                    </a:lnTo>
                    <a:lnTo>
                      <a:pt x="479" y="256"/>
                    </a:lnTo>
                    <a:lnTo>
                      <a:pt x="479" y="256"/>
                    </a:lnTo>
                    <a:lnTo>
                      <a:pt x="475" y="256"/>
                    </a:lnTo>
                    <a:lnTo>
                      <a:pt x="471" y="256"/>
                    </a:lnTo>
                    <a:lnTo>
                      <a:pt x="467" y="257"/>
                    </a:lnTo>
                    <a:lnTo>
                      <a:pt x="464" y="260"/>
                    </a:lnTo>
                    <a:lnTo>
                      <a:pt x="461" y="263"/>
                    </a:lnTo>
                    <a:lnTo>
                      <a:pt x="459" y="266"/>
                    </a:lnTo>
                    <a:lnTo>
                      <a:pt x="461" y="270"/>
                    </a:lnTo>
                    <a:lnTo>
                      <a:pt x="464" y="273"/>
                    </a:lnTo>
                    <a:lnTo>
                      <a:pt x="464" y="273"/>
                    </a:lnTo>
                    <a:close/>
                    <a:moveTo>
                      <a:pt x="1975" y="695"/>
                    </a:moveTo>
                    <a:lnTo>
                      <a:pt x="1975" y="695"/>
                    </a:lnTo>
                    <a:lnTo>
                      <a:pt x="1973" y="690"/>
                    </a:lnTo>
                    <a:lnTo>
                      <a:pt x="1973" y="685"/>
                    </a:lnTo>
                    <a:lnTo>
                      <a:pt x="1976" y="675"/>
                    </a:lnTo>
                    <a:lnTo>
                      <a:pt x="1976" y="667"/>
                    </a:lnTo>
                    <a:lnTo>
                      <a:pt x="1976" y="664"/>
                    </a:lnTo>
                    <a:lnTo>
                      <a:pt x="1973" y="661"/>
                    </a:lnTo>
                    <a:lnTo>
                      <a:pt x="1973" y="661"/>
                    </a:lnTo>
                    <a:lnTo>
                      <a:pt x="1970" y="658"/>
                    </a:lnTo>
                    <a:lnTo>
                      <a:pt x="1967" y="654"/>
                    </a:lnTo>
                    <a:lnTo>
                      <a:pt x="1966" y="648"/>
                    </a:lnTo>
                    <a:lnTo>
                      <a:pt x="1965" y="643"/>
                    </a:lnTo>
                    <a:lnTo>
                      <a:pt x="1965" y="641"/>
                    </a:lnTo>
                    <a:lnTo>
                      <a:pt x="1963" y="643"/>
                    </a:lnTo>
                    <a:lnTo>
                      <a:pt x="1963" y="643"/>
                    </a:lnTo>
                    <a:lnTo>
                      <a:pt x="1962" y="644"/>
                    </a:lnTo>
                    <a:lnTo>
                      <a:pt x="1960" y="646"/>
                    </a:lnTo>
                    <a:lnTo>
                      <a:pt x="1960" y="651"/>
                    </a:lnTo>
                    <a:lnTo>
                      <a:pt x="1959" y="656"/>
                    </a:lnTo>
                    <a:lnTo>
                      <a:pt x="1957" y="658"/>
                    </a:lnTo>
                    <a:lnTo>
                      <a:pt x="1955" y="658"/>
                    </a:lnTo>
                    <a:lnTo>
                      <a:pt x="1955" y="658"/>
                    </a:lnTo>
                    <a:lnTo>
                      <a:pt x="1953" y="660"/>
                    </a:lnTo>
                    <a:lnTo>
                      <a:pt x="1952" y="661"/>
                    </a:lnTo>
                    <a:lnTo>
                      <a:pt x="1952" y="664"/>
                    </a:lnTo>
                    <a:lnTo>
                      <a:pt x="1952" y="670"/>
                    </a:lnTo>
                    <a:lnTo>
                      <a:pt x="1952" y="677"/>
                    </a:lnTo>
                    <a:lnTo>
                      <a:pt x="1952" y="677"/>
                    </a:lnTo>
                    <a:lnTo>
                      <a:pt x="1950" y="684"/>
                    </a:lnTo>
                    <a:lnTo>
                      <a:pt x="1952" y="693"/>
                    </a:lnTo>
                    <a:lnTo>
                      <a:pt x="1955" y="701"/>
                    </a:lnTo>
                    <a:lnTo>
                      <a:pt x="1957" y="708"/>
                    </a:lnTo>
                    <a:lnTo>
                      <a:pt x="1957" y="708"/>
                    </a:lnTo>
                    <a:lnTo>
                      <a:pt x="1957" y="712"/>
                    </a:lnTo>
                    <a:lnTo>
                      <a:pt x="1957" y="720"/>
                    </a:lnTo>
                    <a:lnTo>
                      <a:pt x="1956" y="740"/>
                    </a:lnTo>
                    <a:lnTo>
                      <a:pt x="1955" y="758"/>
                    </a:lnTo>
                    <a:lnTo>
                      <a:pt x="1955" y="765"/>
                    </a:lnTo>
                    <a:lnTo>
                      <a:pt x="1956" y="769"/>
                    </a:lnTo>
                    <a:lnTo>
                      <a:pt x="1956" y="769"/>
                    </a:lnTo>
                    <a:lnTo>
                      <a:pt x="1956" y="774"/>
                    </a:lnTo>
                    <a:lnTo>
                      <a:pt x="1956" y="779"/>
                    </a:lnTo>
                    <a:lnTo>
                      <a:pt x="1955" y="794"/>
                    </a:lnTo>
                    <a:lnTo>
                      <a:pt x="1952" y="808"/>
                    </a:lnTo>
                    <a:lnTo>
                      <a:pt x="1952" y="812"/>
                    </a:lnTo>
                    <a:lnTo>
                      <a:pt x="1953" y="815"/>
                    </a:lnTo>
                    <a:lnTo>
                      <a:pt x="1953" y="815"/>
                    </a:lnTo>
                    <a:lnTo>
                      <a:pt x="1955" y="816"/>
                    </a:lnTo>
                    <a:lnTo>
                      <a:pt x="1956" y="816"/>
                    </a:lnTo>
                    <a:lnTo>
                      <a:pt x="1956" y="812"/>
                    </a:lnTo>
                    <a:lnTo>
                      <a:pt x="1959" y="808"/>
                    </a:lnTo>
                    <a:lnTo>
                      <a:pt x="1960" y="805"/>
                    </a:lnTo>
                    <a:lnTo>
                      <a:pt x="1963" y="805"/>
                    </a:lnTo>
                    <a:lnTo>
                      <a:pt x="1963" y="805"/>
                    </a:lnTo>
                    <a:lnTo>
                      <a:pt x="1966" y="805"/>
                    </a:lnTo>
                    <a:lnTo>
                      <a:pt x="1967" y="805"/>
                    </a:lnTo>
                    <a:lnTo>
                      <a:pt x="1972" y="809"/>
                    </a:lnTo>
                    <a:lnTo>
                      <a:pt x="1973" y="813"/>
                    </a:lnTo>
                    <a:lnTo>
                      <a:pt x="1977" y="816"/>
                    </a:lnTo>
                    <a:lnTo>
                      <a:pt x="1977" y="816"/>
                    </a:lnTo>
                    <a:lnTo>
                      <a:pt x="1979" y="816"/>
                    </a:lnTo>
                    <a:lnTo>
                      <a:pt x="1979" y="815"/>
                    </a:lnTo>
                    <a:lnTo>
                      <a:pt x="1979" y="809"/>
                    </a:lnTo>
                    <a:lnTo>
                      <a:pt x="1977" y="804"/>
                    </a:lnTo>
                    <a:lnTo>
                      <a:pt x="1976" y="802"/>
                    </a:lnTo>
                    <a:lnTo>
                      <a:pt x="1975" y="802"/>
                    </a:lnTo>
                    <a:lnTo>
                      <a:pt x="1975" y="802"/>
                    </a:lnTo>
                    <a:lnTo>
                      <a:pt x="1972" y="802"/>
                    </a:lnTo>
                    <a:lnTo>
                      <a:pt x="1970" y="801"/>
                    </a:lnTo>
                    <a:lnTo>
                      <a:pt x="1967" y="795"/>
                    </a:lnTo>
                    <a:lnTo>
                      <a:pt x="1963" y="784"/>
                    </a:lnTo>
                    <a:lnTo>
                      <a:pt x="1963" y="784"/>
                    </a:lnTo>
                    <a:lnTo>
                      <a:pt x="1963" y="776"/>
                    </a:lnTo>
                    <a:lnTo>
                      <a:pt x="1965" y="771"/>
                    </a:lnTo>
                    <a:lnTo>
                      <a:pt x="1966" y="764"/>
                    </a:lnTo>
                    <a:lnTo>
                      <a:pt x="1967" y="757"/>
                    </a:lnTo>
                    <a:lnTo>
                      <a:pt x="1967" y="757"/>
                    </a:lnTo>
                    <a:lnTo>
                      <a:pt x="1969" y="754"/>
                    </a:lnTo>
                    <a:lnTo>
                      <a:pt x="1970" y="752"/>
                    </a:lnTo>
                    <a:lnTo>
                      <a:pt x="1972" y="751"/>
                    </a:lnTo>
                    <a:lnTo>
                      <a:pt x="1975" y="749"/>
                    </a:lnTo>
                    <a:lnTo>
                      <a:pt x="1980" y="751"/>
                    </a:lnTo>
                    <a:lnTo>
                      <a:pt x="1987" y="755"/>
                    </a:lnTo>
                    <a:lnTo>
                      <a:pt x="1987" y="755"/>
                    </a:lnTo>
                    <a:lnTo>
                      <a:pt x="1990" y="758"/>
                    </a:lnTo>
                    <a:lnTo>
                      <a:pt x="1993" y="758"/>
                    </a:lnTo>
                    <a:lnTo>
                      <a:pt x="1993" y="755"/>
                    </a:lnTo>
                    <a:lnTo>
                      <a:pt x="1992" y="752"/>
                    </a:lnTo>
                    <a:lnTo>
                      <a:pt x="1992" y="752"/>
                    </a:lnTo>
                    <a:lnTo>
                      <a:pt x="1989" y="742"/>
                    </a:lnTo>
                    <a:lnTo>
                      <a:pt x="1984" y="727"/>
                    </a:lnTo>
                    <a:lnTo>
                      <a:pt x="1975" y="695"/>
                    </a:lnTo>
                    <a:lnTo>
                      <a:pt x="1975" y="695"/>
                    </a:lnTo>
                    <a:close/>
                    <a:moveTo>
                      <a:pt x="2734" y="354"/>
                    </a:moveTo>
                    <a:lnTo>
                      <a:pt x="2734" y="354"/>
                    </a:lnTo>
                    <a:lnTo>
                      <a:pt x="2723" y="347"/>
                    </a:lnTo>
                    <a:lnTo>
                      <a:pt x="2716" y="341"/>
                    </a:lnTo>
                    <a:lnTo>
                      <a:pt x="2711" y="337"/>
                    </a:lnTo>
                    <a:lnTo>
                      <a:pt x="2711" y="337"/>
                    </a:lnTo>
                    <a:lnTo>
                      <a:pt x="2709" y="335"/>
                    </a:lnTo>
                    <a:lnTo>
                      <a:pt x="2706" y="333"/>
                    </a:lnTo>
                    <a:lnTo>
                      <a:pt x="2699" y="331"/>
                    </a:lnTo>
                    <a:lnTo>
                      <a:pt x="2691" y="330"/>
                    </a:lnTo>
                    <a:lnTo>
                      <a:pt x="2690" y="331"/>
                    </a:lnTo>
                    <a:lnTo>
                      <a:pt x="2689" y="331"/>
                    </a:lnTo>
                    <a:lnTo>
                      <a:pt x="2689" y="331"/>
                    </a:lnTo>
                    <a:lnTo>
                      <a:pt x="2689" y="333"/>
                    </a:lnTo>
                    <a:lnTo>
                      <a:pt x="2686" y="331"/>
                    </a:lnTo>
                    <a:lnTo>
                      <a:pt x="2683" y="330"/>
                    </a:lnTo>
                    <a:lnTo>
                      <a:pt x="2682" y="328"/>
                    </a:lnTo>
                    <a:lnTo>
                      <a:pt x="2682" y="328"/>
                    </a:lnTo>
                    <a:lnTo>
                      <a:pt x="2677" y="326"/>
                    </a:lnTo>
                    <a:lnTo>
                      <a:pt x="2670" y="326"/>
                    </a:lnTo>
                    <a:lnTo>
                      <a:pt x="2664" y="326"/>
                    </a:lnTo>
                    <a:lnTo>
                      <a:pt x="2662" y="327"/>
                    </a:lnTo>
                    <a:lnTo>
                      <a:pt x="2660" y="327"/>
                    </a:lnTo>
                    <a:lnTo>
                      <a:pt x="2660" y="327"/>
                    </a:lnTo>
                    <a:lnTo>
                      <a:pt x="2662" y="330"/>
                    </a:lnTo>
                    <a:lnTo>
                      <a:pt x="2663" y="331"/>
                    </a:lnTo>
                    <a:lnTo>
                      <a:pt x="2666" y="333"/>
                    </a:lnTo>
                    <a:lnTo>
                      <a:pt x="2669" y="335"/>
                    </a:lnTo>
                    <a:lnTo>
                      <a:pt x="2669" y="335"/>
                    </a:lnTo>
                    <a:lnTo>
                      <a:pt x="2669" y="337"/>
                    </a:lnTo>
                    <a:lnTo>
                      <a:pt x="2667" y="340"/>
                    </a:lnTo>
                    <a:lnTo>
                      <a:pt x="2666" y="343"/>
                    </a:lnTo>
                    <a:lnTo>
                      <a:pt x="2666" y="345"/>
                    </a:lnTo>
                    <a:lnTo>
                      <a:pt x="2666" y="345"/>
                    </a:lnTo>
                    <a:lnTo>
                      <a:pt x="2666" y="347"/>
                    </a:lnTo>
                    <a:lnTo>
                      <a:pt x="2664" y="347"/>
                    </a:lnTo>
                    <a:lnTo>
                      <a:pt x="2662" y="345"/>
                    </a:lnTo>
                    <a:lnTo>
                      <a:pt x="2656" y="341"/>
                    </a:lnTo>
                    <a:lnTo>
                      <a:pt x="2656" y="341"/>
                    </a:lnTo>
                    <a:lnTo>
                      <a:pt x="2654" y="338"/>
                    </a:lnTo>
                    <a:lnTo>
                      <a:pt x="2653" y="333"/>
                    </a:lnTo>
                    <a:lnTo>
                      <a:pt x="2654" y="324"/>
                    </a:lnTo>
                    <a:lnTo>
                      <a:pt x="2654" y="324"/>
                    </a:lnTo>
                    <a:lnTo>
                      <a:pt x="2654" y="321"/>
                    </a:lnTo>
                    <a:lnTo>
                      <a:pt x="2652" y="320"/>
                    </a:lnTo>
                    <a:lnTo>
                      <a:pt x="2650" y="318"/>
                    </a:lnTo>
                    <a:lnTo>
                      <a:pt x="2649" y="316"/>
                    </a:lnTo>
                    <a:lnTo>
                      <a:pt x="2649" y="316"/>
                    </a:lnTo>
                    <a:lnTo>
                      <a:pt x="2647" y="314"/>
                    </a:lnTo>
                    <a:lnTo>
                      <a:pt x="2645" y="311"/>
                    </a:lnTo>
                    <a:lnTo>
                      <a:pt x="2636" y="306"/>
                    </a:lnTo>
                    <a:lnTo>
                      <a:pt x="2618" y="297"/>
                    </a:lnTo>
                    <a:lnTo>
                      <a:pt x="2618" y="297"/>
                    </a:lnTo>
                    <a:lnTo>
                      <a:pt x="2603" y="291"/>
                    </a:lnTo>
                    <a:lnTo>
                      <a:pt x="2598" y="289"/>
                    </a:lnTo>
                    <a:lnTo>
                      <a:pt x="2593" y="286"/>
                    </a:lnTo>
                    <a:lnTo>
                      <a:pt x="2593" y="286"/>
                    </a:lnTo>
                    <a:lnTo>
                      <a:pt x="2589" y="283"/>
                    </a:lnTo>
                    <a:lnTo>
                      <a:pt x="2582" y="280"/>
                    </a:lnTo>
                    <a:lnTo>
                      <a:pt x="2575" y="277"/>
                    </a:lnTo>
                    <a:lnTo>
                      <a:pt x="2569" y="274"/>
                    </a:lnTo>
                    <a:lnTo>
                      <a:pt x="2569" y="274"/>
                    </a:lnTo>
                    <a:lnTo>
                      <a:pt x="2561" y="269"/>
                    </a:lnTo>
                    <a:lnTo>
                      <a:pt x="2548" y="263"/>
                    </a:lnTo>
                    <a:lnTo>
                      <a:pt x="2535" y="257"/>
                    </a:lnTo>
                    <a:lnTo>
                      <a:pt x="2524" y="256"/>
                    </a:lnTo>
                    <a:lnTo>
                      <a:pt x="2524" y="256"/>
                    </a:lnTo>
                    <a:lnTo>
                      <a:pt x="2518" y="254"/>
                    </a:lnTo>
                    <a:lnTo>
                      <a:pt x="2514" y="252"/>
                    </a:lnTo>
                    <a:lnTo>
                      <a:pt x="2512" y="250"/>
                    </a:lnTo>
                    <a:lnTo>
                      <a:pt x="2509" y="249"/>
                    </a:lnTo>
                    <a:lnTo>
                      <a:pt x="2509" y="249"/>
                    </a:lnTo>
                    <a:lnTo>
                      <a:pt x="2491" y="249"/>
                    </a:lnTo>
                    <a:lnTo>
                      <a:pt x="2471" y="247"/>
                    </a:lnTo>
                    <a:lnTo>
                      <a:pt x="2471" y="247"/>
                    </a:lnTo>
                    <a:lnTo>
                      <a:pt x="2467" y="249"/>
                    </a:lnTo>
                    <a:lnTo>
                      <a:pt x="2462" y="250"/>
                    </a:lnTo>
                    <a:lnTo>
                      <a:pt x="2460" y="250"/>
                    </a:lnTo>
                    <a:lnTo>
                      <a:pt x="2457" y="250"/>
                    </a:lnTo>
                    <a:lnTo>
                      <a:pt x="2457" y="250"/>
                    </a:lnTo>
                    <a:lnTo>
                      <a:pt x="2437" y="244"/>
                    </a:lnTo>
                    <a:lnTo>
                      <a:pt x="2425" y="242"/>
                    </a:lnTo>
                    <a:lnTo>
                      <a:pt x="2421" y="242"/>
                    </a:lnTo>
                    <a:lnTo>
                      <a:pt x="2420" y="242"/>
                    </a:lnTo>
                    <a:lnTo>
                      <a:pt x="2420" y="242"/>
                    </a:lnTo>
                    <a:lnTo>
                      <a:pt x="2418" y="244"/>
                    </a:lnTo>
                    <a:lnTo>
                      <a:pt x="2417" y="247"/>
                    </a:lnTo>
                    <a:lnTo>
                      <a:pt x="2415" y="250"/>
                    </a:lnTo>
                    <a:lnTo>
                      <a:pt x="2414" y="252"/>
                    </a:lnTo>
                    <a:lnTo>
                      <a:pt x="2414" y="252"/>
                    </a:lnTo>
                    <a:lnTo>
                      <a:pt x="2413" y="253"/>
                    </a:lnTo>
                    <a:lnTo>
                      <a:pt x="2414" y="256"/>
                    </a:lnTo>
                    <a:lnTo>
                      <a:pt x="2423" y="264"/>
                    </a:lnTo>
                    <a:lnTo>
                      <a:pt x="2423" y="264"/>
                    </a:lnTo>
                    <a:lnTo>
                      <a:pt x="2425" y="270"/>
                    </a:lnTo>
                    <a:lnTo>
                      <a:pt x="2427" y="271"/>
                    </a:lnTo>
                    <a:lnTo>
                      <a:pt x="2425" y="274"/>
                    </a:lnTo>
                    <a:lnTo>
                      <a:pt x="2423" y="277"/>
                    </a:lnTo>
                    <a:lnTo>
                      <a:pt x="2418" y="280"/>
                    </a:lnTo>
                    <a:lnTo>
                      <a:pt x="2418" y="280"/>
                    </a:lnTo>
                    <a:lnTo>
                      <a:pt x="2413" y="281"/>
                    </a:lnTo>
                    <a:lnTo>
                      <a:pt x="2406" y="280"/>
                    </a:lnTo>
                    <a:lnTo>
                      <a:pt x="2400" y="276"/>
                    </a:lnTo>
                    <a:lnTo>
                      <a:pt x="2396" y="271"/>
                    </a:lnTo>
                    <a:lnTo>
                      <a:pt x="2396" y="271"/>
                    </a:lnTo>
                    <a:lnTo>
                      <a:pt x="2393" y="269"/>
                    </a:lnTo>
                    <a:lnTo>
                      <a:pt x="2388" y="267"/>
                    </a:lnTo>
                    <a:lnTo>
                      <a:pt x="2383" y="266"/>
                    </a:lnTo>
                    <a:lnTo>
                      <a:pt x="2381" y="264"/>
                    </a:lnTo>
                    <a:lnTo>
                      <a:pt x="2380" y="262"/>
                    </a:lnTo>
                    <a:lnTo>
                      <a:pt x="2380" y="262"/>
                    </a:lnTo>
                    <a:lnTo>
                      <a:pt x="2380" y="257"/>
                    </a:lnTo>
                    <a:lnTo>
                      <a:pt x="2381" y="256"/>
                    </a:lnTo>
                    <a:lnTo>
                      <a:pt x="2384" y="256"/>
                    </a:lnTo>
                    <a:lnTo>
                      <a:pt x="2388" y="257"/>
                    </a:lnTo>
                    <a:lnTo>
                      <a:pt x="2388" y="257"/>
                    </a:lnTo>
                    <a:lnTo>
                      <a:pt x="2391" y="259"/>
                    </a:lnTo>
                    <a:lnTo>
                      <a:pt x="2396" y="259"/>
                    </a:lnTo>
                    <a:lnTo>
                      <a:pt x="2398" y="257"/>
                    </a:lnTo>
                    <a:lnTo>
                      <a:pt x="2400" y="253"/>
                    </a:lnTo>
                    <a:lnTo>
                      <a:pt x="2400" y="253"/>
                    </a:lnTo>
                    <a:lnTo>
                      <a:pt x="2400" y="252"/>
                    </a:lnTo>
                    <a:lnTo>
                      <a:pt x="2398" y="250"/>
                    </a:lnTo>
                    <a:lnTo>
                      <a:pt x="2393" y="247"/>
                    </a:lnTo>
                    <a:lnTo>
                      <a:pt x="2386" y="246"/>
                    </a:lnTo>
                    <a:lnTo>
                      <a:pt x="2380" y="244"/>
                    </a:lnTo>
                    <a:lnTo>
                      <a:pt x="2380" y="244"/>
                    </a:lnTo>
                    <a:lnTo>
                      <a:pt x="2374" y="247"/>
                    </a:lnTo>
                    <a:lnTo>
                      <a:pt x="2370" y="252"/>
                    </a:lnTo>
                    <a:lnTo>
                      <a:pt x="2366" y="256"/>
                    </a:lnTo>
                    <a:lnTo>
                      <a:pt x="2361" y="260"/>
                    </a:lnTo>
                    <a:lnTo>
                      <a:pt x="2361" y="260"/>
                    </a:lnTo>
                    <a:lnTo>
                      <a:pt x="2357" y="262"/>
                    </a:lnTo>
                    <a:lnTo>
                      <a:pt x="2351" y="262"/>
                    </a:lnTo>
                    <a:lnTo>
                      <a:pt x="2339" y="260"/>
                    </a:lnTo>
                    <a:lnTo>
                      <a:pt x="2327" y="257"/>
                    </a:lnTo>
                    <a:lnTo>
                      <a:pt x="2320" y="256"/>
                    </a:lnTo>
                    <a:lnTo>
                      <a:pt x="2320" y="256"/>
                    </a:lnTo>
                    <a:lnTo>
                      <a:pt x="2317" y="254"/>
                    </a:lnTo>
                    <a:lnTo>
                      <a:pt x="2313" y="254"/>
                    </a:lnTo>
                    <a:lnTo>
                      <a:pt x="2297" y="254"/>
                    </a:lnTo>
                    <a:lnTo>
                      <a:pt x="2282" y="256"/>
                    </a:lnTo>
                    <a:lnTo>
                      <a:pt x="2272" y="259"/>
                    </a:lnTo>
                    <a:lnTo>
                      <a:pt x="2272" y="259"/>
                    </a:lnTo>
                    <a:lnTo>
                      <a:pt x="2270" y="262"/>
                    </a:lnTo>
                    <a:lnTo>
                      <a:pt x="2270" y="266"/>
                    </a:lnTo>
                    <a:lnTo>
                      <a:pt x="2270" y="270"/>
                    </a:lnTo>
                    <a:lnTo>
                      <a:pt x="2269" y="273"/>
                    </a:lnTo>
                    <a:lnTo>
                      <a:pt x="2269" y="273"/>
                    </a:lnTo>
                    <a:lnTo>
                      <a:pt x="2268" y="271"/>
                    </a:lnTo>
                    <a:lnTo>
                      <a:pt x="2266" y="267"/>
                    </a:lnTo>
                    <a:lnTo>
                      <a:pt x="2265" y="257"/>
                    </a:lnTo>
                    <a:lnTo>
                      <a:pt x="2265" y="257"/>
                    </a:lnTo>
                    <a:lnTo>
                      <a:pt x="2263" y="256"/>
                    </a:lnTo>
                    <a:lnTo>
                      <a:pt x="2262" y="254"/>
                    </a:lnTo>
                    <a:lnTo>
                      <a:pt x="2252" y="253"/>
                    </a:lnTo>
                    <a:lnTo>
                      <a:pt x="2252" y="253"/>
                    </a:lnTo>
                    <a:lnTo>
                      <a:pt x="2245" y="253"/>
                    </a:lnTo>
                    <a:lnTo>
                      <a:pt x="2243" y="252"/>
                    </a:lnTo>
                    <a:lnTo>
                      <a:pt x="2243" y="250"/>
                    </a:lnTo>
                    <a:lnTo>
                      <a:pt x="2243" y="250"/>
                    </a:lnTo>
                    <a:lnTo>
                      <a:pt x="2245" y="247"/>
                    </a:lnTo>
                    <a:lnTo>
                      <a:pt x="2245" y="244"/>
                    </a:lnTo>
                    <a:lnTo>
                      <a:pt x="2245" y="243"/>
                    </a:lnTo>
                    <a:lnTo>
                      <a:pt x="2246" y="240"/>
                    </a:lnTo>
                    <a:lnTo>
                      <a:pt x="2246" y="240"/>
                    </a:lnTo>
                    <a:lnTo>
                      <a:pt x="2248" y="237"/>
                    </a:lnTo>
                    <a:lnTo>
                      <a:pt x="2248" y="234"/>
                    </a:lnTo>
                    <a:lnTo>
                      <a:pt x="2242" y="229"/>
                    </a:lnTo>
                    <a:lnTo>
                      <a:pt x="2232" y="223"/>
                    </a:lnTo>
                    <a:lnTo>
                      <a:pt x="2221" y="217"/>
                    </a:lnTo>
                    <a:lnTo>
                      <a:pt x="2221" y="217"/>
                    </a:lnTo>
                    <a:lnTo>
                      <a:pt x="2213" y="215"/>
                    </a:lnTo>
                    <a:lnTo>
                      <a:pt x="2206" y="215"/>
                    </a:lnTo>
                    <a:lnTo>
                      <a:pt x="2188" y="213"/>
                    </a:lnTo>
                    <a:lnTo>
                      <a:pt x="2171" y="215"/>
                    </a:lnTo>
                    <a:lnTo>
                      <a:pt x="2159" y="217"/>
                    </a:lnTo>
                    <a:lnTo>
                      <a:pt x="2159" y="217"/>
                    </a:lnTo>
                    <a:lnTo>
                      <a:pt x="2151" y="219"/>
                    </a:lnTo>
                    <a:lnTo>
                      <a:pt x="2141" y="219"/>
                    </a:lnTo>
                    <a:lnTo>
                      <a:pt x="2122" y="219"/>
                    </a:lnTo>
                    <a:lnTo>
                      <a:pt x="2122" y="219"/>
                    </a:lnTo>
                    <a:lnTo>
                      <a:pt x="2118" y="219"/>
                    </a:lnTo>
                    <a:lnTo>
                      <a:pt x="2118" y="217"/>
                    </a:lnTo>
                    <a:lnTo>
                      <a:pt x="2118" y="215"/>
                    </a:lnTo>
                    <a:lnTo>
                      <a:pt x="2118" y="212"/>
                    </a:lnTo>
                    <a:lnTo>
                      <a:pt x="2118" y="212"/>
                    </a:lnTo>
                    <a:lnTo>
                      <a:pt x="2114" y="207"/>
                    </a:lnTo>
                    <a:lnTo>
                      <a:pt x="2108" y="206"/>
                    </a:lnTo>
                    <a:lnTo>
                      <a:pt x="2101" y="205"/>
                    </a:lnTo>
                    <a:lnTo>
                      <a:pt x="2100" y="205"/>
                    </a:lnTo>
                    <a:lnTo>
                      <a:pt x="2098" y="206"/>
                    </a:lnTo>
                    <a:lnTo>
                      <a:pt x="2098" y="206"/>
                    </a:lnTo>
                    <a:lnTo>
                      <a:pt x="2097" y="207"/>
                    </a:lnTo>
                    <a:lnTo>
                      <a:pt x="2094" y="206"/>
                    </a:lnTo>
                    <a:lnTo>
                      <a:pt x="2093" y="205"/>
                    </a:lnTo>
                    <a:lnTo>
                      <a:pt x="2093" y="203"/>
                    </a:lnTo>
                    <a:lnTo>
                      <a:pt x="2093" y="203"/>
                    </a:lnTo>
                    <a:lnTo>
                      <a:pt x="2090" y="200"/>
                    </a:lnTo>
                    <a:lnTo>
                      <a:pt x="2084" y="198"/>
                    </a:lnTo>
                    <a:lnTo>
                      <a:pt x="2077" y="196"/>
                    </a:lnTo>
                    <a:lnTo>
                      <a:pt x="2071" y="196"/>
                    </a:lnTo>
                    <a:lnTo>
                      <a:pt x="2071" y="196"/>
                    </a:lnTo>
                    <a:lnTo>
                      <a:pt x="2068" y="196"/>
                    </a:lnTo>
                    <a:lnTo>
                      <a:pt x="2067" y="195"/>
                    </a:lnTo>
                    <a:lnTo>
                      <a:pt x="2067" y="192"/>
                    </a:lnTo>
                    <a:lnTo>
                      <a:pt x="2070" y="190"/>
                    </a:lnTo>
                    <a:lnTo>
                      <a:pt x="2070" y="190"/>
                    </a:lnTo>
                    <a:lnTo>
                      <a:pt x="2081" y="190"/>
                    </a:lnTo>
                    <a:lnTo>
                      <a:pt x="2083" y="190"/>
                    </a:lnTo>
                    <a:lnTo>
                      <a:pt x="2084" y="189"/>
                    </a:lnTo>
                    <a:lnTo>
                      <a:pt x="2084" y="188"/>
                    </a:lnTo>
                    <a:lnTo>
                      <a:pt x="2083" y="185"/>
                    </a:lnTo>
                    <a:lnTo>
                      <a:pt x="2083" y="185"/>
                    </a:lnTo>
                    <a:lnTo>
                      <a:pt x="2080" y="182"/>
                    </a:lnTo>
                    <a:lnTo>
                      <a:pt x="2074" y="180"/>
                    </a:lnTo>
                    <a:lnTo>
                      <a:pt x="2057" y="178"/>
                    </a:lnTo>
                    <a:lnTo>
                      <a:pt x="2040" y="176"/>
                    </a:lnTo>
                    <a:lnTo>
                      <a:pt x="2031" y="176"/>
                    </a:lnTo>
                    <a:lnTo>
                      <a:pt x="2031" y="176"/>
                    </a:lnTo>
                    <a:lnTo>
                      <a:pt x="2030" y="178"/>
                    </a:lnTo>
                    <a:lnTo>
                      <a:pt x="2029" y="182"/>
                    </a:lnTo>
                    <a:lnTo>
                      <a:pt x="2027" y="186"/>
                    </a:lnTo>
                    <a:lnTo>
                      <a:pt x="2021" y="192"/>
                    </a:lnTo>
                    <a:lnTo>
                      <a:pt x="2021" y="192"/>
                    </a:lnTo>
                    <a:lnTo>
                      <a:pt x="2019" y="195"/>
                    </a:lnTo>
                    <a:lnTo>
                      <a:pt x="2016" y="196"/>
                    </a:lnTo>
                    <a:lnTo>
                      <a:pt x="2011" y="196"/>
                    </a:lnTo>
                    <a:lnTo>
                      <a:pt x="2010" y="196"/>
                    </a:lnTo>
                    <a:lnTo>
                      <a:pt x="2006" y="193"/>
                    </a:lnTo>
                    <a:lnTo>
                      <a:pt x="2004" y="190"/>
                    </a:lnTo>
                    <a:lnTo>
                      <a:pt x="2004" y="190"/>
                    </a:lnTo>
                    <a:lnTo>
                      <a:pt x="2007" y="188"/>
                    </a:lnTo>
                    <a:lnTo>
                      <a:pt x="2011" y="186"/>
                    </a:lnTo>
                    <a:lnTo>
                      <a:pt x="2016" y="185"/>
                    </a:lnTo>
                    <a:lnTo>
                      <a:pt x="2017" y="185"/>
                    </a:lnTo>
                    <a:lnTo>
                      <a:pt x="2017" y="183"/>
                    </a:lnTo>
                    <a:lnTo>
                      <a:pt x="2017" y="183"/>
                    </a:lnTo>
                    <a:lnTo>
                      <a:pt x="2017" y="182"/>
                    </a:lnTo>
                    <a:lnTo>
                      <a:pt x="2014" y="180"/>
                    </a:lnTo>
                    <a:lnTo>
                      <a:pt x="2009" y="179"/>
                    </a:lnTo>
                    <a:lnTo>
                      <a:pt x="2003" y="179"/>
                    </a:lnTo>
                    <a:lnTo>
                      <a:pt x="2000" y="178"/>
                    </a:lnTo>
                    <a:lnTo>
                      <a:pt x="2000" y="178"/>
                    </a:lnTo>
                    <a:lnTo>
                      <a:pt x="1999" y="175"/>
                    </a:lnTo>
                    <a:lnTo>
                      <a:pt x="2002" y="173"/>
                    </a:lnTo>
                    <a:lnTo>
                      <a:pt x="2004" y="172"/>
                    </a:lnTo>
                    <a:lnTo>
                      <a:pt x="2009" y="173"/>
                    </a:lnTo>
                    <a:lnTo>
                      <a:pt x="2009" y="173"/>
                    </a:lnTo>
                    <a:lnTo>
                      <a:pt x="2019" y="175"/>
                    </a:lnTo>
                    <a:lnTo>
                      <a:pt x="2023" y="175"/>
                    </a:lnTo>
                    <a:lnTo>
                      <a:pt x="2024" y="173"/>
                    </a:lnTo>
                    <a:lnTo>
                      <a:pt x="2024" y="173"/>
                    </a:lnTo>
                    <a:lnTo>
                      <a:pt x="2024" y="172"/>
                    </a:lnTo>
                    <a:lnTo>
                      <a:pt x="2020" y="170"/>
                    </a:lnTo>
                    <a:lnTo>
                      <a:pt x="2009" y="168"/>
                    </a:lnTo>
                    <a:lnTo>
                      <a:pt x="2009" y="168"/>
                    </a:lnTo>
                    <a:lnTo>
                      <a:pt x="1987" y="165"/>
                    </a:lnTo>
                    <a:lnTo>
                      <a:pt x="1976" y="162"/>
                    </a:lnTo>
                    <a:lnTo>
                      <a:pt x="1965" y="162"/>
                    </a:lnTo>
                    <a:lnTo>
                      <a:pt x="1965" y="162"/>
                    </a:lnTo>
                    <a:lnTo>
                      <a:pt x="1956" y="162"/>
                    </a:lnTo>
                    <a:lnTo>
                      <a:pt x="1950" y="161"/>
                    </a:lnTo>
                    <a:lnTo>
                      <a:pt x="1945" y="159"/>
                    </a:lnTo>
                    <a:lnTo>
                      <a:pt x="1940" y="158"/>
                    </a:lnTo>
                    <a:lnTo>
                      <a:pt x="1940" y="158"/>
                    </a:lnTo>
                    <a:lnTo>
                      <a:pt x="1936" y="158"/>
                    </a:lnTo>
                    <a:lnTo>
                      <a:pt x="1935" y="159"/>
                    </a:lnTo>
                    <a:lnTo>
                      <a:pt x="1935" y="162"/>
                    </a:lnTo>
                    <a:lnTo>
                      <a:pt x="1938" y="165"/>
                    </a:lnTo>
                    <a:lnTo>
                      <a:pt x="1938" y="165"/>
                    </a:lnTo>
                    <a:lnTo>
                      <a:pt x="1938" y="166"/>
                    </a:lnTo>
                    <a:lnTo>
                      <a:pt x="1938" y="168"/>
                    </a:lnTo>
                    <a:lnTo>
                      <a:pt x="1933" y="169"/>
                    </a:lnTo>
                    <a:lnTo>
                      <a:pt x="1929" y="170"/>
                    </a:lnTo>
                    <a:lnTo>
                      <a:pt x="1923" y="169"/>
                    </a:lnTo>
                    <a:lnTo>
                      <a:pt x="1923" y="169"/>
                    </a:lnTo>
                    <a:lnTo>
                      <a:pt x="1916" y="170"/>
                    </a:lnTo>
                    <a:lnTo>
                      <a:pt x="1910" y="172"/>
                    </a:lnTo>
                    <a:lnTo>
                      <a:pt x="1908" y="176"/>
                    </a:lnTo>
                    <a:lnTo>
                      <a:pt x="1906" y="178"/>
                    </a:lnTo>
                    <a:lnTo>
                      <a:pt x="1908" y="179"/>
                    </a:lnTo>
                    <a:lnTo>
                      <a:pt x="1908" y="179"/>
                    </a:lnTo>
                    <a:lnTo>
                      <a:pt x="1909" y="182"/>
                    </a:lnTo>
                    <a:lnTo>
                      <a:pt x="1912" y="182"/>
                    </a:lnTo>
                    <a:lnTo>
                      <a:pt x="1915" y="180"/>
                    </a:lnTo>
                    <a:lnTo>
                      <a:pt x="1918" y="180"/>
                    </a:lnTo>
                    <a:lnTo>
                      <a:pt x="1920" y="180"/>
                    </a:lnTo>
                    <a:lnTo>
                      <a:pt x="1920" y="180"/>
                    </a:lnTo>
                    <a:lnTo>
                      <a:pt x="1922" y="180"/>
                    </a:lnTo>
                    <a:lnTo>
                      <a:pt x="1920" y="182"/>
                    </a:lnTo>
                    <a:lnTo>
                      <a:pt x="1918" y="183"/>
                    </a:lnTo>
                    <a:lnTo>
                      <a:pt x="1915" y="186"/>
                    </a:lnTo>
                    <a:lnTo>
                      <a:pt x="1915" y="188"/>
                    </a:lnTo>
                    <a:lnTo>
                      <a:pt x="1916" y="189"/>
                    </a:lnTo>
                    <a:lnTo>
                      <a:pt x="1916" y="189"/>
                    </a:lnTo>
                    <a:lnTo>
                      <a:pt x="1919" y="190"/>
                    </a:lnTo>
                    <a:lnTo>
                      <a:pt x="1920" y="193"/>
                    </a:lnTo>
                    <a:lnTo>
                      <a:pt x="1922" y="199"/>
                    </a:lnTo>
                    <a:lnTo>
                      <a:pt x="1922" y="199"/>
                    </a:lnTo>
                    <a:lnTo>
                      <a:pt x="1920" y="202"/>
                    </a:lnTo>
                    <a:lnTo>
                      <a:pt x="1916" y="202"/>
                    </a:lnTo>
                    <a:lnTo>
                      <a:pt x="1912" y="202"/>
                    </a:lnTo>
                    <a:lnTo>
                      <a:pt x="1909" y="199"/>
                    </a:lnTo>
                    <a:lnTo>
                      <a:pt x="1909" y="199"/>
                    </a:lnTo>
                    <a:lnTo>
                      <a:pt x="1905" y="198"/>
                    </a:lnTo>
                    <a:lnTo>
                      <a:pt x="1902" y="198"/>
                    </a:lnTo>
                    <a:lnTo>
                      <a:pt x="1898" y="198"/>
                    </a:lnTo>
                    <a:lnTo>
                      <a:pt x="1893" y="199"/>
                    </a:lnTo>
                    <a:lnTo>
                      <a:pt x="1893" y="199"/>
                    </a:lnTo>
                    <a:lnTo>
                      <a:pt x="1889" y="199"/>
                    </a:lnTo>
                    <a:lnTo>
                      <a:pt x="1886" y="199"/>
                    </a:lnTo>
                    <a:lnTo>
                      <a:pt x="1885" y="200"/>
                    </a:lnTo>
                    <a:lnTo>
                      <a:pt x="1889" y="202"/>
                    </a:lnTo>
                    <a:lnTo>
                      <a:pt x="1889" y="202"/>
                    </a:lnTo>
                    <a:lnTo>
                      <a:pt x="1893" y="203"/>
                    </a:lnTo>
                    <a:lnTo>
                      <a:pt x="1895" y="205"/>
                    </a:lnTo>
                    <a:lnTo>
                      <a:pt x="1893" y="207"/>
                    </a:lnTo>
                    <a:lnTo>
                      <a:pt x="1889" y="209"/>
                    </a:lnTo>
                    <a:lnTo>
                      <a:pt x="1889" y="209"/>
                    </a:lnTo>
                    <a:lnTo>
                      <a:pt x="1886" y="209"/>
                    </a:lnTo>
                    <a:lnTo>
                      <a:pt x="1883" y="207"/>
                    </a:lnTo>
                    <a:lnTo>
                      <a:pt x="1881" y="205"/>
                    </a:lnTo>
                    <a:lnTo>
                      <a:pt x="1879" y="202"/>
                    </a:lnTo>
                    <a:lnTo>
                      <a:pt x="1878" y="200"/>
                    </a:lnTo>
                    <a:lnTo>
                      <a:pt x="1876" y="200"/>
                    </a:lnTo>
                    <a:lnTo>
                      <a:pt x="1876" y="200"/>
                    </a:lnTo>
                    <a:lnTo>
                      <a:pt x="1871" y="200"/>
                    </a:lnTo>
                    <a:lnTo>
                      <a:pt x="1864" y="199"/>
                    </a:lnTo>
                    <a:lnTo>
                      <a:pt x="1856" y="198"/>
                    </a:lnTo>
                    <a:lnTo>
                      <a:pt x="1851" y="196"/>
                    </a:lnTo>
                    <a:lnTo>
                      <a:pt x="1851" y="196"/>
                    </a:lnTo>
                    <a:lnTo>
                      <a:pt x="1846" y="198"/>
                    </a:lnTo>
                    <a:lnTo>
                      <a:pt x="1842" y="199"/>
                    </a:lnTo>
                    <a:lnTo>
                      <a:pt x="1838" y="202"/>
                    </a:lnTo>
                    <a:lnTo>
                      <a:pt x="1832" y="203"/>
                    </a:lnTo>
                    <a:lnTo>
                      <a:pt x="1832" y="203"/>
                    </a:lnTo>
                    <a:lnTo>
                      <a:pt x="1825" y="202"/>
                    </a:lnTo>
                    <a:lnTo>
                      <a:pt x="1818" y="200"/>
                    </a:lnTo>
                    <a:lnTo>
                      <a:pt x="1812" y="198"/>
                    </a:lnTo>
                    <a:lnTo>
                      <a:pt x="1808" y="193"/>
                    </a:lnTo>
                    <a:lnTo>
                      <a:pt x="1808" y="193"/>
                    </a:lnTo>
                    <a:lnTo>
                      <a:pt x="1807" y="190"/>
                    </a:lnTo>
                    <a:lnTo>
                      <a:pt x="1804" y="189"/>
                    </a:lnTo>
                    <a:lnTo>
                      <a:pt x="1802" y="190"/>
                    </a:lnTo>
                    <a:lnTo>
                      <a:pt x="1800" y="193"/>
                    </a:lnTo>
                    <a:lnTo>
                      <a:pt x="1800" y="193"/>
                    </a:lnTo>
                    <a:lnTo>
                      <a:pt x="1797" y="198"/>
                    </a:lnTo>
                    <a:lnTo>
                      <a:pt x="1795" y="203"/>
                    </a:lnTo>
                    <a:lnTo>
                      <a:pt x="1794" y="207"/>
                    </a:lnTo>
                    <a:lnTo>
                      <a:pt x="1791" y="209"/>
                    </a:lnTo>
                    <a:lnTo>
                      <a:pt x="1791" y="209"/>
                    </a:lnTo>
                    <a:lnTo>
                      <a:pt x="1788" y="212"/>
                    </a:lnTo>
                    <a:lnTo>
                      <a:pt x="1785" y="215"/>
                    </a:lnTo>
                    <a:lnTo>
                      <a:pt x="1784" y="219"/>
                    </a:lnTo>
                    <a:lnTo>
                      <a:pt x="1781" y="222"/>
                    </a:lnTo>
                    <a:lnTo>
                      <a:pt x="1781" y="222"/>
                    </a:lnTo>
                    <a:lnTo>
                      <a:pt x="1778" y="222"/>
                    </a:lnTo>
                    <a:lnTo>
                      <a:pt x="1775" y="220"/>
                    </a:lnTo>
                    <a:lnTo>
                      <a:pt x="1774" y="219"/>
                    </a:lnTo>
                    <a:lnTo>
                      <a:pt x="1771" y="219"/>
                    </a:lnTo>
                    <a:lnTo>
                      <a:pt x="1771" y="219"/>
                    </a:lnTo>
                    <a:lnTo>
                      <a:pt x="1768" y="217"/>
                    </a:lnTo>
                    <a:lnTo>
                      <a:pt x="1765" y="216"/>
                    </a:lnTo>
                    <a:lnTo>
                      <a:pt x="1757" y="210"/>
                    </a:lnTo>
                    <a:lnTo>
                      <a:pt x="1750" y="202"/>
                    </a:lnTo>
                    <a:lnTo>
                      <a:pt x="1747" y="198"/>
                    </a:lnTo>
                    <a:lnTo>
                      <a:pt x="1747" y="198"/>
                    </a:lnTo>
                    <a:lnTo>
                      <a:pt x="1744" y="192"/>
                    </a:lnTo>
                    <a:lnTo>
                      <a:pt x="1740" y="188"/>
                    </a:lnTo>
                    <a:lnTo>
                      <a:pt x="1733" y="180"/>
                    </a:lnTo>
                    <a:lnTo>
                      <a:pt x="1733" y="180"/>
                    </a:lnTo>
                    <a:lnTo>
                      <a:pt x="1731" y="179"/>
                    </a:lnTo>
                    <a:lnTo>
                      <a:pt x="1733" y="179"/>
                    </a:lnTo>
                    <a:lnTo>
                      <a:pt x="1736" y="179"/>
                    </a:lnTo>
                    <a:lnTo>
                      <a:pt x="1738" y="180"/>
                    </a:lnTo>
                    <a:lnTo>
                      <a:pt x="1738" y="180"/>
                    </a:lnTo>
                    <a:lnTo>
                      <a:pt x="1741" y="182"/>
                    </a:lnTo>
                    <a:lnTo>
                      <a:pt x="1744" y="183"/>
                    </a:lnTo>
                    <a:lnTo>
                      <a:pt x="1747" y="183"/>
                    </a:lnTo>
                    <a:lnTo>
                      <a:pt x="1750" y="182"/>
                    </a:lnTo>
                    <a:lnTo>
                      <a:pt x="1750" y="182"/>
                    </a:lnTo>
                    <a:lnTo>
                      <a:pt x="1753" y="179"/>
                    </a:lnTo>
                    <a:lnTo>
                      <a:pt x="1753" y="176"/>
                    </a:lnTo>
                    <a:lnTo>
                      <a:pt x="1751" y="172"/>
                    </a:lnTo>
                    <a:lnTo>
                      <a:pt x="1747" y="170"/>
                    </a:lnTo>
                    <a:lnTo>
                      <a:pt x="1747" y="170"/>
                    </a:lnTo>
                    <a:lnTo>
                      <a:pt x="1744" y="170"/>
                    </a:lnTo>
                    <a:lnTo>
                      <a:pt x="1743" y="168"/>
                    </a:lnTo>
                    <a:lnTo>
                      <a:pt x="1744" y="166"/>
                    </a:lnTo>
                    <a:lnTo>
                      <a:pt x="1747" y="165"/>
                    </a:lnTo>
                    <a:lnTo>
                      <a:pt x="1747" y="165"/>
                    </a:lnTo>
                    <a:lnTo>
                      <a:pt x="1747" y="163"/>
                    </a:lnTo>
                    <a:lnTo>
                      <a:pt x="1747" y="163"/>
                    </a:lnTo>
                    <a:lnTo>
                      <a:pt x="1744" y="159"/>
                    </a:lnTo>
                    <a:lnTo>
                      <a:pt x="1743" y="155"/>
                    </a:lnTo>
                    <a:lnTo>
                      <a:pt x="1743" y="155"/>
                    </a:lnTo>
                    <a:lnTo>
                      <a:pt x="1743" y="153"/>
                    </a:lnTo>
                    <a:lnTo>
                      <a:pt x="1743" y="153"/>
                    </a:lnTo>
                    <a:lnTo>
                      <a:pt x="1744" y="152"/>
                    </a:lnTo>
                    <a:lnTo>
                      <a:pt x="1744" y="151"/>
                    </a:lnTo>
                    <a:lnTo>
                      <a:pt x="1743" y="149"/>
                    </a:lnTo>
                    <a:lnTo>
                      <a:pt x="1740" y="148"/>
                    </a:lnTo>
                    <a:lnTo>
                      <a:pt x="1740" y="148"/>
                    </a:lnTo>
                    <a:lnTo>
                      <a:pt x="1736" y="146"/>
                    </a:lnTo>
                    <a:lnTo>
                      <a:pt x="1733" y="145"/>
                    </a:lnTo>
                    <a:lnTo>
                      <a:pt x="1730" y="142"/>
                    </a:lnTo>
                    <a:lnTo>
                      <a:pt x="1728" y="141"/>
                    </a:lnTo>
                    <a:lnTo>
                      <a:pt x="1728" y="141"/>
                    </a:lnTo>
                    <a:lnTo>
                      <a:pt x="1728" y="139"/>
                    </a:lnTo>
                    <a:lnTo>
                      <a:pt x="1726" y="139"/>
                    </a:lnTo>
                    <a:lnTo>
                      <a:pt x="1718" y="138"/>
                    </a:lnTo>
                    <a:lnTo>
                      <a:pt x="1710" y="139"/>
                    </a:lnTo>
                    <a:lnTo>
                      <a:pt x="1708" y="139"/>
                    </a:lnTo>
                    <a:lnTo>
                      <a:pt x="1707" y="141"/>
                    </a:lnTo>
                    <a:lnTo>
                      <a:pt x="1707" y="141"/>
                    </a:lnTo>
                    <a:lnTo>
                      <a:pt x="1707" y="142"/>
                    </a:lnTo>
                    <a:lnTo>
                      <a:pt x="1704" y="143"/>
                    </a:lnTo>
                    <a:lnTo>
                      <a:pt x="1703" y="142"/>
                    </a:lnTo>
                    <a:lnTo>
                      <a:pt x="1701" y="141"/>
                    </a:lnTo>
                    <a:lnTo>
                      <a:pt x="1701" y="141"/>
                    </a:lnTo>
                    <a:lnTo>
                      <a:pt x="1701" y="139"/>
                    </a:lnTo>
                    <a:lnTo>
                      <a:pt x="1701" y="138"/>
                    </a:lnTo>
                    <a:lnTo>
                      <a:pt x="1697" y="138"/>
                    </a:lnTo>
                    <a:lnTo>
                      <a:pt x="1683" y="135"/>
                    </a:lnTo>
                    <a:lnTo>
                      <a:pt x="1683" y="135"/>
                    </a:lnTo>
                    <a:lnTo>
                      <a:pt x="1677" y="132"/>
                    </a:lnTo>
                    <a:lnTo>
                      <a:pt x="1674" y="129"/>
                    </a:lnTo>
                    <a:lnTo>
                      <a:pt x="1671" y="126"/>
                    </a:lnTo>
                    <a:lnTo>
                      <a:pt x="1669" y="125"/>
                    </a:lnTo>
                    <a:lnTo>
                      <a:pt x="1669" y="125"/>
                    </a:lnTo>
                    <a:lnTo>
                      <a:pt x="1669" y="125"/>
                    </a:lnTo>
                    <a:lnTo>
                      <a:pt x="1667" y="126"/>
                    </a:lnTo>
                    <a:lnTo>
                      <a:pt x="1666" y="129"/>
                    </a:lnTo>
                    <a:lnTo>
                      <a:pt x="1664" y="132"/>
                    </a:lnTo>
                    <a:lnTo>
                      <a:pt x="1663" y="132"/>
                    </a:lnTo>
                    <a:lnTo>
                      <a:pt x="1662" y="132"/>
                    </a:lnTo>
                    <a:lnTo>
                      <a:pt x="1662" y="132"/>
                    </a:lnTo>
                    <a:lnTo>
                      <a:pt x="1657" y="132"/>
                    </a:lnTo>
                    <a:lnTo>
                      <a:pt x="1654" y="133"/>
                    </a:lnTo>
                    <a:lnTo>
                      <a:pt x="1653" y="136"/>
                    </a:lnTo>
                    <a:lnTo>
                      <a:pt x="1653" y="141"/>
                    </a:lnTo>
                    <a:lnTo>
                      <a:pt x="1653" y="141"/>
                    </a:lnTo>
                    <a:lnTo>
                      <a:pt x="1654" y="145"/>
                    </a:lnTo>
                    <a:lnTo>
                      <a:pt x="1654" y="146"/>
                    </a:lnTo>
                    <a:lnTo>
                      <a:pt x="1653" y="152"/>
                    </a:lnTo>
                    <a:lnTo>
                      <a:pt x="1653" y="152"/>
                    </a:lnTo>
                    <a:lnTo>
                      <a:pt x="1653" y="155"/>
                    </a:lnTo>
                    <a:lnTo>
                      <a:pt x="1650" y="156"/>
                    </a:lnTo>
                    <a:lnTo>
                      <a:pt x="1644" y="153"/>
                    </a:lnTo>
                    <a:lnTo>
                      <a:pt x="1644" y="153"/>
                    </a:lnTo>
                    <a:lnTo>
                      <a:pt x="1640" y="153"/>
                    </a:lnTo>
                    <a:lnTo>
                      <a:pt x="1637" y="155"/>
                    </a:lnTo>
                    <a:lnTo>
                      <a:pt x="1632" y="156"/>
                    </a:lnTo>
                    <a:lnTo>
                      <a:pt x="1625" y="155"/>
                    </a:lnTo>
                    <a:lnTo>
                      <a:pt x="1625" y="155"/>
                    </a:lnTo>
                    <a:lnTo>
                      <a:pt x="1616" y="153"/>
                    </a:lnTo>
                    <a:lnTo>
                      <a:pt x="1609" y="153"/>
                    </a:lnTo>
                    <a:lnTo>
                      <a:pt x="1605" y="153"/>
                    </a:lnTo>
                    <a:lnTo>
                      <a:pt x="1603" y="151"/>
                    </a:lnTo>
                    <a:lnTo>
                      <a:pt x="1603" y="151"/>
                    </a:lnTo>
                    <a:lnTo>
                      <a:pt x="1600" y="149"/>
                    </a:lnTo>
                    <a:lnTo>
                      <a:pt x="1599" y="148"/>
                    </a:lnTo>
                    <a:lnTo>
                      <a:pt x="1598" y="148"/>
                    </a:lnTo>
                    <a:lnTo>
                      <a:pt x="1596" y="151"/>
                    </a:lnTo>
                    <a:lnTo>
                      <a:pt x="1596" y="151"/>
                    </a:lnTo>
                    <a:lnTo>
                      <a:pt x="1595" y="151"/>
                    </a:lnTo>
                    <a:lnTo>
                      <a:pt x="1592" y="152"/>
                    </a:lnTo>
                    <a:lnTo>
                      <a:pt x="1585" y="152"/>
                    </a:lnTo>
                    <a:lnTo>
                      <a:pt x="1578" y="151"/>
                    </a:lnTo>
                    <a:lnTo>
                      <a:pt x="1575" y="149"/>
                    </a:lnTo>
                    <a:lnTo>
                      <a:pt x="1573" y="146"/>
                    </a:lnTo>
                    <a:lnTo>
                      <a:pt x="1573" y="146"/>
                    </a:lnTo>
                    <a:lnTo>
                      <a:pt x="1573" y="143"/>
                    </a:lnTo>
                    <a:lnTo>
                      <a:pt x="1575" y="142"/>
                    </a:lnTo>
                    <a:lnTo>
                      <a:pt x="1580" y="139"/>
                    </a:lnTo>
                    <a:lnTo>
                      <a:pt x="1580" y="139"/>
                    </a:lnTo>
                    <a:lnTo>
                      <a:pt x="1580" y="138"/>
                    </a:lnTo>
                    <a:lnTo>
                      <a:pt x="1578" y="138"/>
                    </a:lnTo>
                    <a:lnTo>
                      <a:pt x="1573" y="136"/>
                    </a:lnTo>
                    <a:lnTo>
                      <a:pt x="1566" y="136"/>
                    </a:lnTo>
                    <a:lnTo>
                      <a:pt x="1566" y="136"/>
                    </a:lnTo>
                    <a:lnTo>
                      <a:pt x="1558" y="136"/>
                    </a:lnTo>
                    <a:lnTo>
                      <a:pt x="1551" y="133"/>
                    </a:lnTo>
                    <a:lnTo>
                      <a:pt x="1543" y="132"/>
                    </a:lnTo>
                    <a:lnTo>
                      <a:pt x="1536" y="132"/>
                    </a:lnTo>
                    <a:lnTo>
                      <a:pt x="1536" y="132"/>
                    </a:lnTo>
                    <a:lnTo>
                      <a:pt x="1512" y="135"/>
                    </a:lnTo>
                    <a:lnTo>
                      <a:pt x="1495" y="138"/>
                    </a:lnTo>
                    <a:lnTo>
                      <a:pt x="1495" y="138"/>
                    </a:lnTo>
                    <a:lnTo>
                      <a:pt x="1495" y="138"/>
                    </a:lnTo>
                    <a:lnTo>
                      <a:pt x="1495" y="139"/>
                    </a:lnTo>
                    <a:lnTo>
                      <a:pt x="1495" y="142"/>
                    </a:lnTo>
                    <a:lnTo>
                      <a:pt x="1495" y="145"/>
                    </a:lnTo>
                    <a:lnTo>
                      <a:pt x="1495" y="145"/>
                    </a:lnTo>
                    <a:lnTo>
                      <a:pt x="1494" y="146"/>
                    </a:lnTo>
                    <a:lnTo>
                      <a:pt x="1494" y="146"/>
                    </a:lnTo>
                    <a:lnTo>
                      <a:pt x="1492" y="145"/>
                    </a:lnTo>
                    <a:lnTo>
                      <a:pt x="1491" y="145"/>
                    </a:lnTo>
                    <a:lnTo>
                      <a:pt x="1491" y="141"/>
                    </a:lnTo>
                    <a:lnTo>
                      <a:pt x="1491" y="135"/>
                    </a:lnTo>
                    <a:lnTo>
                      <a:pt x="1491" y="131"/>
                    </a:lnTo>
                    <a:lnTo>
                      <a:pt x="1491" y="131"/>
                    </a:lnTo>
                    <a:lnTo>
                      <a:pt x="1489" y="126"/>
                    </a:lnTo>
                    <a:lnTo>
                      <a:pt x="1487" y="125"/>
                    </a:lnTo>
                    <a:lnTo>
                      <a:pt x="1484" y="126"/>
                    </a:lnTo>
                    <a:lnTo>
                      <a:pt x="1482" y="128"/>
                    </a:lnTo>
                    <a:lnTo>
                      <a:pt x="1482" y="128"/>
                    </a:lnTo>
                    <a:lnTo>
                      <a:pt x="1482" y="129"/>
                    </a:lnTo>
                    <a:lnTo>
                      <a:pt x="1481" y="131"/>
                    </a:lnTo>
                    <a:lnTo>
                      <a:pt x="1477" y="132"/>
                    </a:lnTo>
                    <a:lnTo>
                      <a:pt x="1471" y="132"/>
                    </a:lnTo>
                    <a:lnTo>
                      <a:pt x="1467" y="131"/>
                    </a:lnTo>
                    <a:lnTo>
                      <a:pt x="1467" y="131"/>
                    </a:lnTo>
                    <a:lnTo>
                      <a:pt x="1460" y="125"/>
                    </a:lnTo>
                    <a:lnTo>
                      <a:pt x="1454" y="124"/>
                    </a:lnTo>
                    <a:lnTo>
                      <a:pt x="1448" y="121"/>
                    </a:lnTo>
                    <a:lnTo>
                      <a:pt x="1448" y="121"/>
                    </a:lnTo>
                    <a:lnTo>
                      <a:pt x="1444" y="121"/>
                    </a:lnTo>
                    <a:lnTo>
                      <a:pt x="1441" y="121"/>
                    </a:lnTo>
                    <a:lnTo>
                      <a:pt x="1434" y="125"/>
                    </a:lnTo>
                    <a:lnTo>
                      <a:pt x="1430" y="128"/>
                    </a:lnTo>
                    <a:lnTo>
                      <a:pt x="1430" y="131"/>
                    </a:lnTo>
                    <a:lnTo>
                      <a:pt x="1430" y="132"/>
                    </a:lnTo>
                    <a:lnTo>
                      <a:pt x="1430" y="132"/>
                    </a:lnTo>
                    <a:lnTo>
                      <a:pt x="1433" y="133"/>
                    </a:lnTo>
                    <a:lnTo>
                      <a:pt x="1435" y="133"/>
                    </a:lnTo>
                    <a:lnTo>
                      <a:pt x="1438" y="133"/>
                    </a:lnTo>
                    <a:lnTo>
                      <a:pt x="1440" y="133"/>
                    </a:lnTo>
                    <a:lnTo>
                      <a:pt x="1440" y="133"/>
                    </a:lnTo>
                    <a:lnTo>
                      <a:pt x="1438" y="135"/>
                    </a:lnTo>
                    <a:lnTo>
                      <a:pt x="1437" y="136"/>
                    </a:lnTo>
                    <a:lnTo>
                      <a:pt x="1430" y="138"/>
                    </a:lnTo>
                    <a:lnTo>
                      <a:pt x="1423" y="138"/>
                    </a:lnTo>
                    <a:lnTo>
                      <a:pt x="1421" y="139"/>
                    </a:lnTo>
                    <a:lnTo>
                      <a:pt x="1420" y="139"/>
                    </a:lnTo>
                    <a:lnTo>
                      <a:pt x="1420" y="139"/>
                    </a:lnTo>
                    <a:lnTo>
                      <a:pt x="1418" y="141"/>
                    </a:lnTo>
                    <a:lnTo>
                      <a:pt x="1417" y="142"/>
                    </a:lnTo>
                    <a:lnTo>
                      <a:pt x="1410" y="145"/>
                    </a:lnTo>
                    <a:lnTo>
                      <a:pt x="1396" y="148"/>
                    </a:lnTo>
                    <a:lnTo>
                      <a:pt x="1396" y="148"/>
                    </a:lnTo>
                    <a:lnTo>
                      <a:pt x="1378" y="151"/>
                    </a:lnTo>
                    <a:lnTo>
                      <a:pt x="1374" y="153"/>
                    </a:lnTo>
                    <a:lnTo>
                      <a:pt x="1368" y="156"/>
                    </a:lnTo>
                    <a:lnTo>
                      <a:pt x="1368" y="156"/>
                    </a:lnTo>
                    <a:lnTo>
                      <a:pt x="1366" y="158"/>
                    </a:lnTo>
                    <a:lnTo>
                      <a:pt x="1366" y="155"/>
                    </a:lnTo>
                    <a:lnTo>
                      <a:pt x="1368" y="151"/>
                    </a:lnTo>
                    <a:lnTo>
                      <a:pt x="1373" y="145"/>
                    </a:lnTo>
                    <a:lnTo>
                      <a:pt x="1373" y="145"/>
                    </a:lnTo>
                    <a:lnTo>
                      <a:pt x="1377" y="142"/>
                    </a:lnTo>
                    <a:lnTo>
                      <a:pt x="1381" y="141"/>
                    </a:lnTo>
                    <a:lnTo>
                      <a:pt x="1386" y="139"/>
                    </a:lnTo>
                    <a:lnTo>
                      <a:pt x="1388" y="138"/>
                    </a:lnTo>
                    <a:lnTo>
                      <a:pt x="1388" y="138"/>
                    </a:lnTo>
                    <a:lnTo>
                      <a:pt x="1391" y="135"/>
                    </a:lnTo>
                    <a:lnTo>
                      <a:pt x="1394" y="133"/>
                    </a:lnTo>
                    <a:lnTo>
                      <a:pt x="1405" y="132"/>
                    </a:lnTo>
                    <a:lnTo>
                      <a:pt x="1405" y="132"/>
                    </a:lnTo>
                    <a:lnTo>
                      <a:pt x="1411" y="131"/>
                    </a:lnTo>
                    <a:lnTo>
                      <a:pt x="1414" y="128"/>
                    </a:lnTo>
                    <a:lnTo>
                      <a:pt x="1415" y="125"/>
                    </a:lnTo>
                    <a:lnTo>
                      <a:pt x="1418" y="124"/>
                    </a:lnTo>
                    <a:lnTo>
                      <a:pt x="1418" y="124"/>
                    </a:lnTo>
                    <a:lnTo>
                      <a:pt x="1427" y="119"/>
                    </a:lnTo>
                    <a:lnTo>
                      <a:pt x="1433" y="116"/>
                    </a:lnTo>
                    <a:lnTo>
                      <a:pt x="1435" y="114"/>
                    </a:lnTo>
                    <a:lnTo>
                      <a:pt x="1435" y="114"/>
                    </a:lnTo>
                    <a:lnTo>
                      <a:pt x="1440" y="109"/>
                    </a:lnTo>
                    <a:lnTo>
                      <a:pt x="1448" y="106"/>
                    </a:lnTo>
                    <a:lnTo>
                      <a:pt x="1457" y="104"/>
                    </a:lnTo>
                    <a:lnTo>
                      <a:pt x="1462" y="102"/>
                    </a:lnTo>
                    <a:lnTo>
                      <a:pt x="1462" y="102"/>
                    </a:lnTo>
                    <a:lnTo>
                      <a:pt x="1465" y="101"/>
                    </a:lnTo>
                    <a:lnTo>
                      <a:pt x="1467" y="98"/>
                    </a:lnTo>
                    <a:lnTo>
                      <a:pt x="1468" y="95"/>
                    </a:lnTo>
                    <a:lnTo>
                      <a:pt x="1469" y="94"/>
                    </a:lnTo>
                    <a:lnTo>
                      <a:pt x="1469" y="94"/>
                    </a:lnTo>
                    <a:lnTo>
                      <a:pt x="1479" y="91"/>
                    </a:lnTo>
                    <a:lnTo>
                      <a:pt x="1489" y="87"/>
                    </a:lnTo>
                    <a:lnTo>
                      <a:pt x="1489" y="87"/>
                    </a:lnTo>
                    <a:lnTo>
                      <a:pt x="1492" y="84"/>
                    </a:lnTo>
                    <a:lnTo>
                      <a:pt x="1495" y="81"/>
                    </a:lnTo>
                    <a:lnTo>
                      <a:pt x="1497" y="77"/>
                    </a:lnTo>
                    <a:lnTo>
                      <a:pt x="1497" y="77"/>
                    </a:lnTo>
                    <a:lnTo>
                      <a:pt x="1497" y="75"/>
                    </a:lnTo>
                    <a:lnTo>
                      <a:pt x="1494" y="74"/>
                    </a:lnTo>
                    <a:lnTo>
                      <a:pt x="1491" y="72"/>
                    </a:lnTo>
                    <a:lnTo>
                      <a:pt x="1489" y="71"/>
                    </a:lnTo>
                    <a:lnTo>
                      <a:pt x="1489" y="71"/>
                    </a:lnTo>
                    <a:lnTo>
                      <a:pt x="1489" y="69"/>
                    </a:lnTo>
                    <a:lnTo>
                      <a:pt x="1492" y="69"/>
                    </a:lnTo>
                    <a:lnTo>
                      <a:pt x="1498" y="68"/>
                    </a:lnTo>
                    <a:lnTo>
                      <a:pt x="1498" y="68"/>
                    </a:lnTo>
                    <a:lnTo>
                      <a:pt x="1499" y="65"/>
                    </a:lnTo>
                    <a:lnTo>
                      <a:pt x="1499" y="64"/>
                    </a:lnTo>
                    <a:lnTo>
                      <a:pt x="1497" y="61"/>
                    </a:lnTo>
                    <a:lnTo>
                      <a:pt x="1494" y="61"/>
                    </a:lnTo>
                    <a:lnTo>
                      <a:pt x="1494" y="61"/>
                    </a:lnTo>
                    <a:lnTo>
                      <a:pt x="1492" y="61"/>
                    </a:lnTo>
                    <a:lnTo>
                      <a:pt x="1492" y="58"/>
                    </a:lnTo>
                    <a:lnTo>
                      <a:pt x="1494" y="55"/>
                    </a:lnTo>
                    <a:lnTo>
                      <a:pt x="1492" y="52"/>
                    </a:lnTo>
                    <a:lnTo>
                      <a:pt x="1492" y="52"/>
                    </a:lnTo>
                    <a:lnTo>
                      <a:pt x="1491" y="51"/>
                    </a:lnTo>
                    <a:lnTo>
                      <a:pt x="1489" y="51"/>
                    </a:lnTo>
                    <a:lnTo>
                      <a:pt x="1485" y="52"/>
                    </a:lnTo>
                    <a:lnTo>
                      <a:pt x="1482" y="52"/>
                    </a:lnTo>
                    <a:lnTo>
                      <a:pt x="1482" y="52"/>
                    </a:lnTo>
                    <a:lnTo>
                      <a:pt x="1482" y="51"/>
                    </a:lnTo>
                    <a:lnTo>
                      <a:pt x="1482" y="51"/>
                    </a:lnTo>
                    <a:lnTo>
                      <a:pt x="1481" y="44"/>
                    </a:lnTo>
                    <a:lnTo>
                      <a:pt x="1481" y="41"/>
                    </a:lnTo>
                    <a:lnTo>
                      <a:pt x="1478" y="38"/>
                    </a:lnTo>
                    <a:lnTo>
                      <a:pt x="1478" y="38"/>
                    </a:lnTo>
                    <a:lnTo>
                      <a:pt x="1477" y="37"/>
                    </a:lnTo>
                    <a:lnTo>
                      <a:pt x="1472" y="38"/>
                    </a:lnTo>
                    <a:lnTo>
                      <a:pt x="1469" y="40"/>
                    </a:lnTo>
                    <a:lnTo>
                      <a:pt x="1467" y="40"/>
                    </a:lnTo>
                    <a:lnTo>
                      <a:pt x="1465" y="38"/>
                    </a:lnTo>
                    <a:lnTo>
                      <a:pt x="1465" y="38"/>
                    </a:lnTo>
                    <a:lnTo>
                      <a:pt x="1458" y="35"/>
                    </a:lnTo>
                    <a:lnTo>
                      <a:pt x="1451" y="32"/>
                    </a:lnTo>
                    <a:lnTo>
                      <a:pt x="1444" y="32"/>
                    </a:lnTo>
                    <a:lnTo>
                      <a:pt x="1441" y="32"/>
                    </a:lnTo>
                    <a:lnTo>
                      <a:pt x="1441" y="32"/>
                    </a:lnTo>
                    <a:lnTo>
                      <a:pt x="1440" y="34"/>
                    </a:lnTo>
                    <a:lnTo>
                      <a:pt x="1437" y="32"/>
                    </a:lnTo>
                    <a:lnTo>
                      <a:pt x="1434" y="31"/>
                    </a:lnTo>
                    <a:lnTo>
                      <a:pt x="1431" y="32"/>
                    </a:lnTo>
                    <a:lnTo>
                      <a:pt x="1431" y="32"/>
                    </a:lnTo>
                    <a:lnTo>
                      <a:pt x="1428" y="32"/>
                    </a:lnTo>
                    <a:lnTo>
                      <a:pt x="1423" y="34"/>
                    </a:lnTo>
                    <a:lnTo>
                      <a:pt x="1411" y="32"/>
                    </a:lnTo>
                    <a:lnTo>
                      <a:pt x="1411" y="32"/>
                    </a:lnTo>
                    <a:lnTo>
                      <a:pt x="1408" y="32"/>
                    </a:lnTo>
                    <a:lnTo>
                      <a:pt x="1405" y="34"/>
                    </a:lnTo>
                    <a:lnTo>
                      <a:pt x="1403" y="35"/>
                    </a:lnTo>
                    <a:lnTo>
                      <a:pt x="1401" y="38"/>
                    </a:lnTo>
                    <a:lnTo>
                      <a:pt x="1401" y="38"/>
                    </a:lnTo>
                    <a:lnTo>
                      <a:pt x="1400" y="40"/>
                    </a:lnTo>
                    <a:lnTo>
                      <a:pt x="1398" y="41"/>
                    </a:lnTo>
                    <a:lnTo>
                      <a:pt x="1393" y="41"/>
                    </a:lnTo>
                    <a:lnTo>
                      <a:pt x="1381" y="40"/>
                    </a:lnTo>
                    <a:lnTo>
                      <a:pt x="1381" y="40"/>
                    </a:lnTo>
                    <a:lnTo>
                      <a:pt x="1381" y="40"/>
                    </a:lnTo>
                    <a:lnTo>
                      <a:pt x="1381" y="38"/>
                    </a:lnTo>
                    <a:lnTo>
                      <a:pt x="1386" y="34"/>
                    </a:lnTo>
                    <a:lnTo>
                      <a:pt x="1390" y="28"/>
                    </a:lnTo>
                    <a:lnTo>
                      <a:pt x="1393" y="25"/>
                    </a:lnTo>
                    <a:lnTo>
                      <a:pt x="1393" y="25"/>
                    </a:lnTo>
                    <a:lnTo>
                      <a:pt x="1388" y="24"/>
                    </a:lnTo>
                    <a:lnTo>
                      <a:pt x="1380" y="24"/>
                    </a:lnTo>
                    <a:lnTo>
                      <a:pt x="1371" y="24"/>
                    </a:lnTo>
                    <a:lnTo>
                      <a:pt x="1367" y="24"/>
                    </a:lnTo>
                    <a:lnTo>
                      <a:pt x="1367" y="24"/>
                    </a:lnTo>
                    <a:lnTo>
                      <a:pt x="1364" y="23"/>
                    </a:lnTo>
                    <a:lnTo>
                      <a:pt x="1359" y="21"/>
                    </a:lnTo>
                    <a:lnTo>
                      <a:pt x="1347" y="21"/>
                    </a:lnTo>
                    <a:lnTo>
                      <a:pt x="1347" y="21"/>
                    </a:lnTo>
                    <a:lnTo>
                      <a:pt x="1346" y="20"/>
                    </a:lnTo>
                    <a:lnTo>
                      <a:pt x="1346" y="20"/>
                    </a:lnTo>
                    <a:lnTo>
                      <a:pt x="1353" y="18"/>
                    </a:lnTo>
                    <a:lnTo>
                      <a:pt x="1353" y="18"/>
                    </a:lnTo>
                    <a:lnTo>
                      <a:pt x="1356" y="18"/>
                    </a:lnTo>
                    <a:lnTo>
                      <a:pt x="1360" y="15"/>
                    </a:lnTo>
                    <a:lnTo>
                      <a:pt x="1367" y="13"/>
                    </a:lnTo>
                    <a:lnTo>
                      <a:pt x="1367" y="13"/>
                    </a:lnTo>
                    <a:lnTo>
                      <a:pt x="1370" y="13"/>
                    </a:lnTo>
                    <a:lnTo>
                      <a:pt x="1371" y="11"/>
                    </a:lnTo>
                    <a:lnTo>
                      <a:pt x="1368" y="7"/>
                    </a:lnTo>
                    <a:lnTo>
                      <a:pt x="1368" y="7"/>
                    </a:lnTo>
                    <a:lnTo>
                      <a:pt x="1367" y="5"/>
                    </a:lnTo>
                    <a:lnTo>
                      <a:pt x="1363" y="4"/>
                    </a:lnTo>
                    <a:lnTo>
                      <a:pt x="1356" y="4"/>
                    </a:lnTo>
                    <a:lnTo>
                      <a:pt x="1356" y="4"/>
                    </a:lnTo>
                    <a:lnTo>
                      <a:pt x="1347" y="1"/>
                    </a:lnTo>
                    <a:lnTo>
                      <a:pt x="1339" y="0"/>
                    </a:lnTo>
                    <a:lnTo>
                      <a:pt x="1339" y="0"/>
                    </a:lnTo>
                    <a:lnTo>
                      <a:pt x="1330" y="1"/>
                    </a:lnTo>
                    <a:lnTo>
                      <a:pt x="1317" y="4"/>
                    </a:lnTo>
                    <a:lnTo>
                      <a:pt x="1317" y="4"/>
                    </a:lnTo>
                    <a:lnTo>
                      <a:pt x="1310" y="7"/>
                    </a:lnTo>
                    <a:lnTo>
                      <a:pt x="1306" y="10"/>
                    </a:lnTo>
                    <a:lnTo>
                      <a:pt x="1303" y="14"/>
                    </a:lnTo>
                    <a:lnTo>
                      <a:pt x="1300" y="17"/>
                    </a:lnTo>
                    <a:lnTo>
                      <a:pt x="1300" y="17"/>
                    </a:lnTo>
                    <a:lnTo>
                      <a:pt x="1295" y="20"/>
                    </a:lnTo>
                    <a:lnTo>
                      <a:pt x="1290" y="24"/>
                    </a:lnTo>
                    <a:lnTo>
                      <a:pt x="1287" y="28"/>
                    </a:lnTo>
                    <a:lnTo>
                      <a:pt x="1287" y="30"/>
                    </a:lnTo>
                    <a:lnTo>
                      <a:pt x="1289" y="31"/>
                    </a:lnTo>
                    <a:lnTo>
                      <a:pt x="1289" y="31"/>
                    </a:lnTo>
                    <a:lnTo>
                      <a:pt x="1292" y="32"/>
                    </a:lnTo>
                    <a:lnTo>
                      <a:pt x="1292" y="34"/>
                    </a:lnTo>
                    <a:lnTo>
                      <a:pt x="1292" y="38"/>
                    </a:lnTo>
                    <a:lnTo>
                      <a:pt x="1292" y="38"/>
                    </a:lnTo>
                    <a:lnTo>
                      <a:pt x="1292" y="40"/>
                    </a:lnTo>
                    <a:lnTo>
                      <a:pt x="1290" y="41"/>
                    </a:lnTo>
                    <a:lnTo>
                      <a:pt x="1283" y="41"/>
                    </a:lnTo>
                    <a:lnTo>
                      <a:pt x="1283" y="41"/>
                    </a:lnTo>
                    <a:lnTo>
                      <a:pt x="1269" y="41"/>
                    </a:lnTo>
                    <a:lnTo>
                      <a:pt x="1262" y="41"/>
                    </a:lnTo>
                    <a:lnTo>
                      <a:pt x="1259" y="42"/>
                    </a:lnTo>
                    <a:lnTo>
                      <a:pt x="1259" y="44"/>
                    </a:lnTo>
                    <a:lnTo>
                      <a:pt x="1259" y="44"/>
                    </a:lnTo>
                    <a:lnTo>
                      <a:pt x="1260" y="47"/>
                    </a:lnTo>
                    <a:lnTo>
                      <a:pt x="1265" y="48"/>
                    </a:lnTo>
                    <a:lnTo>
                      <a:pt x="1267" y="51"/>
                    </a:lnTo>
                    <a:lnTo>
                      <a:pt x="1269" y="52"/>
                    </a:lnTo>
                    <a:lnTo>
                      <a:pt x="1269" y="52"/>
                    </a:lnTo>
                    <a:lnTo>
                      <a:pt x="1267" y="52"/>
                    </a:lnTo>
                    <a:lnTo>
                      <a:pt x="1265" y="52"/>
                    </a:lnTo>
                    <a:lnTo>
                      <a:pt x="1258" y="50"/>
                    </a:lnTo>
                    <a:lnTo>
                      <a:pt x="1258" y="50"/>
                    </a:lnTo>
                    <a:lnTo>
                      <a:pt x="1253" y="48"/>
                    </a:lnTo>
                    <a:lnTo>
                      <a:pt x="1249" y="50"/>
                    </a:lnTo>
                    <a:lnTo>
                      <a:pt x="1245" y="51"/>
                    </a:lnTo>
                    <a:lnTo>
                      <a:pt x="1243" y="52"/>
                    </a:lnTo>
                    <a:lnTo>
                      <a:pt x="1243" y="52"/>
                    </a:lnTo>
                    <a:lnTo>
                      <a:pt x="1240" y="55"/>
                    </a:lnTo>
                    <a:lnTo>
                      <a:pt x="1238" y="55"/>
                    </a:lnTo>
                    <a:lnTo>
                      <a:pt x="1232" y="55"/>
                    </a:lnTo>
                    <a:lnTo>
                      <a:pt x="1232" y="55"/>
                    </a:lnTo>
                    <a:lnTo>
                      <a:pt x="1230" y="55"/>
                    </a:lnTo>
                    <a:lnTo>
                      <a:pt x="1228" y="55"/>
                    </a:lnTo>
                    <a:lnTo>
                      <a:pt x="1225" y="55"/>
                    </a:lnTo>
                    <a:lnTo>
                      <a:pt x="1222" y="55"/>
                    </a:lnTo>
                    <a:lnTo>
                      <a:pt x="1222" y="55"/>
                    </a:lnTo>
                    <a:lnTo>
                      <a:pt x="1222" y="55"/>
                    </a:lnTo>
                    <a:lnTo>
                      <a:pt x="1222" y="54"/>
                    </a:lnTo>
                    <a:lnTo>
                      <a:pt x="1223" y="51"/>
                    </a:lnTo>
                    <a:lnTo>
                      <a:pt x="1226" y="50"/>
                    </a:lnTo>
                    <a:lnTo>
                      <a:pt x="1226" y="48"/>
                    </a:lnTo>
                    <a:lnTo>
                      <a:pt x="1226" y="47"/>
                    </a:lnTo>
                    <a:lnTo>
                      <a:pt x="1226" y="47"/>
                    </a:lnTo>
                    <a:lnTo>
                      <a:pt x="1223" y="45"/>
                    </a:lnTo>
                    <a:lnTo>
                      <a:pt x="1218" y="47"/>
                    </a:lnTo>
                    <a:lnTo>
                      <a:pt x="1213" y="48"/>
                    </a:lnTo>
                    <a:lnTo>
                      <a:pt x="1212" y="51"/>
                    </a:lnTo>
                    <a:lnTo>
                      <a:pt x="1212" y="51"/>
                    </a:lnTo>
                    <a:lnTo>
                      <a:pt x="1211" y="52"/>
                    </a:lnTo>
                    <a:lnTo>
                      <a:pt x="1209" y="52"/>
                    </a:lnTo>
                    <a:lnTo>
                      <a:pt x="1206" y="51"/>
                    </a:lnTo>
                    <a:lnTo>
                      <a:pt x="1203" y="50"/>
                    </a:lnTo>
                    <a:lnTo>
                      <a:pt x="1201" y="50"/>
                    </a:lnTo>
                    <a:lnTo>
                      <a:pt x="1201" y="50"/>
                    </a:lnTo>
                    <a:lnTo>
                      <a:pt x="1191" y="54"/>
                    </a:lnTo>
                    <a:lnTo>
                      <a:pt x="1191" y="54"/>
                    </a:lnTo>
                    <a:lnTo>
                      <a:pt x="1186" y="55"/>
                    </a:lnTo>
                    <a:lnTo>
                      <a:pt x="1181" y="54"/>
                    </a:lnTo>
                    <a:lnTo>
                      <a:pt x="1178" y="54"/>
                    </a:lnTo>
                    <a:lnTo>
                      <a:pt x="1175" y="55"/>
                    </a:lnTo>
                    <a:lnTo>
                      <a:pt x="1175" y="55"/>
                    </a:lnTo>
                    <a:lnTo>
                      <a:pt x="1175" y="57"/>
                    </a:lnTo>
                    <a:lnTo>
                      <a:pt x="1175" y="58"/>
                    </a:lnTo>
                    <a:lnTo>
                      <a:pt x="1179" y="60"/>
                    </a:lnTo>
                    <a:lnTo>
                      <a:pt x="1182" y="61"/>
                    </a:lnTo>
                    <a:lnTo>
                      <a:pt x="1185" y="62"/>
                    </a:lnTo>
                    <a:lnTo>
                      <a:pt x="1185" y="62"/>
                    </a:lnTo>
                    <a:lnTo>
                      <a:pt x="1181" y="64"/>
                    </a:lnTo>
                    <a:lnTo>
                      <a:pt x="1172" y="64"/>
                    </a:lnTo>
                    <a:lnTo>
                      <a:pt x="1162" y="65"/>
                    </a:lnTo>
                    <a:lnTo>
                      <a:pt x="1158" y="67"/>
                    </a:lnTo>
                    <a:lnTo>
                      <a:pt x="1158" y="67"/>
                    </a:lnTo>
                    <a:lnTo>
                      <a:pt x="1157" y="68"/>
                    </a:lnTo>
                    <a:lnTo>
                      <a:pt x="1152" y="68"/>
                    </a:lnTo>
                    <a:lnTo>
                      <a:pt x="1138" y="69"/>
                    </a:lnTo>
                    <a:lnTo>
                      <a:pt x="1138" y="69"/>
                    </a:lnTo>
                    <a:lnTo>
                      <a:pt x="1132" y="69"/>
                    </a:lnTo>
                    <a:lnTo>
                      <a:pt x="1129" y="72"/>
                    </a:lnTo>
                    <a:lnTo>
                      <a:pt x="1127" y="75"/>
                    </a:lnTo>
                    <a:lnTo>
                      <a:pt x="1122" y="77"/>
                    </a:lnTo>
                    <a:lnTo>
                      <a:pt x="1122" y="77"/>
                    </a:lnTo>
                    <a:lnTo>
                      <a:pt x="1114" y="78"/>
                    </a:lnTo>
                    <a:lnTo>
                      <a:pt x="1110" y="79"/>
                    </a:lnTo>
                    <a:lnTo>
                      <a:pt x="1108" y="82"/>
                    </a:lnTo>
                    <a:lnTo>
                      <a:pt x="1108" y="82"/>
                    </a:lnTo>
                    <a:lnTo>
                      <a:pt x="1105" y="85"/>
                    </a:lnTo>
                    <a:lnTo>
                      <a:pt x="1101" y="87"/>
                    </a:lnTo>
                    <a:lnTo>
                      <a:pt x="1098" y="85"/>
                    </a:lnTo>
                    <a:lnTo>
                      <a:pt x="1095" y="84"/>
                    </a:lnTo>
                    <a:lnTo>
                      <a:pt x="1095" y="84"/>
                    </a:lnTo>
                    <a:lnTo>
                      <a:pt x="1093" y="82"/>
                    </a:lnTo>
                    <a:lnTo>
                      <a:pt x="1090" y="84"/>
                    </a:lnTo>
                    <a:lnTo>
                      <a:pt x="1088" y="85"/>
                    </a:lnTo>
                    <a:lnTo>
                      <a:pt x="1088" y="85"/>
                    </a:lnTo>
                    <a:lnTo>
                      <a:pt x="1090" y="87"/>
                    </a:lnTo>
                    <a:lnTo>
                      <a:pt x="1090" y="87"/>
                    </a:lnTo>
                    <a:lnTo>
                      <a:pt x="1091" y="87"/>
                    </a:lnTo>
                    <a:lnTo>
                      <a:pt x="1090" y="88"/>
                    </a:lnTo>
                    <a:lnTo>
                      <a:pt x="1088" y="89"/>
                    </a:lnTo>
                    <a:lnTo>
                      <a:pt x="1087" y="89"/>
                    </a:lnTo>
                    <a:lnTo>
                      <a:pt x="1087" y="89"/>
                    </a:lnTo>
                    <a:lnTo>
                      <a:pt x="1084" y="91"/>
                    </a:lnTo>
                    <a:lnTo>
                      <a:pt x="1081" y="92"/>
                    </a:lnTo>
                    <a:lnTo>
                      <a:pt x="1080" y="94"/>
                    </a:lnTo>
                    <a:lnTo>
                      <a:pt x="1081" y="94"/>
                    </a:lnTo>
                    <a:lnTo>
                      <a:pt x="1081" y="94"/>
                    </a:lnTo>
                    <a:lnTo>
                      <a:pt x="1084" y="94"/>
                    </a:lnTo>
                    <a:lnTo>
                      <a:pt x="1085" y="95"/>
                    </a:lnTo>
                    <a:lnTo>
                      <a:pt x="1085" y="98"/>
                    </a:lnTo>
                    <a:lnTo>
                      <a:pt x="1085" y="99"/>
                    </a:lnTo>
                    <a:lnTo>
                      <a:pt x="1085" y="99"/>
                    </a:lnTo>
                    <a:lnTo>
                      <a:pt x="1083" y="101"/>
                    </a:lnTo>
                    <a:lnTo>
                      <a:pt x="1078" y="99"/>
                    </a:lnTo>
                    <a:lnTo>
                      <a:pt x="1074" y="98"/>
                    </a:lnTo>
                    <a:lnTo>
                      <a:pt x="1071" y="99"/>
                    </a:lnTo>
                    <a:lnTo>
                      <a:pt x="1071" y="99"/>
                    </a:lnTo>
                    <a:lnTo>
                      <a:pt x="1071" y="101"/>
                    </a:lnTo>
                    <a:lnTo>
                      <a:pt x="1073" y="102"/>
                    </a:lnTo>
                    <a:lnTo>
                      <a:pt x="1077" y="104"/>
                    </a:lnTo>
                    <a:lnTo>
                      <a:pt x="1080" y="104"/>
                    </a:lnTo>
                    <a:lnTo>
                      <a:pt x="1080" y="104"/>
                    </a:lnTo>
                    <a:lnTo>
                      <a:pt x="1083" y="104"/>
                    </a:lnTo>
                    <a:lnTo>
                      <a:pt x="1085" y="105"/>
                    </a:lnTo>
                    <a:lnTo>
                      <a:pt x="1087" y="109"/>
                    </a:lnTo>
                    <a:lnTo>
                      <a:pt x="1087" y="109"/>
                    </a:lnTo>
                    <a:lnTo>
                      <a:pt x="1087" y="111"/>
                    </a:lnTo>
                    <a:lnTo>
                      <a:pt x="1085" y="111"/>
                    </a:lnTo>
                    <a:lnTo>
                      <a:pt x="1083" y="109"/>
                    </a:lnTo>
                    <a:lnTo>
                      <a:pt x="1078" y="109"/>
                    </a:lnTo>
                    <a:lnTo>
                      <a:pt x="1075" y="111"/>
                    </a:lnTo>
                    <a:lnTo>
                      <a:pt x="1075" y="111"/>
                    </a:lnTo>
                    <a:lnTo>
                      <a:pt x="1074" y="112"/>
                    </a:lnTo>
                    <a:lnTo>
                      <a:pt x="1075" y="114"/>
                    </a:lnTo>
                    <a:lnTo>
                      <a:pt x="1081" y="115"/>
                    </a:lnTo>
                    <a:lnTo>
                      <a:pt x="1081" y="115"/>
                    </a:lnTo>
                    <a:lnTo>
                      <a:pt x="1084" y="115"/>
                    </a:lnTo>
                    <a:lnTo>
                      <a:pt x="1084" y="116"/>
                    </a:lnTo>
                    <a:lnTo>
                      <a:pt x="1084" y="118"/>
                    </a:lnTo>
                    <a:lnTo>
                      <a:pt x="1087" y="121"/>
                    </a:lnTo>
                    <a:lnTo>
                      <a:pt x="1087" y="121"/>
                    </a:lnTo>
                    <a:lnTo>
                      <a:pt x="1087" y="121"/>
                    </a:lnTo>
                    <a:lnTo>
                      <a:pt x="1087" y="121"/>
                    </a:lnTo>
                    <a:lnTo>
                      <a:pt x="1088" y="122"/>
                    </a:lnTo>
                    <a:lnTo>
                      <a:pt x="1087" y="125"/>
                    </a:lnTo>
                    <a:lnTo>
                      <a:pt x="1085" y="126"/>
                    </a:lnTo>
                    <a:lnTo>
                      <a:pt x="1085" y="128"/>
                    </a:lnTo>
                    <a:lnTo>
                      <a:pt x="1085" y="128"/>
                    </a:lnTo>
                    <a:lnTo>
                      <a:pt x="1085" y="129"/>
                    </a:lnTo>
                    <a:lnTo>
                      <a:pt x="1084" y="131"/>
                    </a:lnTo>
                    <a:lnTo>
                      <a:pt x="1081" y="131"/>
                    </a:lnTo>
                    <a:lnTo>
                      <a:pt x="1081" y="129"/>
                    </a:lnTo>
                    <a:lnTo>
                      <a:pt x="1081" y="129"/>
                    </a:lnTo>
                    <a:lnTo>
                      <a:pt x="1078" y="128"/>
                    </a:lnTo>
                    <a:lnTo>
                      <a:pt x="1074" y="126"/>
                    </a:lnTo>
                    <a:lnTo>
                      <a:pt x="1070" y="126"/>
                    </a:lnTo>
                    <a:lnTo>
                      <a:pt x="1065" y="128"/>
                    </a:lnTo>
                    <a:lnTo>
                      <a:pt x="1065" y="128"/>
                    </a:lnTo>
                    <a:lnTo>
                      <a:pt x="1063" y="132"/>
                    </a:lnTo>
                    <a:lnTo>
                      <a:pt x="1060" y="132"/>
                    </a:lnTo>
                    <a:lnTo>
                      <a:pt x="1058" y="131"/>
                    </a:lnTo>
                    <a:lnTo>
                      <a:pt x="1058" y="131"/>
                    </a:lnTo>
                    <a:lnTo>
                      <a:pt x="1054" y="129"/>
                    </a:lnTo>
                    <a:lnTo>
                      <a:pt x="1050" y="131"/>
                    </a:lnTo>
                    <a:lnTo>
                      <a:pt x="1034" y="132"/>
                    </a:lnTo>
                    <a:lnTo>
                      <a:pt x="1034" y="132"/>
                    </a:lnTo>
                    <a:lnTo>
                      <a:pt x="1011" y="133"/>
                    </a:lnTo>
                    <a:lnTo>
                      <a:pt x="1000" y="135"/>
                    </a:lnTo>
                    <a:lnTo>
                      <a:pt x="993" y="136"/>
                    </a:lnTo>
                    <a:lnTo>
                      <a:pt x="993" y="136"/>
                    </a:lnTo>
                    <a:lnTo>
                      <a:pt x="989" y="138"/>
                    </a:lnTo>
                    <a:lnTo>
                      <a:pt x="986" y="142"/>
                    </a:lnTo>
                    <a:lnTo>
                      <a:pt x="986" y="148"/>
                    </a:lnTo>
                    <a:lnTo>
                      <a:pt x="986" y="149"/>
                    </a:lnTo>
                    <a:lnTo>
                      <a:pt x="987" y="152"/>
                    </a:lnTo>
                    <a:lnTo>
                      <a:pt x="987" y="152"/>
                    </a:lnTo>
                    <a:lnTo>
                      <a:pt x="990" y="155"/>
                    </a:lnTo>
                    <a:lnTo>
                      <a:pt x="990" y="158"/>
                    </a:lnTo>
                    <a:lnTo>
                      <a:pt x="989" y="161"/>
                    </a:lnTo>
                    <a:lnTo>
                      <a:pt x="987" y="163"/>
                    </a:lnTo>
                    <a:lnTo>
                      <a:pt x="987" y="163"/>
                    </a:lnTo>
                    <a:lnTo>
                      <a:pt x="990" y="166"/>
                    </a:lnTo>
                    <a:lnTo>
                      <a:pt x="996" y="170"/>
                    </a:lnTo>
                    <a:lnTo>
                      <a:pt x="1003" y="173"/>
                    </a:lnTo>
                    <a:lnTo>
                      <a:pt x="1010" y="175"/>
                    </a:lnTo>
                    <a:lnTo>
                      <a:pt x="1010" y="175"/>
                    </a:lnTo>
                    <a:lnTo>
                      <a:pt x="1014" y="176"/>
                    </a:lnTo>
                    <a:lnTo>
                      <a:pt x="1019" y="180"/>
                    </a:lnTo>
                    <a:lnTo>
                      <a:pt x="1020" y="186"/>
                    </a:lnTo>
                    <a:lnTo>
                      <a:pt x="1020" y="188"/>
                    </a:lnTo>
                    <a:lnTo>
                      <a:pt x="1019" y="190"/>
                    </a:lnTo>
                    <a:lnTo>
                      <a:pt x="1019" y="190"/>
                    </a:lnTo>
                    <a:lnTo>
                      <a:pt x="1017" y="192"/>
                    </a:lnTo>
                    <a:lnTo>
                      <a:pt x="1014" y="192"/>
                    </a:lnTo>
                    <a:lnTo>
                      <a:pt x="1007" y="190"/>
                    </a:lnTo>
                    <a:lnTo>
                      <a:pt x="999" y="186"/>
                    </a:lnTo>
                    <a:lnTo>
                      <a:pt x="992" y="182"/>
                    </a:lnTo>
                    <a:lnTo>
                      <a:pt x="992" y="182"/>
                    </a:lnTo>
                    <a:lnTo>
                      <a:pt x="983" y="178"/>
                    </a:lnTo>
                    <a:lnTo>
                      <a:pt x="973" y="173"/>
                    </a:lnTo>
                    <a:lnTo>
                      <a:pt x="962" y="172"/>
                    </a:lnTo>
                    <a:lnTo>
                      <a:pt x="955" y="172"/>
                    </a:lnTo>
                    <a:lnTo>
                      <a:pt x="955" y="172"/>
                    </a:lnTo>
                    <a:lnTo>
                      <a:pt x="952" y="172"/>
                    </a:lnTo>
                    <a:lnTo>
                      <a:pt x="950" y="169"/>
                    </a:lnTo>
                    <a:lnTo>
                      <a:pt x="947" y="168"/>
                    </a:lnTo>
                    <a:lnTo>
                      <a:pt x="943" y="166"/>
                    </a:lnTo>
                    <a:lnTo>
                      <a:pt x="943" y="166"/>
                    </a:lnTo>
                    <a:lnTo>
                      <a:pt x="937" y="168"/>
                    </a:lnTo>
                    <a:lnTo>
                      <a:pt x="933" y="170"/>
                    </a:lnTo>
                    <a:lnTo>
                      <a:pt x="930" y="173"/>
                    </a:lnTo>
                    <a:lnTo>
                      <a:pt x="932" y="173"/>
                    </a:lnTo>
                    <a:lnTo>
                      <a:pt x="933" y="175"/>
                    </a:lnTo>
                    <a:lnTo>
                      <a:pt x="933" y="175"/>
                    </a:lnTo>
                    <a:lnTo>
                      <a:pt x="940" y="175"/>
                    </a:lnTo>
                    <a:lnTo>
                      <a:pt x="940" y="175"/>
                    </a:lnTo>
                    <a:lnTo>
                      <a:pt x="940" y="176"/>
                    </a:lnTo>
                    <a:lnTo>
                      <a:pt x="940" y="176"/>
                    </a:lnTo>
                    <a:lnTo>
                      <a:pt x="939" y="178"/>
                    </a:lnTo>
                    <a:lnTo>
                      <a:pt x="940" y="179"/>
                    </a:lnTo>
                    <a:lnTo>
                      <a:pt x="949" y="182"/>
                    </a:lnTo>
                    <a:lnTo>
                      <a:pt x="949" y="182"/>
                    </a:lnTo>
                    <a:lnTo>
                      <a:pt x="950" y="183"/>
                    </a:lnTo>
                    <a:lnTo>
                      <a:pt x="950" y="185"/>
                    </a:lnTo>
                    <a:lnTo>
                      <a:pt x="947" y="186"/>
                    </a:lnTo>
                    <a:lnTo>
                      <a:pt x="942" y="186"/>
                    </a:lnTo>
                    <a:lnTo>
                      <a:pt x="935" y="185"/>
                    </a:lnTo>
                    <a:lnTo>
                      <a:pt x="935" y="185"/>
                    </a:lnTo>
                    <a:lnTo>
                      <a:pt x="929" y="182"/>
                    </a:lnTo>
                    <a:lnTo>
                      <a:pt x="925" y="183"/>
                    </a:lnTo>
                    <a:lnTo>
                      <a:pt x="920" y="185"/>
                    </a:lnTo>
                    <a:lnTo>
                      <a:pt x="918" y="188"/>
                    </a:lnTo>
                    <a:lnTo>
                      <a:pt x="918" y="188"/>
                    </a:lnTo>
                    <a:lnTo>
                      <a:pt x="918" y="189"/>
                    </a:lnTo>
                    <a:lnTo>
                      <a:pt x="919" y="192"/>
                    </a:lnTo>
                    <a:lnTo>
                      <a:pt x="923" y="196"/>
                    </a:lnTo>
                    <a:lnTo>
                      <a:pt x="930" y="202"/>
                    </a:lnTo>
                    <a:lnTo>
                      <a:pt x="939" y="205"/>
                    </a:lnTo>
                    <a:lnTo>
                      <a:pt x="939" y="205"/>
                    </a:lnTo>
                    <a:lnTo>
                      <a:pt x="946" y="206"/>
                    </a:lnTo>
                    <a:lnTo>
                      <a:pt x="949" y="209"/>
                    </a:lnTo>
                    <a:lnTo>
                      <a:pt x="950" y="210"/>
                    </a:lnTo>
                    <a:lnTo>
                      <a:pt x="953" y="212"/>
                    </a:lnTo>
                    <a:lnTo>
                      <a:pt x="953" y="212"/>
                    </a:lnTo>
                    <a:lnTo>
                      <a:pt x="956" y="215"/>
                    </a:lnTo>
                    <a:lnTo>
                      <a:pt x="956" y="216"/>
                    </a:lnTo>
                    <a:lnTo>
                      <a:pt x="955" y="216"/>
                    </a:lnTo>
                    <a:lnTo>
                      <a:pt x="952" y="217"/>
                    </a:lnTo>
                    <a:lnTo>
                      <a:pt x="952" y="217"/>
                    </a:lnTo>
                    <a:lnTo>
                      <a:pt x="947" y="216"/>
                    </a:lnTo>
                    <a:lnTo>
                      <a:pt x="943" y="213"/>
                    </a:lnTo>
                    <a:lnTo>
                      <a:pt x="933" y="207"/>
                    </a:lnTo>
                    <a:lnTo>
                      <a:pt x="933" y="207"/>
                    </a:lnTo>
                    <a:lnTo>
                      <a:pt x="926" y="206"/>
                    </a:lnTo>
                    <a:lnTo>
                      <a:pt x="918" y="206"/>
                    </a:lnTo>
                    <a:lnTo>
                      <a:pt x="910" y="206"/>
                    </a:lnTo>
                    <a:lnTo>
                      <a:pt x="908" y="206"/>
                    </a:lnTo>
                    <a:lnTo>
                      <a:pt x="906" y="205"/>
                    </a:lnTo>
                    <a:lnTo>
                      <a:pt x="906" y="205"/>
                    </a:lnTo>
                    <a:lnTo>
                      <a:pt x="905" y="202"/>
                    </a:lnTo>
                    <a:lnTo>
                      <a:pt x="905" y="200"/>
                    </a:lnTo>
                    <a:lnTo>
                      <a:pt x="906" y="198"/>
                    </a:lnTo>
                    <a:lnTo>
                      <a:pt x="905" y="195"/>
                    </a:lnTo>
                    <a:lnTo>
                      <a:pt x="905" y="195"/>
                    </a:lnTo>
                    <a:lnTo>
                      <a:pt x="903" y="192"/>
                    </a:lnTo>
                    <a:lnTo>
                      <a:pt x="903" y="189"/>
                    </a:lnTo>
                    <a:lnTo>
                      <a:pt x="909" y="179"/>
                    </a:lnTo>
                    <a:lnTo>
                      <a:pt x="909" y="179"/>
                    </a:lnTo>
                    <a:lnTo>
                      <a:pt x="909" y="176"/>
                    </a:lnTo>
                    <a:lnTo>
                      <a:pt x="910" y="173"/>
                    </a:lnTo>
                    <a:lnTo>
                      <a:pt x="909" y="168"/>
                    </a:lnTo>
                    <a:lnTo>
                      <a:pt x="906" y="162"/>
                    </a:lnTo>
                    <a:lnTo>
                      <a:pt x="902" y="159"/>
                    </a:lnTo>
                    <a:lnTo>
                      <a:pt x="902" y="159"/>
                    </a:lnTo>
                    <a:lnTo>
                      <a:pt x="898" y="159"/>
                    </a:lnTo>
                    <a:lnTo>
                      <a:pt x="896" y="161"/>
                    </a:lnTo>
                    <a:lnTo>
                      <a:pt x="896" y="163"/>
                    </a:lnTo>
                    <a:lnTo>
                      <a:pt x="898" y="165"/>
                    </a:lnTo>
                    <a:lnTo>
                      <a:pt x="898" y="165"/>
                    </a:lnTo>
                    <a:lnTo>
                      <a:pt x="898" y="168"/>
                    </a:lnTo>
                    <a:lnTo>
                      <a:pt x="898" y="172"/>
                    </a:lnTo>
                    <a:lnTo>
                      <a:pt x="896" y="178"/>
                    </a:lnTo>
                    <a:lnTo>
                      <a:pt x="893" y="182"/>
                    </a:lnTo>
                    <a:lnTo>
                      <a:pt x="893" y="182"/>
                    </a:lnTo>
                    <a:lnTo>
                      <a:pt x="888" y="186"/>
                    </a:lnTo>
                    <a:lnTo>
                      <a:pt x="882" y="188"/>
                    </a:lnTo>
                    <a:lnTo>
                      <a:pt x="876" y="190"/>
                    </a:lnTo>
                    <a:lnTo>
                      <a:pt x="875" y="190"/>
                    </a:lnTo>
                    <a:lnTo>
                      <a:pt x="873" y="192"/>
                    </a:lnTo>
                    <a:lnTo>
                      <a:pt x="873" y="192"/>
                    </a:lnTo>
                    <a:lnTo>
                      <a:pt x="872" y="195"/>
                    </a:lnTo>
                    <a:lnTo>
                      <a:pt x="869" y="198"/>
                    </a:lnTo>
                    <a:lnTo>
                      <a:pt x="868" y="200"/>
                    </a:lnTo>
                    <a:lnTo>
                      <a:pt x="866" y="200"/>
                    </a:lnTo>
                    <a:lnTo>
                      <a:pt x="868" y="202"/>
                    </a:lnTo>
                    <a:lnTo>
                      <a:pt x="868" y="202"/>
                    </a:lnTo>
                    <a:lnTo>
                      <a:pt x="878" y="213"/>
                    </a:lnTo>
                    <a:lnTo>
                      <a:pt x="882" y="219"/>
                    </a:lnTo>
                    <a:lnTo>
                      <a:pt x="886" y="225"/>
                    </a:lnTo>
                    <a:lnTo>
                      <a:pt x="886" y="225"/>
                    </a:lnTo>
                    <a:lnTo>
                      <a:pt x="886" y="226"/>
                    </a:lnTo>
                    <a:lnTo>
                      <a:pt x="885" y="229"/>
                    </a:lnTo>
                    <a:lnTo>
                      <a:pt x="881" y="236"/>
                    </a:lnTo>
                    <a:lnTo>
                      <a:pt x="878" y="244"/>
                    </a:lnTo>
                    <a:lnTo>
                      <a:pt x="876" y="247"/>
                    </a:lnTo>
                    <a:lnTo>
                      <a:pt x="876" y="252"/>
                    </a:lnTo>
                    <a:lnTo>
                      <a:pt x="876" y="252"/>
                    </a:lnTo>
                    <a:lnTo>
                      <a:pt x="876" y="257"/>
                    </a:lnTo>
                    <a:lnTo>
                      <a:pt x="876" y="262"/>
                    </a:lnTo>
                    <a:lnTo>
                      <a:pt x="876" y="264"/>
                    </a:lnTo>
                    <a:lnTo>
                      <a:pt x="878" y="267"/>
                    </a:lnTo>
                    <a:lnTo>
                      <a:pt x="878" y="267"/>
                    </a:lnTo>
                    <a:lnTo>
                      <a:pt x="879" y="269"/>
                    </a:lnTo>
                    <a:lnTo>
                      <a:pt x="883" y="269"/>
                    </a:lnTo>
                    <a:lnTo>
                      <a:pt x="886" y="269"/>
                    </a:lnTo>
                    <a:lnTo>
                      <a:pt x="889" y="270"/>
                    </a:lnTo>
                    <a:lnTo>
                      <a:pt x="889" y="270"/>
                    </a:lnTo>
                    <a:lnTo>
                      <a:pt x="892" y="270"/>
                    </a:lnTo>
                    <a:lnTo>
                      <a:pt x="896" y="269"/>
                    </a:lnTo>
                    <a:lnTo>
                      <a:pt x="908" y="266"/>
                    </a:lnTo>
                    <a:lnTo>
                      <a:pt x="908" y="266"/>
                    </a:lnTo>
                    <a:lnTo>
                      <a:pt x="916" y="266"/>
                    </a:lnTo>
                    <a:lnTo>
                      <a:pt x="925" y="269"/>
                    </a:lnTo>
                    <a:lnTo>
                      <a:pt x="939" y="276"/>
                    </a:lnTo>
                    <a:lnTo>
                      <a:pt x="939" y="276"/>
                    </a:lnTo>
                    <a:lnTo>
                      <a:pt x="942" y="279"/>
                    </a:lnTo>
                    <a:lnTo>
                      <a:pt x="943" y="281"/>
                    </a:lnTo>
                    <a:lnTo>
                      <a:pt x="943" y="284"/>
                    </a:lnTo>
                    <a:lnTo>
                      <a:pt x="945" y="289"/>
                    </a:lnTo>
                    <a:lnTo>
                      <a:pt x="945" y="289"/>
                    </a:lnTo>
                    <a:lnTo>
                      <a:pt x="946" y="290"/>
                    </a:lnTo>
                    <a:lnTo>
                      <a:pt x="945" y="291"/>
                    </a:lnTo>
                    <a:lnTo>
                      <a:pt x="942" y="293"/>
                    </a:lnTo>
                    <a:lnTo>
                      <a:pt x="939" y="296"/>
                    </a:lnTo>
                    <a:lnTo>
                      <a:pt x="937" y="297"/>
                    </a:lnTo>
                    <a:lnTo>
                      <a:pt x="937" y="300"/>
                    </a:lnTo>
                    <a:lnTo>
                      <a:pt x="937" y="300"/>
                    </a:lnTo>
                    <a:lnTo>
                      <a:pt x="937" y="303"/>
                    </a:lnTo>
                    <a:lnTo>
                      <a:pt x="940" y="304"/>
                    </a:lnTo>
                    <a:lnTo>
                      <a:pt x="946" y="308"/>
                    </a:lnTo>
                    <a:lnTo>
                      <a:pt x="953" y="310"/>
                    </a:lnTo>
                    <a:lnTo>
                      <a:pt x="956" y="313"/>
                    </a:lnTo>
                    <a:lnTo>
                      <a:pt x="956" y="313"/>
                    </a:lnTo>
                    <a:lnTo>
                      <a:pt x="955" y="313"/>
                    </a:lnTo>
                    <a:lnTo>
                      <a:pt x="949" y="313"/>
                    </a:lnTo>
                    <a:lnTo>
                      <a:pt x="937" y="311"/>
                    </a:lnTo>
                    <a:lnTo>
                      <a:pt x="937" y="311"/>
                    </a:lnTo>
                    <a:lnTo>
                      <a:pt x="935" y="308"/>
                    </a:lnTo>
                    <a:lnTo>
                      <a:pt x="933" y="306"/>
                    </a:lnTo>
                    <a:lnTo>
                      <a:pt x="930" y="301"/>
                    </a:lnTo>
                    <a:lnTo>
                      <a:pt x="930" y="301"/>
                    </a:lnTo>
                    <a:lnTo>
                      <a:pt x="930" y="299"/>
                    </a:lnTo>
                    <a:lnTo>
                      <a:pt x="932" y="296"/>
                    </a:lnTo>
                    <a:lnTo>
                      <a:pt x="933" y="293"/>
                    </a:lnTo>
                    <a:lnTo>
                      <a:pt x="935" y="289"/>
                    </a:lnTo>
                    <a:lnTo>
                      <a:pt x="935" y="289"/>
                    </a:lnTo>
                    <a:lnTo>
                      <a:pt x="933" y="286"/>
                    </a:lnTo>
                    <a:lnTo>
                      <a:pt x="932" y="283"/>
                    </a:lnTo>
                    <a:lnTo>
                      <a:pt x="926" y="279"/>
                    </a:lnTo>
                    <a:lnTo>
                      <a:pt x="926" y="279"/>
                    </a:lnTo>
                    <a:lnTo>
                      <a:pt x="922" y="274"/>
                    </a:lnTo>
                    <a:lnTo>
                      <a:pt x="919" y="273"/>
                    </a:lnTo>
                    <a:lnTo>
                      <a:pt x="916" y="273"/>
                    </a:lnTo>
                    <a:lnTo>
                      <a:pt x="916" y="273"/>
                    </a:lnTo>
                    <a:lnTo>
                      <a:pt x="905" y="274"/>
                    </a:lnTo>
                    <a:lnTo>
                      <a:pt x="898" y="276"/>
                    </a:lnTo>
                    <a:lnTo>
                      <a:pt x="892" y="279"/>
                    </a:lnTo>
                    <a:lnTo>
                      <a:pt x="892" y="279"/>
                    </a:lnTo>
                    <a:lnTo>
                      <a:pt x="890" y="281"/>
                    </a:lnTo>
                    <a:lnTo>
                      <a:pt x="890" y="283"/>
                    </a:lnTo>
                    <a:lnTo>
                      <a:pt x="890" y="290"/>
                    </a:lnTo>
                    <a:lnTo>
                      <a:pt x="895" y="301"/>
                    </a:lnTo>
                    <a:lnTo>
                      <a:pt x="895" y="301"/>
                    </a:lnTo>
                    <a:lnTo>
                      <a:pt x="895" y="304"/>
                    </a:lnTo>
                    <a:lnTo>
                      <a:pt x="893" y="306"/>
                    </a:lnTo>
                    <a:lnTo>
                      <a:pt x="889" y="311"/>
                    </a:lnTo>
                    <a:lnTo>
                      <a:pt x="883" y="316"/>
                    </a:lnTo>
                    <a:lnTo>
                      <a:pt x="882" y="318"/>
                    </a:lnTo>
                    <a:lnTo>
                      <a:pt x="882" y="320"/>
                    </a:lnTo>
                    <a:lnTo>
                      <a:pt x="882" y="320"/>
                    </a:lnTo>
                    <a:lnTo>
                      <a:pt x="881" y="323"/>
                    </a:lnTo>
                    <a:lnTo>
                      <a:pt x="879" y="326"/>
                    </a:lnTo>
                    <a:lnTo>
                      <a:pt x="869" y="331"/>
                    </a:lnTo>
                    <a:lnTo>
                      <a:pt x="869" y="331"/>
                    </a:lnTo>
                    <a:lnTo>
                      <a:pt x="859" y="337"/>
                    </a:lnTo>
                    <a:lnTo>
                      <a:pt x="856" y="340"/>
                    </a:lnTo>
                    <a:lnTo>
                      <a:pt x="855" y="344"/>
                    </a:lnTo>
                    <a:lnTo>
                      <a:pt x="855" y="344"/>
                    </a:lnTo>
                    <a:lnTo>
                      <a:pt x="855" y="345"/>
                    </a:lnTo>
                    <a:lnTo>
                      <a:pt x="854" y="347"/>
                    </a:lnTo>
                    <a:lnTo>
                      <a:pt x="849" y="347"/>
                    </a:lnTo>
                    <a:lnTo>
                      <a:pt x="845" y="345"/>
                    </a:lnTo>
                    <a:lnTo>
                      <a:pt x="841" y="344"/>
                    </a:lnTo>
                    <a:lnTo>
                      <a:pt x="841" y="344"/>
                    </a:lnTo>
                    <a:lnTo>
                      <a:pt x="836" y="343"/>
                    </a:lnTo>
                    <a:lnTo>
                      <a:pt x="832" y="344"/>
                    </a:lnTo>
                    <a:lnTo>
                      <a:pt x="826" y="344"/>
                    </a:lnTo>
                    <a:lnTo>
                      <a:pt x="822" y="345"/>
                    </a:lnTo>
                    <a:lnTo>
                      <a:pt x="822" y="345"/>
                    </a:lnTo>
                    <a:lnTo>
                      <a:pt x="818" y="344"/>
                    </a:lnTo>
                    <a:lnTo>
                      <a:pt x="815" y="343"/>
                    </a:lnTo>
                    <a:lnTo>
                      <a:pt x="812" y="341"/>
                    </a:lnTo>
                    <a:lnTo>
                      <a:pt x="809" y="341"/>
                    </a:lnTo>
                    <a:lnTo>
                      <a:pt x="809" y="341"/>
                    </a:lnTo>
                    <a:lnTo>
                      <a:pt x="805" y="341"/>
                    </a:lnTo>
                    <a:lnTo>
                      <a:pt x="802" y="340"/>
                    </a:lnTo>
                    <a:lnTo>
                      <a:pt x="801" y="337"/>
                    </a:lnTo>
                    <a:lnTo>
                      <a:pt x="801" y="334"/>
                    </a:lnTo>
                    <a:lnTo>
                      <a:pt x="801" y="334"/>
                    </a:lnTo>
                    <a:lnTo>
                      <a:pt x="804" y="333"/>
                    </a:lnTo>
                    <a:lnTo>
                      <a:pt x="807" y="333"/>
                    </a:lnTo>
                    <a:lnTo>
                      <a:pt x="808" y="334"/>
                    </a:lnTo>
                    <a:lnTo>
                      <a:pt x="809" y="337"/>
                    </a:lnTo>
                    <a:lnTo>
                      <a:pt x="809" y="337"/>
                    </a:lnTo>
                    <a:lnTo>
                      <a:pt x="811" y="338"/>
                    </a:lnTo>
                    <a:lnTo>
                      <a:pt x="812" y="338"/>
                    </a:lnTo>
                    <a:lnTo>
                      <a:pt x="819" y="335"/>
                    </a:lnTo>
                    <a:lnTo>
                      <a:pt x="819" y="335"/>
                    </a:lnTo>
                    <a:lnTo>
                      <a:pt x="822" y="335"/>
                    </a:lnTo>
                    <a:lnTo>
                      <a:pt x="824" y="335"/>
                    </a:lnTo>
                    <a:lnTo>
                      <a:pt x="825" y="338"/>
                    </a:lnTo>
                    <a:lnTo>
                      <a:pt x="828" y="340"/>
                    </a:lnTo>
                    <a:lnTo>
                      <a:pt x="828" y="340"/>
                    </a:lnTo>
                    <a:lnTo>
                      <a:pt x="832" y="338"/>
                    </a:lnTo>
                    <a:lnTo>
                      <a:pt x="834" y="338"/>
                    </a:lnTo>
                    <a:lnTo>
                      <a:pt x="834" y="337"/>
                    </a:lnTo>
                    <a:lnTo>
                      <a:pt x="836" y="335"/>
                    </a:lnTo>
                    <a:lnTo>
                      <a:pt x="836" y="335"/>
                    </a:lnTo>
                    <a:lnTo>
                      <a:pt x="839" y="335"/>
                    </a:lnTo>
                    <a:lnTo>
                      <a:pt x="841" y="335"/>
                    </a:lnTo>
                    <a:lnTo>
                      <a:pt x="841" y="334"/>
                    </a:lnTo>
                    <a:lnTo>
                      <a:pt x="841" y="333"/>
                    </a:lnTo>
                    <a:lnTo>
                      <a:pt x="841" y="333"/>
                    </a:lnTo>
                    <a:lnTo>
                      <a:pt x="841" y="330"/>
                    </a:lnTo>
                    <a:lnTo>
                      <a:pt x="842" y="328"/>
                    </a:lnTo>
                    <a:lnTo>
                      <a:pt x="848" y="327"/>
                    </a:lnTo>
                    <a:lnTo>
                      <a:pt x="848" y="327"/>
                    </a:lnTo>
                    <a:lnTo>
                      <a:pt x="849" y="324"/>
                    </a:lnTo>
                    <a:lnTo>
                      <a:pt x="851" y="323"/>
                    </a:lnTo>
                    <a:lnTo>
                      <a:pt x="851" y="320"/>
                    </a:lnTo>
                    <a:lnTo>
                      <a:pt x="852" y="318"/>
                    </a:lnTo>
                    <a:lnTo>
                      <a:pt x="852" y="318"/>
                    </a:lnTo>
                    <a:lnTo>
                      <a:pt x="854" y="317"/>
                    </a:lnTo>
                    <a:lnTo>
                      <a:pt x="855" y="314"/>
                    </a:lnTo>
                    <a:lnTo>
                      <a:pt x="855" y="313"/>
                    </a:lnTo>
                    <a:lnTo>
                      <a:pt x="856" y="313"/>
                    </a:lnTo>
                    <a:lnTo>
                      <a:pt x="856" y="313"/>
                    </a:lnTo>
                    <a:lnTo>
                      <a:pt x="859" y="311"/>
                    </a:lnTo>
                    <a:lnTo>
                      <a:pt x="861" y="310"/>
                    </a:lnTo>
                    <a:lnTo>
                      <a:pt x="862" y="308"/>
                    </a:lnTo>
                    <a:lnTo>
                      <a:pt x="865" y="307"/>
                    </a:lnTo>
                    <a:lnTo>
                      <a:pt x="865" y="307"/>
                    </a:lnTo>
                    <a:lnTo>
                      <a:pt x="866" y="307"/>
                    </a:lnTo>
                    <a:lnTo>
                      <a:pt x="868" y="304"/>
                    </a:lnTo>
                    <a:lnTo>
                      <a:pt x="868" y="303"/>
                    </a:lnTo>
                    <a:lnTo>
                      <a:pt x="868" y="300"/>
                    </a:lnTo>
                    <a:lnTo>
                      <a:pt x="868" y="300"/>
                    </a:lnTo>
                    <a:lnTo>
                      <a:pt x="866" y="297"/>
                    </a:lnTo>
                    <a:lnTo>
                      <a:pt x="868" y="294"/>
                    </a:lnTo>
                    <a:lnTo>
                      <a:pt x="869" y="291"/>
                    </a:lnTo>
                    <a:lnTo>
                      <a:pt x="872" y="289"/>
                    </a:lnTo>
                    <a:lnTo>
                      <a:pt x="872" y="289"/>
                    </a:lnTo>
                    <a:lnTo>
                      <a:pt x="873" y="289"/>
                    </a:lnTo>
                    <a:lnTo>
                      <a:pt x="875" y="287"/>
                    </a:lnTo>
                    <a:lnTo>
                      <a:pt x="873" y="284"/>
                    </a:lnTo>
                    <a:lnTo>
                      <a:pt x="872" y="283"/>
                    </a:lnTo>
                    <a:lnTo>
                      <a:pt x="872" y="283"/>
                    </a:lnTo>
                    <a:lnTo>
                      <a:pt x="865" y="277"/>
                    </a:lnTo>
                    <a:lnTo>
                      <a:pt x="861" y="273"/>
                    </a:lnTo>
                    <a:lnTo>
                      <a:pt x="859" y="270"/>
                    </a:lnTo>
                    <a:lnTo>
                      <a:pt x="859" y="270"/>
                    </a:lnTo>
                    <a:lnTo>
                      <a:pt x="859" y="262"/>
                    </a:lnTo>
                    <a:lnTo>
                      <a:pt x="859" y="256"/>
                    </a:lnTo>
                    <a:lnTo>
                      <a:pt x="859" y="253"/>
                    </a:lnTo>
                    <a:lnTo>
                      <a:pt x="859" y="253"/>
                    </a:lnTo>
                    <a:lnTo>
                      <a:pt x="859" y="246"/>
                    </a:lnTo>
                    <a:lnTo>
                      <a:pt x="859" y="237"/>
                    </a:lnTo>
                    <a:lnTo>
                      <a:pt x="859" y="237"/>
                    </a:lnTo>
                    <a:lnTo>
                      <a:pt x="859" y="234"/>
                    </a:lnTo>
                    <a:lnTo>
                      <a:pt x="861" y="230"/>
                    </a:lnTo>
                    <a:lnTo>
                      <a:pt x="863" y="222"/>
                    </a:lnTo>
                    <a:lnTo>
                      <a:pt x="863" y="222"/>
                    </a:lnTo>
                    <a:lnTo>
                      <a:pt x="863" y="219"/>
                    </a:lnTo>
                    <a:lnTo>
                      <a:pt x="862" y="215"/>
                    </a:lnTo>
                    <a:lnTo>
                      <a:pt x="859" y="210"/>
                    </a:lnTo>
                    <a:lnTo>
                      <a:pt x="854" y="206"/>
                    </a:lnTo>
                    <a:lnTo>
                      <a:pt x="851" y="203"/>
                    </a:lnTo>
                    <a:lnTo>
                      <a:pt x="851" y="203"/>
                    </a:lnTo>
                    <a:lnTo>
                      <a:pt x="848" y="200"/>
                    </a:lnTo>
                    <a:lnTo>
                      <a:pt x="848" y="198"/>
                    </a:lnTo>
                    <a:lnTo>
                      <a:pt x="851" y="195"/>
                    </a:lnTo>
                    <a:lnTo>
                      <a:pt x="855" y="190"/>
                    </a:lnTo>
                    <a:lnTo>
                      <a:pt x="855" y="190"/>
                    </a:lnTo>
                    <a:lnTo>
                      <a:pt x="858" y="188"/>
                    </a:lnTo>
                    <a:lnTo>
                      <a:pt x="859" y="185"/>
                    </a:lnTo>
                    <a:lnTo>
                      <a:pt x="862" y="176"/>
                    </a:lnTo>
                    <a:lnTo>
                      <a:pt x="862" y="169"/>
                    </a:lnTo>
                    <a:lnTo>
                      <a:pt x="862" y="163"/>
                    </a:lnTo>
                    <a:lnTo>
                      <a:pt x="862" y="163"/>
                    </a:lnTo>
                    <a:lnTo>
                      <a:pt x="859" y="161"/>
                    </a:lnTo>
                    <a:lnTo>
                      <a:pt x="854" y="159"/>
                    </a:lnTo>
                    <a:lnTo>
                      <a:pt x="848" y="158"/>
                    </a:lnTo>
                    <a:lnTo>
                      <a:pt x="842" y="156"/>
                    </a:lnTo>
                    <a:lnTo>
                      <a:pt x="842" y="156"/>
                    </a:lnTo>
                    <a:lnTo>
                      <a:pt x="826" y="156"/>
                    </a:lnTo>
                    <a:lnTo>
                      <a:pt x="812" y="155"/>
                    </a:lnTo>
                    <a:lnTo>
                      <a:pt x="812" y="155"/>
                    </a:lnTo>
                    <a:lnTo>
                      <a:pt x="808" y="156"/>
                    </a:lnTo>
                    <a:lnTo>
                      <a:pt x="807" y="158"/>
                    </a:lnTo>
                    <a:lnTo>
                      <a:pt x="802" y="165"/>
                    </a:lnTo>
                    <a:lnTo>
                      <a:pt x="802" y="165"/>
                    </a:lnTo>
                    <a:lnTo>
                      <a:pt x="798" y="173"/>
                    </a:lnTo>
                    <a:lnTo>
                      <a:pt x="795" y="180"/>
                    </a:lnTo>
                    <a:lnTo>
                      <a:pt x="792" y="188"/>
                    </a:lnTo>
                    <a:lnTo>
                      <a:pt x="792" y="188"/>
                    </a:lnTo>
                    <a:lnTo>
                      <a:pt x="791" y="190"/>
                    </a:lnTo>
                    <a:lnTo>
                      <a:pt x="788" y="193"/>
                    </a:lnTo>
                    <a:lnTo>
                      <a:pt x="782" y="199"/>
                    </a:lnTo>
                    <a:lnTo>
                      <a:pt x="771" y="203"/>
                    </a:lnTo>
                    <a:lnTo>
                      <a:pt x="771" y="203"/>
                    </a:lnTo>
                    <a:lnTo>
                      <a:pt x="767" y="206"/>
                    </a:lnTo>
                    <a:lnTo>
                      <a:pt x="764" y="210"/>
                    </a:lnTo>
                    <a:lnTo>
                      <a:pt x="762" y="215"/>
                    </a:lnTo>
                    <a:lnTo>
                      <a:pt x="764" y="217"/>
                    </a:lnTo>
                    <a:lnTo>
                      <a:pt x="764" y="217"/>
                    </a:lnTo>
                    <a:lnTo>
                      <a:pt x="767" y="219"/>
                    </a:lnTo>
                    <a:lnTo>
                      <a:pt x="768" y="219"/>
                    </a:lnTo>
                    <a:lnTo>
                      <a:pt x="771" y="219"/>
                    </a:lnTo>
                    <a:lnTo>
                      <a:pt x="772" y="220"/>
                    </a:lnTo>
                    <a:lnTo>
                      <a:pt x="772" y="220"/>
                    </a:lnTo>
                    <a:lnTo>
                      <a:pt x="774" y="222"/>
                    </a:lnTo>
                    <a:lnTo>
                      <a:pt x="774" y="226"/>
                    </a:lnTo>
                    <a:lnTo>
                      <a:pt x="771" y="233"/>
                    </a:lnTo>
                    <a:lnTo>
                      <a:pt x="771" y="233"/>
                    </a:lnTo>
                    <a:lnTo>
                      <a:pt x="771" y="234"/>
                    </a:lnTo>
                    <a:lnTo>
                      <a:pt x="771" y="236"/>
                    </a:lnTo>
                    <a:lnTo>
                      <a:pt x="771" y="237"/>
                    </a:lnTo>
                    <a:lnTo>
                      <a:pt x="770" y="240"/>
                    </a:lnTo>
                    <a:lnTo>
                      <a:pt x="770" y="240"/>
                    </a:lnTo>
                    <a:lnTo>
                      <a:pt x="767" y="243"/>
                    </a:lnTo>
                    <a:lnTo>
                      <a:pt x="765" y="246"/>
                    </a:lnTo>
                    <a:lnTo>
                      <a:pt x="764" y="249"/>
                    </a:lnTo>
                    <a:lnTo>
                      <a:pt x="765" y="252"/>
                    </a:lnTo>
                    <a:lnTo>
                      <a:pt x="765" y="252"/>
                    </a:lnTo>
                    <a:lnTo>
                      <a:pt x="768" y="253"/>
                    </a:lnTo>
                    <a:lnTo>
                      <a:pt x="772" y="254"/>
                    </a:lnTo>
                    <a:lnTo>
                      <a:pt x="784" y="259"/>
                    </a:lnTo>
                    <a:lnTo>
                      <a:pt x="784" y="259"/>
                    </a:lnTo>
                    <a:lnTo>
                      <a:pt x="787" y="260"/>
                    </a:lnTo>
                    <a:lnTo>
                      <a:pt x="788" y="264"/>
                    </a:lnTo>
                    <a:lnTo>
                      <a:pt x="788" y="267"/>
                    </a:lnTo>
                    <a:lnTo>
                      <a:pt x="791" y="271"/>
                    </a:lnTo>
                    <a:lnTo>
                      <a:pt x="791" y="271"/>
                    </a:lnTo>
                    <a:lnTo>
                      <a:pt x="794" y="273"/>
                    </a:lnTo>
                    <a:lnTo>
                      <a:pt x="797" y="274"/>
                    </a:lnTo>
                    <a:lnTo>
                      <a:pt x="798" y="274"/>
                    </a:lnTo>
                    <a:lnTo>
                      <a:pt x="801" y="276"/>
                    </a:lnTo>
                    <a:lnTo>
                      <a:pt x="801" y="276"/>
                    </a:lnTo>
                    <a:lnTo>
                      <a:pt x="799" y="280"/>
                    </a:lnTo>
                    <a:lnTo>
                      <a:pt x="797" y="286"/>
                    </a:lnTo>
                    <a:lnTo>
                      <a:pt x="794" y="290"/>
                    </a:lnTo>
                    <a:lnTo>
                      <a:pt x="791" y="291"/>
                    </a:lnTo>
                    <a:lnTo>
                      <a:pt x="791" y="291"/>
                    </a:lnTo>
                    <a:lnTo>
                      <a:pt x="787" y="290"/>
                    </a:lnTo>
                    <a:lnTo>
                      <a:pt x="781" y="286"/>
                    </a:lnTo>
                    <a:lnTo>
                      <a:pt x="771" y="277"/>
                    </a:lnTo>
                    <a:lnTo>
                      <a:pt x="771" y="277"/>
                    </a:lnTo>
                    <a:lnTo>
                      <a:pt x="760" y="271"/>
                    </a:lnTo>
                    <a:lnTo>
                      <a:pt x="745" y="266"/>
                    </a:lnTo>
                    <a:lnTo>
                      <a:pt x="745" y="266"/>
                    </a:lnTo>
                    <a:lnTo>
                      <a:pt x="734" y="262"/>
                    </a:lnTo>
                    <a:lnTo>
                      <a:pt x="730" y="260"/>
                    </a:lnTo>
                    <a:lnTo>
                      <a:pt x="724" y="257"/>
                    </a:lnTo>
                    <a:lnTo>
                      <a:pt x="724" y="257"/>
                    </a:lnTo>
                    <a:lnTo>
                      <a:pt x="717" y="253"/>
                    </a:lnTo>
                    <a:lnTo>
                      <a:pt x="711" y="250"/>
                    </a:lnTo>
                    <a:lnTo>
                      <a:pt x="704" y="249"/>
                    </a:lnTo>
                    <a:lnTo>
                      <a:pt x="694" y="249"/>
                    </a:lnTo>
                    <a:lnTo>
                      <a:pt x="694" y="249"/>
                    </a:lnTo>
                    <a:lnTo>
                      <a:pt x="684" y="249"/>
                    </a:lnTo>
                    <a:lnTo>
                      <a:pt x="676" y="247"/>
                    </a:lnTo>
                    <a:lnTo>
                      <a:pt x="670" y="246"/>
                    </a:lnTo>
                    <a:lnTo>
                      <a:pt x="664" y="246"/>
                    </a:lnTo>
                    <a:lnTo>
                      <a:pt x="664" y="246"/>
                    </a:lnTo>
                    <a:lnTo>
                      <a:pt x="661" y="246"/>
                    </a:lnTo>
                    <a:lnTo>
                      <a:pt x="660" y="243"/>
                    </a:lnTo>
                    <a:lnTo>
                      <a:pt x="657" y="240"/>
                    </a:lnTo>
                    <a:lnTo>
                      <a:pt x="653" y="237"/>
                    </a:lnTo>
                    <a:lnTo>
                      <a:pt x="653" y="237"/>
                    </a:lnTo>
                    <a:lnTo>
                      <a:pt x="642" y="232"/>
                    </a:lnTo>
                    <a:lnTo>
                      <a:pt x="637" y="230"/>
                    </a:lnTo>
                    <a:lnTo>
                      <a:pt x="633" y="232"/>
                    </a:lnTo>
                    <a:lnTo>
                      <a:pt x="633" y="232"/>
                    </a:lnTo>
                    <a:lnTo>
                      <a:pt x="632" y="234"/>
                    </a:lnTo>
                    <a:lnTo>
                      <a:pt x="632" y="239"/>
                    </a:lnTo>
                    <a:lnTo>
                      <a:pt x="633" y="242"/>
                    </a:lnTo>
                    <a:lnTo>
                      <a:pt x="639" y="244"/>
                    </a:lnTo>
                    <a:lnTo>
                      <a:pt x="639" y="244"/>
                    </a:lnTo>
                    <a:lnTo>
                      <a:pt x="642" y="246"/>
                    </a:lnTo>
                    <a:lnTo>
                      <a:pt x="644" y="247"/>
                    </a:lnTo>
                    <a:lnTo>
                      <a:pt x="646" y="249"/>
                    </a:lnTo>
                    <a:lnTo>
                      <a:pt x="650" y="249"/>
                    </a:lnTo>
                    <a:lnTo>
                      <a:pt x="650" y="249"/>
                    </a:lnTo>
                    <a:lnTo>
                      <a:pt x="654" y="249"/>
                    </a:lnTo>
                    <a:lnTo>
                      <a:pt x="659" y="250"/>
                    </a:lnTo>
                    <a:lnTo>
                      <a:pt x="660" y="253"/>
                    </a:lnTo>
                    <a:lnTo>
                      <a:pt x="660" y="256"/>
                    </a:lnTo>
                    <a:lnTo>
                      <a:pt x="660" y="256"/>
                    </a:lnTo>
                    <a:lnTo>
                      <a:pt x="660" y="260"/>
                    </a:lnTo>
                    <a:lnTo>
                      <a:pt x="663" y="264"/>
                    </a:lnTo>
                    <a:lnTo>
                      <a:pt x="667" y="270"/>
                    </a:lnTo>
                    <a:lnTo>
                      <a:pt x="667" y="270"/>
                    </a:lnTo>
                    <a:lnTo>
                      <a:pt x="669" y="273"/>
                    </a:lnTo>
                    <a:lnTo>
                      <a:pt x="669" y="276"/>
                    </a:lnTo>
                    <a:lnTo>
                      <a:pt x="666" y="277"/>
                    </a:lnTo>
                    <a:lnTo>
                      <a:pt x="663" y="279"/>
                    </a:lnTo>
                    <a:lnTo>
                      <a:pt x="663" y="279"/>
                    </a:lnTo>
                    <a:lnTo>
                      <a:pt x="653" y="280"/>
                    </a:lnTo>
                    <a:lnTo>
                      <a:pt x="652" y="281"/>
                    </a:lnTo>
                    <a:lnTo>
                      <a:pt x="652" y="284"/>
                    </a:lnTo>
                    <a:lnTo>
                      <a:pt x="652" y="284"/>
                    </a:lnTo>
                    <a:lnTo>
                      <a:pt x="653" y="287"/>
                    </a:lnTo>
                    <a:lnTo>
                      <a:pt x="652" y="289"/>
                    </a:lnTo>
                    <a:lnTo>
                      <a:pt x="647" y="289"/>
                    </a:lnTo>
                    <a:lnTo>
                      <a:pt x="643" y="287"/>
                    </a:lnTo>
                    <a:lnTo>
                      <a:pt x="643" y="287"/>
                    </a:lnTo>
                    <a:lnTo>
                      <a:pt x="640" y="286"/>
                    </a:lnTo>
                    <a:lnTo>
                      <a:pt x="640" y="283"/>
                    </a:lnTo>
                    <a:lnTo>
                      <a:pt x="642" y="280"/>
                    </a:lnTo>
                    <a:lnTo>
                      <a:pt x="643" y="277"/>
                    </a:lnTo>
                    <a:lnTo>
                      <a:pt x="643" y="277"/>
                    </a:lnTo>
                    <a:lnTo>
                      <a:pt x="644" y="277"/>
                    </a:lnTo>
                    <a:lnTo>
                      <a:pt x="643" y="276"/>
                    </a:lnTo>
                    <a:lnTo>
                      <a:pt x="642" y="274"/>
                    </a:lnTo>
                    <a:lnTo>
                      <a:pt x="633" y="270"/>
                    </a:lnTo>
                    <a:lnTo>
                      <a:pt x="633" y="270"/>
                    </a:lnTo>
                    <a:lnTo>
                      <a:pt x="629" y="271"/>
                    </a:lnTo>
                    <a:lnTo>
                      <a:pt x="622" y="276"/>
                    </a:lnTo>
                    <a:lnTo>
                      <a:pt x="609" y="283"/>
                    </a:lnTo>
                    <a:lnTo>
                      <a:pt x="609" y="283"/>
                    </a:lnTo>
                    <a:lnTo>
                      <a:pt x="605" y="283"/>
                    </a:lnTo>
                    <a:lnTo>
                      <a:pt x="597" y="283"/>
                    </a:lnTo>
                    <a:lnTo>
                      <a:pt x="590" y="281"/>
                    </a:lnTo>
                    <a:lnTo>
                      <a:pt x="582" y="283"/>
                    </a:lnTo>
                    <a:lnTo>
                      <a:pt x="582" y="283"/>
                    </a:lnTo>
                    <a:lnTo>
                      <a:pt x="575" y="286"/>
                    </a:lnTo>
                    <a:lnTo>
                      <a:pt x="572" y="290"/>
                    </a:lnTo>
                    <a:lnTo>
                      <a:pt x="569" y="293"/>
                    </a:lnTo>
                    <a:lnTo>
                      <a:pt x="569" y="294"/>
                    </a:lnTo>
                    <a:lnTo>
                      <a:pt x="568" y="294"/>
                    </a:lnTo>
                    <a:lnTo>
                      <a:pt x="568" y="294"/>
                    </a:lnTo>
                    <a:lnTo>
                      <a:pt x="556" y="294"/>
                    </a:lnTo>
                    <a:lnTo>
                      <a:pt x="551" y="293"/>
                    </a:lnTo>
                    <a:lnTo>
                      <a:pt x="545" y="291"/>
                    </a:lnTo>
                    <a:lnTo>
                      <a:pt x="545" y="291"/>
                    </a:lnTo>
                    <a:lnTo>
                      <a:pt x="543" y="290"/>
                    </a:lnTo>
                    <a:lnTo>
                      <a:pt x="543" y="289"/>
                    </a:lnTo>
                    <a:lnTo>
                      <a:pt x="549" y="287"/>
                    </a:lnTo>
                    <a:lnTo>
                      <a:pt x="549" y="287"/>
                    </a:lnTo>
                    <a:lnTo>
                      <a:pt x="552" y="287"/>
                    </a:lnTo>
                    <a:lnTo>
                      <a:pt x="555" y="287"/>
                    </a:lnTo>
                    <a:lnTo>
                      <a:pt x="555" y="286"/>
                    </a:lnTo>
                    <a:lnTo>
                      <a:pt x="553" y="283"/>
                    </a:lnTo>
                    <a:lnTo>
                      <a:pt x="553" y="283"/>
                    </a:lnTo>
                    <a:lnTo>
                      <a:pt x="552" y="280"/>
                    </a:lnTo>
                    <a:lnTo>
                      <a:pt x="553" y="277"/>
                    </a:lnTo>
                    <a:lnTo>
                      <a:pt x="556" y="274"/>
                    </a:lnTo>
                    <a:lnTo>
                      <a:pt x="556" y="271"/>
                    </a:lnTo>
                    <a:lnTo>
                      <a:pt x="556" y="271"/>
                    </a:lnTo>
                    <a:lnTo>
                      <a:pt x="556" y="271"/>
                    </a:lnTo>
                    <a:lnTo>
                      <a:pt x="553" y="271"/>
                    </a:lnTo>
                    <a:lnTo>
                      <a:pt x="546" y="273"/>
                    </a:lnTo>
                    <a:lnTo>
                      <a:pt x="539" y="276"/>
                    </a:lnTo>
                    <a:lnTo>
                      <a:pt x="535" y="279"/>
                    </a:lnTo>
                    <a:lnTo>
                      <a:pt x="535" y="279"/>
                    </a:lnTo>
                    <a:lnTo>
                      <a:pt x="533" y="281"/>
                    </a:lnTo>
                    <a:lnTo>
                      <a:pt x="533" y="283"/>
                    </a:lnTo>
                    <a:lnTo>
                      <a:pt x="533" y="286"/>
                    </a:lnTo>
                    <a:lnTo>
                      <a:pt x="532" y="287"/>
                    </a:lnTo>
                    <a:lnTo>
                      <a:pt x="532" y="287"/>
                    </a:lnTo>
                    <a:lnTo>
                      <a:pt x="529" y="287"/>
                    </a:lnTo>
                    <a:lnTo>
                      <a:pt x="528" y="287"/>
                    </a:lnTo>
                    <a:lnTo>
                      <a:pt x="526" y="284"/>
                    </a:lnTo>
                    <a:lnTo>
                      <a:pt x="525" y="283"/>
                    </a:lnTo>
                    <a:lnTo>
                      <a:pt x="525" y="283"/>
                    </a:lnTo>
                    <a:lnTo>
                      <a:pt x="518" y="283"/>
                    </a:lnTo>
                    <a:lnTo>
                      <a:pt x="506" y="286"/>
                    </a:lnTo>
                    <a:lnTo>
                      <a:pt x="495" y="290"/>
                    </a:lnTo>
                    <a:lnTo>
                      <a:pt x="491" y="291"/>
                    </a:lnTo>
                    <a:lnTo>
                      <a:pt x="488" y="294"/>
                    </a:lnTo>
                    <a:lnTo>
                      <a:pt x="488" y="294"/>
                    </a:lnTo>
                    <a:lnTo>
                      <a:pt x="484" y="297"/>
                    </a:lnTo>
                    <a:lnTo>
                      <a:pt x="478" y="300"/>
                    </a:lnTo>
                    <a:lnTo>
                      <a:pt x="474" y="301"/>
                    </a:lnTo>
                    <a:lnTo>
                      <a:pt x="472" y="304"/>
                    </a:lnTo>
                    <a:lnTo>
                      <a:pt x="472" y="304"/>
                    </a:lnTo>
                    <a:lnTo>
                      <a:pt x="472" y="304"/>
                    </a:lnTo>
                    <a:lnTo>
                      <a:pt x="471" y="306"/>
                    </a:lnTo>
                    <a:lnTo>
                      <a:pt x="465" y="307"/>
                    </a:lnTo>
                    <a:lnTo>
                      <a:pt x="459" y="307"/>
                    </a:lnTo>
                    <a:lnTo>
                      <a:pt x="455" y="308"/>
                    </a:lnTo>
                    <a:lnTo>
                      <a:pt x="455" y="308"/>
                    </a:lnTo>
                    <a:lnTo>
                      <a:pt x="454" y="310"/>
                    </a:lnTo>
                    <a:lnTo>
                      <a:pt x="452" y="311"/>
                    </a:lnTo>
                    <a:lnTo>
                      <a:pt x="452" y="317"/>
                    </a:lnTo>
                    <a:lnTo>
                      <a:pt x="452" y="321"/>
                    </a:lnTo>
                    <a:lnTo>
                      <a:pt x="451" y="326"/>
                    </a:lnTo>
                    <a:lnTo>
                      <a:pt x="451" y="326"/>
                    </a:lnTo>
                    <a:lnTo>
                      <a:pt x="450" y="327"/>
                    </a:lnTo>
                    <a:lnTo>
                      <a:pt x="447" y="328"/>
                    </a:lnTo>
                    <a:lnTo>
                      <a:pt x="440" y="330"/>
                    </a:lnTo>
                    <a:lnTo>
                      <a:pt x="424" y="330"/>
                    </a:lnTo>
                    <a:lnTo>
                      <a:pt x="424" y="330"/>
                    </a:lnTo>
                    <a:lnTo>
                      <a:pt x="422" y="328"/>
                    </a:lnTo>
                    <a:lnTo>
                      <a:pt x="420" y="328"/>
                    </a:lnTo>
                    <a:lnTo>
                      <a:pt x="417" y="324"/>
                    </a:lnTo>
                    <a:lnTo>
                      <a:pt x="414" y="320"/>
                    </a:lnTo>
                    <a:lnTo>
                      <a:pt x="411" y="317"/>
                    </a:lnTo>
                    <a:lnTo>
                      <a:pt x="411" y="317"/>
                    </a:lnTo>
                    <a:lnTo>
                      <a:pt x="410" y="316"/>
                    </a:lnTo>
                    <a:lnTo>
                      <a:pt x="408" y="313"/>
                    </a:lnTo>
                    <a:lnTo>
                      <a:pt x="411" y="307"/>
                    </a:lnTo>
                    <a:lnTo>
                      <a:pt x="411" y="307"/>
                    </a:lnTo>
                    <a:lnTo>
                      <a:pt x="413" y="306"/>
                    </a:lnTo>
                    <a:lnTo>
                      <a:pt x="415" y="306"/>
                    </a:lnTo>
                    <a:lnTo>
                      <a:pt x="418" y="304"/>
                    </a:lnTo>
                    <a:lnTo>
                      <a:pt x="422" y="303"/>
                    </a:lnTo>
                    <a:lnTo>
                      <a:pt x="422" y="303"/>
                    </a:lnTo>
                    <a:lnTo>
                      <a:pt x="427" y="301"/>
                    </a:lnTo>
                    <a:lnTo>
                      <a:pt x="431" y="303"/>
                    </a:lnTo>
                    <a:lnTo>
                      <a:pt x="434" y="303"/>
                    </a:lnTo>
                    <a:lnTo>
                      <a:pt x="437" y="303"/>
                    </a:lnTo>
                    <a:lnTo>
                      <a:pt x="437" y="303"/>
                    </a:lnTo>
                    <a:lnTo>
                      <a:pt x="437" y="301"/>
                    </a:lnTo>
                    <a:lnTo>
                      <a:pt x="435" y="300"/>
                    </a:lnTo>
                    <a:lnTo>
                      <a:pt x="432" y="296"/>
                    </a:lnTo>
                    <a:lnTo>
                      <a:pt x="428" y="291"/>
                    </a:lnTo>
                    <a:lnTo>
                      <a:pt x="427" y="287"/>
                    </a:lnTo>
                    <a:lnTo>
                      <a:pt x="427" y="287"/>
                    </a:lnTo>
                    <a:lnTo>
                      <a:pt x="425" y="284"/>
                    </a:lnTo>
                    <a:lnTo>
                      <a:pt x="424" y="283"/>
                    </a:lnTo>
                    <a:lnTo>
                      <a:pt x="418" y="281"/>
                    </a:lnTo>
                    <a:lnTo>
                      <a:pt x="413" y="280"/>
                    </a:lnTo>
                    <a:lnTo>
                      <a:pt x="407" y="281"/>
                    </a:lnTo>
                    <a:lnTo>
                      <a:pt x="407" y="281"/>
                    </a:lnTo>
                    <a:lnTo>
                      <a:pt x="401" y="281"/>
                    </a:lnTo>
                    <a:lnTo>
                      <a:pt x="395" y="281"/>
                    </a:lnTo>
                    <a:lnTo>
                      <a:pt x="387" y="279"/>
                    </a:lnTo>
                    <a:lnTo>
                      <a:pt x="387" y="279"/>
                    </a:lnTo>
                    <a:lnTo>
                      <a:pt x="384" y="279"/>
                    </a:lnTo>
                    <a:lnTo>
                      <a:pt x="383" y="280"/>
                    </a:lnTo>
                    <a:lnTo>
                      <a:pt x="385" y="283"/>
                    </a:lnTo>
                    <a:lnTo>
                      <a:pt x="390" y="286"/>
                    </a:lnTo>
                    <a:lnTo>
                      <a:pt x="390" y="286"/>
                    </a:lnTo>
                    <a:lnTo>
                      <a:pt x="393" y="287"/>
                    </a:lnTo>
                    <a:lnTo>
                      <a:pt x="394" y="290"/>
                    </a:lnTo>
                    <a:lnTo>
                      <a:pt x="394" y="293"/>
                    </a:lnTo>
                    <a:lnTo>
                      <a:pt x="394" y="296"/>
                    </a:lnTo>
                    <a:lnTo>
                      <a:pt x="394" y="296"/>
                    </a:lnTo>
                    <a:lnTo>
                      <a:pt x="394" y="300"/>
                    </a:lnTo>
                    <a:lnTo>
                      <a:pt x="393" y="304"/>
                    </a:lnTo>
                    <a:lnTo>
                      <a:pt x="388" y="314"/>
                    </a:lnTo>
                    <a:lnTo>
                      <a:pt x="388" y="314"/>
                    </a:lnTo>
                    <a:lnTo>
                      <a:pt x="385" y="317"/>
                    </a:lnTo>
                    <a:lnTo>
                      <a:pt x="387" y="320"/>
                    </a:lnTo>
                    <a:lnTo>
                      <a:pt x="388" y="320"/>
                    </a:lnTo>
                    <a:lnTo>
                      <a:pt x="393" y="320"/>
                    </a:lnTo>
                    <a:lnTo>
                      <a:pt x="393" y="320"/>
                    </a:lnTo>
                    <a:lnTo>
                      <a:pt x="395" y="320"/>
                    </a:lnTo>
                    <a:lnTo>
                      <a:pt x="397" y="321"/>
                    </a:lnTo>
                    <a:lnTo>
                      <a:pt x="398" y="324"/>
                    </a:lnTo>
                    <a:lnTo>
                      <a:pt x="398" y="334"/>
                    </a:lnTo>
                    <a:lnTo>
                      <a:pt x="398" y="334"/>
                    </a:lnTo>
                    <a:lnTo>
                      <a:pt x="398" y="338"/>
                    </a:lnTo>
                    <a:lnTo>
                      <a:pt x="397" y="341"/>
                    </a:lnTo>
                    <a:lnTo>
                      <a:pt x="394" y="344"/>
                    </a:lnTo>
                    <a:lnTo>
                      <a:pt x="394" y="347"/>
                    </a:lnTo>
                    <a:lnTo>
                      <a:pt x="394" y="347"/>
                    </a:lnTo>
                    <a:lnTo>
                      <a:pt x="393" y="348"/>
                    </a:lnTo>
                    <a:lnTo>
                      <a:pt x="391" y="347"/>
                    </a:lnTo>
                    <a:lnTo>
                      <a:pt x="388" y="345"/>
                    </a:lnTo>
                    <a:lnTo>
                      <a:pt x="387" y="345"/>
                    </a:lnTo>
                    <a:lnTo>
                      <a:pt x="387" y="345"/>
                    </a:lnTo>
                    <a:lnTo>
                      <a:pt x="385" y="347"/>
                    </a:lnTo>
                    <a:lnTo>
                      <a:pt x="384" y="345"/>
                    </a:lnTo>
                    <a:lnTo>
                      <a:pt x="383" y="341"/>
                    </a:lnTo>
                    <a:lnTo>
                      <a:pt x="383" y="341"/>
                    </a:lnTo>
                    <a:lnTo>
                      <a:pt x="380" y="340"/>
                    </a:lnTo>
                    <a:lnTo>
                      <a:pt x="376" y="338"/>
                    </a:lnTo>
                    <a:lnTo>
                      <a:pt x="366" y="338"/>
                    </a:lnTo>
                    <a:lnTo>
                      <a:pt x="366" y="338"/>
                    </a:lnTo>
                    <a:lnTo>
                      <a:pt x="363" y="338"/>
                    </a:lnTo>
                    <a:lnTo>
                      <a:pt x="360" y="338"/>
                    </a:lnTo>
                    <a:lnTo>
                      <a:pt x="356" y="343"/>
                    </a:lnTo>
                    <a:lnTo>
                      <a:pt x="356" y="343"/>
                    </a:lnTo>
                    <a:lnTo>
                      <a:pt x="353" y="345"/>
                    </a:lnTo>
                    <a:lnTo>
                      <a:pt x="350" y="348"/>
                    </a:lnTo>
                    <a:lnTo>
                      <a:pt x="341" y="350"/>
                    </a:lnTo>
                    <a:lnTo>
                      <a:pt x="341" y="350"/>
                    </a:lnTo>
                    <a:lnTo>
                      <a:pt x="339" y="351"/>
                    </a:lnTo>
                    <a:lnTo>
                      <a:pt x="334" y="354"/>
                    </a:lnTo>
                    <a:lnTo>
                      <a:pt x="326" y="361"/>
                    </a:lnTo>
                    <a:lnTo>
                      <a:pt x="326" y="361"/>
                    </a:lnTo>
                    <a:lnTo>
                      <a:pt x="324" y="363"/>
                    </a:lnTo>
                    <a:lnTo>
                      <a:pt x="323" y="367"/>
                    </a:lnTo>
                    <a:lnTo>
                      <a:pt x="324" y="370"/>
                    </a:lnTo>
                    <a:lnTo>
                      <a:pt x="327" y="374"/>
                    </a:lnTo>
                    <a:lnTo>
                      <a:pt x="327" y="374"/>
                    </a:lnTo>
                    <a:lnTo>
                      <a:pt x="331" y="378"/>
                    </a:lnTo>
                    <a:lnTo>
                      <a:pt x="333" y="382"/>
                    </a:lnTo>
                    <a:lnTo>
                      <a:pt x="334" y="385"/>
                    </a:lnTo>
                    <a:lnTo>
                      <a:pt x="334" y="387"/>
                    </a:lnTo>
                    <a:lnTo>
                      <a:pt x="334" y="387"/>
                    </a:lnTo>
                    <a:lnTo>
                      <a:pt x="333" y="388"/>
                    </a:lnTo>
                    <a:lnTo>
                      <a:pt x="331" y="388"/>
                    </a:lnTo>
                    <a:lnTo>
                      <a:pt x="324" y="390"/>
                    </a:lnTo>
                    <a:lnTo>
                      <a:pt x="319" y="388"/>
                    </a:lnTo>
                    <a:lnTo>
                      <a:pt x="314" y="385"/>
                    </a:lnTo>
                    <a:lnTo>
                      <a:pt x="314" y="385"/>
                    </a:lnTo>
                    <a:lnTo>
                      <a:pt x="312" y="384"/>
                    </a:lnTo>
                    <a:lnTo>
                      <a:pt x="307" y="382"/>
                    </a:lnTo>
                    <a:lnTo>
                      <a:pt x="299" y="382"/>
                    </a:lnTo>
                    <a:lnTo>
                      <a:pt x="299" y="382"/>
                    </a:lnTo>
                    <a:lnTo>
                      <a:pt x="294" y="381"/>
                    </a:lnTo>
                    <a:lnTo>
                      <a:pt x="289" y="377"/>
                    </a:lnTo>
                    <a:lnTo>
                      <a:pt x="284" y="372"/>
                    </a:lnTo>
                    <a:lnTo>
                      <a:pt x="280" y="371"/>
                    </a:lnTo>
                    <a:lnTo>
                      <a:pt x="280" y="371"/>
                    </a:lnTo>
                    <a:lnTo>
                      <a:pt x="276" y="372"/>
                    </a:lnTo>
                    <a:lnTo>
                      <a:pt x="273" y="374"/>
                    </a:lnTo>
                    <a:lnTo>
                      <a:pt x="270" y="380"/>
                    </a:lnTo>
                    <a:lnTo>
                      <a:pt x="270" y="380"/>
                    </a:lnTo>
                    <a:lnTo>
                      <a:pt x="270" y="382"/>
                    </a:lnTo>
                    <a:lnTo>
                      <a:pt x="270" y="384"/>
                    </a:lnTo>
                    <a:lnTo>
                      <a:pt x="275" y="390"/>
                    </a:lnTo>
                    <a:lnTo>
                      <a:pt x="275" y="390"/>
                    </a:lnTo>
                    <a:lnTo>
                      <a:pt x="277" y="392"/>
                    </a:lnTo>
                    <a:lnTo>
                      <a:pt x="282" y="394"/>
                    </a:lnTo>
                    <a:lnTo>
                      <a:pt x="290" y="395"/>
                    </a:lnTo>
                    <a:lnTo>
                      <a:pt x="290" y="395"/>
                    </a:lnTo>
                    <a:lnTo>
                      <a:pt x="293" y="397"/>
                    </a:lnTo>
                    <a:lnTo>
                      <a:pt x="293" y="398"/>
                    </a:lnTo>
                    <a:lnTo>
                      <a:pt x="292" y="405"/>
                    </a:lnTo>
                    <a:lnTo>
                      <a:pt x="292" y="405"/>
                    </a:lnTo>
                    <a:lnTo>
                      <a:pt x="290" y="407"/>
                    </a:lnTo>
                    <a:lnTo>
                      <a:pt x="286" y="408"/>
                    </a:lnTo>
                    <a:lnTo>
                      <a:pt x="283" y="408"/>
                    </a:lnTo>
                    <a:lnTo>
                      <a:pt x="280" y="407"/>
                    </a:lnTo>
                    <a:lnTo>
                      <a:pt x="280" y="407"/>
                    </a:lnTo>
                    <a:lnTo>
                      <a:pt x="277" y="405"/>
                    </a:lnTo>
                    <a:lnTo>
                      <a:pt x="273" y="405"/>
                    </a:lnTo>
                    <a:lnTo>
                      <a:pt x="269" y="404"/>
                    </a:lnTo>
                    <a:lnTo>
                      <a:pt x="267" y="404"/>
                    </a:lnTo>
                    <a:lnTo>
                      <a:pt x="267" y="402"/>
                    </a:lnTo>
                    <a:lnTo>
                      <a:pt x="267" y="402"/>
                    </a:lnTo>
                    <a:lnTo>
                      <a:pt x="266" y="400"/>
                    </a:lnTo>
                    <a:lnTo>
                      <a:pt x="263" y="397"/>
                    </a:lnTo>
                    <a:lnTo>
                      <a:pt x="257" y="395"/>
                    </a:lnTo>
                    <a:lnTo>
                      <a:pt x="253" y="394"/>
                    </a:lnTo>
                    <a:lnTo>
                      <a:pt x="253" y="394"/>
                    </a:lnTo>
                    <a:lnTo>
                      <a:pt x="247" y="394"/>
                    </a:lnTo>
                    <a:lnTo>
                      <a:pt x="246" y="392"/>
                    </a:lnTo>
                    <a:lnTo>
                      <a:pt x="245" y="390"/>
                    </a:lnTo>
                    <a:lnTo>
                      <a:pt x="245" y="385"/>
                    </a:lnTo>
                    <a:lnTo>
                      <a:pt x="245" y="385"/>
                    </a:lnTo>
                    <a:lnTo>
                      <a:pt x="243" y="381"/>
                    </a:lnTo>
                    <a:lnTo>
                      <a:pt x="242" y="378"/>
                    </a:lnTo>
                    <a:lnTo>
                      <a:pt x="240" y="375"/>
                    </a:lnTo>
                    <a:lnTo>
                      <a:pt x="240" y="374"/>
                    </a:lnTo>
                    <a:lnTo>
                      <a:pt x="240" y="374"/>
                    </a:lnTo>
                    <a:lnTo>
                      <a:pt x="239" y="368"/>
                    </a:lnTo>
                    <a:lnTo>
                      <a:pt x="239" y="365"/>
                    </a:lnTo>
                    <a:lnTo>
                      <a:pt x="240" y="363"/>
                    </a:lnTo>
                    <a:lnTo>
                      <a:pt x="240" y="363"/>
                    </a:lnTo>
                    <a:lnTo>
                      <a:pt x="243" y="361"/>
                    </a:lnTo>
                    <a:lnTo>
                      <a:pt x="243" y="358"/>
                    </a:lnTo>
                    <a:lnTo>
                      <a:pt x="242" y="353"/>
                    </a:lnTo>
                    <a:lnTo>
                      <a:pt x="242" y="353"/>
                    </a:lnTo>
                    <a:lnTo>
                      <a:pt x="240" y="350"/>
                    </a:lnTo>
                    <a:lnTo>
                      <a:pt x="238" y="347"/>
                    </a:lnTo>
                    <a:lnTo>
                      <a:pt x="235" y="345"/>
                    </a:lnTo>
                    <a:lnTo>
                      <a:pt x="230" y="344"/>
                    </a:lnTo>
                    <a:lnTo>
                      <a:pt x="230" y="344"/>
                    </a:lnTo>
                    <a:lnTo>
                      <a:pt x="226" y="343"/>
                    </a:lnTo>
                    <a:lnTo>
                      <a:pt x="225" y="341"/>
                    </a:lnTo>
                    <a:lnTo>
                      <a:pt x="223" y="338"/>
                    </a:lnTo>
                    <a:lnTo>
                      <a:pt x="220" y="337"/>
                    </a:lnTo>
                    <a:lnTo>
                      <a:pt x="220" y="337"/>
                    </a:lnTo>
                    <a:lnTo>
                      <a:pt x="216" y="334"/>
                    </a:lnTo>
                    <a:lnTo>
                      <a:pt x="211" y="331"/>
                    </a:lnTo>
                    <a:lnTo>
                      <a:pt x="206" y="327"/>
                    </a:lnTo>
                    <a:lnTo>
                      <a:pt x="205" y="324"/>
                    </a:lnTo>
                    <a:lnTo>
                      <a:pt x="205" y="324"/>
                    </a:lnTo>
                    <a:lnTo>
                      <a:pt x="203" y="321"/>
                    </a:lnTo>
                    <a:lnTo>
                      <a:pt x="201" y="320"/>
                    </a:lnTo>
                    <a:lnTo>
                      <a:pt x="198" y="320"/>
                    </a:lnTo>
                    <a:lnTo>
                      <a:pt x="199" y="318"/>
                    </a:lnTo>
                    <a:lnTo>
                      <a:pt x="199" y="318"/>
                    </a:lnTo>
                    <a:lnTo>
                      <a:pt x="201" y="318"/>
                    </a:lnTo>
                    <a:lnTo>
                      <a:pt x="205" y="318"/>
                    </a:lnTo>
                    <a:lnTo>
                      <a:pt x="208" y="321"/>
                    </a:lnTo>
                    <a:lnTo>
                      <a:pt x="212" y="323"/>
                    </a:lnTo>
                    <a:lnTo>
                      <a:pt x="212" y="323"/>
                    </a:lnTo>
                    <a:lnTo>
                      <a:pt x="215" y="327"/>
                    </a:lnTo>
                    <a:lnTo>
                      <a:pt x="220" y="328"/>
                    </a:lnTo>
                    <a:lnTo>
                      <a:pt x="226" y="331"/>
                    </a:lnTo>
                    <a:lnTo>
                      <a:pt x="233" y="333"/>
                    </a:lnTo>
                    <a:lnTo>
                      <a:pt x="233" y="333"/>
                    </a:lnTo>
                    <a:lnTo>
                      <a:pt x="242" y="334"/>
                    </a:lnTo>
                    <a:lnTo>
                      <a:pt x="247" y="337"/>
                    </a:lnTo>
                    <a:lnTo>
                      <a:pt x="253" y="340"/>
                    </a:lnTo>
                    <a:lnTo>
                      <a:pt x="262" y="341"/>
                    </a:lnTo>
                    <a:lnTo>
                      <a:pt x="262" y="341"/>
                    </a:lnTo>
                    <a:lnTo>
                      <a:pt x="299" y="348"/>
                    </a:lnTo>
                    <a:lnTo>
                      <a:pt x="299" y="348"/>
                    </a:lnTo>
                    <a:lnTo>
                      <a:pt x="306" y="348"/>
                    </a:lnTo>
                    <a:lnTo>
                      <a:pt x="313" y="347"/>
                    </a:lnTo>
                    <a:lnTo>
                      <a:pt x="320" y="344"/>
                    </a:lnTo>
                    <a:lnTo>
                      <a:pt x="327" y="340"/>
                    </a:lnTo>
                    <a:lnTo>
                      <a:pt x="339" y="333"/>
                    </a:lnTo>
                    <a:lnTo>
                      <a:pt x="346" y="327"/>
                    </a:lnTo>
                    <a:lnTo>
                      <a:pt x="346" y="327"/>
                    </a:lnTo>
                    <a:lnTo>
                      <a:pt x="347" y="326"/>
                    </a:lnTo>
                    <a:lnTo>
                      <a:pt x="347" y="323"/>
                    </a:lnTo>
                    <a:lnTo>
                      <a:pt x="347" y="317"/>
                    </a:lnTo>
                    <a:lnTo>
                      <a:pt x="344" y="308"/>
                    </a:lnTo>
                    <a:lnTo>
                      <a:pt x="344" y="308"/>
                    </a:lnTo>
                    <a:lnTo>
                      <a:pt x="343" y="306"/>
                    </a:lnTo>
                    <a:lnTo>
                      <a:pt x="340" y="304"/>
                    </a:lnTo>
                    <a:lnTo>
                      <a:pt x="337" y="303"/>
                    </a:lnTo>
                    <a:lnTo>
                      <a:pt x="336" y="301"/>
                    </a:lnTo>
                    <a:lnTo>
                      <a:pt x="336" y="301"/>
                    </a:lnTo>
                    <a:lnTo>
                      <a:pt x="333" y="299"/>
                    </a:lnTo>
                    <a:lnTo>
                      <a:pt x="330" y="296"/>
                    </a:lnTo>
                    <a:lnTo>
                      <a:pt x="327" y="294"/>
                    </a:lnTo>
                    <a:lnTo>
                      <a:pt x="321" y="293"/>
                    </a:lnTo>
                    <a:lnTo>
                      <a:pt x="321" y="293"/>
                    </a:lnTo>
                    <a:lnTo>
                      <a:pt x="317" y="291"/>
                    </a:lnTo>
                    <a:lnTo>
                      <a:pt x="314" y="290"/>
                    </a:lnTo>
                    <a:lnTo>
                      <a:pt x="312" y="287"/>
                    </a:lnTo>
                    <a:lnTo>
                      <a:pt x="309" y="286"/>
                    </a:lnTo>
                    <a:lnTo>
                      <a:pt x="309" y="286"/>
                    </a:lnTo>
                    <a:lnTo>
                      <a:pt x="304" y="286"/>
                    </a:lnTo>
                    <a:lnTo>
                      <a:pt x="300" y="284"/>
                    </a:lnTo>
                    <a:lnTo>
                      <a:pt x="284" y="274"/>
                    </a:lnTo>
                    <a:lnTo>
                      <a:pt x="284" y="274"/>
                    </a:lnTo>
                    <a:lnTo>
                      <a:pt x="273" y="267"/>
                    </a:lnTo>
                    <a:lnTo>
                      <a:pt x="262" y="263"/>
                    </a:lnTo>
                    <a:lnTo>
                      <a:pt x="253" y="260"/>
                    </a:lnTo>
                    <a:lnTo>
                      <a:pt x="247" y="259"/>
                    </a:lnTo>
                    <a:lnTo>
                      <a:pt x="247" y="259"/>
                    </a:lnTo>
                    <a:lnTo>
                      <a:pt x="243" y="260"/>
                    </a:lnTo>
                    <a:lnTo>
                      <a:pt x="240" y="260"/>
                    </a:lnTo>
                    <a:lnTo>
                      <a:pt x="239" y="259"/>
                    </a:lnTo>
                    <a:lnTo>
                      <a:pt x="239" y="259"/>
                    </a:lnTo>
                    <a:lnTo>
                      <a:pt x="238" y="256"/>
                    </a:lnTo>
                    <a:lnTo>
                      <a:pt x="233" y="256"/>
                    </a:lnTo>
                    <a:lnTo>
                      <a:pt x="230" y="256"/>
                    </a:lnTo>
                    <a:lnTo>
                      <a:pt x="228" y="259"/>
                    </a:lnTo>
                    <a:lnTo>
                      <a:pt x="228" y="259"/>
                    </a:lnTo>
                    <a:lnTo>
                      <a:pt x="225" y="259"/>
                    </a:lnTo>
                    <a:lnTo>
                      <a:pt x="222" y="259"/>
                    </a:lnTo>
                    <a:lnTo>
                      <a:pt x="218" y="257"/>
                    </a:lnTo>
                    <a:lnTo>
                      <a:pt x="213" y="257"/>
                    </a:lnTo>
                    <a:lnTo>
                      <a:pt x="213" y="257"/>
                    </a:lnTo>
                    <a:lnTo>
                      <a:pt x="208" y="257"/>
                    </a:lnTo>
                    <a:lnTo>
                      <a:pt x="205" y="256"/>
                    </a:lnTo>
                    <a:lnTo>
                      <a:pt x="203" y="254"/>
                    </a:lnTo>
                    <a:lnTo>
                      <a:pt x="203" y="252"/>
                    </a:lnTo>
                    <a:lnTo>
                      <a:pt x="203" y="252"/>
                    </a:lnTo>
                    <a:lnTo>
                      <a:pt x="206" y="252"/>
                    </a:lnTo>
                    <a:lnTo>
                      <a:pt x="211" y="250"/>
                    </a:lnTo>
                    <a:lnTo>
                      <a:pt x="215" y="250"/>
                    </a:lnTo>
                    <a:lnTo>
                      <a:pt x="215" y="249"/>
                    </a:lnTo>
                    <a:lnTo>
                      <a:pt x="216" y="249"/>
                    </a:lnTo>
                    <a:lnTo>
                      <a:pt x="216" y="249"/>
                    </a:lnTo>
                    <a:lnTo>
                      <a:pt x="215" y="246"/>
                    </a:lnTo>
                    <a:lnTo>
                      <a:pt x="212" y="246"/>
                    </a:lnTo>
                    <a:lnTo>
                      <a:pt x="209" y="246"/>
                    </a:lnTo>
                    <a:lnTo>
                      <a:pt x="205" y="244"/>
                    </a:lnTo>
                    <a:lnTo>
                      <a:pt x="205" y="244"/>
                    </a:lnTo>
                    <a:lnTo>
                      <a:pt x="201" y="242"/>
                    </a:lnTo>
                    <a:lnTo>
                      <a:pt x="198" y="242"/>
                    </a:lnTo>
                    <a:lnTo>
                      <a:pt x="195" y="243"/>
                    </a:lnTo>
                    <a:lnTo>
                      <a:pt x="193" y="246"/>
                    </a:lnTo>
                    <a:lnTo>
                      <a:pt x="193" y="246"/>
                    </a:lnTo>
                    <a:lnTo>
                      <a:pt x="192" y="247"/>
                    </a:lnTo>
                    <a:lnTo>
                      <a:pt x="189" y="249"/>
                    </a:lnTo>
                    <a:lnTo>
                      <a:pt x="186" y="247"/>
                    </a:lnTo>
                    <a:lnTo>
                      <a:pt x="183" y="246"/>
                    </a:lnTo>
                    <a:lnTo>
                      <a:pt x="183" y="246"/>
                    </a:lnTo>
                    <a:lnTo>
                      <a:pt x="183" y="244"/>
                    </a:lnTo>
                    <a:lnTo>
                      <a:pt x="183" y="244"/>
                    </a:lnTo>
                    <a:lnTo>
                      <a:pt x="182" y="249"/>
                    </a:lnTo>
                    <a:lnTo>
                      <a:pt x="179" y="250"/>
                    </a:lnTo>
                    <a:lnTo>
                      <a:pt x="178" y="250"/>
                    </a:lnTo>
                    <a:lnTo>
                      <a:pt x="175" y="250"/>
                    </a:lnTo>
                    <a:lnTo>
                      <a:pt x="175" y="250"/>
                    </a:lnTo>
                    <a:lnTo>
                      <a:pt x="172" y="252"/>
                    </a:lnTo>
                    <a:lnTo>
                      <a:pt x="168" y="253"/>
                    </a:lnTo>
                    <a:lnTo>
                      <a:pt x="165" y="256"/>
                    </a:lnTo>
                    <a:lnTo>
                      <a:pt x="162" y="257"/>
                    </a:lnTo>
                    <a:lnTo>
                      <a:pt x="162" y="257"/>
                    </a:lnTo>
                    <a:lnTo>
                      <a:pt x="158" y="257"/>
                    </a:lnTo>
                    <a:lnTo>
                      <a:pt x="155" y="260"/>
                    </a:lnTo>
                    <a:lnTo>
                      <a:pt x="152" y="263"/>
                    </a:lnTo>
                    <a:lnTo>
                      <a:pt x="151" y="266"/>
                    </a:lnTo>
                    <a:lnTo>
                      <a:pt x="151" y="266"/>
                    </a:lnTo>
                    <a:lnTo>
                      <a:pt x="149" y="269"/>
                    </a:lnTo>
                    <a:lnTo>
                      <a:pt x="146" y="269"/>
                    </a:lnTo>
                    <a:lnTo>
                      <a:pt x="145" y="270"/>
                    </a:lnTo>
                    <a:lnTo>
                      <a:pt x="145" y="271"/>
                    </a:lnTo>
                    <a:lnTo>
                      <a:pt x="145" y="271"/>
                    </a:lnTo>
                    <a:lnTo>
                      <a:pt x="144" y="276"/>
                    </a:lnTo>
                    <a:lnTo>
                      <a:pt x="142" y="280"/>
                    </a:lnTo>
                    <a:lnTo>
                      <a:pt x="142" y="280"/>
                    </a:lnTo>
                    <a:lnTo>
                      <a:pt x="141" y="281"/>
                    </a:lnTo>
                    <a:lnTo>
                      <a:pt x="141" y="283"/>
                    </a:lnTo>
                    <a:lnTo>
                      <a:pt x="145" y="289"/>
                    </a:lnTo>
                    <a:lnTo>
                      <a:pt x="145" y="289"/>
                    </a:lnTo>
                    <a:lnTo>
                      <a:pt x="146" y="291"/>
                    </a:lnTo>
                    <a:lnTo>
                      <a:pt x="149" y="293"/>
                    </a:lnTo>
                    <a:lnTo>
                      <a:pt x="155" y="294"/>
                    </a:lnTo>
                    <a:lnTo>
                      <a:pt x="155" y="294"/>
                    </a:lnTo>
                    <a:lnTo>
                      <a:pt x="161" y="300"/>
                    </a:lnTo>
                    <a:lnTo>
                      <a:pt x="164" y="303"/>
                    </a:lnTo>
                    <a:lnTo>
                      <a:pt x="166" y="306"/>
                    </a:lnTo>
                    <a:lnTo>
                      <a:pt x="166" y="306"/>
                    </a:lnTo>
                    <a:lnTo>
                      <a:pt x="165" y="308"/>
                    </a:lnTo>
                    <a:lnTo>
                      <a:pt x="162" y="313"/>
                    </a:lnTo>
                    <a:lnTo>
                      <a:pt x="156" y="318"/>
                    </a:lnTo>
                    <a:lnTo>
                      <a:pt x="156" y="318"/>
                    </a:lnTo>
                    <a:lnTo>
                      <a:pt x="152" y="323"/>
                    </a:lnTo>
                    <a:lnTo>
                      <a:pt x="151" y="326"/>
                    </a:lnTo>
                    <a:lnTo>
                      <a:pt x="151" y="327"/>
                    </a:lnTo>
                    <a:lnTo>
                      <a:pt x="151" y="327"/>
                    </a:lnTo>
                    <a:lnTo>
                      <a:pt x="158" y="337"/>
                    </a:lnTo>
                    <a:lnTo>
                      <a:pt x="166" y="351"/>
                    </a:lnTo>
                    <a:lnTo>
                      <a:pt x="166" y="351"/>
                    </a:lnTo>
                    <a:lnTo>
                      <a:pt x="168" y="357"/>
                    </a:lnTo>
                    <a:lnTo>
                      <a:pt x="168" y="357"/>
                    </a:lnTo>
                    <a:lnTo>
                      <a:pt x="166" y="358"/>
                    </a:lnTo>
                    <a:lnTo>
                      <a:pt x="164" y="360"/>
                    </a:lnTo>
                    <a:lnTo>
                      <a:pt x="161" y="361"/>
                    </a:lnTo>
                    <a:lnTo>
                      <a:pt x="161" y="361"/>
                    </a:lnTo>
                    <a:lnTo>
                      <a:pt x="159" y="364"/>
                    </a:lnTo>
                    <a:lnTo>
                      <a:pt x="161" y="368"/>
                    </a:lnTo>
                    <a:lnTo>
                      <a:pt x="164" y="374"/>
                    </a:lnTo>
                    <a:lnTo>
                      <a:pt x="164" y="374"/>
                    </a:lnTo>
                    <a:lnTo>
                      <a:pt x="164" y="375"/>
                    </a:lnTo>
                    <a:lnTo>
                      <a:pt x="162" y="375"/>
                    </a:lnTo>
                    <a:lnTo>
                      <a:pt x="161" y="377"/>
                    </a:lnTo>
                    <a:lnTo>
                      <a:pt x="159" y="378"/>
                    </a:lnTo>
                    <a:lnTo>
                      <a:pt x="159" y="378"/>
                    </a:lnTo>
                    <a:lnTo>
                      <a:pt x="161" y="380"/>
                    </a:lnTo>
                    <a:lnTo>
                      <a:pt x="164" y="381"/>
                    </a:lnTo>
                    <a:lnTo>
                      <a:pt x="166" y="382"/>
                    </a:lnTo>
                    <a:lnTo>
                      <a:pt x="168" y="384"/>
                    </a:lnTo>
                    <a:lnTo>
                      <a:pt x="168" y="384"/>
                    </a:lnTo>
                    <a:lnTo>
                      <a:pt x="166" y="385"/>
                    </a:lnTo>
                    <a:lnTo>
                      <a:pt x="166" y="387"/>
                    </a:lnTo>
                    <a:lnTo>
                      <a:pt x="165" y="388"/>
                    </a:lnTo>
                    <a:lnTo>
                      <a:pt x="165" y="391"/>
                    </a:lnTo>
                    <a:lnTo>
                      <a:pt x="165" y="391"/>
                    </a:lnTo>
                    <a:lnTo>
                      <a:pt x="168" y="394"/>
                    </a:lnTo>
                    <a:lnTo>
                      <a:pt x="171" y="395"/>
                    </a:lnTo>
                    <a:lnTo>
                      <a:pt x="172" y="397"/>
                    </a:lnTo>
                    <a:lnTo>
                      <a:pt x="174" y="400"/>
                    </a:lnTo>
                    <a:lnTo>
                      <a:pt x="174" y="400"/>
                    </a:lnTo>
                    <a:lnTo>
                      <a:pt x="174" y="401"/>
                    </a:lnTo>
                    <a:lnTo>
                      <a:pt x="172" y="402"/>
                    </a:lnTo>
                    <a:lnTo>
                      <a:pt x="169" y="405"/>
                    </a:lnTo>
                    <a:lnTo>
                      <a:pt x="165" y="407"/>
                    </a:lnTo>
                    <a:lnTo>
                      <a:pt x="164" y="408"/>
                    </a:lnTo>
                    <a:lnTo>
                      <a:pt x="164" y="409"/>
                    </a:lnTo>
                    <a:lnTo>
                      <a:pt x="164" y="409"/>
                    </a:lnTo>
                    <a:lnTo>
                      <a:pt x="166" y="412"/>
                    </a:lnTo>
                    <a:lnTo>
                      <a:pt x="172" y="415"/>
                    </a:lnTo>
                    <a:lnTo>
                      <a:pt x="178" y="419"/>
                    </a:lnTo>
                    <a:lnTo>
                      <a:pt x="185" y="425"/>
                    </a:lnTo>
                    <a:lnTo>
                      <a:pt x="185" y="425"/>
                    </a:lnTo>
                    <a:lnTo>
                      <a:pt x="188" y="429"/>
                    </a:lnTo>
                    <a:lnTo>
                      <a:pt x="189" y="432"/>
                    </a:lnTo>
                    <a:lnTo>
                      <a:pt x="189" y="435"/>
                    </a:lnTo>
                    <a:lnTo>
                      <a:pt x="189" y="438"/>
                    </a:lnTo>
                    <a:lnTo>
                      <a:pt x="189" y="438"/>
                    </a:lnTo>
                    <a:lnTo>
                      <a:pt x="186" y="441"/>
                    </a:lnTo>
                    <a:lnTo>
                      <a:pt x="183" y="444"/>
                    </a:lnTo>
                    <a:lnTo>
                      <a:pt x="176" y="448"/>
                    </a:lnTo>
                    <a:lnTo>
                      <a:pt x="169" y="454"/>
                    </a:lnTo>
                    <a:lnTo>
                      <a:pt x="166" y="456"/>
                    </a:lnTo>
                    <a:lnTo>
                      <a:pt x="165" y="461"/>
                    </a:lnTo>
                    <a:lnTo>
                      <a:pt x="165" y="461"/>
                    </a:lnTo>
                    <a:lnTo>
                      <a:pt x="161" y="466"/>
                    </a:lnTo>
                    <a:lnTo>
                      <a:pt x="154" y="471"/>
                    </a:lnTo>
                    <a:lnTo>
                      <a:pt x="146" y="475"/>
                    </a:lnTo>
                    <a:lnTo>
                      <a:pt x="141" y="481"/>
                    </a:lnTo>
                    <a:lnTo>
                      <a:pt x="141" y="481"/>
                    </a:lnTo>
                    <a:lnTo>
                      <a:pt x="132" y="489"/>
                    </a:lnTo>
                    <a:lnTo>
                      <a:pt x="132" y="489"/>
                    </a:lnTo>
                    <a:lnTo>
                      <a:pt x="139" y="488"/>
                    </a:lnTo>
                    <a:lnTo>
                      <a:pt x="139" y="488"/>
                    </a:lnTo>
                    <a:lnTo>
                      <a:pt x="141" y="488"/>
                    </a:lnTo>
                    <a:lnTo>
                      <a:pt x="142" y="488"/>
                    </a:lnTo>
                    <a:lnTo>
                      <a:pt x="144" y="491"/>
                    </a:lnTo>
                    <a:lnTo>
                      <a:pt x="146" y="495"/>
                    </a:lnTo>
                    <a:lnTo>
                      <a:pt x="149" y="498"/>
                    </a:lnTo>
                    <a:lnTo>
                      <a:pt x="149" y="498"/>
                    </a:lnTo>
                    <a:lnTo>
                      <a:pt x="152" y="499"/>
                    </a:lnTo>
                    <a:lnTo>
                      <a:pt x="156" y="499"/>
                    </a:lnTo>
                    <a:lnTo>
                      <a:pt x="161" y="499"/>
                    </a:lnTo>
                    <a:lnTo>
                      <a:pt x="164" y="501"/>
                    </a:lnTo>
                    <a:lnTo>
                      <a:pt x="164" y="501"/>
                    </a:lnTo>
                    <a:lnTo>
                      <a:pt x="164" y="502"/>
                    </a:lnTo>
                    <a:lnTo>
                      <a:pt x="162" y="503"/>
                    </a:lnTo>
                    <a:lnTo>
                      <a:pt x="156" y="503"/>
                    </a:lnTo>
                    <a:lnTo>
                      <a:pt x="156" y="503"/>
                    </a:lnTo>
                    <a:lnTo>
                      <a:pt x="152" y="503"/>
                    </a:lnTo>
                    <a:lnTo>
                      <a:pt x="149" y="505"/>
                    </a:lnTo>
                    <a:lnTo>
                      <a:pt x="141" y="508"/>
                    </a:lnTo>
                    <a:lnTo>
                      <a:pt x="141" y="508"/>
                    </a:lnTo>
                    <a:lnTo>
                      <a:pt x="137" y="510"/>
                    </a:lnTo>
                    <a:lnTo>
                      <a:pt x="135" y="512"/>
                    </a:lnTo>
                    <a:lnTo>
                      <a:pt x="132" y="515"/>
                    </a:lnTo>
                    <a:lnTo>
                      <a:pt x="132" y="515"/>
                    </a:lnTo>
                    <a:lnTo>
                      <a:pt x="134" y="518"/>
                    </a:lnTo>
                    <a:lnTo>
                      <a:pt x="134" y="520"/>
                    </a:lnTo>
                    <a:lnTo>
                      <a:pt x="129" y="525"/>
                    </a:lnTo>
                    <a:lnTo>
                      <a:pt x="129" y="525"/>
                    </a:lnTo>
                    <a:lnTo>
                      <a:pt x="127" y="530"/>
                    </a:lnTo>
                    <a:lnTo>
                      <a:pt x="124" y="533"/>
                    </a:lnTo>
                    <a:lnTo>
                      <a:pt x="124" y="533"/>
                    </a:lnTo>
                    <a:lnTo>
                      <a:pt x="124" y="538"/>
                    </a:lnTo>
                    <a:lnTo>
                      <a:pt x="125" y="542"/>
                    </a:lnTo>
                    <a:lnTo>
                      <a:pt x="125" y="542"/>
                    </a:lnTo>
                    <a:lnTo>
                      <a:pt x="127" y="547"/>
                    </a:lnTo>
                    <a:lnTo>
                      <a:pt x="128" y="550"/>
                    </a:lnTo>
                    <a:lnTo>
                      <a:pt x="128" y="550"/>
                    </a:lnTo>
                    <a:lnTo>
                      <a:pt x="129" y="553"/>
                    </a:lnTo>
                    <a:lnTo>
                      <a:pt x="128" y="555"/>
                    </a:lnTo>
                    <a:lnTo>
                      <a:pt x="124" y="556"/>
                    </a:lnTo>
                    <a:lnTo>
                      <a:pt x="124" y="556"/>
                    </a:lnTo>
                    <a:lnTo>
                      <a:pt x="124" y="557"/>
                    </a:lnTo>
                    <a:lnTo>
                      <a:pt x="124" y="560"/>
                    </a:lnTo>
                    <a:lnTo>
                      <a:pt x="127" y="565"/>
                    </a:lnTo>
                    <a:lnTo>
                      <a:pt x="127" y="565"/>
                    </a:lnTo>
                    <a:lnTo>
                      <a:pt x="128" y="567"/>
                    </a:lnTo>
                    <a:lnTo>
                      <a:pt x="129" y="569"/>
                    </a:lnTo>
                    <a:lnTo>
                      <a:pt x="128" y="573"/>
                    </a:lnTo>
                    <a:lnTo>
                      <a:pt x="128" y="573"/>
                    </a:lnTo>
                    <a:lnTo>
                      <a:pt x="128" y="576"/>
                    </a:lnTo>
                    <a:lnTo>
                      <a:pt x="129" y="579"/>
                    </a:lnTo>
                    <a:lnTo>
                      <a:pt x="134" y="583"/>
                    </a:lnTo>
                    <a:lnTo>
                      <a:pt x="134" y="583"/>
                    </a:lnTo>
                    <a:lnTo>
                      <a:pt x="135" y="586"/>
                    </a:lnTo>
                    <a:lnTo>
                      <a:pt x="135" y="589"/>
                    </a:lnTo>
                    <a:lnTo>
                      <a:pt x="137" y="592"/>
                    </a:lnTo>
                    <a:lnTo>
                      <a:pt x="138" y="594"/>
                    </a:lnTo>
                    <a:lnTo>
                      <a:pt x="138" y="594"/>
                    </a:lnTo>
                    <a:lnTo>
                      <a:pt x="141" y="596"/>
                    </a:lnTo>
                    <a:lnTo>
                      <a:pt x="144" y="597"/>
                    </a:lnTo>
                    <a:lnTo>
                      <a:pt x="146" y="596"/>
                    </a:lnTo>
                    <a:lnTo>
                      <a:pt x="146" y="596"/>
                    </a:lnTo>
                    <a:lnTo>
                      <a:pt x="148" y="596"/>
                    </a:lnTo>
                    <a:lnTo>
                      <a:pt x="151" y="597"/>
                    </a:lnTo>
                    <a:lnTo>
                      <a:pt x="154" y="600"/>
                    </a:lnTo>
                    <a:lnTo>
                      <a:pt x="154" y="600"/>
                    </a:lnTo>
                    <a:lnTo>
                      <a:pt x="155" y="602"/>
                    </a:lnTo>
                    <a:lnTo>
                      <a:pt x="158" y="602"/>
                    </a:lnTo>
                    <a:lnTo>
                      <a:pt x="162" y="600"/>
                    </a:lnTo>
                    <a:lnTo>
                      <a:pt x="162" y="600"/>
                    </a:lnTo>
                    <a:lnTo>
                      <a:pt x="166" y="600"/>
                    </a:lnTo>
                    <a:lnTo>
                      <a:pt x="171" y="602"/>
                    </a:lnTo>
                    <a:lnTo>
                      <a:pt x="178" y="604"/>
                    </a:lnTo>
                    <a:lnTo>
                      <a:pt x="178" y="604"/>
                    </a:lnTo>
                    <a:lnTo>
                      <a:pt x="179" y="606"/>
                    </a:lnTo>
                    <a:lnTo>
                      <a:pt x="179" y="609"/>
                    </a:lnTo>
                    <a:lnTo>
                      <a:pt x="179" y="616"/>
                    </a:lnTo>
                    <a:lnTo>
                      <a:pt x="179" y="616"/>
                    </a:lnTo>
                    <a:lnTo>
                      <a:pt x="179" y="621"/>
                    </a:lnTo>
                    <a:lnTo>
                      <a:pt x="179" y="624"/>
                    </a:lnTo>
                    <a:lnTo>
                      <a:pt x="181" y="627"/>
                    </a:lnTo>
                    <a:lnTo>
                      <a:pt x="181" y="627"/>
                    </a:lnTo>
                    <a:lnTo>
                      <a:pt x="183" y="630"/>
                    </a:lnTo>
                    <a:lnTo>
                      <a:pt x="185" y="633"/>
                    </a:lnTo>
                    <a:lnTo>
                      <a:pt x="186" y="636"/>
                    </a:lnTo>
                    <a:lnTo>
                      <a:pt x="188" y="637"/>
                    </a:lnTo>
                    <a:lnTo>
                      <a:pt x="188" y="637"/>
                    </a:lnTo>
                    <a:lnTo>
                      <a:pt x="191" y="639"/>
                    </a:lnTo>
                    <a:lnTo>
                      <a:pt x="193" y="641"/>
                    </a:lnTo>
                    <a:lnTo>
                      <a:pt x="195" y="644"/>
                    </a:lnTo>
                    <a:lnTo>
                      <a:pt x="198" y="646"/>
                    </a:lnTo>
                    <a:lnTo>
                      <a:pt x="198" y="646"/>
                    </a:lnTo>
                    <a:lnTo>
                      <a:pt x="203" y="648"/>
                    </a:lnTo>
                    <a:lnTo>
                      <a:pt x="205" y="651"/>
                    </a:lnTo>
                    <a:lnTo>
                      <a:pt x="206" y="654"/>
                    </a:lnTo>
                    <a:lnTo>
                      <a:pt x="206" y="654"/>
                    </a:lnTo>
                    <a:lnTo>
                      <a:pt x="206" y="657"/>
                    </a:lnTo>
                    <a:lnTo>
                      <a:pt x="203" y="658"/>
                    </a:lnTo>
                    <a:lnTo>
                      <a:pt x="198" y="661"/>
                    </a:lnTo>
                    <a:lnTo>
                      <a:pt x="198" y="661"/>
                    </a:lnTo>
                    <a:lnTo>
                      <a:pt x="195" y="661"/>
                    </a:lnTo>
                    <a:lnTo>
                      <a:pt x="192" y="660"/>
                    </a:lnTo>
                    <a:lnTo>
                      <a:pt x="189" y="660"/>
                    </a:lnTo>
                    <a:lnTo>
                      <a:pt x="186" y="660"/>
                    </a:lnTo>
                    <a:lnTo>
                      <a:pt x="186" y="660"/>
                    </a:lnTo>
                    <a:lnTo>
                      <a:pt x="186" y="663"/>
                    </a:lnTo>
                    <a:lnTo>
                      <a:pt x="186" y="666"/>
                    </a:lnTo>
                    <a:lnTo>
                      <a:pt x="189" y="674"/>
                    </a:lnTo>
                    <a:lnTo>
                      <a:pt x="189" y="674"/>
                    </a:lnTo>
                    <a:lnTo>
                      <a:pt x="192" y="681"/>
                    </a:lnTo>
                    <a:lnTo>
                      <a:pt x="193" y="683"/>
                    </a:lnTo>
                    <a:lnTo>
                      <a:pt x="196" y="683"/>
                    </a:lnTo>
                    <a:lnTo>
                      <a:pt x="196" y="683"/>
                    </a:lnTo>
                    <a:lnTo>
                      <a:pt x="198" y="683"/>
                    </a:lnTo>
                    <a:lnTo>
                      <a:pt x="201" y="681"/>
                    </a:lnTo>
                    <a:lnTo>
                      <a:pt x="203" y="680"/>
                    </a:lnTo>
                    <a:lnTo>
                      <a:pt x="203" y="680"/>
                    </a:lnTo>
                    <a:lnTo>
                      <a:pt x="206" y="678"/>
                    </a:lnTo>
                    <a:lnTo>
                      <a:pt x="209" y="678"/>
                    </a:lnTo>
                    <a:lnTo>
                      <a:pt x="215" y="678"/>
                    </a:lnTo>
                    <a:lnTo>
                      <a:pt x="215" y="678"/>
                    </a:lnTo>
                    <a:lnTo>
                      <a:pt x="220" y="678"/>
                    </a:lnTo>
                    <a:lnTo>
                      <a:pt x="225" y="678"/>
                    </a:lnTo>
                    <a:lnTo>
                      <a:pt x="228" y="680"/>
                    </a:lnTo>
                    <a:lnTo>
                      <a:pt x="228" y="680"/>
                    </a:lnTo>
                    <a:lnTo>
                      <a:pt x="229" y="687"/>
                    </a:lnTo>
                    <a:lnTo>
                      <a:pt x="230" y="690"/>
                    </a:lnTo>
                    <a:lnTo>
                      <a:pt x="229" y="693"/>
                    </a:lnTo>
                    <a:lnTo>
                      <a:pt x="229" y="693"/>
                    </a:lnTo>
                    <a:lnTo>
                      <a:pt x="229" y="694"/>
                    </a:lnTo>
                    <a:lnTo>
                      <a:pt x="230" y="697"/>
                    </a:lnTo>
                    <a:lnTo>
                      <a:pt x="233" y="701"/>
                    </a:lnTo>
                    <a:lnTo>
                      <a:pt x="233" y="701"/>
                    </a:lnTo>
                    <a:lnTo>
                      <a:pt x="235" y="703"/>
                    </a:lnTo>
                    <a:lnTo>
                      <a:pt x="239" y="704"/>
                    </a:lnTo>
                    <a:lnTo>
                      <a:pt x="245" y="704"/>
                    </a:lnTo>
                    <a:lnTo>
                      <a:pt x="245" y="704"/>
                    </a:lnTo>
                    <a:lnTo>
                      <a:pt x="250" y="710"/>
                    </a:lnTo>
                    <a:lnTo>
                      <a:pt x="252" y="714"/>
                    </a:lnTo>
                    <a:lnTo>
                      <a:pt x="252" y="717"/>
                    </a:lnTo>
                    <a:lnTo>
                      <a:pt x="252" y="717"/>
                    </a:lnTo>
                    <a:lnTo>
                      <a:pt x="252" y="718"/>
                    </a:lnTo>
                    <a:lnTo>
                      <a:pt x="253" y="720"/>
                    </a:lnTo>
                    <a:lnTo>
                      <a:pt x="257" y="720"/>
                    </a:lnTo>
                    <a:lnTo>
                      <a:pt x="257" y="720"/>
                    </a:lnTo>
                    <a:lnTo>
                      <a:pt x="260" y="720"/>
                    </a:lnTo>
                    <a:lnTo>
                      <a:pt x="262" y="721"/>
                    </a:lnTo>
                    <a:lnTo>
                      <a:pt x="266" y="724"/>
                    </a:lnTo>
                    <a:lnTo>
                      <a:pt x="266" y="724"/>
                    </a:lnTo>
                    <a:lnTo>
                      <a:pt x="270" y="724"/>
                    </a:lnTo>
                    <a:lnTo>
                      <a:pt x="275" y="722"/>
                    </a:lnTo>
                    <a:lnTo>
                      <a:pt x="275" y="722"/>
                    </a:lnTo>
                    <a:lnTo>
                      <a:pt x="279" y="721"/>
                    </a:lnTo>
                    <a:lnTo>
                      <a:pt x="282" y="721"/>
                    </a:lnTo>
                    <a:lnTo>
                      <a:pt x="283" y="722"/>
                    </a:lnTo>
                    <a:lnTo>
                      <a:pt x="283" y="722"/>
                    </a:lnTo>
                    <a:lnTo>
                      <a:pt x="287" y="727"/>
                    </a:lnTo>
                    <a:lnTo>
                      <a:pt x="290" y="731"/>
                    </a:lnTo>
                    <a:lnTo>
                      <a:pt x="290" y="731"/>
                    </a:lnTo>
                    <a:lnTo>
                      <a:pt x="292" y="731"/>
                    </a:lnTo>
                    <a:lnTo>
                      <a:pt x="294" y="731"/>
                    </a:lnTo>
                    <a:lnTo>
                      <a:pt x="299" y="731"/>
                    </a:lnTo>
                    <a:lnTo>
                      <a:pt x="303" y="732"/>
                    </a:lnTo>
                    <a:lnTo>
                      <a:pt x="303" y="732"/>
                    </a:lnTo>
                    <a:lnTo>
                      <a:pt x="310" y="734"/>
                    </a:lnTo>
                    <a:lnTo>
                      <a:pt x="313" y="735"/>
                    </a:lnTo>
                    <a:lnTo>
                      <a:pt x="317" y="737"/>
                    </a:lnTo>
                    <a:lnTo>
                      <a:pt x="317" y="737"/>
                    </a:lnTo>
                    <a:lnTo>
                      <a:pt x="323" y="740"/>
                    </a:lnTo>
                    <a:lnTo>
                      <a:pt x="324" y="740"/>
                    </a:lnTo>
                    <a:lnTo>
                      <a:pt x="326" y="742"/>
                    </a:lnTo>
                    <a:lnTo>
                      <a:pt x="326" y="742"/>
                    </a:lnTo>
                    <a:lnTo>
                      <a:pt x="326" y="744"/>
                    </a:lnTo>
                    <a:lnTo>
                      <a:pt x="324" y="745"/>
                    </a:lnTo>
                    <a:lnTo>
                      <a:pt x="321" y="748"/>
                    </a:lnTo>
                    <a:lnTo>
                      <a:pt x="321" y="748"/>
                    </a:lnTo>
                    <a:lnTo>
                      <a:pt x="323" y="751"/>
                    </a:lnTo>
                    <a:lnTo>
                      <a:pt x="324" y="752"/>
                    </a:lnTo>
                    <a:lnTo>
                      <a:pt x="326" y="754"/>
                    </a:lnTo>
                    <a:lnTo>
                      <a:pt x="326" y="754"/>
                    </a:lnTo>
                    <a:lnTo>
                      <a:pt x="324" y="755"/>
                    </a:lnTo>
                    <a:lnTo>
                      <a:pt x="323" y="755"/>
                    </a:lnTo>
                    <a:lnTo>
                      <a:pt x="320" y="757"/>
                    </a:lnTo>
                    <a:lnTo>
                      <a:pt x="320" y="757"/>
                    </a:lnTo>
                    <a:lnTo>
                      <a:pt x="320" y="757"/>
                    </a:lnTo>
                    <a:lnTo>
                      <a:pt x="320" y="758"/>
                    </a:lnTo>
                    <a:lnTo>
                      <a:pt x="320" y="761"/>
                    </a:lnTo>
                    <a:lnTo>
                      <a:pt x="323" y="764"/>
                    </a:lnTo>
                    <a:lnTo>
                      <a:pt x="323" y="764"/>
                    </a:lnTo>
                    <a:lnTo>
                      <a:pt x="321" y="768"/>
                    </a:lnTo>
                    <a:lnTo>
                      <a:pt x="320" y="772"/>
                    </a:lnTo>
                    <a:lnTo>
                      <a:pt x="320" y="772"/>
                    </a:lnTo>
                    <a:lnTo>
                      <a:pt x="319" y="774"/>
                    </a:lnTo>
                    <a:lnTo>
                      <a:pt x="314" y="774"/>
                    </a:lnTo>
                    <a:lnTo>
                      <a:pt x="307" y="772"/>
                    </a:lnTo>
                    <a:lnTo>
                      <a:pt x="307" y="772"/>
                    </a:lnTo>
                    <a:lnTo>
                      <a:pt x="304" y="774"/>
                    </a:lnTo>
                    <a:lnTo>
                      <a:pt x="300" y="776"/>
                    </a:lnTo>
                    <a:lnTo>
                      <a:pt x="297" y="779"/>
                    </a:lnTo>
                    <a:lnTo>
                      <a:pt x="294" y="781"/>
                    </a:lnTo>
                    <a:lnTo>
                      <a:pt x="294" y="781"/>
                    </a:lnTo>
                    <a:lnTo>
                      <a:pt x="293" y="782"/>
                    </a:lnTo>
                    <a:lnTo>
                      <a:pt x="293" y="784"/>
                    </a:lnTo>
                    <a:lnTo>
                      <a:pt x="294" y="789"/>
                    </a:lnTo>
                    <a:lnTo>
                      <a:pt x="294" y="789"/>
                    </a:lnTo>
                    <a:lnTo>
                      <a:pt x="304" y="788"/>
                    </a:lnTo>
                    <a:lnTo>
                      <a:pt x="309" y="788"/>
                    </a:lnTo>
                    <a:lnTo>
                      <a:pt x="310" y="788"/>
                    </a:lnTo>
                    <a:lnTo>
                      <a:pt x="310" y="788"/>
                    </a:lnTo>
                    <a:lnTo>
                      <a:pt x="310" y="789"/>
                    </a:lnTo>
                    <a:lnTo>
                      <a:pt x="309" y="791"/>
                    </a:lnTo>
                    <a:lnTo>
                      <a:pt x="303" y="795"/>
                    </a:lnTo>
                    <a:lnTo>
                      <a:pt x="290" y="799"/>
                    </a:lnTo>
                    <a:lnTo>
                      <a:pt x="290" y="799"/>
                    </a:lnTo>
                    <a:lnTo>
                      <a:pt x="290" y="801"/>
                    </a:lnTo>
                    <a:lnTo>
                      <a:pt x="290" y="801"/>
                    </a:lnTo>
                    <a:lnTo>
                      <a:pt x="293" y="804"/>
                    </a:lnTo>
                    <a:lnTo>
                      <a:pt x="296" y="806"/>
                    </a:lnTo>
                    <a:lnTo>
                      <a:pt x="297" y="809"/>
                    </a:lnTo>
                    <a:lnTo>
                      <a:pt x="297" y="809"/>
                    </a:lnTo>
                    <a:lnTo>
                      <a:pt x="294" y="811"/>
                    </a:lnTo>
                    <a:lnTo>
                      <a:pt x="292" y="812"/>
                    </a:lnTo>
                    <a:lnTo>
                      <a:pt x="289" y="815"/>
                    </a:lnTo>
                    <a:lnTo>
                      <a:pt x="287" y="816"/>
                    </a:lnTo>
                    <a:lnTo>
                      <a:pt x="287" y="818"/>
                    </a:lnTo>
                    <a:lnTo>
                      <a:pt x="287" y="818"/>
                    </a:lnTo>
                    <a:lnTo>
                      <a:pt x="287" y="822"/>
                    </a:lnTo>
                    <a:lnTo>
                      <a:pt x="286" y="823"/>
                    </a:lnTo>
                    <a:lnTo>
                      <a:pt x="283" y="825"/>
                    </a:lnTo>
                    <a:lnTo>
                      <a:pt x="279" y="825"/>
                    </a:lnTo>
                    <a:lnTo>
                      <a:pt x="279" y="825"/>
                    </a:lnTo>
                    <a:lnTo>
                      <a:pt x="275" y="825"/>
                    </a:lnTo>
                    <a:lnTo>
                      <a:pt x="273" y="826"/>
                    </a:lnTo>
                    <a:lnTo>
                      <a:pt x="273" y="828"/>
                    </a:lnTo>
                    <a:lnTo>
                      <a:pt x="275" y="829"/>
                    </a:lnTo>
                    <a:lnTo>
                      <a:pt x="275" y="829"/>
                    </a:lnTo>
                    <a:lnTo>
                      <a:pt x="276" y="831"/>
                    </a:lnTo>
                    <a:lnTo>
                      <a:pt x="277" y="833"/>
                    </a:lnTo>
                    <a:lnTo>
                      <a:pt x="282" y="836"/>
                    </a:lnTo>
                    <a:lnTo>
                      <a:pt x="287" y="839"/>
                    </a:lnTo>
                    <a:lnTo>
                      <a:pt x="287" y="839"/>
                    </a:lnTo>
                    <a:lnTo>
                      <a:pt x="294" y="842"/>
                    </a:lnTo>
                    <a:lnTo>
                      <a:pt x="303" y="848"/>
                    </a:lnTo>
                    <a:lnTo>
                      <a:pt x="310" y="853"/>
                    </a:lnTo>
                    <a:lnTo>
                      <a:pt x="317" y="860"/>
                    </a:lnTo>
                    <a:lnTo>
                      <a:pt x="317" y="860"/>
                    </a:lnTo>
                    <a:lnTo>
                      <a:pt x="321" y="863"/>
                    </a:lnTo>
                    <a:lnTo>
                      <a:pt x="321" y="863"/>
                    </a:lnTo>
                    <a:lnTo>
                      <a:pt x="327" y="860"/>
                    </a:lnTo>
                    <a:lnTo>
                      <a:pt x="327" y="860"/>
                    </a:lnTo>
                    <a:lnTo>
                      <a:pt x="331" y="860"/>
                    </a:lnTo>
                    <a:lnTo>
                      <a:pt x="337" y="862"/>
                    </a:lnTo>
                    <a:lnTo>
                      <a:pt x="346" y="866"/>
                    </a:lnTo>
                    <a:lnTo>
                      <a:pt x="346" y="866"/>
                    </a:lnTo>
                    <a:lnTo>
                      <a:pt x="351" y="868"/>
                    </a:lnTo>
                    <a:lnTo>
                      <a:pt x="360" y="868"/>
                    </a:lnTo>
                    <a:lnTo>
                      <a:pt x="367" y="868"/>
                    </a:lnTo>
                    <a:lnTo>
                      <a:pt x="371" y="869"/>
                    </a:lnTo>
                    <a:lnTo>
                      <a:pt x="371" y="869"/>
                    </a:lnTo>
                    <a:lnTo>
                      <a:pt x="376" y="873"/>
                    </a:lnTo>
                    <a:lnTo>
                      <a:pt x="378" y="875"/>
                    </a:lnTo>
                    <a:lnTo>
                      <a:pt x="381" y="875"/>
                    </a:lnTo>
                    <a:lnTo>
                      <a:pt x="381" y="875"/>
                    </a:lnTo>
                    <a:lnTo>
                      <a:pt x="384" y="876"/>
                    </a:lnTo>
                    <a:lnTo>
                      <a:pt x="387" y="879"/>
                    </a:lnTo>
                    <a:lnTo>
                      <a:pt x="388" y="880"/>
                    </a:lnTo>
                    <a:lnTo>
                      <a:pt x="391" y="880"/>
                    </a:lnTo>
                    <a:lnTo>
                      <a:pt x="391" y="880"/>
                    </a:lnTo>
                    <a:lnTo>
                      <a:pt x="394" y="879"/>
                    </a:lnTo>
                    <a:lnTo>
                      <a:pt x="400" y="879"/>
                    </a:lnTo>
                    <a:lnTo>
                      <a:pt x="407" y="877"/>
                    </a:lnTo>
                    <a:lnTo>
                      <a:pt x="407" y="877"/>
                    </a:lnTo>
                    <a:lnTo>
                      <a:pt x="410" y="879"/>
                    </a:lnTo>
                    <a:lnTo>
                      <a:pt x="413" y="880"/>
                    </a:lnTo>
                    <a:lnTo>
                      <a:pt x="413" y="880"/>
                    </a:lnTo>
                    <a:lnTo>
                      <a:pt x="415" y="882"/>
                    </a:lnTo>
                    <a:lnTo>
                      <a:pt x="415" y="886"/>
                    </a:lnTo>
                    <a:lnTo>
                      <a:pt x="417" y="889"/>
                    </a:lnTo>
                    <a:lnTo>
                      <a:pt x="418" y="890"/>
                    </a:lnTo>
                    <a:lnTo>
                      <a:pt x="418" y="890"/>
                    </a:lnTo>
                    <a:lnTo>
                      <a:pt x="421" y="890"/>
                    </a:lnTo>
                    <a:lnTo>
                      <a:pt x="424" y="893"/>
                    </a:lnTo>
                    <a:lnTo>
                      <a:pt x="428" y="896"/>
                    </a:lnTo>
                    <a:lnTo>
                      <a:pt x="432" y="897"/>
                    </a:lnTo>
                    <a:lnTo>
                      <a:pt x="432" y="897"/>
                    </a:lnTo>
                    <a:lnTo>
                      <a:pt x="437" y="899"/>
                    </a:lnTo>
                    <a:lnTo>
                      <a:pt x="440" y="902"/>
                    </a:lnTo>
                    <a:lnTo>
                      <a:pt x="442" y="905"/>
                    </a:lnTo>
                    <a:lnTo>
                      <a:pt x="445" y="906"/>
                    </a:lnTo>
                    <a:lnTo>
                      <a:pt x="445" y="906"/>
                    </a:lnTo>
                    <a:lnTo>
                      <a:pt x="447" y="906"/>
                    </a:lnTo>
                    <a:lnTo>
                      <a:pt x="450" y="907"/>
                    </a:lnTo>
                    <a:lnTo>
                      <a:pt x="451" y="907"/>
                    </a:lnTo>
                    <a:lnTo>
                      <a:pt x="452" y="906"/>
                    </a:lnTo>
                    <a:lnTo>
                      <a:pt x="452" y="906"/>
                    </a:lnTo>
                    <a:lnTo>
                      <a:pt x="454" y="905"/>
                    </a:lnTo>
                    <a:lnTo>
                      <a:pt x="457" y="903"/>
                    </a:lnTo>
                    <a:lnTo>
                      <a:pt x="461" y="902"/>
                    </a:lnTo>
                    <a:lnTo>
                      <a:pt x="462" y="899"/>
                    </a:lnTo>
                    <a:lnTo>
                      <a:pt x="462" y="899"/>
                    </a:lnTo>
                    <a:lnTo>
                      <a:pt x="450" y="882"/>
                    </a:lnTo>
                    <a:lnTo>
                      <a:pt x="445" y="875"/>
                    </a:lnTo>
                    <a:lnTo>
                      <a:pt x="444" y="870"/>
                    </a:lnTo>
                    <a:lnTo>
                      <a:pt x="444" y="870"/>
                    </a:lnTo>
                    <a:lnTo>
                      <a:pt x="445" y="865"/>
                    </a:lnTo>
                    <a:lnTo>
                      <a:pt x="445" y="859"/>
                    </a:lnTo>
                    <a:lnTo>
                      <a:pt x="444" y="855"/>
                    </a:lnTo>
                    <a:lnTo>
                      <a:pt x="438" y="849"/>
                    </a:lnTo>
                    <a:lnTo>
                      <a:pt x="438" y="849"/>
                    </a:lnTo>
                    <a:lnTo>
                      <a:pt x="435" y="845"/>
                    </a:lnTo>
                    <a:lnTo>
                      <a:pt x="434" y="842"/>
                    </a:lnTo>
                    <a:lnTo>
                      <a:pt x="434" y="839"/>
                    </a:lnTo>
                    <a:lnTo>
                      <a:pt x="435" y="838"/>
                    </a:lnTo>
                    <a:lnTo>
                      <a:pt x="441" y="832"/>
                    </a:lnTo>
                    <a:lnTo>
                      <a:pt x="447" y="825"/>
                    </a:lnTo>
                    <a:lnTo>
                      <a:pt x="447" y="825"/>
                    </a:lnTo>
                    <a:lnTo>
                      <a:pt x="452" y="821"/>
                    </a:lnTo>
                    <a:lnTo>
                      <a:pt x="459" y="816"/>
                    </a:lnTo>
                    <a:lnTo>
                      <a:pt x="467" y="812"/>
                    </a:lnTo>
                    <a:lnTo>
                      <a:pt x="475" y="808"/>
                    </a:lnTo>
                    <a:lnTo>
                      <a:pt x="475" y="808"/>
                    </a:lnTo>
                    <a:lnTo>
                      <a:pt x="469" y="805"/>
                    </a:lnTo>
                    <a:lnTo>
                      <a:pt x="469" y="805"/>
                    </a:lnTo>
                    <a:lnTo>
                      <a:pt x="465" y="802"/>
                    </a:lnTo>
                    <a:lnTo>
                      <a:pt x="464" y="801"/>
                    </a:lnTo>
                    <a:lnTo>
                      <a:pt x="464" y="799"/>
                    </a:lnTo>
                    <a:lnTo>
                      <a:pt x="465" y="798"/>
                    </a:lnTo>
                    <a:lnTo>
                      <a:pt x="465" y="798"/>
                    </a:lnTo>
                    <a:lnTo>
                      <a:pt x="468" y="796"/>
                    </a:lnTo>
                    <a:lnTo>
                      <a:pt x="468" y="795"/>
                    </a:lnTo>
                    <a:lnTo>
                      <a:pt x="464" y="788"/>
                    </a:lnTo>
                    <a:lnTo>
                      <a:pt x="464" y="788"/>
                    </a:lnTo>
                    <a:lnTo>
                      <a:pt x="458" y="779"/>
                    </a:lnTo>
                    <a:lnTo>
                      <a:pt x="455" y="778"/>
                    </a:lnTo>
                    <a:lnTo>
                      <a:pt x="454" y="776"/>
                    </a:lnTo>
                    <a:lnTo>
                      <a:pt x="454" y="776"/>
                    </a:lnTo>
                    <a:lnTo>
                      <a:pt x="448" y="776"/>
                    </a:lnTo>
                    <a:lnTo>
                      <a:pt x="442" y="776"/>
                    </a:lnTo>
                    <a:lnTo>
                      <a:pt x="442" y="776"/>
                    </a:lnTo>
                    <a:lnTo>
                      <a:pt x="440" y="776"/>
                    </a:lnTo>
                    <a:lnTo>
                      <a:pt x="440" y="775"/>
                    </a:lnTo>
                    <a:lnTo>
                      <a:pt x="440" y="768"/>
                    </a:lnTo>
                    <a:lnTo>
                      <a:pt x="440" y="768"/>
                    </a:lnTo>
                    <a:lnTo>
                      <a:pt x="438" y="765"/>
                    </a:lnTo>
                    <a:lnTo>
                      <a:pt x="435" y="764"/>
                    </a:lnTo>
                    <a:lnTo>
                      <a:pt x="432" y="764"/>
                    </a:lnTo>
                    <a:lnTo>
                      <a:pt x="430" y="762"/>
                    </a:lnTo>
                    <a:lnTo>
                      <a:pt x="430" y="762"/>
                    </a:lnTo>
                    <a:lnTo>
                      <a:pt x="430" y="759"/>
                    </a:lnTo>
                    <a:lnTo>
                      <a:pt x="431" y="757"/>
                    </a:lnTo>
                    <a:lnTo>
                      <a:pt x="434" y="752"/>
                    </a:lnTo>
                    <a:lnTo>
                      <a:pt x="434" y="752"/>
                    </a:lnTo>
                    <a:lnTo>
                      <a:pt x="437" y="751"/>
                    </a:lnTo>
                    <a:lnTo>
                      <a:pt x="438" y="749"/>
                    </a:lnTo>
                    <a:lnTo>
                      <a:pt x="440" y="747"/>
                    </a:lnTo>
                    <a:lnTo>
                      <a:pt x="440" y="747"/>
                    </a:lnTo>
                    <a:lnTo>
                      <a:pt x="438" y="745"/>
                    </a:lnTo>
                    <a:lnTo>
                      <a:pt x="435" y="744"/>
                    </a:lnTo>
                    <a:lnTo>
                      <a:pt x="434" y="742"/>
                    </a:lnTo>
                    <a:lnTo>
                      <a:pt x="434" y="740"/>
                    </a:lnTo>
                    <a:lnTo>
                      <a:pt x="434" y="740"/>
                    </a:lnTo>
                    <a:lnTo>
                      <a:pt x="437" y="737"/>
                    </a:lnTo>
                    <a:lnTo>
                      <a:pt x="440" y="734"/>
                    </a:lnTo>
                    <a:lnTo>
                      <a:pt x="442" y="732"/>
                    </a:lnTo>
                    <a:lnTo>
                      <a:pt x="442" y="730"/>
                    </a:lnTo>
                    <a:lnTo>
                      <a:pt x="442" y="730"/>
                    </a:lnTo>
                    <a:lnTo>
                      <a:pt x="444" y="725"/>
                    </a:lnTo>
                    <a:lnTo>
                      <a:pt x="445" y="724"/>
                    </a:lnTo>
                    <a:lnTo>
                      <a:pt x="448" y="722"/>
                    </a:lnTo>
                    <a:lnTo>
                      <a:pt x="452" y="724"/>
                    </a:lnTo>
                    <a:lnTo>
                      <a:pt x="452" y="724"/>
                    </a:lnTo>
                    <a:lnTo>
                      <a:pt x="455" y="727"/>
                    </a:lnTo>
                    <a:lnTo>
                      <a:pt x="458" y="731"/>
                    </a:lnTo>
                    <a:lnTo>
                      <a:pt x="461" y="734"/>
                    </a:lnTo>
                    <a:lnTo>
                      <a:pt x="462" y="735"/>
                    </a:lnTo>
                    <a:lnTo>
                      <a:pt x="465" y="734"/>
                    </a:lnTo>
                    <a:lnTo>
                      <a:pt x="465" y="734"/>
                    </a:lnTo>
                    <a:lnTo>
                      <a:pt x="468" y="732"/>
                    </a:lnTo>
                    <a:lnTo>
                      <a:pt x="468" y="730"/>
                    </a:lnTo>
                    <a:lnTo>
                      <a:pt x="467" y="724"/>
                    </a:lnTo>
                    <a:lnTo>
                      <a:pt x="467" y="724"/>
                    </a:lnTo>
                    <a:lnTo>
                      <a:pt x="465" y="720"/>
                    </a:lnTo>
                    <a:lnTo>
                      <a:pt x="467" y="717"/>
                    </a:lnTo>
                    <a:lnTo>
                      <a:pt x="471" y="715"/>
                    </a:lnTo>
                    <a:lnTo>
                      <a:pt x="471" y="715"/>
                    </a:lnTo>
                    <a:lnTo>
                      <a:pt x="474" y="714"/>
                    </a:lnTo>
                    <a:lnTo>
                      <a:pt x="475" y="711"/>
                    </a:lnTo>
                    <a:lnTo>
                      <a:pt x="477" y="710"/>
                    </a:lnTo>
                    <a:lnTo>
                      <a:pt x="479" y="708"/>
                    </a:lnTo>
                    <a:lnTo>
                      <a:pt x="479" y="708"/>
                    </a:lnTo>
                    <a:lnTo>
                      <a:pt x="484" y="707"/>
                    </a:lnTo>
                    <a:lnTo>
                      <a:pt x="488" y="705"/>
                    </a:lnTo>
                    <a:lnTo>
                      <a:pt x="496" y="700"/>
                    </a:lnTo>
                    <a:lnTo>
                      <a:pt x="496" y="700"/>
                    </a:lnTo>
                    <a:lnTo>
                      <a:pt x="502" y="697"/>
                    </a:lnTo>
                    <a:lnTo>
                      <a:pt x="505" y="697"/>
                    </a:lnTo>
                    <a:lnTo>
                      <a:pt x="508" y="697"/>
                    </a:lnTo>
                    <a:lnTo>
                      <a:pt x="508" y="697"/>
                    </a:lnTo>
                    <a:lnTo>
                      <a:pt x="514" y="700"/>
                    </a:lnTo>
                    <a:lnTo>
                      <a:pt x="515" y="700"/>
                    </a:lnTo>
                    <a:lnTo>
                      <a:pt x="516" y="697"/>
                    </a:lnTo>
                    <a:lnTo>
                      <a:pt x="516" y="697"/>
                    </a:lnTo>
                    <a:lnTo>
                      <a:pt x="519" y="694"/>
                    </a:lnTo>
                    <a:lnTo>
                      <a:pt x="523" y="694"/>
                    </a:lnTo>
                    <a:lnTo>
                      <a:pt x="526" y="695"/>
                    </a:lnTo>
                    <a:lnTo>
                      <a:pt x="528" y="697"/>
                    </a:lnTo>
                    <a:lnTo>
                      <a:pt x="528" y="697"/>
                    </a:lnTo>
                    <a:lnTo>
                      <a:pt x="531" y="698"/>
                    </a:lnTo>
                    <a:lnTo>
                      <a:pt x="536" y="700"/>
                    </a:lnTo>
                    <a:lnTo>
                      <a:pt x="542" y="701"/>
                    </a:lnTo>
                    <a:lnTo>
                      <a:pt x="546" y="703"/>
                    </a:lnTo>
                    <a:lnTo>
                      <a:pt x="546" y="703"/>
                    </a:lnTo>
                    <a:lnTo>
                      <a:pt x="555" y="708"/>
                    </a:lnTo>
                    <a:lnTo>
                      <a:pt x="559" y="711"/>
                    </a:lnTo>
                    <a:lnTo>
                      <a:pt x="560" y="714"/>
                    </a:lnTo>
                    <a:lnTo>
                      <a:pt x="560" y="714"/>
                    </a:lnTo>
                    <a:lnTo>
                      <a:pt x="560" y="715"/>
                    </a:lnTo>
                    <a:lnTo>
                      <a:pt x="562" y="718"/>
                    </a:lnTo>
                    <a:lnTo>
                      <a:pt x="563" y="718"/>
                    </a:lnTo>
                    <a:lnTo>
                      <a:pt x="565" y="715"/>
                    </a:lnTo>
                    <a:lnTo>
                      <a:pt x="565" y="715"/>
                    </a:lnTo>
                    <a:lnTo>
                      <a:pt x="565" y="714"/>
                    </a:lnTo>
                    <a:lnTo>
                      <a:pt x="568" y="712"/>
                    </a:lnTo>
                    <a:lnTo>
                      <a:pt x="573" y="715"/>
                    </a:lnTo>
                    <a:lnTo>
                      <a:pt x="573" y="715"/>
                    </a:lnTo>
                    <a:lnTo>
                      <a:pt x="579" y="718"/>
                    </a:lnTo>
                    <a:lnTo>
                      <a:pt x="583" y="718"/>
                    </a:lnTo>
                    <a:lnTo>
                      <a:pt x="586" y="717"/>
                    </a:lnTo>
                    <a:lnTo>
                      <a:pt x="589" y="714"/>
                    </a:lnTo>
                    <a:lnTo>
                      <a:pt x="589" y="714"/>
                    </a:lnTo>
                    <a:lnTo>
                      <a:pt x="592" y="712"/>
                    </a:lnTo>
                    <a:lnTo>
                      <a:pt x="596" y="710"/>
                    </a:lnTo>
                    <a:lnTo>
                      <a:pt x="600" y="708"/>
                    </a:lnTo>
                    <a:lnTo>
                      <a:pt x="605" y="710"/>
                    </a:lnTo>
                    <a:lnTo>
                      <a:pt x="605" y="710"/>
                    </a:lnTo>
                    <a:lnTo>
                      <a:pt x="609" y="712"/>
                    </a:lnTo>
                    <a:lnTo>
                      <a:pt x="610" y="712"/>
                    </a:lnTo>
                    <a:lnTo>
                      <a:pt x="613" y="710"/>
                    </a:lnTo>
                    <a:lnTo>
                      <a:pt x="613" y="710"/>
                    </a:lnTo>
                    <a:lnTo>
                      <a:pt x="617" y="708"/>
                    </a:lnTo>
                    <a:lnTo>
                      <a:pt x="623" y="707"/>
                    </a:lnTo>
                    <a:lnTo>
                      <a:pt x="627" y="708"/>
                    </a:lnTo>
                    <a:lnTo>
                      <a:pt x="629" y="711"/>
                    </a:lnTo>
                    <a:lnTo>
                      <a:pt x="629" y="711"/>
                    </a:lnTo>
                    <a:lnTo>
                      <a:pt x="632" y="714"/>
                    </a:lnTo>
                    <a:lnTo>
                      <a:pt x="633" y="715"/>
                    </a:lnTo>
                    <a:lnTo>
                      <a:pt x="640" y="715"/>
                    </a:lnTo>
                    <a:lnTo>
                      <a:pt x="640" y="715"/>
                    </a:lnTo>
                    <a:lnTo>
                      <a:pt x="643" y="717"/>
                    </a:lnTo>
                    <a:lnTo>
                      <a:pt x="644" y="720"/>
                    </a:lnTo>
                    <a:lnTo>
                      <a:pt x="646" y="721"/>
                    </a:lnTo>
                    <a:lnTo>
                      <a:pt x="647" y="721"/>
                    </a:lnTo>
                    <a:lnTo>
                      <a:pt x="647" y="721"/>
                    </a:lnTo>
                    <a:lnTo>
                      <a:pt x="649" y="720"/>
                    </a:lnTo>
                    <a:lnTo>
                      <a:pt x="650" y="717"/>
                    </a:lnTo>
                    <a:lnTo>
                      <a:pt x="652" y="714"/>
                    </a:lnTo>
                    <a:lnTo>
                      <a:pt x="653" y="712"/>
                    </a:lnTo>
                    <a:lnTo>
                      <a:pt x="653" y="712"/>
                    </a:lnTo>
                    <a:lnTo>
                      <a:pt x="659" y="715"/>
                    </a:lnTo>
                    <a:lnTo>
                      <a:pt x="661" y="717"/>
                    </a:lnTo>
                    <a:lnTo>
                      <a:pt x="666" y="718"/>
                    </a:lnTo>
                    <a:lnTo>
                      <a:pt x="666" y="718"/>
                    </a:lnTo>
                    <a:lnTo>
                      <a:pt x="670" y="718"/>
                    </a:lnTo>
                    <a:lnTo>
                      <a:pt x="673" y="717"/>
                    </a:lnTo>
                    <a:lnTo>
                      <a:pt x="674" y="715"/>
                    </a:lnTo>
                    <a:lnTo>
                      <a:pt x="676" y="712"/>
                    </a:lnTo>
                    <a:lnTo>
                      <a:pt x="676" y="712"/>
                    </a:lnTo>
                    <a:lnTo>
                      <a:pt x="674" y="705"/>
                    </a:lnTo>
                    <a:lnTo>
                      <a:pt x="673" y="703"/>
                    </a:lnTo>
                    <a:lnTo>
                      <a:pt x="671" y="701"/>
                    </a:lnTo>
                    <a:lnTo>
                      <a:pt x="671" y="701"/>
                    </a:lnTo>
                    <a:lnTo>
                      <a:pt x="666" y="700"/>
                    </a:lnTo>
                    <a:lnTo>
                      <a:pt x="663" y="698"/>
                    </a:lnTo>
                    <a:lnTo>
                      <a:pt x="660" y="697"/>
                    </a:lnTo>
                    <a:lnTo>
                      <a:pt x="660" y="697"/>
                    </a:lnTo>
                    <a:lnTo>
                      <a:pt x="657" y="697"/>
                    </a:lnTo>
                    <a:lnTo>
                      <a:pt x="654" y="694"/>
                    </a:lnTo>
                    <a:lnTo>
                      <a:pt x="654" y="691"/>
                    </a:lnTo>
                    <a:lnTo>
                      <a:pt x="656" y="688"/>
                    </a:lnTo>
                    <a:lnTo>
                      <a:pt x="656" y="688"/>
                    </a:lnTo>
                    <a:lnTo>
                      <a:pt x="663" y="685"/>
                    </a:lnTo>
                    <a:lnTo>
                      <a:pt x="666" y="683"/>
                    </a:lnTo>
                    <a:lnTo>
                      <a:pt x="666" y="680"/>
                    </a:lnTo>
                    <a:lnTo>
                      <a:pt x="666" y="680"/>
                    </a:lnTo>
                    <a:lnTo>
                      <a:pt x="664" y="677"/>
                    </a:lnTo>
                    <a:lnTo>
                      <a:pt x="664" y="674"/>
                    </a:lnTo>
                    <a:lnTo>
                      <a:pt x="666" y="671"/>
                    </a:lnTo>
                    <a:lnTo>
                      <a:pt x="669" y="668"/>
                    </a:lnTo>
                    <a:lnTo>
                      <a:pt x="669" y="668"/>
                    </a:lnTo>
                    <a:lnTo>
                      <a:pt x="680" y="668"/>
                    </a:lnTo>
                    <a:lnTo>
                      <a:pt x="684" y="667"/>
                    </a:lnTo>
                    <a:lnTo>
                      <a:pt x="686" y="666"/>
                    </a:lnTo>
                    <a:lnTo>
                      <a:pt x="686" y="666"/>
                    </a:lnTo>
                    <a:lnTo>
                      <a:pt x="683" y="664"/>
                    </a:lnTo>
                    <a:lnTo>
                      <a:pt x="679" y="663"/>
                    </a:lnTo>
                    <a:lnTo>
                      <a:pt x="674" y="661"/>
                    </a:lnTo>
                    <a:lnTo>
                      <a:pt x="671" y="658"/>
                    </a:lnTo>
                    <a:lnTo>
                      <a:pt x="671" y="658"/>
                    </a:lnTo>
                    <a:lnTo>
                      <a:pt x="670" y="656"/>
                    </a:lnTo>
                    <a:lnTo>
                      <a:pt x="669" y="651"/>
                    </a:lnTo>
                    <a:lnTo>
                      <a:pt x="670" y="647"/>
                    </a:lnTo>
                    <a:lnTo>
                      <a:pt x="670" y="646"/>
                    </a:lnTo>
                    <a:lnTo>
                      <a:pt x="670" y="646"/>
                    </a:lnTo>
                    <a:lnTo>
                      <a:pt x="673" y="646"/>
                    </a:lnTo>
                    <a:lnTo>
                      <a:pt x="677" y="646"/>
                    </a:lnTo>
                    <a:lnTo>
                      <a:pt x="680" y="646"/>
                    </a:lnTo>
                    <a:lnTo>
                      <a:pt x="684" y="644"/>
                    </a:lnTo>
                    <a:lnTo>
                      <a:pt x="684" y="644"/>
                    </a:lnTo>
                    <a:lnTo>
                      <a:pt x="688" y="644"/>
                    </a:lnTo>
                    <a:lnTo>
                      <a:pt x="693" y="644"/>
                    </a:lnTo>
                    <a:lnTo>
                      <a:pt x="698" y="644"/>
                    </a:lnTo>
                    <a:lnTo>
                      <a:pt x="703" y="643"/>
                    </a:lnTo>
                    <a:lnTo>
                      <a:pt x="703" y="643"/>
                    </a:lnTo>
                    <a:lnTo>
                      <a:pt x="708" y="640"/>
                    </a:lnTo>
                    <a:lnTo>
                      <a:pt x="716" y="639"/>
                    </a:lnTo>
                    <a:lnTo>
                      <a:pt x="727" y="637"/>
                    </a:lnTo>
                    <a:lnTo>
                      <a:pt x="727" y="637"/>
                    </a:lnTo>
                    <a:lnTo>
                      <a:pt x="733" y="637"/>
                    </a:lnTo>
                    <a:lnTo>
                      <a:pt x="735" y="636"/>
                    </a:lnTo>
                    <a:lnTo>
                      <a:pt x="744" y="633"/>
                    </a:lnTo>
                    <a:lnTo>
                      <a:pt x="744" y="633"/>
                    </a:lnTo>
                    <a:lnTo>
                      <a:pt x="755" y="631"/>
                    </a:lnTo>
                    <a:lnTo>
                      <a:pt x="767" y="629"/>
                    </a:lnTo>
                    <a:lnTo>
                      <a:pt x="767" y="629"/>
                    </a:lnTo>
                    <a:lnTo>
                      <a:pt x="780" y="626"/>
                    </a:lnTo>
                    <a:lnTo>
                      <a:pt x="787" y="623"/>
                    </a:lnTo>
                    <a:lnTo>
                      <a:pt x="789" y="621"/>
                    </a:lnTo>
                    <a:lnTo>
                      <a:pt x="789" y="620"/>
                    </a:lnTo>
                    <a:lnTo>
                      <a:pt x="789" y="620"/>
                    </a:lnTo>
                    <a:lnTo>
                      <a:pt x="792" y="619"/>
                    </a:lnTo>
                    <a:lnTo>
                      <a:pt x="799" y="616"/>
                    </a:lnTo>
                    <a:lnTo>
                      <a:pt x="805" y="616"/>
                    </a:lnTo>
                    <a:lnTo>
                      <a:pt x="809" y="616"/>
                    </a:lnTo>
                    <a:lnTo>
                      <a:pt x="809" y="616"/>
                    </a:lnTo>
                    <a:lnTo>
                      <a:pt x="817" y="619"/>
                    </a:lnTo>
                    <a:lnTo>
                      <a:pt x="819" y="619"/>
                    </a:lnTo>
                    <a:lnTo>
                      <a:pt x="822" y="617"/>
                    </a:lnTo>
                    <a:lnTo>
                      <a:pt x="822" y="617"/>
                    </a:lnTo>
                    <a:lnTo>
                      <a:pt x="825" y="617"/>
                    </a:lnTo>
                    <a:lnTo>
                      <a:pt x="829" y="619"/>
                    </a:lnTo>
                    <a:lnTo>
                      <a:pt x="832" y="621"/>
                    </a:lnTo>
                    <a:lnTo>
                      <a:pt x="832" y="624"/>
                    </a:lnTo>
                    <a:lnTo>
                      <a:pt x="832" y="624"/>
                    </a:lnTo>
                    <a:lnTo>
                      <a:pt x="832" y="627"/>
                    </a:lnTo>
                    <a:lnTo>
                      <a:pt x="834" y="630"/>
                    </a:lnTo>
                    <a:lnTo>
                      <a:pt x="835" y="633"/>
                    </a:lnTo>
                    <a:lnTo>
                      <a:pt x="835" y="636"/>
                    </a:lnTo>
                    <a:lnTo>
                      <a:pt x="835" y="636"/>
                    </a:lnTo>
                    <a:lnTo>
                      <a:pt x="834" y="639"/>
                    </a:lnTo>
                    <a:lnTo>
                      <a:pt x="834" y="640"/>
                    </a:lnTo>
                    <a:lnTo>
                      <a:pt x="834" y="643"/>
                    </a:lnTo>
                    <a:lnTo>
                      <a:pt x="834" y="643"/>
                    </a:lnTo>
                    <a:lnTo>
                      <a:pt x="836" y="643"/>
                    </a:lnTo>
                    <a:lnTo>
                      <a:pt x="841" y="643"/>
                    </a:lnTo>
                    <a:lnTo>
                      <a:pt x="845" y="641"/>
                    </a:lnTo>
                    <a:lnTo>
                      <a:pt x="848" y="640"/>
                    </a:lnTo>
                    <a:lnTo>
                      <a:pt x="848" y="640"/>
                    </a:lnTo>
                    <a:lnTo>
                      <a:pt x="851" y="639"/>
                    </a:lnTo>
                    <a:lnTo>
                      <a:pt x="852" y="640"/>
                    </a:lnTo>
                    <a:lnTo>
                      <a:pt x="854" y="641"/>
                    </a:lnTo>
                    <a:lnTo>
                      <a:pt x="855" y="644"/>
                    </a:lnTo>
                    <a:lnTo>
                      <a:pt x="855" y="644"/>
                    </a:lnTo>
                    <a:lnTo>
                      <a:pt x="855" y="646"/>
                    </a:lnTo>
                    <a:lnTo>
                      <a:pt x="856" y="647"/>
                    </a:lnTo>
                    <a:lnTo>
                      <a:pt x="858" y="646"/>
                    </a:lnTo>
                    <a:lnTo>
                      <a:pt x="859" y="644"/>
                    </a:lnTo>
                    <a:lnTo>
                      <a:pt x="859" y="644"/>
                    </a:lnTo>
                    <a:lnTo>
                      <a:pt x="859" y="643"/>
                    </a:lnTo>
                    <a:lnTo>
                      <a:pt x="862" y="643"/>
                    </a:lnTo>
                    <a:lnTo>
                      <a:pt x="866" y="646"/>
                    </a:lnTo>
                    <a:lnTo>
                      <a:pt x="866" y="646"/>
                    </a:lnTo>
                    <a:lnTo>
                      <a:pt x="869" y="647"/>
                    </a:lnTo>
                    <a:lnTo>
                      <a:pt x="872" y="646"/>
                    </a:lnTo>
                    <a:lnTo>
                      <a:pt x="873" y="646"/>
                    </a:lnTo>
                    <a:lnTo>
                      <a:pt x="875" y="647"/>
                    </a:lnTo>
                    <a:lnTo>
                      <a:pt x="875" y="647"/>
                    </a:lnTo>
                    <a:lnTo>
                      <a:pt x="873" y="650"/>
                    </a:lnTo>
                    <a:lnTo>
                      <a:pt x="871" y="651"/>
                    </a:lnTo>
                    <a:lnTo>
                      <a:pt x="868" y="654"/>
                    </a:lnTo>
                    <a:lnTo>
                      <a:pt x="868" y="656"/>
                    </a:lnTo>
                    <a:lnTo>
                      <a:pt x="869" y="657"/>
                    </a:lnTo>
                    <a:lnTo>
                      <a:pt x="869" y="657"/>
                    </a:lnTo>
                    <a:lnTo>
                      <a:pt x="871" y="658"/>
                    </a:lnTo>
                    <a:lnTo>
                      <a:pt x="872" y="658"/>
                    </a:lnTo>
                    <a:lnTo>
                      <a:pt x="875" y="657"/>
                    </a:lnTo>
                    <a:lnTo>
                      <a:pt x="878" y="654"/>
                    </a:lnTo>
                    <a:lnTo>
                      <a:pt x="882" y="654"/>
                    </a:lnTo>
                    <a:lnTo>
                      <a:pt x="882" y="654"/>
                    </a:lnTo>
                    <a:lnTo>
                      <a:pt x="886" y="654"/>
                    </a:lnTo>
                    <a:lnTo>
                      <a:pt x="890" y="651"/>
                    </a:lnTo>
                    <a:lnTo>
                      <a:pt x="895" y="648"/>
                    </a:lnTo>
                    <a:lnTo>
                      <a:pt x="899" y="647"/>
                    </a:lnTo>
                    <a:lnTo>
                      <a:pt x="899" y="647"/>
                    </a:lnTo>
                    <a:lnTo>
                      <a:pt x="903" y="646"/>
                    </a:lnTo>
                    <a:lnTo>
                      <a:pt x="906" y="644"/>
                    </a:lnTo>
                    <a:lnTo>
                      <a:pt x="913" y="639"/>
                    </a:lnTo>
                    <a:lnTo>
                      <a:pt x="913" y="639"/>
                    </a:lnTo>
                    <a:lnTo>
                      <a:pt x="918" y="639"/>
                    </a:lnTo>
                    <a:lnTo>
                      <a:pt x="922" y="637"/>
                    </a:lnTo>
                    <a:lnTo>
                      <a:pt x="925" y="639"/>
                    </a:lnTo>
                    <a:lnTo>
                      <a:pt x="925" y="639"/>
                    </a:lnTo>
                    <a:lnTo>
                      <a:pt x="925" y="640"/>
                    </a:lnTo>
                    <a:lnTo>
                      <a:pt x="925" y="640"/>
                    </a:lnTo>
                    <a:lnTo>
                      <a:pt x="922" y="643"/>
                    </a:lnTo>
                    <a:lnTo>
                      <a:pt x="922" y="646"/>
                    </a:lnTo>
                    <a:lnTo>
                      <a:pt x="923" y="648"/>
                    </a:lnTo>
                    <a:lnTo>
                      <a:pt x="929" y="653"/>
                    </a:lnTo>
                    <a:lnTo>
                      <a:pt x="929" y="653"/>
                    </a:lnTo>
                    <a:lnTo>
                      <a:pt x="933" y="654"/>
                    </a:lnTo>
                    <a:lnTo>
                      <a:pt x="937" y="658"/>
                    </a:lnTo>
                    <a:lnTo>
                      <a:pt x="945" y="667"/>
                    </a:lnTo>
                    <a:lnTo>
                      <a:pt x="959" y="687"/>
                    </a:lnTo>
                    <a:lnTo>
                      <a:pt x="959" y="687"/>
                    </a:lnTo>
                    <a:lnTo>
                      <a:pt x="963" y="695"/>
                    </a:lnTo>
                    <a:lnTo>
                      <a:pt x="967" y="705"/>
                    </a:lnTo>
                    <a:lnTo>
                      <a:pt x="972" y="712"/>
                    </a:lnTo>
                    <a:lnTo>
                      <a:pt x="973" y="715"/>
                    </a:lnTo>
                    <a:lnTo>
                      <a:pt x="974" y="715"/>
                    </a:lnTo>
                    <a:lnTo>
                      <a:pt x="974" y="715"/>
                    </a:lnTo>
                    <a:lnTo>
                      <a:pt x="977" y="714"/>
                    </a:lnTo>
                    <a:lnTo>
                      <a:pt x="979" y="711"/>
                    </a:lnTo>
                    <a:lnTo>
                      <a:pt x="982" y="708"/>
                    </a:lnTo>
                    <a:lnTo>
                      <a:pt x="984" y="705"/>
                    </a:lnTo>
                    <a:lnTo>
                      <a:pt x="984" y="705"/>
                    </a:lnTo>
                    <a:lnTo>
                      <a:pt x="987" y="707"/>
                    </a:lnTo>
                    <a:lnTo>
                      <a:pt x="990" y="710"/>
                    </a:lnTo>
                    <a:lnTo>
                      <a:pt x="993" y="712"/>
                    </a:lnTo>
                    <a:lnTo>
                      <a:pt x="997" y="714"/>
                    </a:lnTo>
                    <a:lnTo>
                      <a:pt x="997" y="714"/>
                    </a:lnTo>
                    <a:lnTo>
                      <a:pt x="1004" y="717"/>
                    </a:lnTo>
                    <a:lnTo>
                      <a:pt x="1009" y="717"/>
                    </a:lnTo>
                    <a:lnTo>
                      <a:pt x="1013" y="717"/>
                    </a:lnTo>
                    <a:lnTo>
                      <a:pt x="1013" y="717"/>
                    </a:lnTo>
                    <a:lnTo>
                      <a:pt x="1020" y="714"/>
                    </a:lnTo>
                    <a:lnTo>
                      <a:pt x="1026" y="712"/>
                    </a:lnTo>
                    <a:lnTo>
                      <a:pt x="1028" y="712"/>
                    </a:lnTo>
                    <a:lnTo>
                      <a:pt x="1028" y="712"/>
                    </a:lnTo>
                    <a:lnTo>
                      <a:pt x="1034" y="715"/>
                    </a:lnTo>
                    <a:lnTo>
                      <a:pt x="1036" y="717"/>
                    </a:lnTo>
                    <a:lnTo>
                      <a:pt x="1038" y="721"/>
                    </a:lnTo>
                    <a:lnTo>
                      <a:pt x="1038" y="721"/>
                    </a:lnTo>
                    <a:lnTo>
                      <a:pt x="1041" y="725"/>
                    </a:lnTo>
                    <a:lnTo>
                      <a:pt x="1044" y="728"/>
                    </a:lnTo>
                    <a:lnTo>
                      <a:pt x="1046" y="728"/>
                    </a:lnTo>
                    <a:lnTo>
                      <a:pt x="1048" y="730"/>
                    </a:lnTo>
                    <a:lnTo>
                      <a:pt x="1048" y="730"/>
                    </a:lnTo>
                    <a:lnTo>
                      <a:pt x="1050" y="730"/>
                    </a:lnTo>
                    <a:lnTo>
                      <a:pt x="1051" y="731"/>
                    </a:lnTo>
                    <a:lnTo>
                      <a:pt x="1053" y="735"/>
                    </a:lnTo>
                    <a:lnTo>
                      <a:pt x="1053" y="735"/>
                    </a:lnTo>
                    <a:lnTo>
                      <a:pt x="1053" y="737"/>
                    </a:lnTo>
                    <a:lnTo>
                      <a:pt x="1056" y="740"/>
                    </a:lnTo>
                    <a:lnTo>
                      <a:pt x="1057" y="741"/>
                    </a:lnTo>
                    <a:lnTo>
                      <a:pt x="1060" y="742"/>
                    </a:lnTo>
                    <a:lnTo>
                      <a:pt x="1060" y="742"/>
                    </a:lnTo>
                    <a:lnTo>
                      <a:pt x="1067" y="741"/>
                    </a:lnTo>
                    <a:lnTo>
                      <a:pt x="1073" y="740"/>
                    </a:lnTo>
                    <a:lnTo>
                      <a:pt x="1073" y="740"/>
                    </a:lnTo>
                    <a:lnTo>
                      <a:pt x="1077" y="738"/>
                    </a:lnTo>
                    <a:lnTo>
                      <a:pt x="1078" y="738"/>
                    </a:lnTo>
                    <a:lnTo>
                      <a:pt x="1078" y="740"/>
                    </a:lnTo>
                    <a:lnTo>
                      <a:pt x="1078" y="740"/>
                    </a:lnTo>
                    <a:lnTo>
                      <a:pt x="1081" y="745"/>
                    </a:lnTo>
                    <a:lnTo>
                      <a:pt x="1084" y="748"/>
                    </a:lnTo>
                    <a:lnTo>
                      <a:pt x="1087" y="748"/>
                    </a:lnTo>
                    <a:lnTo>
                      <a:pt x="1087" y="748"/>
                    </a:lnTo>
                    <a:lnTo>
                      <a:pt x="1091" y="749"/>
                    </a:lnTo>
                    <a:lnTo>
                      <a:pt x="1094" y="749"/>
                    </a:lnTo>
                    <a:lnTo>
                      <a:pt x="1095" y="748"/>
                    </a:lnTo>
                    <a:lnTo>
                      <a:pt x="1095" y="748"/>
                    </a:lnTo>
                    <a:lnTo>
                      <a:pt x="1097" y="747"/>
                    </a:lnTo>
                    <a:lnTo>
                      <a:pt x="1100" y="745"/>
                    </a:lnTo>
                    <a:lnTo>
                      <a:pt x="1107" y="744"/>
                    </a:lnTo>
                    <a:lnTo>
                      <a:pt x="1107" y="744"/>
                    </a:lnTo>
                    <a:lnTo>
                      <a:pt x="1114" y="742"/>
                    </a:lnTo>
                    <a:lnTo>
                      <a:pt x="1118" y="741"/>
                    </a:lnTo>
                    <a:lnTo>
                      <a:pt x="1121" y="738"/>
                    </a:lnTo>
                    <a:lnTo>
                      <a:pt x="1121" y="738"/>
                    </a:lnTo>
                    <a:lnTo>
                      <a:pt x="1124" y="735"/>
                    </a:lnTo>
                    <a:lnTo>
                      <a:pt x="1127" y="734"/>
                    </a:lnTo>
                    <a:lnTo>
                      <a:pt x="1131" y="732"/>
                    </a:lnTo>
                    <a:lnTo>
                      <a:pt x="1134" y="731"/>
                    </a:lnTo>
                    <a:lnTo>
                      <a:pt x="1134" y="731"/>
                    </a:lnTo>
                    <a:lnTo>
                      <a:pt x="1138" y="727"/>
                    </a:lnTo>
                    <a:lnTo>
                      <a:pt x="1142" y="725"/>
                    </a:lnTo>
                    <a:lnTo>
                      <a:pt x="1144" y="724"/>
                    </a:lnTo>
                    <a:lnTo>
                      <a:pt x="1144" y="724"/>
                    </a:lnTo>
                    <a:lnTo>
                      <a:pt x="1145" y="721"/>
                    </a:lnTo>
                    <a:lnTo>
                      <a:pt x="1149" y="721"/>
                    </a:lnTo>
                    <a:lnTo>
                      <a:pt x="1152" y="720"/>
                    </a:lnTo>
                    <a:lnTo>
                      <a:pt x="1155" y="718"/>
                    </a:lnTo>
                    <a:lnTo>
                      <a:pt x="1155" y="718"/>
                    </a:lnTo>
                    <a:lnTo>
                      <a:pt x="1157" y="717"/>
                    </a:lnTo>
                    <a:lnTo>
                      <a:pt x="1159" y="717"/>
                    </a:lnTo>
                    <a:lnTo>
                      <a:pt x="1166" y="717"/>
                    </a:lnTo>
                    <a:lnTo>
                      <a:pt x="1166" y="717"/>
                    </a:lnTo>
                    <a:lnTo>
                      <a:pt x="1178" y="720"/>
                    </a:lnTo>
                    <a:lnTo>
                      <a:pt x="1188" y="721"/>
                    </a:lnTo>
                    <a:lnTo>
                      <a:pt x="1188" y="721"/>
                    </a:lnTo>
                    <a:lnTo>
                      <a:pt x="1189" y="721"/>
                    </a:lnTo>
                    <a:lnTo>
                      <a:pt x="1191" y="725"/>
                    </a:lnTo>
                    <a:lnTo>
                      <a:pt x="1192" y="728"/>
                    </a:lnTo>
                    <a:lnTo>
                      <a:pt x="1194" y="730"/>
                    </a:lnTo>
                    <a:lnTo>
                      <a:pt x="1194" y="730"/>
                    </a:lnTo>
                    <a:lnTo>
                      <a:pt x="1201" y="732"/>
                    </a:lnTo>
                    <a:lnTo>
                      <a:pt x="1203" y="735"/>
                    </a:lnTo>
                    <a:lnTo>
                      <a:pt x="1206" y="735"/>
                    </a:lnTo>
                    <a:lnTo>
                      <a:pt x="1206" y="735"/>
                    </a:lnTo>
                    <a:lnTo>
                      <a:pt x="1212" y="732"/>
                    </a:lnTo>
                    <a:lnTo>
                      <a:pt x="1216" y="732"/>
                    </a:lnTo>
                    <a:lnTo>
                      <a:pt x="1219" y="734"/>
                    </a:lnTo>
                    <a:lnTo>
                      <a:pt x="1219" y="734"/>
                    </a:lnTo>
                    <a:lnTo>
                      <a:pt x="1226" y="738"/>
                    </a:lnTo>
                    <a:lnTo>
                      <a:pt x="1229" y="738"/>
                    </a:lnTo>
                    <a:lnTo>
                      <a:pt x="1230" y="737"/>
                    </a:lnTo>
                    <a:lnTo>
                      <a:pt x="1230" y="737"/>
                    </a:lnTo>
                    <a:lnTo>
                      <a:pt x="1233" y="735"/>
                    </a:lnTo>
                    <a:lnTo>
                      <a:pt x="1238" y="734"/>
                    </a:lnTo>
                    <a:lnTo>
                      <a:pt x="1242" y="732"/>
                    </a:lnTo>
                    <a:lnTo>
                      <a:pt x="1245" y="731"/>
                    </a:lnTo>
                    <a:lnTo>
                      <a:pt x="1245" y="731"/>
                    </a:lnTo>
                    <a:lnTo>
                      <a:pt x="1246" y="725"/>
                    </a:lnTo>
                    <a:lnTo>
                      <a:pt x="1246" y="722"/>
                    </a:lnTo>
                    <a:lnTo>
                      <a:pt x="1245" y="721"/>
                    </a:lnTo>
                    <a:lnTo>
                      <a:pt x="1245" y="721"/>
                    </a:lnTo>
                    <a:lnTo>
                      <a:pt x="1240" y="715"/>
                    </a:lnTo>
                    <a:lnTo>
                      <a:pt x="1239" y="708"/>
                    </a:lnTo>
                    <a:lnTo>
                      <a:pt x="1239" y="708"/>
                    </a:lnTo>
                    <a:lnTo>
                      <a:pt x="1239" y="705"/>
                    </a:lnTo>
                    <a:lnTo>
                      <a:pt x="1242" y="704"/>
                    </a:lnTo>
                    <a:lnTo>
                      <a:pt x="1243" y="701"/>
                    </a:lnTo>
                    <a:lnTo>
                      <a:pt x="1246" y="700"/>
                    </a:lnTo>
                    <a:lnTo>
                      <a:pt x="1246" y="700"/>
                    </a:lnTo>
                    <a:lnTo>
                      <a:pt x="1248" y="697"/>
                    </a:lnTo>
                    <a:lnTo>
                      <a:pt x="1249" y="697"/>
                    </a:lnTo>
                    <a:lnTo>
                      <a:pt x="1255" y="694"/>
                    </a:lnTo>
                    <a:lnTo>
                      <a:pt x="1255" y="694"/>
                    </a:lnTo>
                    <a:lnTo>
                      <a:pt x="1256" y="690"/>
                    </a:lnTo>
                    <a:lnTo>
                      <a:pt x="1258" y="688"/>
                    </a:lnTo>
                    <a:lnTo>
                      <a:pt x="1260" y="688"/>
                    </a:lnTo>
                    <a:lnTo>
                      <a:pt x="1260" y="688"/>
                    </a:lnTo>
                    <a:lnTo>
                      <a:pt x="1266" y="691"/>
                    </a:lnTo>
                    <a:lnTo>
                      <a:pt x="1272" y="694"/>
                    </a:lnTo>
                    <a:lnTo>
                      <a:pt x="1272" y="694"/>
                    </a:lnTo>
                    <a:lnTo>
                      <a:pt x="1276" y="695"/>
                    </a:lnTo>
                    <a:lnTo>
                      <a:pt x="1282" y="695"/>
                    </a:lnTo>
                    <a:lnTo>
                      <a:pt x="1282" y="695"/>
                    </a:lnTo>
                    <a:lnTo>
                      <a:pt x="1287" y="697"/>
                    </a:lnTo>
                    <a:lnTo>
                      <a:pt x="1293" y="701"/>
                    </a:lnTo>
                    <a:lnTo>
                      <a:pt x="1293" y="701"/>
                    </a:lnTo>
                    <a:lnTo>
                      <a:pt x="1302" y="703"/>
                    </a:lnTo>
                    <a:lnTo>
                      <a:pt x="1306" y="704"/>
                    </a:lnTo>
                    <a:lnTo>
                      <a:pt x="1309" y="705"/>
                    </a:lnTo>
                    <a:lnTo>
                      <a:pt x="1309" y="705"/>
                    </a:lnTo>
                    <a:lnTo>
                      <a:pt x="1310" y="708"/>
                    </a:lnTo>
                    <a:lnTo>
                      <a:pt x="1310" y="712"/>
                    </a:lnTo>
                    <a:lnTo>
                      <a:pt x="1310" y="717"/>
                    </a:lnTo>
                    <a:lnTo>
                      <a:pt x="1312" y="720"/>
                    </a:lnTo>
                    <a:lnTo>
                      <a:pt x="1312" y="720"/>
                    </a:lnTo>
                    <a:lnTo>
                      <a:pt x="1316" y="724"/>
                    </a:lnTo>
                    <a:lnTo>
                      <a:pt x="1319" y="727"/>
                    </a:lnTo>
                    <a:lnTo>
                      <a:pt x="1322" y="727"/>
                    </a:lnTo>
                    <a:lnTo>
                      <a:pt x="1322" y="727"/>
                    </a:lnTo>
                    <a:lnTo>
                      <a:pt x="1323" y="727"/>
                    </a:lnTo>
                    <a:lnTo>
                      <a:pt x="1327" y="728"/>
                    </a:lnTo>
                    <a:lnTo>
                      <a:pt x="1331" y="730"/>
                    </a:lnTo>
                    <a:lnTo>
                      <a:pt x="1336" y="731"/>
                    </a:lnTo>
                    <a:lnTo>
                      <a:pt x="1336" y="731"/>
                    </a:lnTo>
                    <a:lnTo>
                      <a:pt x="1341" y="728"/>
                    </a:lnTo>
                    <a:lnTo>
                      <a:pt x="1344" y="725"/>
                    </a:lnTo>
                    <a:lnTo>
                      <a:pt x="1347" y="725"/>
                    </a:lnTo>
                    <a:lnTo>
                      <a:pt x="1347" y="725"/>
                    </a:lnTo>
                    <a:lnTo>
                      <a:pt x="1354" y="724"/>
                    </a:lnTo>
                    <a:lnTo>
                      <a:pt x="1361" y="724"/>
                    </a:lnTo>
                    <a:lnTo>
                      <a:pt x="1361" y="724"/>
                    </a:lnTo>
                    <a:lnTo>
                      <a:pt x="1368" y="725"/>
                    </a:lnTo>
                    <a:lnTo>
                      <a:pt x="1373" y="727"/>
                    </a:lnTo>
                    <a:lnTo>
                      <a:pt x="1376" y="727"/>
                    </a:lnTo>
                    <a:lnTo>
                      <a:pt x="1376" y="727"/>
                    </a:lnTo>
                    <a:lnTo>
                      <a:pt x="1383" y="727"/>
                    </a:lnTo>
                    <a:lnTo>
                      <a:pt x="1386" y="728"/>
                    </a:lnTo>
                    <a:lnTo>
                      <a:pt x="1388" y="730"/>
                    </a:lnTo>
                    <a:lnTo>
                      <a:pt x="1388" y="730"/>
                    </a:lnTo>
                    <a:lnTo>
                      <a:pt x="1391" y="731"/>
                    </a:lnTo>
                    <a:lnTo>
                      <a:pt x="1396" y="732"/>
                    </a:lnTo>
                    <a:lnTo>
                      <a:pt x="1400" y="734"/>
                    </a:lnTo>
                    <a:lnTo>
                      <a:pt x="1401" y="735"/>
                    </a:lnTo>
                    <a:lnTo>
                      <a:pt x="1401" y="737"/>
                    </a:lnTo>
                    <a:lnTo>
                      <a:pt x="1401" y="737"/>
                    </a:lnTo>
                    <a:lnTo>
                      <a:pt x="1403" y="738"/>
                    </a:lnTo>
                    <a:lnTo>
                      <a:pt x="1405" y="741"/>
                    </a:lnTo>
                    <a:lnTo>
                      <a:pt x="1408" y="742"/>
                    </a:lnTo>
                    <a:lnTo>
                      <a:pt x="1410" y="745"/>
                    </a:lnTo>
                    <a:lnTo>
                      <a:pt x="1410" y="745"/>
                    </a:lnTo>
                    <a:lnTo>
                      <a:pt x="1411" y="747"/>
                    </a:lnTo>
                    <a:lnTo>
                      <a:pt x="1414" y="747"/>
                    </a:lnTo>
                    <a:lnTo>
                      <a:pt x="1420" y="748"/>
                    </a:lnTo>
                    <a:lnTo>
                      <a:pt x="1427" y="748"/>
                    </a:lnTo>
                    <a:lnTo>
                      <a:pt x="1431" y="749"/>
                    </a:lnTo>
                    <a:lnTo>
                      <a:pt x="1431" y="749"/>
                    </a:lnTo>
                    <a:lnTo>
                      <a:pt x="1435" y="749"/>
                    </a:lnTo>
                    <a:lnTo>
                      <a:pt x="1442" y="751"/>
                    </a:lnTo>
                    <a:lnTo>
                      <a:pt x="1448" y="749"/>
                    </a:lnTo>
                    <a:lnTo>
                      <a:pt x="1452" y="749"/>
                    </a:lnTo>
                    <a:lnTo>
                      <a:pt x="1452" y="749"/>
                    </a:lnTo>
                    <a:lnTo>
                      <a:pt x="1455" y="748"/>
                    </a:lnTo>
                    <a:lnTo>
                      <a:pt x="1461" y="747"/>
                    </a:lnTo>
                    <a:lnTo>
                      <a:pt x="1468" y="745"/>
                    </a:lnTo>
                    <a:lnTo>
                      <a:pt x="1472" y="744"/>
                    </a:lnTo>
                    <a:lnTo>
                      <a:pt x="1472" y="744"/>
                    </a:lnTo>
                    <a:lnTo>
                      <a:pt x="1477" y="742"/>
                    </a:lnTo>
                    <a:lnTo>
                      <a:pt x="1479" y="742"/>
                    </a:lnTo>
                    <a:lnTo>
                      <a:pt x="1484" y="741"/>
                    </a:lnTo>
                    <a:lnTo>
                      <a:pt x="1485" y="740"/>
                    </a:lnTo>
                    <a:lnTo>
                      <a:pt x="1485" y="740"/>
                    </a:lnTo>
                    <a:lnTo>
                      <a:pt x="1487" y="737"/>
                    </a:lnTo>
                    <a:lnTo>
                      <a:pt x="1491" y="734"/>
                    </a:lnTo>
                    <a:lnTo>
                      <a:pt x="1498" y="731"/>
                    </a:lnTo>
                    <a:lnTo>
                      <a:pt x="1498" y="731"/>
                    </a:lnTo>
                    <a:lnTo>
                      <a:pt x="1502" y="730"/>
                    </a:lnTo>
                    <a:lnTo>
                      <a:pt x="1509" y="728"/>
                    </a:lnTo>
                    <a:lnTo>
                      <a:pt x="1515" y="730"/>
                    </a:lnTo>
                    <a:lnTo>
                      <a:pt x="1518" y="731"/>
                    </a:lnTo>
                    <a:lnTo>
                      <a:pt x="1518" y="731"/>
                    </a:lnTo>
                    <a:lnTo>
                      <a:pt x="1521" y="734"/>
                    </a:lnTo>
                    <a:lnTo>
                      <a:pt x="1524" y="735"/>
                    </a:lnTo>
                    <a:lnTo>
                      <a:pt x="1528" y="735"/>
                    </a:lnTo>
                    <a:lnTo>
                      <a:pt x="1532" y="734"/>
                    </a:lnTo>
                    <a:lnTo>
                      <a:pt x="1532" y="734"/>
                    </a:lnTo>
                    <a:lnTo>
                      <a:pt x="1535" y="734"/>
                    </a:lnTo>
                    <a:lnTo>
                      <a:pt x="1541" y="734"/>
                    </a:lnTo>
                    <a:lnTo>
                      <a:pt x="1545" y="735"/>
                    </a:lnTo>
                    <a:lnTo>
                      <a:pt x="1548" y="738"/>
                    </a:lnTo>
                    <a:lnTo>
                      <a:pt x="1548" y="738"/>
                    </a:lnTo>
                    <a:lnTo>
                      <a:pt x="1549" y="740"/>
                    </a:lnTo>
                    <a:lnTo>
                      <a:pt x="1555" y="742"/>
                    </a:lnTo>
                    <a:lnTo>
                      <a:pt x="1563" y="742"/>
                    </a:lnTo>
                    <a:lnTo>
                      <a:pt x="1563" y="742"/>
                    </a:lnTo>
                    <a:lnTo>
                      <a:pt x="1570" y="738"/>
                    </a:lnTo>
                    <a:lnTo>
                      <a:pt x="1578" y="734"/>
                    </a:lnTo>
                    <a:lnTo>
                      <a:pt x="1578" y="734"/>
                    </a:lnTo>
                    <a:lnTo>
                      <a:pt x="1583" y="731"/>
                    </a:lnTo>
                    <a:lnTo>
                      <a:pt x="1585" y="730"/>
                    </a:lnTo>
                    <a:lnTo>
                      <a:pt x="1585" y="727"/>
                    </a:lnTo>
                    <a:lnTo>
                      <a:pt x="1585" y="727"/>
                    </a:lnTo>
                    <a:lnTo>
                      <a:pt x="1586" y="724"/>
                    </a:lnTo>
                    <a:lnTo>
                      <a:pt x="1588" y="720"/>
                    </a:lnTo>
                    <a:lnTo>
                      <a:pt x="1593" y="711"/>
                    </a:lnTo>
                    <a:lnTo>
                      <a:pt x="1593" y="711"/>
                    </a:lnTo>
                    <a:lnTo>
                      <a:pt x="1598" y="701"/>
                    </a:lnTo>
                    <a:lnTo>
                      <a:pt x="1600" y="697"/>
                    </a:lnTo>
                    <a:lnTo>
                      <a:pt x="1603" y="695"/>
                    </a:lnTo>
                    <a:lnTo>
                      <a:pt x="1603" y="695"/>
                    </a:lnTo>
                    <a:lnTo>
                      <a:pt x="1607" y="693"/>
                    </a:lnTo>
                    <a:lnTo>
                      <a:pt x="1609" y="690"/>
                    </a:lnTo>
                    <a:lnTo>
                      <a:pt x="1610" y="687"/>
                    </a:lnTo>
                    <a:lnTo>
                      <a:pt x="1610" y="687"/>
                    </a:lnTo>
                    <a:lnTo>
                      <a:pt x="1607" y="680"/>
                    </a:lnTo>
                    <a:lnTo>
                      <a:pt x="1606" y="677"/>
                    </a:lnTo>
                    <a:lnTo>
                      <a:pt x="1605" y="675"/>
                    </a:lnTo>
                    <a:lnTo>
                      <a:pt x="1605" y="675"/>
                    </a:lnTo>
                    <a:lnTo>
                      <a:pt x="1603" y="675"/>
                    </a:lnTo>
                    <a:lnTo>
                      <a:pt x="1600" y="675"/>
                    </a:lnTo>
                    <a:lnTo>
                      <a:pt x="1600" y="673"/>
                    </a:lnTo>
                    <a:lnTo>
                      <a:pt x="1603" y="667"/>
                    </a:lnTo>
                    <a:lnTo>
                      <a:pt x="1603" y="667"/>
                    </a:lnTo>
                    <a:lnTo>
                      <a:pt x="1606" y="664"/>
                    </a:lnTo>
                    <a:lnTo>
                      <a:pt x="1609" y="663"/>
                    </a:lnTo>
                    <a:lnTo>
                      <a:pt x="1616" y="661"/>
                    </a:lnTo>
                    <a:lnTo>
                      <a:pt x="1625" y="661"/>
                    </a:lnTo>
                    <a:lnTo>
                      <a:pt x="1625" y="661"/>
                    </a:lnTo>
                    <a:lnTo>
                      <a:pt x="1635" y="658"/>
                    </a:lnTo>
                    <a:lnTo>
                      <a:pt x="1642" y="658"/>
                    </a:lnTo>
                    <a:lnTo>
                      <a:pt x="1647" y="658"/>
                    </a:lnTo>
                    <a:lnTo>
                      <a:pt x="1647" y="658"/>
                    </a:lnTo>
                    <a:lnTo>
                      <a:pt x="1652" y="660"/>
                    </a:lnTo>
                    <a:lnTo>
                      <a:pt x="1656" y="660"/>
                    </a:lnTo>
                    <a:lnTo>
                      <a:pt x="1660" y="660"/>
                    </a:lnTo>
                    <a:lnTo>
                      <a:pt x="1666" y="661"/>
                    </a:lnTo>
                    <a:lnTo>
                      <a:pt x="1666" y="661"/>
                    </a:lnTo>
                    <a:lnTo>
                      <a:pt x="1671" y="664"/>
                    </a:lnTo>
                    <a:lnTo>
                      <a:pt x="1677" y="664"/>
                    </a:lnTo>
                    <a:lnTo>
                      <a:pt x="1681" y="666"/>
                    </a:lnTo>
                    <a:lnTo>
                      <a:pt x="1686" y="667"/>
                    </a:lnTo>
                    <a:lnTo>
                      <a:pt x="1686" y="667"/>
                    </a:lnTo>
                    <a:lnTo>
                      <a:pt x="1689" y="670"/>
                    </a:lnTo>
                    <a:lnTo>
                      <a:pt x="1691" y="673"/>
                    </a:lnTo>
                    <a:lnTo>
                      <a:pt x="1694" y="675"/>
                    </a:lnTo>
                    <a:lnTo>
                      <a:pt x="1696" y="677"/>
                    </a:lnTo>
                    <a:lnTo>
                      <a:pt x="1696" y="680"/>
                    </a:lnTo>
                    <a:lnTo>
                      <a:pt x="1696" y="680"/>
                    </a:lnTo>
                    <a:lnTo>
                      <a:pt x="1696" y="683"/>
                    </a:lnTo>
                    <a:lnTo>
                      <a:pt x="1699" y="684"/>
                    </a:lnTo>
                    <a:lnTo>
                      <a:pt x="1701" y="687"/>
                    </a:lnTo>
                    <a:lnTo>
                      <a:pt x="1703" y="694"/>
                    </a:lnTo>
                    <a:lnTo>
                      <a:pt x="1703" y="694"/>
                    </a:lnTo>
                    <a:lnTo>
                      <a:pt x="1706" y="701"/>
                    </a:lnTo>
                    <a:lnTo>
                      <a:pt x="1708" y="705"/>
                    </a:lnTo>
                    <a:lnTo>
                      <a:pt x="1711" y="710"/>
                    </a:lnTo>
                    <a:lnTo>
                      <a:pt x="1713" y="712"/>
                    </a:lnTo>
                    <a:lnTo>
                      <a:pt x="1713" y="712"/>
                    </a:lnTo>
                    <a:lnTo>
                      <a:pt x="1717" y="724"/>
                    </a:lnTo>
                    <a:lnTo>
                      <a:pt x="1720" y="728"/>
                    </a:lnTo>
                    <a:lnTo>
                      <a:pt x="1721" y="732"/>
                    </a:lnTo>
                    <a:lnTo>
                      <a:pt x="1721" y="732"/>
                    </a:lnTo>
                    <a:lnTo>
                      <a:pt x="1720" y="735"/>
                    </a:lnTo>
                    <a:lnTo>
                      <a:pt x="1720" y="738"/>
                    </a:lnTo>
                    <a:lnTo>
                      <a:pt x="1723" y="740"/>
                    </a:lnTo>
                    <a:lnTo>
                      <a:pt x="1727" y="741"/>
                    </a:lnTo>
                    <a:lnTo>
                      <a:pt x="1727" y="741"/>
                    </a:lnTo>
                    <a:lnTo>
                      <a:pt x="1733" y="742"/>
                    </a:lnTo>
                    <a:lnTo>
                      <a:pt x="1737" y="745"/>
                    </a:lnTo>
                    <a:lnTo>
                      <a:pt x="1740" y="747"/>
                    </a:lnTo>
                    <a:lnTo>
                      <a:pt x="1743" y="747"/>
                    </a:lnTo>
                    <a:lnTo>
                      <a:pt x="1743" y="747"/>
                    </a:lnTo>
                    <a:lnTo>
                      <a:pt x="1745" y="747"/>
                    </a:lnTo>
                    <a:lnTo>
                      <a:pt x="1750" y="748"/>
                    </a:lnTo>
                    <a:lnTo>
                      <a:pt x="1754" y="751"/>
                    </a:lnTo>
                    <a:lnTo>
                      <a:pt x="1758" y="754"/>
                    </a:lnTo>
                    <a:lnTo>
                      <a:pt x="1758" y="754"/>
                    </a:lnTo>
                    <a:lnTo>
                      <a:pt x="1763" y="757"/>
                    </a:lnTo>
                    <a:lnTo>
                      <a:pt x="1767" y="758"/>
                    </a:lnTo>
                    <a:lnTo>
                      <a:pt x="1770" y="759"/>
                    </a:lnTo>
                    <a:lnTo>
                      <a:pt x="1770" y="762"/>
                    </a:lnTo>
                    <a:lnTo>
                      <a:pt x="1770" y="762"/>
                    </a:lnTo>
                    <a:lnTo>
                      <a:pt x="1770" y="765"/>
                    </a:lnTo>
                    <a:lnTo>
                      <a:pt x="1771" y="769"/>
                    </a:lnTo>
                    <a:lnTo>
                      <a:pt x="1772" y="772"/>
                    </a:lnTo>
                    <a:lnTo>
                      <a:pt x="1774" y="775"/>
                    </a:lnTo>
                    <a:lnTo>
                      <a:pt x="1774" y="775"/>
                    </a:lnTo>
                    <a:lnTo>
                      <a:pt x="1774" y="778"/>
                    </a:lnTo>
                    <a:lnTo>
                      <a:pt x="1778" y="781"/>
                    </a:lnTo>
                    <a:lnTo>
                      <a:pt x="1784" y="782"/>
                    </a:lnTo>
                    <a:lnTo>
                      <a:pt x="1790" y="782"/>
                    </a:lnTo>
                    <a:lnTo>
                      <a:pt x="1790" y="782"/>
                    </a:lnTo>
                    <a:lnTo>
                      <a:pt x="1798" y="782"/>
                    </a:lnTo>
                    <a:lnTo>
                      <a:pt x="1801" y="781"/>
                    </a:lnTo>
                    <a:lnTo>
                      <a:pt x="1804" y="778"/>
                    </a:lnTo>
                    <a:lnTo>
                      <a:pt x="1804" y="778"/>
                    </a:lnTo>
                    <a:lnTo>
                      <a:pt x="1807" y="775"/>
                    </a:lnTo>
                    <a:lnTo>
                      <a:pt x="1811" y="774"/>
                    </a:lnTo>
                    <a:lnTo>
                      <a:pt x="1815" y="774"/>
                    </a:lnTo>
                    <a:lnTo>
                      <a:pt x="1819" y="772"/>
                    </a:lnTo>
                    <a:lnTo>
                      <a:pt x="1819" y="772"/>
                    </a:lnTo>
                    <a:lnTo>
                      <a:pt x="1822" y="771"/>
                    </a:lnTo>
                    <a:lnTo>
                      <a:pt x="1827" y="771"/>
                    </a:lnTo>
                    <a:lnTo>
                      <a:pt x="1831" y="771"/>
                    </a:lnTo>
                    <a:lnTo>
                      <a:pt x="1831" y="774"/>
                    </a:lnTo>
                    <a:lnTo>
                      <a:pt x="1832" y="776"/>
                    </a:lnTo>
                    <a:lnTo>
                      <a:pt x="1832" y="776"/>
                    </a:lnTo>
                    <a:lnTo>
                      <a:pt x="1832" y="781"/>
                    </a:lnTo>
                    <a:lnTo>
                      <a:pt x="1834" y="785"/>
                    </a:lnTo>
                    <a:lnTo>
                      <a:pt x="1834" y="786"/>
                    </a:lnTo>
                    <a:lnTo>
                      <a:pt x="1832" y="789"/>
                    </a:lnTo>
                    <a:lnTo>
                      <a:pt x="1832" y="789"/>
                    </a:lnTo>
                    <a:lnTo>
                      <a:pt x="1829" y="792"/>
                    </a:lnTo>
                    <a:lnTo>
                      <a:pt x="1827" y="798"/>
                    </a:lnTo>
                    <a:lnTo>
                      <a:pt x="1824" y="809"/>
                    </a:lnTo>
                    <a:lnTo>
                      <a:pt x="1824" y="809"/>
                    </a:lnTo>
                    <a:lnTo>
                      <a:pt x="1821" y="813"/>
                    </a:lnTo>
                    <a:lnTo>
                      <a:pt x="1818" y="815"/>
                    </a:lnTo>
                    <a:lnTo>
                      <a:pt x="1815" y="818"/>
                    </a:lnTo>
                    <a:lnTo>
                      <a:pt x="1814" y="822"/>
                    </a:lnTo>
                    <a:lnTo>
                      <a:pt x="1814" y="822"/>
                    </a:lnTo>
                    <a:lnTo>
                      <a:pt x="1812" y="825"/>
                    </a:lnTo>
                    <a:lnTo>
                      <a:pt x="1809" y="828"/>
                    </a:lnTo>
                    <a:lnTo>
                      <a:pt x="1808" y="829"/>
                    </a:lnTo>
                    <a:lnTo>
                      <a:pt x="1807" y="832"/>
                    </a:lnTo>
                    <a:lnTo>
                      <a:pt x="1807" y="832"/>
                    </a:lnTo>
                    <a:lnTo>
                      <a:pt x="1807" y="833"/>
                    </a:lnTo>
                    <a:lnTo>
                      <a:pt x="1805" y="835"/>
                    </a:lnTo>
                    <a:lnTo>
                      <a:pt x="1801" y="835"/>
                    </a:lnTo>
                    <a:lnTo>
                      <a:pt x="1797" y="835"/>
                    </a:lnTo>
                    <a:lnTo>
                      <a:pt x="1792" y="832"/>
                    </a:lnTo>
                    <a:lnTo>
                      <a:pt x="1792" y="832"/>
                    </a:lnTo>
                    <a:lnTo>
                      <a:pt x="1791" y="832"/>
                    </a:lnTo>
                    <a:lnTo>
                      <a:pt x="1788" y="832"/>
                    </a:lnTo>
                    <a:lnTo>
                      <a:pt x="1785" y="835"/>
                    </a:lnTo>
                    <a:lnTo>
                      <a:pt x="1782" y="838"/>
                    </a:lnTo>
                    <a:lnTo>
                      <a:pt x="1780" y="839"/>
                    </a:lnTo>
                    <a:lnTo>
                      <a:pt x="1780" y="839"/>
                    </a:lnTo>
                    <a:lnTo>
                      <a:pt x="1777" y="841"/>
                    </a:lnTo>
                    <a:lnTo>
                      <a:pt x="1775" y="843"/>
                    </a:lnTo>
                    <a:lnTo>
                      <a:pt x="1777" y="850"/>
                    </a:lnTo>
                    <a:lnTo>
                      <a:pt x="1777" y="850"/>
                    </a:lnTo>
                    <a:lnTo>
                      <a:pt x="1777" y="856"/>
                    </a:lnTo>
                    <a:lnTo>
                      <a:pt x="1777" y="859"/>
                    </a:lnTo>
                    <a:lnTo>
                      <a:pt x="1778" y="863"/>
                    </a:lnTo>
                    <a:lnTo>
                      <a:pt x="1778" y="863"/>
                    </a:lnTo>
                    <a:lnTo>
                      <a:pt x="1778" y="869"/>
                    </a:lnTo>
                    <a:lnTo>
                      <a:pt x="1778" y="879"/>
                    </a:lnTo>
                    <a:lnTo>
                      <a:pt x="1778" y="879"/>
                    </a:lnTo>
                    <a:lnTo>
                      <a:pt x="1787" y="873"/>
                    </a:lnTo>
                    <a:lnTo>
                      <a:pt x="1792" y="872"/>
                    </a:lnTo>
                    <a:lnTo>
                      <a:pt x="1792" y="872"/>
                    </a:lnTo>
                    <a:lnTo>
                      <a:pt x="1797" y="873"/>
                    </a:lnTo>
                    <a:lnTo>
                      <a:pt x="1801" y="876"/>
                    </a:lnTo>
                    <a:lnTo>
                      <a:pt x="1805" y="880"/>
                    </a:lnTo>
                    <a:lnTo>
                      <a:pt x="1811" y="882"/>
                    </a:lnTo>
                    <a:lnTo>
                      <a:pt x="1811" y="882"/>
                    </a:lnTo>
                    <a:lnTo>
                      <a:pt x="1814" y="880"/>
                    </a:lnTo>
                    <a:lnTo>
                      <a:pt x="1819" y="879"/>
                    </a:lnTo>
                    <a:lnTo>
                      <a:pt x="1831" y="872"/>
                    </a:lnTo>
                    <a:lnTo>
                      <a:pt x="1842" y="863"/>
                    </a:lnTo>
                    <a:lnTo>
                      <a:pt x="1848" y="859"/>
                    </a:lnTo>
                    <a:lnTo>
                      <a:pt x="1848" y="859"/>
                    </a:lnTo>
                    <a:lnTo>
                      <a:pt x="1851" y="853"/>
                    </a:lnTo>
                    <a:lnTo>
                      <a:pt x="1858" y="846"/>
                    </a:lnTo>
                    <a:lnTo>
                      <a:pt x="1873" y="829"/>
                    </a:lnTo>
                    <a:lnTo>
                      <a:pt x="1873" y="829"/>
                    </a:lnTo>
                    <a:lnTo>
                      <a:pt x="1886" y="813"/>
                    </a:lnTo>
                    <a:lnTo>
                      <a:pt x="1892" y="806"/>
                    </a:lnTo>
                    <a:lnTo>
                      <a:pt x="1898" y="798"/>
                    </a:lnTo>
                    <a:lnTo>
                      <a:pt x="1898" y="798"/>
                    </a:lnTo>
                    <a:lnTo>
                      <a:pt x="1901" y="792"/>
                    </a:lnTo>
                    <a:lnTo>
                      <a:pt x="1905" y="786"/>
                    </a:lnTo>
                    <a:lnTo>
                      <a:pt x="1915" y="775"/>
                    </a:lnTo>
                    <a:lnTo>
                      <a:pt x="1915" y="775"/>
                    </a:lnTo>
                    <a:lnTo>
                      <a:pt x="1918" y="769"/>
                    </a:lnTo>
                    <a:lnTo>
                      <a:pt x="1925" y="759"/>
                    </a:lnTo>
                    <a:lnTo>
                      <a:pt x="1925" y="759"/>
                    </a:lnTo>
                    <a:lnTo>
                      <a:pt x="1928" y="748"/>
                    </a:lnTo>
                    <a:lnTo>
                      <a:pt x="1929" y="734"/>
                    </a:lnTo>
                    <a:lnTo>
                      <a:pt x="1930" y="722"/>
                    </a:lnTo>
                    <a:lnTo>
                      <a:pt x="1930" y="717"/>
                    </a:lnTo>
                    <a:lnTo>
                      <a:pt x="1930" y="717"/>
                    </a:lnTo>
                    <a:lnTo>
                      <a:pt x="1932" y="712"/>
                    </a:lnTo>
                    <a:lnTo>
                      <a:pt x="1933" y="710"/>
                    </a:lnTo>
                    <a:lnTo>
                      <a:pt x="1935" y="707"/>
                    </a:lnTo>
                    <a:lnTo>
                      <a:pt x="1935" y="707"/>
                    </a:lnTo>
                    <a:lnTo>
                      <a:pt x="1936" y="701"/>
                    </a:lnTo>
                    <a:lnTo>
                      <a:pt x="1938" y="698"/>
                    </a:lnTo>
                    <a:lnTo>
                      <a:pt x="1940" y="695"/>
                    </a:lnTo>
                    <a:lnTo>
                      <a:pt x="1940" y="695"/>
                    </a:lnTo>
                    <a:lnTo>
                      <a:pt x="1942" y="693"/>
                    </a:lnTo>
                    <a:lnTo>
                      <a:pt x="1943" y="690"/>
                    </a:lnTo>
                    <a:lnTo>
                      <a:pt x="1943" y="684"/>
                    </a:lnTo>
                    <a:lnTo>
                      <a:pt x="1943" y="684"/>
                    </a:lnTo>
                    <a:lnTo>
                      <a:pt x="1942" y="678"/>
                    </a:lnTo>
                    <a:lnTo>
                      <a:pt x="1942" y="673"/>
                    </a:lnTo>
                    <a:lnTo>
                      <a:pt x="1942" y="673"/>
                    </a:lnTo>
                    <a:lnTo>
                      <a:pt x="1940" y="670"/>
                    </a:lnTo>
                    <a:lnTo>
                      <a:pt x="1943" y="668"/>
                    </a:lnTo>
                    <a:lnTo>
                      <a:pt x="1943" y="668"/>
                    </a:lnTo>
                    <a:lnTo>
                      <a:pt x="1945" y="666"/>
                    </a:lnTo>
                    <a:lnTo>
                      <a:pt x="1943" y="664"/>
                    </a:lnTo>
                    <a:lnTo>
                      <a:pt x="1938" y="660"/>
                    </a:lnTo>
                    <a:lnTo>
                      <a:pt x="1938" y="660"/>
                    </a:lnTo>
                    <a:lnTo>
                      <a:pt x="1932" y="657"/>
                    </a:lnTo>
                    <a:lnTo>
                      <a:pt x="1929" y="654"/>
                    </a:lnTo>
                    <a:lnTo>
                      <a:pt x="1928" y="651"/>
                    </a:lnTo>
                    <a:lnTo>
                      <a:pt x="1928" y="651"/>
                    </a:lnTo>
                    <a:lnTo>
                      <a:pt x="1926" y="648"/>
                    </a:lnTo>
                    <a:lnTo>
                      <a:pt x="1923" y="646"/>
                    </a:lnTo>
                    <a:lnTo>
                      <a:pt x="1919" y="643"/>
                    </a:lnTo>
                    <a:lnTo>
                      <a:pt x="1915" y="643"/>
                    </a:lnTo>
                    <a:lnTo>
                      <a:pt x="1915" y="643"/>
                    </a:lnTo>
                    <a:lnTo>
                      <a:pt x="1906" y="641"/>
                    </a:lnTo>
                    <a:lnTo>
                      <a:pt x="1902" y="641"/>
                    </a:lnTo>
                    <a:lnTo>
                      <a:pt x="1902" y="641"/>
                    </a:lnTo>
                    <a:lnTo>
                      <a:pt x="1902" y="643"/>
                    </a:lnTo>
                    <a:lnTo>
                      <a:pt x="1902" y="643"/>
                    </a:lnTo>
                    <a:lnTo>
                      <a:pt x="1902" y="646"/>
                    </a:lnTo>
                    <a:lnTo>
                      <a:pt x="1902" y="647"/>
                    </a:lnTo>
                    <a:lnTo>
                      <a:pt x="1901" y="648"/>
                    </a:lnTo>
                    <a:lnTo>
                      <a:pt x="1899" y="648"/>
                    </a:lnTo>
                    <a:lnTo>
                      <a:pt x="1899" y="648"/>
                    </a:lnTo>
                    <a:lnTo>
                      <a:pt x="1896" y="648"/>
                    </a:lnTo>
                    <a:lnTo>
                      <a:pt x="1895" y="650"/>
                    </a:lnTo>
                    <a:lnTo>
                      <a:pt x="1892" y="654"/>
                    </a:lnTo>
                    <a:lnTo>
                      <a:pt x="1892" y="654"/>
                    </a:lnTo>
                    <a:lnTo>
                      <a:pt x="1888" y="657"/>
                    </a:lnTo>
                    <a:lnTo>
                      <a:pt x="1883" y="658"/>
                    </a:lnTo>
                    <a:lnTo>
                      <a:pt x="1882" y="657"/>
                    </a:lnTo>
                    <a:lnTo>
                      <a:pt x="1882" y="657"/>
                    </a:lnTo>
                    <a:lnTo>
                      <a:pt x="1882" y="656"/>
                    </a:lnTo>
                    <a:lnTo>
                      <a:pt x="1882" y="656"/>
                    </a:lnTo>
                    <a:lnTo>
                      <a:pt x="1885" y="653"/>
                    </a:lnTo>
                    <a:lnTo>
                      <a:pt x="1883" y="650"/>
                    </a:lnTo>
                    <a:lnTo>
                      <a:pt x="1882" y="648"/>
                    </a:lnTo>
                    <a:lnTo>
                      <a:pt x="1882" y="646"/>
                    </a:lnTo>
                    <a:lnTo>
                      <a:pt x="1882" y="646"/>
                    </a:lnTo>
                    <a:lnTo>
                      <a:pt x="1883" y="640"/>
                    </a:lnTo>
                    <a:lnTo>
                      <a:pt x="1883" y="639"/>
                    </a:lnTo>
                    <a:lnTo>
                      <a:pt x="1882" y="640"/>
                    </a:lnTo>
                    <a:lnTo>
                      <a:pt x="1882" y="640"/>
                    </a:lnTo>
                    <a:lnTo>
                      <a:pt x="1878" y="643"/>
                    </a:lnTo>
                    <a:lnTo>
                      <a:pt x="1876" y="646"/>
                    </a:lnTo>
                    <a:lnTo>
                      <a:pt x="1873" y="648"/>
                    </a:lnTo>
                    <a:lnTo>
                      <a:pt x="1872" y="651"/>
                    </a:lnTo>
                    <a:lnTo>
                      <a:pt x="1872" y="651"/>
                    </a:lnTo>
                    <a:lnTo>
                      <a:pt x="1871" y="650"/>
                    </a:lnTo>
                    <a:lnTo>
                      <a:pt x="1869" y="648"/>
                    </a:lnTo>
                    <a:lnTo>
                      <a:pt x="1868" y="644"/>
                    </a:lnTo>
                    <a:lnTo>
                      <a:pt x="1869" y="634"/>
                    </a:lnTo>
                    <a:lnTo>
                      <a:pt x="1869" y="634"/>
                    </a:lnTo>
                    <a:lnTo>
                      <a:pt x="1869" y="633"/>
                    </a:lnTo>
                    <a:lnTo>
                      <a:pt x="1869" y="633"/>
                    </a:lnTo>
                    <a:lnTo>
                      <a:pt x="1865" y="633"/>
                    </a:lnTo>
                    <a:lnTo>
                      <a:pt x="1858" y="634"/>
                    </a:lnTo>
                    <a:lnTo>
                      <a:pt x="1851" y="634"/>
                    </a:lnTo>
                    <a:lnTo>
                      <a:pt x="1851" y="634"/>
                    </a:lnTo>
                    <a:lnTo>
                      <a:pt x="1846" y="633"/>
                    </a:lnTo>
                    <a:lnTo>
                      <a:pt x="1845" y="631"/>
                    </a:lnTo>
                    <a:lnTo>
                      <a:pt x="1845" y="630"/>
                    </a:lnTo>
                    <a:lnTo>
                      <a:pt x="1846" y="626"/>
                    </a:lnTo>
                    <a:lnTo>
                      <a:pt x="1852" y="621"/>
                    </a:lnTo>
                    <a:lnTo>
                      <a:pt x="1852" y="621"/>
                    </a:lnTo>
                    <a:lnTo>
                      <a:pt x="1856" y="619"/>
                    </a:lnTo>
                    <a:lnTo>
                      <a:pt x="1859" y="616"/>
                    </a:lnTo>
                    <a:lnTo>
                      <a:pt x="1861" y="614"/>
                    </a:lnTo>
                    <a:lnTo>
                      <a:pt x="1862" y="611"/>
                    </a:lnTo>
                    <a:lnTo>
                      <a:pt x="1862" y="611"/>
                    </a:lnTo>
                    <a:lnTo>
                      <a:pt x="1872" y="607"/>
                    </a:lnTo>
                    <a:lnTo>
                      <a:pt x="1883" y="600"/>
                    </a:lnTo>
                    <a:lnTo>
                      <a:pt x="1883" y="600"/>
                    </a:lnTo>
                    <a:lnTo>
                      <a:pt x="1886" y="597"/>
                    </a:lnTo>
                    <a:lnTo>
                      <a:pt x="1889" y="594"/>
                    </a:lnTo>
                    <a:lnTo>
                      <a:pt x="1892" y="589"/>
                    </a:lnTo>
                    <a:lnTo>
                      <a:pt x="1892" y="589"/>
                    </a:lnTo>
                    <a:lnTo>
                      <a:pt x="1895" y="584"/>
                    </a:lnTo>
                    <a:lnTo>
                      <a:pt x="1901" y="582"/>
                    </a:lnTo>
                    <a:lnTo>
                      <a:pt x="1915" y="572"/>
                    </a:lnTo>
                    <a:lnTo>
                      <a:pt x="1915" y="572"/>
                    </a:lnTo>
                    <a:lnTo>
                      <a:pt x="1926" y="560"/>
                    </a:lnTo>
                    <a:lnTo>
                      <a:pt x="1933" y="553"/>
                    </a:lnTo>
                    <a:lnTo>
                      <a:pt x="1933" y="553"/>
                    </a:lnTo>
                    <a:lnTo>
                      <a:pt x="1936" y="549"/>
                    </a:lnTo>
                    <a:lnTo>
                      <a:pt x="1942" y="545"/>
                    </a:lnTo>
                    <a:lnTo>
                      <a:pt x="1947" y="542"/>
                    </a:lnTo>
                    <a:lnTo>
                      <a:pt x="1950" y="538"/>
                    </a:lnTo>
                    <a:lnTo>
                      <a:pt x="1950" y="538"/>
                    </a:lnTo>
                    <a:lnTo>
                      <a:pt x="1953" y="535"/>
                    </a:lnTo>
                    <a:lnTo>
                      <a:pt x="1960" y="530"/>
                    </a:lnTo>
                    <a:lnTo>
                      <a:pt x="1970" y="525"/>
                    </a:lnTo>
                    <a:lnTo>
                      <a:pt x="1980" y="522"/>
                    </a:lnTo>
                    <a:lnTo>
                      <a:pt x="1980" y="522"/>
                    </a:lnTo>
                    <a:lnTo>
                      <a:pt x="1990" y="522"/>
                    </a:lnTo>
                    <a:lnTo>
                      <a:pt x="2002" y="522"/>
                    </a:lnTo>
                    <a:lnTo>
                      <a:pt x="2010" y="525"/>
                    </a:lnTo>
                    <a:lnTo>
                      <a:pt x="2016" y="526"/>
                    </a:lnTo>
                    <a:lnTo>
                      <a:pt x="2016" y="526"/>
                    </a:lnTo>
                    <a:lnTo>
                      <a:pt x="2017" y="529"/>
                    </a:lnTo>
                    <a:lnTo>
                      <a:pt x="2020" y="529"/>
                    </a:lnTo>
                    <a:lnTo>
                      <a:pt x="2024" y="526"/>
                    </a:lnTo>
                    <a:lnTo>
                      <a:pt x="2024" y="526"/>
                    </a:lnTo>
                    <a:lnTo>
                      <a:pt x="2026" y="525"/>
                    </a:lnTo>
                    <a:lnTo>
                      <a:pt x="2029" y="525"/>
                    </a:lnTo>
                    <a:lnTo>
                      <a:pt x="2039" y="526"/>
                    </a:lnTo>
                    <a:lnTo>
                      <a:pt x="2039" y="526"/>
                    </a:lnTo>
                    <a:lnTo>
                      <a:pt x="2044" y="526"/>
                    </a:lnTo>
                    <a:lnTo>
                      <a:pt x="2047" y="525"/>
                    </a:lnTo>
                    <a:lnTo>
                      <a:pt x="2050" y="523"/>
                    </a:lnTo>
                    <a:lnTo>
                      <a:pt x="2054" y="525"/>
                    </a:lnTo>
                    <a:lnTo>
                      <a:pt x="2054" y="525"/>
                    </a:lnTo>
                    <a:lnTo>
                      <a:pt x="2058" y="525"/>
                    </a:lnTo>
                    <a:lnTo>
                      <a:pt x="2061" y="525"/>
                    </a:lnTo>
                    <a:lnTo>
                      <a:pt x="2064" y="523"/>
                    </a:lnTo>
                    <a:lnTo>
                      <a:pt x="2067" y="520"/>
                    </a:lnTo>
                    <a:lnTo>
                      <a:pt x="2067" y="520"/>
                    </a:lnTo>
                    <a:lnTo>
                      <a:pt x="2068" y="518"/>
                    </a:lnTo>
                    <a:lnTo>
                      <a:pt x="2071" y="516"/>
                    </a:lnTo>
                    <a:lnTo>
                      <a:pt x="2078" y="516"/>
                    </a:lnTo>
                    <a:lnTo>
                      <a:pt x="2085" y="516"/>
                    </a:lnTo>
                    <a:lnTo>
                      <a:pt x="2090" y="518"/>
                    </a:lnTo>
                    <a:lnTo>
                      <a:pt x="2090" y="518"/>
                    </a:lnTo>
                    <a:lnTo>
                      <a:pt x="2095" y="522"/>
                    </a:lnTo>
                    <a:lnTo>
                      <a:pt x="2098" y="522"/>
                    </a:lnTo>
                    <a:lnTo>
                      <a:pt x="2103" y="520"/>
                    </a:lnTo>
                    <a:lnTo>
                      <a:pt x="2103" y="520"/>
                    </a:lnTo>
                    <a:lnTo>
                      <a:pt x="2104" y="519"/>
                    </a:lnTo>
                    <a:lnTo>
                      <a:pt x="2105" y="519"/>
                    </a:lnTo>
                    <a:lnTo>
                      <a:pt x="2107" y="522"/>
                    </a:lnTo>
                    <a:lnTo>
                      <a:pt x="2110" y="525"/>
                    </a:lnTo>
                    <a:lnTo>
                      <a:pt x="2112" y="526"/>
                    </a:lnTo>
                    <a:lnTo>
                      <a:pt x="2112" y="526"/>
                    </a:lnTo>
                    <a:lnTo>
                      <a:pt x="2115" y="528"/>
                    </a:lnTo>
                    <a:lnTo>
                      <a:pt x="2115" y="529"/>
                    </a:lnTo>
                    <a:lnTo>
                      <a:pt x="2114" y="530"/>
                    </a:lnTo>
                    <a:lnTo>
                      <a:pt x="2110" y="530"/>
                    </a:lnTo>
                    <a:lnTo>
                      <a:pt x="2110" y="530"/>
                    </a:lnTo>
                    <a:lnTo>
                      <a:pt x="2107" y="530"/>
                    </a:lnTo>
                    <a:lnTo>
                      <a:pt x="2104" y="532"/>
                    </a:lnTo>
                    <a:lnTo>
                      <a:pt x="2103" y="535"/>
                    </a:lnTo>
                    <a:lnTo>
                      <a:pt x="2105" y="536"/>
                    </a:lnTo>
                    <a:lnTo>
                      <a:pt x="2105" y="536"/>
                    </a:lnTo>
                    <a:lnTo>
                      <a:pt x="2110" y="538"/>
                    </a:lnTo>
                    <a:lnTo>
                      <a:pt x="2114" y="536"/>
                    </a:lnTo>
                    <a:lnTo>
                      <a:pt x="2118" y="535"/>
                    </a:lnTo>
                    <a:lnTo>
                      <a:pt x="2121" y="533"/>
                    </a:lnTo>
                    <a:lnTo>
                      <a:pt x="2121" y="533"/>
                    </a:lnTo>
                    <a:lnTo>
                      <a:pt x="2128" y="535"/>
                    </a:lnTo>
                    <a:lnTo>
                      <a:pt x="2134" y="533"/>
                    </a:lnTo>
                    <a:lnTo>
                      <a:pt x="2138" y="530"/>
                    </a:lnTo>
                    <a:lnTo>
                      <a:pt x="2138" y="530"/>
                    </a:lnTo>
                    <a:lnTo>
                      <a:pt x="2141" y="530"/>
                    </a:lnTo>
                    <a:lnTo>
                      <a:pt x="2144" y="530"/>
                    </a:lnTo>
                    <a:lnTo>
                      <a:pt x="2147" y="532"/>
                    </a:lnTo>
                    <a:lnTo>
                      <a:pt x="2149" y="530"/>
                    </a:lnTo>
                    <a:lnTo>
                      <a:pt x="2149" y="530"/>
                    </a:lnTo>
                    <a:lnTo>
                      <a:pt x="2152" y="529"/>
                    </a:lnTo>
                    <a:lnTo>
                      <a:pt x="2158" y="528"/>
                    </a:lnTo>
                    <a:lnTo>
                      <a:pt x="2167" y="526"/>
                    </a:lnTo>
                    <a:lnTo>
                      <a:pt x="2167" y="526"/>
                    </a:lnTo>
                    <a:lnTo>
                      <a:pt x="2168" y="526"/>
                    </a:lnTo>
                    <a:lnTo>
                      <a:pt x="2167" y="525"/>
                    </a:lnTo>
                    <a:lnTo>
                      <a:pt x="2164" y="522"/>
                    </a:lnTo>
                    <a:lnTo>
                      <a:pt x="2159" y="522"/>
                    </a:lnTo>
                    <a:lnTo>
                      <a:pt x="2159" y="522"/>
                    </a:lnTo>
                    <a:lnTo>
                      <a:pt x="2155" y="520"/>
                    </a:lnTo>
                    <a:lnTo>
                      <a:pt x="2154" y="519"/>
                    </a:lnTo>
                    <a:lnTo>
                      <a:pt x="2155" y="515"/>
                    </a:lnTo>
                    <a:lnTo>
                      <a:pt x="2158" y="508"/>
                    </a:lnTo>
                    <a:lnTo>
                      <a:pt x="2158" y="508"/>
                    </a:lnTo>
                    <a:lnTo>
                      <a:pt x="2164" y="502"/>
                    </a:lnTo>
                    <a:lnTo>
                      <a:pt x="2169" y="496"/>
                    </a:lnTo>
                    <a:lnTo>
                      <a:pt x="2182" y="488"/>
                    </a:lnTo>
                    <a:lnTo>
                      <a:pt x="2182" y="488"/>
                    </a:lnTo>
                    <a:lnTo>
                      <a:pt x="2186" y="485"/>
                    </a:lnTo>
                    <a:lnTo>
                      <a:pt x="2191" y="483"/>
                    </a:lnTo>
                    <a:lnTo>
                      <a:pt x="2192" y="482"/>
                    </a:lnTo>
                    <a:lnTo>
                      <a:pt x="2194" y="481"/>
                    </a:lnTo>
                    <a:lnTo>
                      <a:pt x="2194" y="481"/>
                    </a:lnTo>
                    <a:lnTo>
                      <a:pt x="2194" y="476"/>
                    </a:lnTo>
                    <a:lnTo>
                      <a:pt x="2196" y="472"/>
                    </a:lnTo>
                    <a:lnTo>
                      <a:pt x="2199" y="468"/>
                    </a:lnTo>
                    <a:lnTo>
                      <a:pt x="2202" y="466"/>
                    </a:lnTo>
                    <a:lnTo>
                      <a:pt x="2202" y="466"/>
                    </a:lnTo>
                    <a:lnTo>
                      <a:pt x="2215" y="466"/>
                    </a:lnTo>
                    <a:lnTo>
                      <a:pt x="2222" y="465"/>
                    </a:lnTo>
                    <a:lnTo>
                      <a:pt x="2229" y="464"/>
                    </a:lnTo>
                    <a:lnTo>
                      <a:pt x="2229" y="464"/>
                    </a:lnTo>
                    <a:lnTo>
                      <a:pt x="2233" y="462"/>
                    </a:lnTo>
                    <a:lnTo>
                      <a:pt x="2236" y="464"/>
                    </a:lnTo>
                    <a:lnTo>
                      <a:pt x="2238" y="466"/>
                    </a:lnTo>
                    <a:lnTo>
                      <a:pt x="2239" y="468"/>
                    </a:lnTo>
                    <a:lnTo>
                      <a:pt x="2239" y="468"/>
                    </a:lnTo>
                    <a:lnTo>
                      <a:pt x="2242" y="468"/>
                    </a:lnTo>
                    <a:lnTo>
                      <a:pt x="2245" y="465"/>
                    </a:lnTo>
                    <a:lnTo>
                      <a:pt x="2248" y="464"/>
                    </a:lnTo>
                    <a:lnTo>
                      <a:pt x="2250" y="464"/>
                    </a:lnTo>
                    <a:lnTo>
                      <a:pt x="2250" y="464"/>
                    </a:lnTo>
                    <a:lnTo>
                      <a:pt x="2252" y="465"/>
                    </a:lnTo>
                    <a:lnTo>
                      <a:pt x="2252" y="466"/>
                    </a:lnTo>
                    <a:lnTo>
                      <a:pt x="2249" y="469"/>
                    </a:lnTo>
                    <a:lnTo>
                      <a:pt x="2246" y="473"/>
                    </a:lnTo>
                    <a:lnTo>
                      <a:pt x="2243" y="478"/>
                    </a:lnTo>
                    <a:lnTo>
                      <a:pt x="2243" y="478"/>
                    </a:lnTo>
                    <a:lnTo>
                      <a:pt x="2243" y="482"/>
                    </a:lnTo>
                    <a:lnTo>
                      <a:pt x="2245" y="483"/>
                    </a:lnTo>
                    <a:lnTo>
                      <a:pt x="2249" y="483"/>
                    </a:lnTo>
                    <a:lnTo>
                      <a:pt x="2252" y="485"/>
                    </a:lnTo>
                    <a:lnTo>
                      <a:pt x="2252" y="485"/>
                    </a:lnTo>
                    <a:lnTo>
                      <a:pt x="2253" y="485"/>
                    </a:lnTo>
                    <a:lnTo>
                      <a:pt x="2253" y="486"/>
                    </a:lnTo>
                    <a:lnTo>
                      <a:pt x="2250" y="488"/>
                    </a:lnTo>
                    <a:lnTo>
                      <a:pt x="2249" y="489"/>
                    </a:lnTo>
                    <a:lnTo>
                      <a:pt x="2248" y="491"/>
                    </a:lnTo>
                    <a:lnTo>
                      <a:pt x="2248" y="491"/>
                    </a:lnTo>
                    <a:lnTo>
                      <a:pt x="2249" y="492"/>
                    </a:lnTo>
                    <a:lnTo>
                      <a:pt x="2253" y="492"/>
                    </a:lnTo>
                    <a:lnTo>
                      <a:pt x="2260" y="489"/>
                    </a:lnTo>
                    <a:lnTo>
                      <a:pt x="2268" y="482"/>
                    </a:lnTo>
                    <a:lnTo>
                      <a:pt x="2268" y="482"/>
                    </a:lnTo>
                    <a:lnTo>
                      <a:pt x="2275" y="476"/>
                    </a:lnTo>
                    <a:lnTo>
                      <a:pt x="2282" y="472"/>
                    </a:lnTo>
                    <a:lnTo>
                      <a:pt x="2287" y="471"/>
                    </a:lnTo>
                    <a:lnTo>
                      <a:pt x="2293" y="471"/>
                    </a:lnTo>
                    <a:lnTo>
                      <a:pt x="2293" y="471"/>
                    </a:lnTo>
                    <a:lnTo>
                      <a:pt x="2297" y="469"/>
                    </a:lnTo>
                    <a:lnTo>
                      <a:pt x="2297" y="466"/>
                    </a:lnTo>
                    <a:lnTo>
                      <a:pt x="2297" y="455"/>
                    </a:lnTo>
                    <a:lnTo>
                      <a:pt x="2297" y="455"/>
                    </a:lnTo>
                    <a:lnTo>
                      <a:pt x="2297" y="451"/>
                    </a:lnTo>
                    <a:lnTo>
                      <a:pt x="2300" y="448"/>
                    </a:lnTo>
                    <a:lnTo>
                      <a:pt x="2305" y="446"/>
                    </a:lnTo>
                    <a:lnTo>
                      <a:pt x="2309" y="445"/>
                    </a:lnTo>
                    <a:lnTo>
                      <a:pt x="2317" y="444"/>
                    </a:lnTo>
                    <a:lnTo>
                      <a:pt x="2324" y="445"/>
                    </a:lnTo>
                    <a:lnTo>
                      <a:pt x="2324" y="445"/>
                    </a:lnTo>
                    <a:lnTo>
                      <a:pt x="2329" y="446"/>
                    </a:lnTo>
                    <a:lnTo>
                      <a:pt x="2329" y="448"/>
                    </a:lnTo>
                    <a:lnTo>
                      <a:pt x="2327" y="449"/>
                    </a:lnTo>
                    <a:lnTo>
                      <a:pt x="2324" y="448"/>
                    </a:lnTo>
                    <a:lnTo>
                      <a:pt x="2324" y="448"/>
                    </a:lnTo>
                    <a:lnTo>
                      <a:pt x="2320" y="448"/>
                    </a:lnTo>
                    <a:lnTo>
                      <a:pt x="2316" y="451"/>
                    </a:lnTo>
                    <a:lnTo>
                      <a:pt x="2313" y="455"/>
                    </a:lnTo>
                    <a:lnTo>
                      <a:pt x="2312" y="461"/>
                    </a:lnTo>
                    <a:lnTo>
                      <a:pt x="2312" y="461"/>
                    </a:lnTo>
                    <a:lnTo>
                      <a:pt x="2312" y="466"/>
                    </a:lnTo>
                    <a:lnTo>
                      <a:pt x="2310" y="469"/>
                    </a:lnTo>
                    <a:lnTo>
                      <a:pt x="2309" y="472"/>
                    </a:lnTo>
                    <a:lnTo>
                      <a:pt x="2310" y="475"/>
                    </a:lnTo>
                    <a:lnTo>
                      <a:pt x="2310" y="475"/>
                    </a:lnTo>
                    <a:lnTo>
                      <a:pt x="2310" y="476"/>
                    </a:lnTo>
                    <a:lnTo>
                      <a:pt x="2309" y="478"/>
                    </a:lnTo>
                    <a:lnTo>
                      <a:pt x="2306" y="479"/>
                    </a:lnTo>
                    <a:lnTo>
                      <a:pt x="2305" y="482"/>
                    </a:lnTo>
                    <a:lnTo>
                      <a:pt x="2305" y="482"/>
                    </a:lnTo>
                    <a:lnTo>
                      <a:pt x="2305" y="486"/>
                    </a:lnTo>
                    <a:lnTo>
                      <a:pt x="2303" y="488"/>
                    </a:lnTo>
                    <a:lnTo>
                      <a:pt x="2300" y="489"/>
                    </a:lnTo>
                    <a:lnTo>
                      <a:pt x="2300" y="489"/>
                    </a:lnTo>
                    <a:lnTo>
                      <a:pt x="2287" y="492"/>
                    </a:lnTo>
                    <a:lnTo>
                      <a:pt x="2282" y="495"/>
                    </a:lnTo>
                    <a:lnTo>
                      <a:pt x="2280" y="496"/>
                    </a:lnTo>
                    <a:lnTo>
                      <a:pt x="2279" y="498"/>
                    </a:lnTo>
                    <a:lnTo>
                      <a:pt x="2279" y="498"/>
                    </a:lnTo>
                    <a:lnTo>
                      <a:pt x="2278" y="502"/>
                    </a:lnTo>
                    <a:lnTo>
                      <a:pt x="2273" y="505"/>
                    </a:lnTo>
                    <a:lnTo>
                      <a:pt x="2269" y="508"/>
                    </a:lnTo>
                    <a:lnTo>
                      <a:pt x="2266" y="512"/>
                    </a:lnTo>
                    <a:lnTo>
                      <a:pt x="2266" y="512"/>
                    </a:lnTo>
                    <a:lnTo>
                      <a:pt x="2260" y="518"/>
                    </a:lnTo>
                    <a:lnTo>
                      <a:pt x="2253" y="523"/>
                    </a:lnTo>
                    <a:lnTo>
                      <a:pt x="2245" y="530"/>
                    </a:lnTo>
                    <a:lnTo>
                      <a:pt x="2241" y="535"/>
                    </a:lnTo>
                    <a:lnTo>
                      <a:pt x="2236" y="540"/>
                    </a:lnTo>
                    <a:lnTo>
                      <a:pt x="2236" y="540"/>
                    </a:lnTo>
                    <a:lnTo>
                      <a:pt x="2232" y="545"/>
                    </a:lnTo>
                    <a:lnTo>
                      <a:pt x="2228" y="549"/>
                    </a:lnTo>
                    <a:lnTo>
                      <a:pt x="2219" y="553"/>
                    </a:lnTo>
                    <a:lnTo>
                      <a:pt x="2212" y="556"/>
                    </a:lnTo>
                    <a:lnTo>
                      <a:pt x="2211" y="557"/>
                    </a:lnTo>
                    <a:lnTo>
                      <a:pt x="2211" y="557"/>
                    </a:lnTo>
                    <a:lnTo>
                      <a:pt x="2211" y="557"/>
                    </a:lnTo>
                    <a:lnTo>
                      <a:pt x="2208" y="559"/>
                    </a:lnTo>
                    <a:lnTo>
                      <a:pt x="2204" y="560"/>
                    </a:lnTo>
                    <a:lnTo>
                      <a:pt x="2195" y="560"/>
                    </a:lnTo>
                    <a:lnTo>
                      <a:pt x="2195" y="560"/>
                    </a:lnTo>
                    <a:lnTo>
                      <a:pt x="2194" y="562"/>
                    </a:lnTo>
                    <a:lnTo>
                      <a:pt x="2194" y="563"/>
                    </a:lnTo>
                    <a:lnTo>
                      <a:pt x="2194" y="567"/>
                    </a:lnTo>
                    <a:lnTo>
                      <a:pt x="2194" y="573"/>
                    </a:lnTo>
                    <a:lnTo>
                      <a:pt x="2192" y="577"/>
                    </a:lnTo>
                    <a:lnTo>
                      <a:pt x="2189" y="580"/>
                    </a:lnTo>
                    <a:lnTo>
                      <a:pt x="2189" y="580"/>
                    </a:lnTo>
                    <a:lnTo>
                      <a:pt x="2184" y="589"/>
                    </a:lnTo>
                    <a:lnTo>
                      <a:pt x="2179" y="597"/>
                    </a:lnTo>
                    <a:lnTo>
                      <a:pt x="2175" y="607"/>
                    </a:lnTo>
                    <a:lnTo>
                      <a:pt x="2175" y="617"/>
                    </a:lnTo>
                    <a:lnTo>
                      <a:pt x="2175" y="617"/>
                    </a:lnTo>
                    <a:lnTo>
                      <a:pt x="2178" y="648"/>
                    </a:lnTo>
                    <a:lnTo>
                      <a:pt x="2181" y="666"/>
                    </a:lnTo>
                    <a:lnTo>
                      <a:pt x="2184" y="677"/>
                    </a:lnTo>
                    <a:lnTo>
                      <a:pt x="2184" y="677"/>
                    </a:lnTo>
                    <a:lnTo>
                      <a:pt x="2185" y="683"/>
                    </a:lnTo>
                    <a:lnTo>
                      <a:pt x="2186" y="691"/>
                    </a:lnTo>
                    <a:lnTo>
                      <a:pt x="2186" y="698"/>
                    </a:lnTo>
                    <a:lnTo>
                      <a:pt x="2189" y="704"/>
                    </a:lnTo>
                    <a:lnTo>
                      <a:pt x="2189" y="704"/>
                    </a:lnTo>
                    <a:lnTo>
                      <a:pt x="2191" y="707"/>
                    </a:lnTo>
                    <a:lnTo>
                      <a:pt x="2191" y="710"/>
                    </a:lnTo>
                    <a:lnTo>
                      <a:pt x="2192" y="712"/>
                    </a:lnTo>
                    <a:lnTo>
                      <a:pt x="2194" y="715"/>
                    </a:lnTo>
                    <a:lnTo>
                      <a:pt x="2194" y="715"/>
                    </a:lnTo>
                    <a:lnTo>
                      <a:pt x="2194" y="715"/>
                    </a:lnTo>
                    <a:lnTo>
                      <a:pt x="2195" y="714"/>
                    </a:lnTo>
                    <a:lnTo>
                      <a:pt x="2199" y="711"/>
                    </a:lnTo>
                    <a:lnTo>
                      <a:pt x="2209" y="701"/>
                    </a:lnTo>
                    <a:lnTo>
                      <a:pt x="2209" y="701"/>
                    </a:lnTo>
                    <a:lnTo>
                      <a:pt x="2213" y="698"/>
                    </a:lnTo>
                    <a:lnTo>
                      <a:pt x="2215" y="695"/>
                    </a:lnTo>
                    <a:lnTo>
                      <a:pt x="2216" y="694"/>
                    </a:lnTo>
                    <a:lnTo>
                      <a:pt x="2218" y="691"/>
                    </a:lnTo>
                    <a:lnTo>
                      <a:pt x="2218" y="691"/>
                    </a:lnTo>
                    <a:lnTo>
                      <a:pt x="2219" y="688"/>
                    </a:lnTo>
                    <a:lnTo>
                      <a:pt x="2221" y="684"/>
                    </a:lnTo>
                    <a:lnTo>
                      <a:pt x="2222" y="675"/>
                    </a:lnTo>
                    <a:lnTo>
                      <a:pt x="2222" y="675"/>
                    </a:lnTo>
                    <a:lnTo>
                      <a:pt x="2223" y="673"/>
                    </a:lnTo>
                    <a:lnTo>
                      <a:pt x="2226" y="671"/>
                    </a:lnTo>
                    <a:lnTo>
                      <a:pt x="2229" y="670"/>
                    </a:lnTo>
                    <a:lnTo>
                      <a:pt x="2232" y="668"/>
                    </a:lnTo>
                    <a:lnTo>
                      <a:pt x="2232" y="668"/>
                    </a:lnTo>
                    <a:lnTo>
                      <a:pt x="2235" y="667"/>
                    </a:lnTo>
                    <a:lnTo>
                      <a:pt x="2238" y="666"/>
                    </a:lnTo>
                    <a:lnTo>
                      <a:pt x="2245" y="666"/>
                    </a:lnTo>
                    <a:lnTo>
                      <a:pt x="2245" y="666"/>
                    </a:lnTo>
                    <a:lnTo>
                      <a:pt x="2245" y="664"/>
                    </a:lnTo>
                    <a:lnTo>
                      <a:pt x="2245" y="660"/>
                    </a:lnTo>
                    <a:lnTo>
                      <a:pt x="2243" y="651"/>
                    </a:lnTo>
                    <a:lnTo>
                      <a:pt x="2243" y="651"/>
                    </a:lnTo>
                    <a:lnTo>
                      <a:pt x="2243" y="650"/>
                    </a:lnTo>
                    <a:lnTo>
                      <a:pt x="2243" y="648"/>
                    </a:lnTo>
                    <a:lnTo>
                      <a:pt x="2248" y="644"/>
                    </a:lnTo>
                    <a:lnTo>
                      <a:pt x="2258" y="637"/>
                    </a:lnTo>
                    <a:lnTo>
                      <a:pt x="2258" y="637"/>
                    </a:lnTo>
                    <a:lnTo>
                      <a:pt x="2263" y="636"/>
                    </a:lnTo>
                    <a:lnTo>
                      <a:pt x="2268" y="636"/>
                    </a:lnTo>
                    <a:lnTo>
                      <a:pt x="2272" y="636"/>
                    </a:lnTo>
                    <a:lnTo>
                      <a:pt x="2275" y="636"/>
                    </a:lnTo>
                    <a:lnTo>
                      <a:pt x="2278" y="634"/>
                    </a:lnTo>
                    <a:lnTo>
                      <a:pt x="2278" y="634"/>
                    </a:lnTo>
                    <a:lnTo>
                      <a:pt x="2279" y="631"/>
                    </a:lnTo>
                    <a:lnTo>
                      <a:pt x="2280" y="630"/>
                    </a:lnTo>
                    <a:lnTo>
                      <a:pt x="2279" y="624"/>
                    </a:lnTo>
                    <a:lnTo>
                      <a:pt x="2276" y="621"/>
                    </a:lnTo>
                    <a:lnTo>
                      <a:pt x="2275" y="619"/>
                    </a:lnTo>
                    <a:lnTo>
                      <a:pt x="2275" y="619"/>
                    </a:lnTo>
                    <a:lnTo>
                      <a:pt x="2275" y="616"/>
                    </a:lnTo>
                    <a:lnTo>
                      <a:pt x="2275" y="614"/>
                    </a:lnTo>
                    <a:lnTo>
                      <a:pt x="2278" y="607"/>
                    </a:lnTo>
                    <a:lnTo>
                      <a:pt x="2282" y="602"/>
                    </a:lnTo>
                    <a:lnTo>
                      <a:pt x="2286" y="599"/>
                    </a:lnTo>
                    <a:lnTo>
                      <a:pt x="2286" y="599"/>
                    </a:lnTo>
                    <a:lnTo>
                      <a:pt x="2289" y="599"/>
                    </a:lnTo>
                    <a:lnTo>
                      <a:pt x="2292" y="599"/>
                    </a:lnTo>
                    <a:lnTo>
                      <a:pt x="2295" y="600"/>
                    </a:lnTo>
                    <a:lnTo>
                      <a:pt x="2299" y="597"/>
                    </a:lnTo>
                    <a:lnTo>
                      <a:pt x="2299" y="597"/>
                    </a:lnTo>
                    <a:lnTo>
                      <a:pt x="2299" y="596"/>
                    </a:lnTo>
                    <a:lnTo>
                      <a:pt x="2299" y="594"/>
                    </a:lnTo>
                    <a:lnTo>
                      <a:pt x="2297" y="590"/>
                    </a:lnTo>
                    <a:lnTo>
                      <a:pt x="2293" y="589"/>
                    </a:lnTo>
                    <a:lnTo>
                      <a:pt x="2290" y="587"/>
                    </a:lnTo>
                    <a:lnTo>
                      <a:pt x="2290" y="587"/>
                    </a:lnTo>
                    <a:lnTo>
                      <a:pt x="2289" y="587"/>
                    </a:lnTo>
                    <a:lnTo>
                      <a:pt x="2289" y="586"/>
                    </a:lnTo>
                    <a:lnTo>
                      <a:pt x="2287" y="580"/>
                    </a:lnTo>
                    <a:lnTo>
                      <a:pt x="2290" y="574"/>
                    </a:lnTo>
                    <a:lnTo>
                      <a:pt x="2292" y="572"/>
                    </a:lnTo>
                    <a:lnTo>
                      <a:pt x="2295" y="569"/>
                    </a:lnTo>
                    <a:lnTo>
                      <a:pt x="2295" y="569"/>
                    </a:lnTo>
                    <a:lnTo>
                      <a:pt x="2297" y="566"/>
                    </a:lnTo>
                    <a:lnTo>
                      <a:pt x="2299" y="563"/>
                    </a:lnTo>
                    <a:lnTo>
                      <a:pt x="2297" y="562"/>
                    </a:lnTo>
                    <a:lnTo>
                      <a:pt x="2293" y="560"/>
                    </a:lnTo>
                    <a:lnTo>
                      <a:pt x="2293" y="560"/>
                    </a:lnTo>
                    <a:lnTo>
                      <a:pt x="2290" y="560"/>
                    </a:lnTo>
                    <a:lnTo>
                      <a:pt x="2287" y="560"/>
                    </a:lnTo>
                    <a:lnTo>
                      <a:pt x="2283" y="562"/>
                    </a:lnTo>
                    <a:lnTo>
                      <a:pt x="2283" y="562"/>
                    </a:lnTo>
                    <a:lnTo>
                      <a:pt x="2280" y="560"/>
                    </a:lnTo>
                    <a:lnTo>
                      <a:pt x="2279" y="556"/>
                    </a:lnTo>
                    <a:lnTo>
                      <a:pt x="2279" y="550"/>
                    </a:lnTo>
                    <a:lnTo>
                      <a:pt x="2282" y="545"/>
                    </a:lnTo>
                    <a:lnTo>
                      <a:pt x="2282" y="545"/>
                    </a:lnTo>
                    <a:lnTo>
                      <a:pt x="2286" y="540"/>
                    </a:lnTo>
                    <a:lnTo>
                      <a:pt x="2290" y="538"/>
                    </a:lnTo>
                    <a:lnTo>
                      <a:pt x="2293" y="535"/>
                    </a:lnTo>
                    <a:lnTo>
                      <a:pt x="2295" y="530"/>
                    </a:lnTo>
                    <a:lnTo>
                      <a:pt x="2295" y="530"/>
                    </a:lnTo>
                    <a:lnTo>
                      <a:pt x="2297" y="525"/>
                    </a:lnTo>
                    <a:lnTo>
                      <a:pt x="2300" y="519"/>
                    </a:lnTo>
                    <a:lnTo>
                      <a:pt x="2307" y="510"/>
                    </a:lnTo>
                    <a:lnTo>
                      <a:pt x="2307" y="510"/>
                    </a:lnTo>
                    <a:lnTo>
                      <a:pt x="2310" y="509"/>
                    </a:lnTo>
                    <a:lnTo>
                      <a:pt x="2313" y="509"/>
                    </a:lnTo>
                    <a:lnTo>
                      <a:pt x="2322" y="509"/>
                    </a:lnTo>
                    <a:lnTo>
                      <a:pt x="2322" y="509"/>
                    </a:lnTo>
                    <a:lnTo>
                      <a:pt x="2323" y="510"/>
                    </a:lnTo>
                    <a:lnTo>
                      <a:pt x="2323" y="512"/>
                    </a:lnTo>
                    <a:lnTo>
                      <a:pt x="2324" y="513"/>
                    </a:lnTo>
                    <a:lnTo>
                      <a:pt x="2327" y="512"/>
                    </a:lnTo>
                    <a:lnTo>
                      <a:pt x="2327" y="512"/>
                    </a:lnTo>
                    <a:lnTo>
                      <a:pt x="2334" y="503"/>
                    </a:lnTo>
                    <a:lnTo>
                      <a:pt x="2339" y="499"/>
                    </a:lnTo>
                    <a:lnTo>
                      <a:pt x="2343" y="498"/>
                    </a:lnTo>
                    <a:lnTo>
                      <a:pt x="2343" y="498"/>
                    </a:lnTo>
                    <a:lnTo>
                      <a:pt x="2344" y="498"/>
                    </a:lnTo>
                    <a:lnTo>
                      <a:pt x="2346" y="499"/>
                    </a:lnTo>
                    <a:lnTo>
                      <a:pt x="2346" y="502"/>
                    </a:lnTo>
                    <a:lnTo>
                      <a:pt x="2346" y="506"/>
                    </a:lnTo>
                    <a:lnTo>
                      <a:pt x="2347" y="510"/>
                    </a:lnTo>
                    <a:lnTo>
                      <a:pt x="2347" y="510"/>
                    </a:lnTo>
                    <a:lnTo>
                      <a:pt x="2349" y="513"/>
                    </a:lnTo>
                    <a:lnTo>
                      <a:pt x="2350" y="512"/>
                    </a:lnTo>
                    <a:lnTo>
                      <a:pt x="2361" y="502"/>
                    </a:lnTo>
                    <a:lnTo>
                      <a:pt x="2361" y="502"/>
                    </a:lnTo>
                    <a:lnTo>
                      <a:pt x="2366" y="501"/>
                    </a:lnTo>
                    <a:lnTo>
                      <a:pt x="2371" y="499"/>
                    </a:lnTo>
                    <a:lnTo>
                      <a:pt x="2383" y="498"/>
                    </a:lnTo>
                    <a:lnTo>
                      <a:pt x="2394" y="498"/>
                    </a:lnTo>
                    <a:lnTo>
                      <a:pt x="2401" y="499"/>
                    </a:lnTo>
                    <a:lnTo>
                      <a:pt x="2401" y="499"/>
                    </a:lnTo>
                    <a:lnTo>
                      <a:pt x="2406" y="502"/>
                    </a:lnTo>
                    <a:lnTo>
                      <a:pt x="2408" y="506"/>
                    </a:lnTo>
                    <a:lnTo>
                      <a:pt x="2411" y="509"/>
                    </a:lnTo>
                    <a:lnTo>
                      <a:pt x="2414" y="509"/>
                    </a:lnTo>
                    <a:lnTo>
                      <a:pt x="2414" y="509"/>
                    </a:lnTo>
                    <a:lnTo>
                      <a:pt x="2415" y="508"/>
                    </a:lnTo>
                    <a:lnTo>
                      <a:pt x="2417" y="505"/>
                    </a:lnTo>
                    <a:lnTo>
                      <a:pt x="2417" y="502"/>
                    </a:lnTo>
                    <a:lnTo>
                      <a:pt x="2420" y="501"/>
                    </a:lnTo>
                    <a:lnTo>
                      <a:pt x="2420" y="501"/>
                    </a:lnTo>
                    <a:lnTo>
                      <a:pt x="2431" y="495"/>
                    </a:lnTo>
                    <a:lnTo>
                      <a:pt x="2444" y="488"/>
                    </a:lnTo>
                    <a:lnTo>
                      <a:pt x="2444" y="488"/>
                    </a:lnTo>
                    <a:lnTo>
                      <a:pt x="2450" y="483"/>
                    </a:lnTo>
                    <a:lnTo>
                      <a:pt x="2452" y="481"/>
                    </a:lnTo>
                    <a:lnTo>
                      <a:pt x="2452" y="481"/>
                    </a:lnTo>
                    <a:lnTo>
                      <a:pt x="2455" y="478"/>
                    </a:lnTo>
                    <a:lnTo>
                      <a:pt x="2458" y="476"/>
                    </a:lnTo>
                    <a:lnTo>
                      <a:pt x="2461" y="476"/>
                    </a:lnTo>
                    <a:lnTo>
                      <a:pt x="2462" y="475"/>
                    </a:lnTo>
                    <a:lnTo>
                      <a:pt x="2462" y="475"/>
                    </a:lnTo>
                    <a:lnTo>
                      <a:pt x="2465" y="472"/>
                    </a:lnTo>
                    <a:lnTo>
                      <a:pt x="2471" y="468"/>
                    </a:lnTo>
                    <a:lnTo>
                      <a:pt x="2478" y="465"/>
                    </a:lnTo>
                    <a:lnTo>
                      <a:pt x="2489" y="462"/>
                    </a:lnTo>
                    <a:lnTo>
                      <a:pt x="2489" y="462"/>
                    </a:lnTo>
                    <a:lnTo>
                      <a:pt x="2501" y="459"/>
                    </a:lnTo>
                    <a:lnTo>
                      <a:pt x="2512" y="454"/>
                    </a:lnTo>
                    <a:lnTo>
                      <a:pt x="2519" y="449"/>
                    </a:lnTo>
                    <a:lnTo>
                      <a:pt x="2522" y="448"/>
                    </a:lnTo>
                    <a:lnTo>
                      <a:pt x="2522" y="446"/>
                    </a:lnTo>
                    <a:lnTo>
                      <a:pt x="2522" y="446"/>
                    </a:lnTo>
                    <a:lnTo>
                      <a:pt x="2524" y="444"/>
                    </a:lnTo>
                    <a:lnTo>
                      <a:pt x="2525" y="444"/>
                    </a:lnTo>
                    <a:lnTo>
                      <a:pt x="2528" y="444"/>
                    </a:lnTo>
                    <a:lnTo>
                      <a:pt x="2529" y="445"/>
                    </a:lnTo>
                    <a:lnTo>
                      <a:pt x="2529" y="445"/>
                    </a:lnTo>
                    <a:lnTo>
                      <a:pt x="2531" y="446"/>
                    </a:lnTo>
                    <a:lnTo>
                      <a:pt x="2534" y="446"/>
                    </a:lnTo>
                    <a:lnTo>
                      <a:pt x="2544" y="448"/>
                    </a:lnTo>
                    <a:lnTo>
                      <a:pt x="2544" y="448"/>
                    </a:lnTo>
                    <a:lnTo>
                      <a:pt x="2552" y="451"/>
                    </a:lnTo>
                    <a:lnTo>
                      <a:pt x="2556" y="449"/>
                    </a:lnTo>
                    <a:lnTo>
                      <a:pt x="2561" y="446"/>
                    </a:lnTo>
                    <a:lnTo>
                      <a:pt x="2561" y="446"/>
                    </a:lnTo>
                    <a:lnTo>
                      <a:pt x="2563" y="442"/>
                    </a:lnTo>
                    <a:lnTo>
                      <a:pt x="2562" y="439"/>
                    </a:lnTo>
                    <a:lnTo>
                      <a:pt x="2561" y="436"/>
                    </a:lnTo>
                    <a:lnTo>
                      <a:pt x="2561" y="434"/>
                    </a:lnTo>
                    <a:lnTo>
                      <a:pt x="2561" y="434"/>
                    </a:lnTo>
                    <a:lnTo>
                      <a:pt x="2559" y="431"/>
                    </a:lnTo>
                    <a:lnTo>
                      <a:pt x="2555" y="427"/>
                    </a:lnTo>
                    <a:lnTo>
                      <a:pt x="2552" y="422"/>
                    </a:lnTo>
                    <a:lnTo>
                      <a:pt x="2551" y="421"/>
                    </a:lnTo>
                    <a:lnTo>
                      <a:pt x="2551" y="419"/>
                    </a:lnTo>
                    <a:lnTo>
                      <a:pt x="2551" y="419"/>
                    </a:lnTo>
                    <a:lnTo>
                      <a:pt x="2551" y="414"/>
                    </a:lnTo>
                    <a:lnTo>
                      <a:pt x="2546" y="408"/>
                    </a:lnTo>
                    <a:lnTo>
                      <a:pt x="2544" y="404"/>
                    </a:lnTo>
                    <a:lnTo>
                      <a:pt x="2541" y="404"/>
                    </a:lnTo>
                    <a:lnTo>
                      <a:pt x="2541" y="404"/>
                    </a:lnTo>
                    <a:lnTo>
                      <a:pt x="2541" y="404"/>
                    </a:lnTo>
                    <a:lnTo>
                      <a:pt x="2538" y="404"/>
                    </a:lnTo>
                    <a:lnTo>
                      <a:pt x="2534" y="402"/>
                    </a:lnTo>
                    <a:lnTo>
                      <a:pt x="2532" y="401"/>
                    </a:lnTo>
                    <a:lnTo>
                      <a:pt x="2531" y="398"/>
                    </a:lnTo>
                    <a:lnTo>
                      <a:pt x="2531" y="398"/>
                    </a:lnTo>
                    <a:lnTo>
                      <a:pt x="2529" y="392"/>
                    </a:lnTo>
                    <a:lnTo>
                      <a:pt x="2528" y="391"/>
                    </a:lnTo>
                    <a:lnTo>
                      <a:pt x="2525" y="392"/>
                    </a:lnTo>
                    <a:lnTo>
                      <a:pt x="2525" y="392"/>
                    </a:lnTo>
                    <a:lnTo>
                      <a:pt x="2522" y="394"/>
                    </a:lnTo>
                    <a:lnTo>
                      <a:pt x="2518" y="394"/>
                    </a:lnTo>
                    <a:lnTo>
                      <a:pt x="2514" y="392"/>
                    </a:lnTo>
                    <a:lnTo>
                      <a:pt x="2512" y="390"/>
                    </a:lnTo>
                    <a:lnTo>
                      <a:pt x="2512" y="390"/>
                    </a:lnTo>
                    <a:lnTo>
                      <a:pt x="2512" y="388"/>
                    </a:lnTo>
                    <a:lnTo>
                      <a:pt x="2512" y="387"/>
                    </a:lnTo>
                    <a:lnTo>
                      <a:pt x="2517" y="384"/>
                    </a:lnTo>
                    <a:lnTo>
                      <a:pt x="2522" y="384"/>
                    </a:lnTo>
                    <a:lnTo>
                      <a:pt x="2528" y="385"/>
                    </a:lnTo>
                    <a:lnTo>
                      <a:pt x="2528" y="385"/>
                    </a:lnTo>
                    <a:lnTo>
                      <a:pt x="2532" y="387"/>
                    </a:lnTo>
                    <a:lnTo>
                      <a:pt x="2534" y="390"/>
                    </a:lnTo>
                    <a:lnTo>
                      <a:pt x="2535" y="391"/>
                    </a:lnTo>
                    <a:lnTo>
                      <a:pt x="2536" y="392"/>
                    </a:lnTo>
                    <a:lnTo>
                      <a:pt x="2536" y="392"/>
                    </a:lnTo>
                    <a:lnTo>
                      <a:pt x="2541" y="394"/>
                    </a:lnTo>
                    <a:lnTo>
                      <a:pt x="2545" y="394"/>
                    </a:lnTo>
                    <a:lnTo>
                      <a:pt x="2551" y="392"/>
                    </a:lnTo>
                    <a:lnTo>
                      <a:pt x="2555" y="391"/>
                    </a:lnTo>
                    <a:lnTo>
                      <a:pt x="2555" y="391"/>
                    </a:lnTo>
                    <a:lnTo>
                      <a:pt x="2566" y="387"/>
                    </a:lnTo>
                    <a:lnTo>
                      <a:pt x="2572" y="384"/>
                    </a:lnTo>
                    <a:lnTo>
                      <a:pt x="2576" y="381"/>
                    </a:lnTo>
                    <a:lnTo>
                      <a:pt x="2576" y="381"/>
                    </a:lnTo>
                    <a:lnTo>
                      <a:pt x="2578" y="378"/>
                    </a:lnTo>
                    <a:lnTo>
                      <a:pt x="2578" y="375"/>
                    </a:lnTo>
                    <a:lnTo>
                      <a:pt x="2578" y="374"/>
                    </a:lnTo>
                    <a:lnTo>
                      <a:pt x="2581" y="372"/>
                    </a:lnTo>
                    <a:lnTo>
                      <a:pt x="2581" y="372"/>
                    </a:lnTo>
                    <a:lnTo>
                      <a:pt x="2583" y="370"/>
                    </a:lnTo>
                    <a:lnTo>
                      <a:pt x="2582" y="367"/>
                    </a:lnTo>
                    <a:lnTo>
                      <a:pt x="2581" y="365"/>
                    </a:lnTo>
                    <a:lnTo>
                      <a:pt x="2578" y="363"/>
                    </a:lnTo>
                    <a:lnTo>
                      <a:pt x="2578" y="363"/>
                    </a:lnTo>
                    <a:lnTo>
                      <a:pt x="2576" y="361"/>
                    </a:lnTo>
                    <a:lnTo>
                      <a:pt x="2575" y="358"/>
                    </a:lnTo>
                    <a:lnTo>
                      <a:pt x="2576" y="355"/>
                    </a:lnTo>
                    <a:lnTo>
                      <a:pt x="2579" y="355"/>
                    </a:lnTo>
                    <a:lnTo>
                      <a:pt x="2579" y="355"/>
                    </a:lnTo>
                    <a:lnTo>
                      <a:pt x="2581" y="354"/>
                    </a:lnTo>
                    <a:lnTo>
                      <a:pt x="2582" y="353"/>
                    </a:lnTo>
                    <a:lnTo>
                      <a:pt x="2583" y="351"/>
                    </a:lnTo>
                    <a:lnTo>
                      <a:pt x="2585" y="350"/>
                    </a:lnTo>
                    <a:lnTo>
                      <a:pt x="2585" y="350"/>
                    </a:lnTo>
                    <a:lnTo>
                      <a:pt x="2588" y="350"/>
                    </a:lnTo>
                    <a:lnTo>
                      <a:pt x="2590" y="350"/>
                    </a:lnTo>
                    <a:lnTo>
                      <a:pt x="2593" y="350"/>
                    </a:lnTo>
                    <a:lnTo>
                      <a:pt x="2593" y="350"/>
                    </a:lnTo>
                    <a:lnTo>
                      <a:pt x="2596" y="348"/>
                    </a:lnTo>
                    <a:lnTo>
                      <a:pt x="2595" y="351"/>
                    </a:lnTo>
                    <a:lnTo>
                      <a:pt x="2592" y="358"/>
                    </a:lnTo>
                    <a:lnTo>
                      <a:pt x="2592" y="358"/>
                    </a:lnTo>
                    <a:lnTo>
                      <a:pt x="2590" y="361"/>
                    </a:lnTo>
                    <a:lnTo>
                      <a:pt x="2593" y="364"/>
                    </a:lnTo>
                    <a:lnTo>
                      <a:pt x="2595" y="367"/>
                    </a:lnTo>
                    <a:lnTo>
                      <a:pt x="2598" y="368"/>
                    </a:lnTo>
                    <a:lnTo>
                      <a:pt x="2598" y="368"/>
                    </a:lnTo>
                    <a:lnTo>
                      <a:pt x="2599" y="370"/>
                    </a:lnTo>
                    <a:lnTo>
                      <a:pt x="2603" y="371"/>
                    </a:lnTo>
                    <a:lnTo>
                      <a:pt x="2609" y="371"/>
                    </a:lnTo>
                    <a:lnTo>
                      <a:pt x="2613" y="370"/>
                    </a:lnTo>
                    <a:lnTo>
                      <a:pt x="2613" y="370"/>
                    </a:lnTo>
                    <a:lnTo>
                      <a:pt x="2616" y="368"/>
                    </a:lnTo>
                    <a:lnTo>
                      <a:pt x="2620" y="368"/>
                    </a:lnTo>
                    <a:lnTo>
                      <a:pt x="2627" y="371"/>
                    </a:lnTo>
                    <a:lnTo>
                      <a:pt x="2635" y="374"/>
                    </a:lnTo>
                    <a:lnTo>
                      <a:pt x="2637" y="375"/>
                    </a:lnTo>
                    <a:lnTo>
                      <a:pt x="2639" y="377"/>
                    </a:lnTo>
                    <a:lnTo>
                      <a:pt x="2639" y="377"/>
                    </a:lnTo>
                    <a:lnTo>
                      <a:pt x="2640" y="381"/>
                    </a:lnTo>
                    <a:lnTo>
                      <a:pt x="2642" y="384"/>
                    </a:lnTo>
                    <a:lnTo>
                      <a:pt x="2645" y="388"/>
                    </a:lnTo>
                    <a:lnTo>
                      <a:pt x="2650" y="391"/>
                    </a:lnTo>
                    <a:lnTo>
                      <a:pt x="2650" y="391"/>
                    </a:lnTo>
                    <a:lnTo>
                      <a:pt x="2656" y="392"/>
                    </a:lnTo>
                    <a:lnTo>
                      <a:pt x="2660" y="394"/>
                    </a:lnTo>
                    <a:lnTo>
                      <a:pt x="2664" y="395"/>
                    </a:lnTo>
                    <a:lnTo>
                      <a:pt x="2666" y="397"/>
                    </a:lnTo>
                    <a:lnTo>
                      <a:pt x="2666" y="397"/>
                    </a:lnTo>
                    <a:lnTo>
                      <a:pt x="2667" y="400"/>
                    </a:lnTo>
                    <a:lnTo>
                      <a:pt x="2669" y="401"/>
                    </a:lnTo>
                    <a:lnTo>
                      <a:pt x="2672" y="401"/>
                    </a:lnTo>
                    <a:lnTo>
                      <a:pt x="2674" y="401"/>
                    </a:lnTo>
                    <a:lnTo>
                      <a:pt x="2674" y="401"/>
                    </a:lnTo>
                    <a:lnTo>
                      <a:pt x="2677" y="401"/>
                    </a:lnTo>
                    <a:lnTo>
                      <a:pt x="2680" y="402"/>
                    </a:lnTo>
                    <a:lnTo>
                      <a:pt x="2682" y="404"/>
                    </a:lnTo>
                    <a:lnTo>
                      <a:pt x="2684" y="402"/>
                    </a:lnTo>
                    <a:lnTo>
                      <a:pt x="2684" y="402"/>
                    </a:lnTo>
                    <a:lnTo>
                      <a:pt x="2686" y="401"/>
                    </a:lnTo>
                    <a:lnTo>
                      <a:pt x="2689" y="401"/>
                    </a:lnTo>
                    <a:lnTo>
                      <a:pt x="2690" y="402"/>
                    </a:lnTo>
                    <a:lnTo>
                      <a:pt x="2693" y="401"/>
                    </a:lnTo>
                    <a:lnTo>
                      <a:pt x="2693" y="401"/>
                    </a:lnTo>
                    <a:lnTo>
                      <a:pt x="2694" y="400"/>
                    </a:lnTo>
                    <a:lnTo>
                      <a:pt x="2693" y="398"/>
                    </a:lnTo>
                    <a:lnTo>
                      <a:pt x="2690" y="395"/>
                    </a:lnTo>
                    <a:lnTo>
                      <a:pt x="2687" y="394"/>
                    </a:lnTo>
                    <a:lnTo>
                      <a:pt x="2686" y="392"/>
                    </a:lnTo>
                    <a:lnTo>
                      <a:pt x="2686" y="391"/>
                    </a:lnTo>
                    <a:lnTo>
                      <a:pt x="2686" y="391"/>
                    </a:lnTo>
                    <a:lnTo>
                      <a:pt x="2687" y="391"/>
                    </a:lnTo>
                    <a:lnTo>
                      <a:pt x="2689" y="391"/>
                    </a:lnTo>
                    <a:lnTo>
                      <a:pt x="2691" y="392"/>
                    </a:lnTo>
                    <a:lnTo>
                      <a:pt x="2694" y="394"/>
                    </a:lnTo>
                    <a:lnTo>
                      <a:pt x="2694" y="394"/>
                    </a:lnTo>
                    <a:lnTo>
                      <a:pt x="2694" y="392"/>
                    </a:lnTo>
                    <a:lnTo>
                      <a:pt x="2694" y="390"/>
                    </a:lnTo>
                    <a:lnTo>
                      <a:pt x="2694" y="387"/>
                    </a:lnTo>
                    <a:lnTo>
                      <a:pt x="2696" y="385"/>
                    </a:lnTo>
                    <a:lnTo>
                      <a:pt x="2696" y="385"/>
                    </a:lnTo>
                    <a:lnTo>
                      <a:pt x="2696" y="382"/>
                    </a:lnTo>
                    <a:lnTo>
                      <a:pt x="2696" y="378"/>
                    </a:lnTo>
                    <a:lnTo>
                      <a:pt x="2694" y="372"/>
                    </a:lnTo>
                    <a:lnTo>
                      <a:pt x="2693" y="370"/>
                    </a:lnTo>
                    <a:lnTo>
                      <a:pt x="2693" y="370"/>
                    </a:lnTo>
                    <a:lnTo>
                      <a:pt x="2691" y="368"/>
                    </a:lnTo>
                    <a:lnTo>
                      <a:pt x="2693" y="367"/>
                    </a:lnTo>
                    <a:lnTo>
                      <a:pt x="2694" y="367"/>
                    </a:lnTo>
                    <a:lnTo>
                      <a:pt x="2699" y="368"/>
                    </a:lnTo>
                    <a:lnTo>
                      <a:pt x="2699" y="368"/>
                    </a:lnTo>
                    <a:lnTo>
                      <a:pt x="2703" y="370"/>
                    </a:lnTo>
                    <a:lnTo>
                      <a:pt x="2707" y="371"/>
                    </a:lnTo>
                    <a:lnTo>
                      <a:pt x="2716" y="371"/>
                    </a:lnTo>
                    <a:lnTo>
                      <a:pt x="2716" y="371"/>
                    </a:lnTo>
                    <a:lnTo>
                      <a:pt x="2717" y="371"/>
                    </a:lnTo>
                    <a:lnTo>
                      <a:pt x="2717" y="370"/>
                    </a:lnTo>
                    <a:lnTo>
                      <a:pt x="2716" y="368"/>
                    </a:lnTo>
                    <a:lnTo>
                      <a:pt x="2713" y="367"/>
                    </a:lnTo>
                    <a:lnTo>
                      <a:pt x="2713" y="367"/>
                    </a:lnTo>
                    <a:lnTo>
                      <a:pt x="2710" y="367"/>
                    </a:lnTo>
                    <a:lnTo>
                      <a:pt x="2711" y="365"/>
                    </a:lnTo>
                    <a:lnTo>
                      <a:pt x="2713" y="365"/>
                    </a:lnTo>
                    <a:lnTo>
                      <a:pt x="2716" y="365"/>
                    </a:lnTo>
                    <a:lnTo>
                      <a:pt x="2716" y="365"/>
                    </a:lnTo>
                    <a:lnTo>
                      <a:pt x="2721" y="368"/>
                    </a:lnTo>
                    <a:lnTo>
                      <a:pt x="2723" y="368"/>
                    </a:lnTo>
                    <a:lnTo>
                      <a:pt x="2724" y="367"/>
                    </a:lnTo>
                    <a:lnTo>
                      <a:pt x="2724" y="367"/>
                    </a:lnTo>
                    <a:lnTo>
                      <a:pt x="2727" y="361"/>
                    </a:lnTo>
                    <a:lnTo>
                      <a:pt x="2730" y="358"/>
                    </a:lnTo>
                    <a:lnTo>
                      <a:pt x="2733" y="358"/>
                    </a:lnTo>
                    <a:lnTo>
                      <a:pt x="2733" y="358"/>
                    </a:lnTo>
                    <a:lnTo>
                      <a:pt x="2736" y="358"/>
                    </a:lnTo>
                    <a:lnTo>
                      <a:pt x="2737" y="357"/>
                    </a:lnTo>
                    <a:lnTo>
                      <a:pt x="2737" y="355"/>
                    </a:lnTo>
                    <a:lnTo>
                      <a:pt x="2734" y="354"/>
                    </a:lnTo>
                    <a:lnTo>
                      <a:pt x="2734" y="354"/>
                    </a:lnTo>
                    <a:close/>
                    <a:moveTo>
                      <a:pt x="1413" y="664"/>
                    </a:moveTo>
                    <a:lnTo>
                      <a:pt x="1413" y="664"/>
                    </a:lnTo>
                    <a:lnTo>
                      <a:pt x="1407" y="668"/>
                    </a:lnTo>
                    <a:lnTo>
                      <a:pt x="1400" y="673"/>
                    </a:lnTo>
                    <a:lnTo>
                      <a:pt x="1387" y="678"/>
                    </a:lnTo>
                    <a:lnTo>
                      <a:pt x="1376" y="683"/>
                    </a:lnTo>
                    <a:lnTo>
                      <a:pt x="1373" y="687"/>
                    </a:lnTo>
                    <a:lnTo>
                      <a:pt x="1371" y="690"/>
                    </a:lnTo>
                    <a:lnTo>
                      <a:pt x="1371" y="690"/>
                    </a:lnTo>
                    <a:lnTo>
                      <a:pt x="1370" y="693"/>
                    </a:lnTo>
                    <a:lnTo>
                      <a:pt x="1367" y="695"/>
                    </a:lnTo>
                    <a:lnTo>
                      <a:pt x="1361" y="698"/>
                    </a:lnTo>
                    <a:lnTo>
                      <a:pt x="1356" y="700"/>
                    </a:lnTo>
                    <a:lnTo>
                      <a:pt x="1343" y="701"/>
                    </a:lnTo>
                    <a:lnTo>
                      <a:pt x="1339" y="701"/>
                    </a:lnTo>
                    <a:lnTo>
                      <a:pt x="1336" y="700"/>
                    </a:lnTo>
                    <a:lnTo>
                      <a:pt x="1336" y="700"/>
                    </a:lnTo>
                    <a:lnTo>
                      <a:pt x="1337" y="698"/>
                    </a:lnTo>
                    <a:lnTo>
                      <a:pt x="1339" y="698"/>
                    </a:lnTo>
                    <a:lnTo>
                      <a:pt x="1349" y="694"/>
                    </a:lnTo>
                    <a:lnTo>
                      <a:pt x="1359" y="690"/>
                    </a:lnTo>
                    <a:lnTo>
                      <a:pt x="1364" y="685"/>
                    </a:lnTo>
                    <a:lnTo>
                      <a:pt x="1367" y="681"/>
                    </a:lnTo>
                    <a:lnTo>
                      <a:pt x="1367" y="681"/>
                    </a:lnTo>
                    <a:lnTo>
                      <a:pt x="1370" y="675"/>
                    </a:lnTo>
                    <a:lnTo>
                      <a:pt x="1374" y="671"/>
                    </a:lnTo>
                    <a:lnTo>
                      <a:pt x="1386" y="663"/>
                    </a:lnTo>
                    <a:lnTo>
                      <a:pt x="1398" y="653"/>
                    </a:lnTo>
                    <a:lnTo>
                      <a:pt x="1404" y="647"/>
                    </a:lnTo>
                    <a:lnTo>
                      <a:pt x="1410" y="640"/>
                    </a:lnTo>
                    <a:lnTo>
                      <a:pt x="1410" y="640"/>
                    </a:lnTo>
                    <a:lnTo>
                      <a:pt x="1415" y="630"/>
                    </a:lnTo>
                    <a:lnTo>
                      <a:pt x="1421" y="619"/>
                    </a:lnTo>
                    <a:lnTo>
                      <a:pt x="1425" y="610"/>
                    </a:lnTo>
                    <a:lnTo>
                      <a:pt x="1428" y="609"/>
                    </a:lnTo>
                    <a:lnTo>
                      <a:pt x="1430" y="607"/>
                    </a:lnTo>
                    <a:lnTo>
                      <a:pt x="1430" y="607"/>
                    </a:lnTo>
                    <a:lnTo>
                      <a:pt x="1431" y="610"/>
                    </a:lnTo>
                    <a:lnTo>
                      <a:pt x="1431" y="616"/>
                    </a:lnTo>
                    <a:lnTo>
                      <a:pt x="1428" y="633"/>
                    </a:lnTo>
                    <a:lnTo>
                      <a:pt x="1425" y="641"/>
                    </a:lnTo>
                    <a:lnTo>
                      <a:pt x="1421" y="651"/>
                    </a:lnTo>
                    <a:lnTo>
                      <a:pt x="1417" y="658"/>
                    </a:lnTo>
                    <a:lnTo>
                      <a:pt x="1413" y="664"/>
                    </a:lnTo>
                    <a:lnTo>
                      <a:pt x="1413" y="664"/>
                    </a:lnTo>
                    <a:close/>
                    <a:moveTo>
                      <a:pt x="1472" y="108"/>
                    </a:moveTo>
                    <a:lnTo>
                      <a:pt x="1472" y="108"/>
                    </a:lnTo>
                    <a:lnTo>
                      <a:pt x="1469" y="111"/>
                    </a:lnTo>
                    <a:lnTo>
                      <a:pt x="1467" y="112"/>
                    </a:lnTo>
                    <a:lnTo>
                      <a:pt x="1464" y="114"/>
                    </a:lnTo>
                    <a:lnTo>
                      <a:pt x="1462" y="114"/>
                    </a:lnTo>
                    <a:lnTo>
                      <a:pt x="1464" y="115"/>
                    </a:lnTo>
                    <a:lnTo>
                      <a:pt x="1464" y="115"/>
                    </a:lnTo>
                    <a:lnTo>
                      <a:pt x="1465" y="118"/>
                    </a:lnTo>
                    <a:lnTo>
                      <a:pt x="1469" y="118"/>
                    </a:lnTo>
                    <a:lnTo>
                      <a:pt x="1479" y="118"/>
                    </a:lnTo>
                    <a:lnTo>
                      <a:pt x="1488" y="115"/>
                    </a:lnTo>
                    <a:lnTo>
                      <a:pt x="1491" y="114"/>
                    </a:lnTo>
                    <a:lnTo>
                      <a:pt x="1492" y="111"/>
                    </a:lnTo>
                    <a:lnTo>
                      <a:pt x="1492" y="111"/>
                    </a:lnTo>
                    <a:lnTo>
                      <a:pt x="1491" y="108"/>
                    </a:lnTo>
                    <a:lnTo>
                      <a:pt x="1489" y="106"/>
                    </a:lnTo>
                    <a:lnTo>
                      <a:pt x="1484" y="105"/>
                    </a:lnTo>
                    <a:lnTo>
                      <a:pt x="1477" y="105"/>
                    </a:lnTo>
                    <a:lnTo>
                      <a:pt x="1474" y="106"/>
                    </a:lnTo>
                    <a:lnTo>
                      <a:pt x="1472" y="108"/>
                    </a:lnTo>
                    <a:lnTo>
                      <a:pt x="1472" y="108"/>
                    </a:lnTo>
                    <a:close/>
                    <a:moveTo>
                      <a:pt x="546" y="146"/>
                    </a:moveTo>
                    <a:lnTo>
                      <a:pt x="546" y="146"/>
                    </a:lnTo>
                    <a:lnTo>
                      <a:pt x="546" y="149"/>
                    </a:lnTo>
                    <a:lnTo>
                      <a:pt x="545" y="152"/>
                    </a:lnTo>
                    <a:lnTo>
                      <a:pt x="541" y="153"/>
                    </a:lnTo>
                    <a:lnTo>
                      <a:pt x="535" y="153"/>
                    </a:lnTo>
                    <a:lnTo>
                      <a:pt x="535" y="153"/>
                    </a:lnTo>
                    <a:lnTo>
                      <a:pt x="532" y="153"/>
                    </a:lnTo>
                    <a:lnTo>
                      <a:pt x="532" y="155"/>
                    </a:lnTo>
                    <a:lnTo>
                      <a:pt x="533" y="158"/>
                    </a:lnTo>
                    <a:lnTo>
                      <a:pt x="538" y="161"/>
                    </a:lnTo>
                    <a:lnTo>
                      <a:pt x="541" y="165"/>
                    </a:lnTo>
                    <a:lnTo>
                      <a:pt x="541" y="165"/>
                    </a:lnTo>
                    <a:lnTo>
                      <a:pt x="541" y="166"/>
                    </a:lnTo>
                    <a:lnTo>
                      <a:pt x="539" y="168"/>
                    </a:lnTo>
                    <a:lnTo>
                      <a:pt x="536" y="168"/>
                    </a:lnTo>
                    <a:lnTo>
                      <a:pt x="532" y="170"/>
                    </a:lnTo>
                    <a:lnTo>
                      <a:pt x="532" y="172"/>
                    </a:lnTo>
                    <a:lnTo>
                      <a:pt x="531" y="175"/>
                    </a:lnTo>
                    <a:lnTo>
                      <a:pt x="531" y="175"/>
                    </a:lnTo>
                    <a:lnTo>
                      <a:pt x="531" y="176"/>
                    </a:lnTo>
                    <a:lnTo>
                      <a:pt x="528" y="178"/>
                    </a:lnTo>
                    <a:lnTo>
                      <a:pt x="522" y="179"/>
                    </a:lnTo>
                    <a:lnTo>
                      <a:pt x="515" y="179"/>
                    </a:lnTo>
                    <a:lnTo>
                      <a:pt x="512" y="182"/>
                    </a:lnTo>
                    <a:lnTo>
                      <a:pt x="511" y="185"/>
                    </a:lnTo>
                    <a:lnTo>
                      <a:pt x="511" y="185"/>
                    </a:lnTo>
                    <a:lnTo>
                      <a:pt x="511" y="188"/>
                    </a:lnTo>
                    <a:lnTo>
                      <a:pt x="511" y="190"/>
                    </a:lnTo>
                    <a:lnTo>
                      <a:pt x="514" y="192"/>
                    </a:lnTo>
                    <a:lnTo>
                      <a:pt x="515" y="193"/>
                    </a:lnTo>
                    <a:lnTo>
                      <a:pt x="521" y="193"/>
                    </a:lnTo>
                    <a:lnTo>
                      <a:pt x="528" y="195"/>
                    </a:lnTo>
                    <a:lnTo>
                      <a:pt x="528" y="195"/>
                    </a:lnTo>
                    <a:lnTo>
                      <a:pt x="529" y="195"/>
                    </a:lnTo>
                    <a:lnTo>
                      <a:pt x="531" y="196"/>
                    </a:lnTo>
                    <a:lnTo>
                      <a:pt x="529" y="199"/>
                    </a:lnTo>
                    <a:lnTo>
                      <a:pt x="528" y="202"/>
                    </a:lnTo>
                    <a:lnTo>
                      <a:pt x="528" y="205"/>
                    </a:lnTo>
                    <a:lnTo>
                      <a:pt x="531" y="206"/>
                    </a:lnTo>
                    <a:lnTo>
                      <a:pt x="531" y="206"/>
                    </a:lnTo>
                    <a:lnTo>
                      <a:pt x="533" y="207"/>
                    </a:lnTo>
                    <a:lnTo>
                      <a:pt x="536" y="207"/>
                    </a:lnTo>
                    <a:lnTo>
                      <a:pt x="538" y="206"/>
                    </a:lnTo>
                    <a:lnTo>
                      <a:pt x="536" y="200"/>
                    </a:lnTo>
                    <a:lnTo>
                      <a:pt x="536" y="200"/>
                    </a:lnTo>
                    <a:lnTo>
                      <a:pt x="536" y="199"/>
                    </a:lnTo>
                    <a:lnTo>
                      <a:pt x="538" y="198"/>
                    </a:lnTo>
                    <a:lnTo>
                      <a:pt x="543" y="200"/>
                    </a:lnTo>
                    <a:lnTo>
                      <a:pt x="546" y="202"/>
                    </a:lnTo>
                    <a:lnTo>
                      <a:pt x="549" y="205"/>
                    </a:lnTo>
                    <a:lnTo>
                      <a:pt x="551" y="207"/>
                    </a:lnTo>
                    <a:lnTo>
                      <a:pt x="549" y="210"/>
                    </a:lnTo>
                    <a:lnTo>
                      <a:pt x="549" y="210"/>
                    </a:lnTo>
                    <a:lnTo>
                      <a:pt x="548" y="212"/>
                    </a:lnTo>
                    <a:lnTo>
                      <a:pt x="548" y="215"/>
                    </a:lnTo>
                    <a:lnTo>
                      <a:pt x="551" y="216"/>
                    </a:lnTo>
                    <a:lnTo>
                      <a:pt x="553" y="217"/>
                    </a:lnTo>
                    <a:lnTo>
                      <a:pt x="562" y="220"/>
                    </a:lnTo>
                    <a:lnTo>
                      <a:pt x="569" y="222"/>
                    </a:lnTo>
                    <a:lnTo>
                      <a:pt x="569" y="222"/>
                    </a:lnTo>
                    <a:lnTo>
                      <a:pt x="593" y="225"/>
                    </a:lnTo>
                    <a:lnTo>
                      <a:pt x="606" y="225"/>
                    </a:lnTo>
                    <a:lnTo>
                      <a:pt x="609" y="223"/>
                    </a:lnTo>
                    <a:lnTo>
                      <a:pt x="612" y="222"/>
                    </a:lnTo>
                    <a:lnTo>
                      <a:pt x="612" y="222"/>
                    </a:lnTo>
                    <a:lnTo>
                      <a:pt x="610" y="219"/>
                    </a:lnTo>
                    <a:lnTo>
                      <a:pt x="609" y="217"/>
                    </a:lnTo>
                    <a:lnTo>
                      <a:pt x="605" y="213"/>
                    </a:lnTo>
                    <a:lnTo>
                      <a:pt x="597" y="209"/>
                    </a:lnTo>
                    <a:lnTo>
                      <a:pt x="589" y="202"/>
                    </a:lnTo>
                    <a:lnTo>
                      <a:pt x="589" y="202"/>
                    </a:lnTo>
                    <a:lnTo>
                      <a:pt x="582" y="193"/>
                    </a:lnTo>
                    <a:lnTo>
                      <a:pt x="579" y="183"/>
                    </a:lnTo>
                    <a:lnTo>
                      <a:pt x="578" y="179"/>
                    </a:lnTo>
                    <a:lnTo>
                      <a:pt x="578" y="173"/>
                    </a:lnTo>
                    <a:lnTo>
                      <a:pt x="580" y="170"/>
                    </a:lnTo>
                    <a:lnTo>
                      <a:pt x="583" y="168"/>
                    </a:lnTo>
                    <a:lnTo>
                      <a:pt x="583" y="168"/>
                    </a:lnTo>
                    <a:lnTo>
                      <a:pt x="587" y="165"/>
                    </a:lnTo>
                    <a:lnTo>
                      <a:pt x="589" y="162"/>
                    </a:lnTo>
                    <a:lnTo>
                      <a:pt x="590" y="158"/>
                    </a:lnTo>
                    <a:lnTo>
                      <a:pt x="592" y="153"/>
                    </a:lnTo>
                    <a:lnTo>
                      <a:pt x="593" y="152"/>
                    </a:lnTo>
                    <a:lnTo>
                      <a:pt x="596" y="149"/>
                    </a:lnTo>
                    <a:lnTo>
                      <a:pt x="596" y="149"/>
                    </a:lnTo>
                    <a:lnTo>
                      <a:pt x="600" y="145"/>
                    </a:lnTo>
                    <a:lnTo>
                      <a:pt x="602" y="142"/>
                    </a:lnTo>
                    <a:lnTo>
                      <a:pt x="605" y="138"/>
                    </a:lnTo>
                    <a:lnTo>
                      <a:pt x="606" y="133"/>
                    </a:lnTo>
                    <a:lnTo>
                      <a:pt x="607" y="132"/>
                    </a:lnTo>
                    <a:lnTo>
                      <a:pt x="610" y="132"/>
                    </a:lnTo>
                    <a:lnTo>
                      <a:pt x="610" y="132"/>
                    </a:lnTo>
                    <a:lnTo>
                      <a:pt x="613" y="131"/>
                    </a:lnTo>
                    <a:lnTo>
                      <a:pt x="615" y="131"/>
                    </a:lnTo>
                    <a:lnTo>
                      <a:pt x="615" y="126"/>
                    </a:lnTo>
                    <a:lnTo>
                      <a:pt x="615" y="124"/>
                    </a:lnTo>
                    <a:lnTo>
                      <a:pt x="616" y="122"/>
                    </a:lnTo>
                    <a:lnTo>
                      <a:pt x="619" y="121"/>
                    </a:lnTo>
                    <a:lnTo>
                      <a:pt x="619" y="121"/>
                    </a:lnTo>
                    <a:lnTo>
                      <a:pt x="622" y="121"/>
                    </a:lnTo>
                    <a:lnTo>
                      <a:pt x="624" y="118"/>
                    </a:lnTo>
                    <a:lnTo>
                      <a:pt x="629" y="114"/>
                    </a:lnTo>
                    <a:lnTo>
                      <a:pt x="629" y="109"/>
                    </a:lnTo>
                    <a:lnTo>
                      <a:pt x="629" y="105"/>
                    </a:lnTo>
                    <a:lnTo>
                      <a:pt x="629" y="105"/>
                    </a:lnTo>
                    <a:lnTo>
                      <a:pt x="629" y="104"/>
                    </a:lnTo>
                    <a:lnTo>
                      <a:pt x="630" y="104"/>
                    </a:lnTo>
                    <a:lnTo>
                      <a:pt x="634" y="104"/>
                    </a:lnTo>
                    <a:lnTo>
                      <a:pt x="639" y="102"/>
                    </a:lnTo>
                    <a:lnTo>
                      <a:pt x="642" y="102"/>
                    </a:lnTo>
                    <a:lnTo>
                      <a:pt x="644" y="101"/>
                    </a:lnTo>
                    <a:lnTo>
                      <a:pt x="644" y="101"/>
                    </a:lnTo>
                    <a:lnTo>
                      <a:pt x="646" y="98"/>
                    </a:lnTo>
                    <a:lnTo>
                      <a:pt x="649" y="98"/>
                    </a:lnTo>
                    <a:lnTo>
                      <a:pt x="656" y="97"/>
                    </a:lnTo>
                    <a:lnTo>
                      <a:pt x="661" y="95"/>
                    </a:lnTo>
                    <a:lnTo>
                      <a:pt x="664" y="92"/>
                    </a:lnTo>
                    <a:lnTo>
                      <a:pt x="666" y="91"/>
                    </a:lnTo>
                    <a:lnTo>
                      <a:pt x="666" y="91"/>
                    </a:lnTo>
                    <a:lnTo>
                      <a:pt x="669" y="87"/>
                    </a:lnTo>
                    <a:lnTo>
                      <a:pt x="677" y="82"/>
                    </a:lnTo>
                    <a:lnTo>
                      <a:pt x="700" y="72"/>
                    </a:lnTo>
                    <a:lnTo>
                      <a:pt x="728" y="64"/>
                    </a:lnTo>
                    <a:lnTo>
                      <a:pt x="755" y="57"/>
                    </a:lnTo>
                    <a:lnTo>
                      <a:pt x="755" y="57"/>
                    </a:lnTo>
                    <a:lnTo>
                      <a:pt x="775" y="51"/>
                    </a:lnTo>
                    <a:lnTo>
                      <a:pt x="784" y="47"/>
                    </a:lnTo>
                    <a:lnTo>
                      <a:pt x="791" y="42"/>
                    </a:lnTo>
                    <a:lnTo>
                      <a:pt x="795" y="40"/>
                    </a:lnTo>
                    <a:lnTo>
                      <a:pt x="798" y="35"/>
                    </a:lnTo>
                    <a:lnTo>
                      <a:pt x="798" y="31"/>
                    </a:lnTo>
                    <a:lnTo>
                      <a:pt x="797" y="28"/>
                    </a:lnTo>
                    <a:lnTo>
                      <a:pt x="797" y="28"/>
                    </a:lnTo>
                    <a:lnTo>
                      <a:pt x="791" y="25"/>
                    </a:lnTo>
                    <a:lnTo>
                      <a:pt x="785" y="25"/>
                    </a:lnTo>
                    <a:lnTo>
                      <a:pt x="778" y="25"/>
                    </a:lnTo>
                    <a:lnTo>
                      <a:pt x="770" y="27"/>
                    </a:lnTo>
                    <a:lnTo>
                      <a:pt x="755" y="32"/>
                    </a:lnTo>
                    <a:lnTo>
                      <a:pt x="747" y="38"/>
                    </a:lnTo>
                    <a:lnTo>
                      <a:pt x="747" y="38"/>
                    </a:lnTo>
                    <a:lnTo>
                      <a:pt x="744" y="40"/>
                    </a:lnTo>
                    <a:lnTo>
                      <a:pt x="740" y="41"/>
                    </a:lnTo>
                    <a:lnTo>
                      <a:pt x="734" y="41"/>
                    </a:lnTo>
                    <a:lnTo>
                      <a:pt x="727" y="42"/>
                    </a:lnTo>
                    <a:lnTo>
                      <a:pt x="721" y="44"/>
                    </a:lnTo>
                    <a:lnTo>
                      <a:pt x="721" y="44"/>
                    </a:lnTo>
                    <a:lnTo>
                      <a:pt x="714" y="47"/>
                    </a:lnTo>
                    <a:lnTo>
                      <a:pt x="704" y="48"/>
                    </a:lnTo>
                    <a:lnTo>
                      <a:pt x="696" y="50"/>
                    </a:lnTo>
                    <a:lnTo>
                      <a:pt x="693" y="48"/>
                    </a:lnTo>
                    <a:lnTo>
                      <a:pt x="688" y="47"/>
                    </a:lnTo>
                    <a:lnTo>
                      <a:pt x="688" y="47"/>
                    </a:lnTo>
                    <a:lnTo>
                      <a:pt x="686" y="45"/>
                    </a:lnTo>
                    <a:lnTo>
                      <a:pt x="683" y="45"/>
                    </a:lnTo>
                    <a:lnTo>
                      <a:pt x="676" y="48"/>
                    </a:lnTo>
                    <a:lnTo>
                      <a:pt x="670" y="51"/>
                    </a:lnTo>
                    <a:lnTo>
                      <a:pt x="666" y="52"/>
                    </a:lnTo>
                    <a:lnTo>
                      <a:pt x="666" y="52"/>
                    </a:lnTo>
                    <a:lnTo>
                      <a:pt x="660" y="52"/>
                    </a:lnTo>
                    <a:lnTo>
                      <a:pt x="656" y="55"/>
                    </a:lnTo>
                    <a:lnTo>
                      <a:pt x="650" y="57"/>
                    </a:lnTo>
                    <a:lnTo>
                      <a:pt x="646" y="58"/>
                    </a:lnTo>
                    <a:lnTo>
                      <a:pt x="646" y="58"/>
                    </a:lnTo>
                    <a:lnTo>
                      <a:pt x="639" y="58"/>
                    </a:lnTo>
                    <a:lnTo>
                      <a:pt x="633" y="61"/>
                    </a:lnTo>
                    <a:lnTo>
                      <a:pt x="627" y="64"/>
                    </a:lnTo>
                    <a:lnTo>
                      <a:pt x="624" y="67"/>
                    </a:lnTo>
                    <a:lnTo>
                      <a:pt x="624" y="67"/>
                    </a:lnTo>
                    <a:lnTo>
                      <a:pt x="622" y="69"/>
                    </a:lnTo>
                    <a:lnTo>
                      <a:pt x="617" y="71"/>
                    </a:lnTo>
                    <a:lnTo>
                      <a:pt x="613" y="72"/>
                    </a:lnTo>
                    <a:lnTo>
                      <a:pt x="613" y="74"/>
                    </a:lnTo>
                    <a:lnTo>
                      <a:pt x="612" y="75"/>
                    </a:lnTo>
                    <a:lnTo>
                      <a:pt x="612" y="75"/>
                    </a:lnTo>
                    <a:lnTo>
                      <a:pt x="610" y="78"/>
                    </a:lnTo>
                    <a:lnTo>
                      <a:pt x="607" y="81"/>
                    </a:lnTo>
                    <a:lnTo>
                      <a:pt x="602" y="81"/>
                    </a:lnTo>
                    <a:lnTo>
                      <a:pt x="599" y="79"/>
                    </a:lnTo>
                    <a:lnTo>
                      <a:pt x="599" y="79"/>
                    </a:lnTo>
                    <a:lnTo>
                      <a:pt x="596" y="78"/>
                    </a:lnTo>
                    <a:lnTo>
                      <a:pt x="595" y="78"/>
                    </a:lnTo>
                    <a:lnTo>
                      <a:pt x="592" y="81"/>
                    </a:lnTo>
                    <a:lnTo>
                      <a:pt x="592" y="85"/>
                    </a:lnTo>
                    <a:lnTo>
                      <a:pt x="592" y="88"/>
                    </a:lnTo>
                    <a:lnTo>
                      <a:pt x="595" y="91"/>
                    </a:lnTo>
                    <a:lnTo>
                      <a:pt x="595" y="91"/>
                    </a:lnTo>
                    <a:lnTo>
                      <a:pt x="596" y="92"/>
                    </a:lnTo>
                    <a:lnTo>
                      <a:pt x="595" y="94"/>
                    </a:lnTo>
                    <a:lnTo>
                      <a:pt x="592" y="97"/>
                    </a:lnTo>
                    <a:lnTo>
                      <a:pt x="586" y="98"/>
                    </a:lnTo>
                    <a:lnTo>
                      <a:pt x="585" y="99"/>
                    </a:lnTo>
                    <a:lnTo>
                      <a:pt x="586" y="101"/>
                    </a:lnTo>
                    <a:lnTo>
                      <a:pt x="586" y="101"/>
                    </a:lnTo>
                    <a:lnTo>
                      <a:pt x="586" y="102"/>
                    </a:lnTo>
                    <a:lnTo>
                      <a:pt x="586" y="104"/>
                    </a:lnTo>
                    <a:lnTo>
                      <a:pt x="583" y="105"/>
                    </a:lnTo>
                    <a:lnTo>
                      <a:pt x="580" y="108"/>
                    </a:lnTo>
                    <a:lnTo>
                      <a:pt x="580" y="109"/>
                    </a:lnTo>
                    <a:lnTo>
                      <a:pt x="580" y="111"/>
                    </a:lnTo>
                    <a:lnTo>
                      <a:pt x="580" y="111"/>
                    </a:lnTo>
                    <a:lnTo>
                      <a:pt x="580" y="112"/>
                    </a:lnTo>
                    <a:lnTo>
                      <a:pt x="580" y="114"/>
                    </a:lnTo>
                    <a:lnTo>
                      <a:pt x="578" y="115"/>
                    </a:lnTo>
                    <a:lnTo>
                      <a:pt x="568" y="118"/>
                    </a:lnTo>
                    <a:lnTo>
                      <a:pt x="568" y="118"/>
                    </a:lnTo>
                    <a:lnTo>
                      <a:pt x="562" y="121"/>
                    </a:lnTo>
                    <a:lnTo>
                      <a:pt x="560" y="124"/>
                    </a:lnTo>
                    <a:lnTo>
                      <a:pt x="559" y="126"/>
                    </a:lnTo>
                    <a:lnTo>
                      <a:pt x="560" y="128"/>
                    </a:lnTo>
                    <a:lnTo>
                      <a:pt x="562" y="129"/>
                    </a:lnTo>
                    <a:lnTo>
                      <a:pt x="565" y="129"/>
                    </a:lnTo>
                    <a:lnTo>
                      <a:pt x="565" y="129"/>
                    </a:lnTo>
                    <a:lnTo>
                      <a:pt x="568" y="131"/>
                    </a:lnTo>
                    <a:lnTo>
                      <a:pt x="566" y="132"/>
                    </a:lnTo>
                    <a:lnTo>
                      <a:pt x="562" y="135"/>
                    </a:lnTo>
                    <a:lnTo>
                      <a:pt x="560" y="136"/>
                    </a:lnTo>
                    <a:lnTo>
                      <a:pt x="560" y="139"/>
                    </a:lnTo>
                    <a:lnTo>
                      <a:pt x="560" y="139"/>
                    </a:lnTo>
                    <a:lnTo>
                      <a:pt x="560" y="141"/>
                    </a:lnTo>
                    <a:lnTo>
                      <a:pt x="559" y="142"/>
                    </a:lnTo>
                    <a:lnTo>
                      <a:pt x="553" y="143"/>
                    </a:lnTo>
                    <a:lnTo>
                      <a:pt x="549" y="143"/>
                    </a:lnTo>
                    <a:lnTo>
                      <a:pt x="548" y="145"/>
                    </a:lnTo>
                    <a:lnTo>
                      <a:pt x="546" y="146"/>
                    </a:lnTo>
                    <a:lnTo>
                      <a:pt x="546" y="14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2" name="France">
                <a:extLst>
                  <a:ext uri="{FF2B5EF4-FFF2-40B4-BE49-F238E27FC236}">
                    <a16:creationId xmlns:a16="http://schemas.microsoft.com/office/drawing/2014/main" id="{CFAF42AC-D042-E44E-BF37-1C893EF08C82}"/>
                  </a:ext>
                </a:extLst>
              </p:cNvPr>
              <p:cNvSpPr>
                <a:spLocks noEditPoints="1"/>
              </p:cNvSpPr>
              <p:nvPr/>
            </p:nvSpPr>
            <p:spPr bwMode="auto">
              <a:xfrm>
                <a:off x="4210933" y="2969055"/>
                <a:ext cx="340351" cy="288558"/>
              </a:xfrm>
              <a:custGeom>
                <a:avLst/>
                <a:gdLst/>
                <a:ahLst/>
                <a:cxnLst>
                  <a:cxn ang="0">
                    <a:pos x="195" y="41"/>
                  </a:cxn>
                  <a:cxn ang="0">
                    <a:pos x="181" y="35"/>
                  </a:cxn>
                  <a:cxn ang="0">
                    <a:pos x="164" y="31"/>
                  </a:cxn>
                  <a:cxn ang="0">
                    <a:pos x="157" y="25"/>
                  </a:cxn>
                  <a:cxn ang="0">
                    <a:pos x="148" y="24"/>
                  </a:cxn>
                  <a:cxn ang="0">
                    <a:pos x="144" y="20"/>
                  </a:cxn>
                  <a:cxn ang="0">
                    <a:pos x="128" y="10"/>
                  </a:cxn>
                  <a:cxn ang="0">
                    <a:pos x="122" y="7"/>
                  </a:cxn>
                  <a:cxn ang="0">
                    <a:pos x="117" y="0"/>
                  </a:cxn>
                  <a:cxn ang="0">
                    <a:pos x="104" y="8"/>
                  </a:cxn>
                  <a:cxn ang="0">
                    <a:pos x="100" y="23"/>
                  </a:cxn>
                  <a:cxn ang="0">
                    <a:pos x="80" y="30"/>
                  </a:cxn>
                  <a:cxn ang="0">
                    <a:pos x="65" y="37"/>
                  </a:cxn>
                  <a:cxn ang="0">
                    <a:pos x="54" y="28"/>
                  </a:cxn>
                  <a:cxn ang="0">
                    <a:pos x="47" y="35"/>
                  </a:cxn>
                  <a:cxn ang="0">
                    <a:pos x="50" y="52"/>
                  </a:cxn>
                  <a:cxn ang="0">
                    <a:pos x="36" y="52"/>
                  </a:cxn>
                  <a:cxn ang="0">
                    <a:pos x="26" y="48"/>
                  </a:cxn>
                  <a:cxn ang="0">
                    <a:pos x="10" y="50"/>
                  </a:cxn>
                  <a:cxn ang="0">
                    <a:pos x="0" y="57"/>
                  </a:cxn>
                  <a:cxn ang="0">
                    <a:pos x="3" y="67"/>
                  </a:cxn>
                  <a:cxn ang="0">
                    <a:pos x="24" y="74"/>
                  </a:cxn>
                  <a:cxn ang="0">
                    <a:pos x="37" y="78"/>
                  </a:cxn>
                  <a:cxn ang="0">
                    <a:pos x="44" y="89"/>
                  </a:cxn>
                  <a:cxn ang="0">
                    <a:pos x="58" y="101"/>
                  </a:cxn>
                  <a:cxn ang="0">
                    <a:pos x="60" y="115"/>
                  </a:cxn>
                  <a:cxn ang="0">
                    <a:pos x="57" y="136"/>
                  </a:cxn>
                  <a:cxn ang="0">
                    <a:pos x="48" y="159"/>
                  </a:cxn>
                  <a:cxn ang="0">
                    <a:pos x="74" y="170"/>
                  </a:cxn>
                  <a:cxn ang="0">
                    <a:pos x="85" y="170"/>
                  </a:cxn>
                  <a:cxn ang="0">
                    <a:pos x="94" y="172"/>
                  </a:cxn>
                  <a:cxn ang="0">
                    <a:pos x="121" y="178"/>
                  </a:cxn>
                  <a:cxn ang="0">
                    <a:pos x="128" y="169"/>
                  </a:cxn>
                  <a:cxn ang="0">
                    <a:pos x="141" y="156"/>
                  </a:cxn>
                  <a:cxn ang="0">
                    <a:pos x="171" y="163"/>
                  </a:cxn>
                  <a:cxn ang="0">
                    <a:pos x="189" y="158"/>
                  </a:cxn>
                  <a:cxn ang="0">
                    <a:pos x="201" y="145"/>
                  </a:cxn>
                  <a:cxn ang="0">
                    <a:pos x="191" y="142"/>
                  </a:cxn>
                  <a:cxn ang="0">
                    <a:pos x="191" y="132"/>
                  </a:cxn>
                  <a:cxn ang="0">
                    <a:pos x="185" y="124"/>
                  </a:cxn>
                  <a:cxn ang="0">
                    <a:pos x="192" y="116"/>
                  </a:cxn>
                  <a:cxn ang="0">
                    <a:pos x="191" y="108"/>
                  </a:cxn>
                  <a:cxn ang="0">
                    <a:pos x="188" y="101"/>
                  </a:cxn>
                  <a:cxn ang="0">
                    <a:pos x="181" y="99"/>
                  </a:cxn>
                  <a:cxn ang="0">
                    <a:pos x="178" y="95"/>
                  </a:cxn>
                  <a:cxn ang="0">
                    <a:pos x="188" y="82"/>
                  </a:cxn>
                  <a:cxn ang="0">
                    <a:pos x="196" y="75"/>
                  </a:cxn>
                  <a:cxn ang="0">
                    <a:pos x="202" y="57"/>
                  </a:cxn>
                  <a:cxn ang="0">
                    <a:pos x="208" y="45"/>
                  </a:cxn>
                  <a:cxn ang="0">
                    <a:pos x="229" y="165"/>
                  </a:cxn>
                  <a:cxn ang="0">
                    <a:pos x="219" y="173"/>
                  </a:cxn>
                  <a:cxn ang="0">
                    <a:pos x="223" y="195"/>
                  </a:cxn>
                  <a:cxn ang="0">
                    <a:pos x="230" y="180"/>
                  </a:cxn>
                </a:cxnLst>
                <a:rect l="0" t="0" r="r" b="b"/>
                <a:pathLst>
                  <a:path w="230" h="195">
                    <a:moveTo>
                      <a:pt x="203" y="44"/>
                    </a:moveTo>
                    <a:lnTo>
                      <a:pt x="203" y="44"/>
                    </a:lnTo>
                    <a:lnTo>
                      <a:pt x="201" y="44"/>
                    </a:lnTo>
                    <a:lnTo>
                      <a:pt x="198" y="42"/>
                    </a:lnTo>
                    <a:lnTo>
                      <a:pt x="195" y="41"/>
                    </a:lnTo>
                    <a:lnTo>
                      <a:pt x="195" y="41"/>
                    </a:lnTo>
                    <a:lnTo>
                      <a:pt x="189" y="40"/>
                    </a:lnTo>
                    <a:lnTo>
                      <a:pt x="185" y="37"/>
                    </a:lnTo>
                    <a:lnTo>
                      <a:pt x="185" y="37"/>
                    </a:lnTo>
                    <a:lnTo>
                      <a:pt x="181" y="35"/>
                    </a:lnTo>
                    <a:lnTo>
                      <a:pt x="176" y="34"/>
                    </a:lnTo>
                    <a:lnTo>
                      <a:pt x="168" y="34"/>
                    </a:lnTo>
                    <a:lnTo>
                      <a:pt x="168" y="34"/>
                    </a:lnTo>
                    <a:lnTo>
                      <a:pt x="165" y="33"/>
                    </a:lnTo>
                    <a:lnTo>
                      <a:pt x="164" y="31"/>
                    </a:lnTo>
                    <a:lnTo>
                      <a:pt x="162" y="30"/>
                    </a:lnTo>
                    <a:lnTo>
                      <a:pt x="159" y="28"/>
                    </a:lnTo>
                    <a:lnTo>
                      <a:pt x="159" y="28"/>
                    </a:lnTo>
                    <a:lnTo>
                      <a:pt x="158" y="28"/>
                    </a:lnTo>
                    <a:lnTo>
                      <a:pt x="157" y="25"/>
                    </a:lnTo>
                    <a:lnTo>
                      <a:pt x="155" y="21"/>
                    </a:lnTo>
                    <a:lnTo>
                      <a:pt x="155" y="21"/>
                    </a:lnTo>
                    <a:lnTo>
                      <a:pt x="154" y="20"/>
                    </a:lnTo>
                    <a:lnTo>
                      <a:pt x="152" y="21"/>
                    </a:lnTo>
                    <a:lnTo>
                      <a:pt x="148" y="24"/>
                    </a:lnTo>
                    <a:lnTo>
                      <a:pt x="148" y="24"/>
                    </a:lnTo>
                    <a:lnTo>
                      <a:pt x="145" y="24"/>
                    </a:lnTo>
                    <a:lnTo>
                      <a:pt x="144" y="23"/>
                    </a:lnTo>
                    <a:lnTo>
                      <a:pt x="144" y="20"/>
                    </a:lnTo>
                    <a:lnTo>
                      <a:pt x="144" y="20"/>
                    </a:lnTo>
                    <a:lnTo>
                      <a:pt x="142" y="18"/>
                    </a:lnTo>
                    <a:lnTo>
                      <a:pt x="139" y="15"/>
                    </a:lnTo>
                    <a:lnTo>
                      <a:pt x="134" y="13"/>
                    </a:lnTo>
                    <a:lnTo>
                      <a:pt x="134" y="13"/>
                    </a:lnTo>
                    <a:lnTo>
                      <a:pt x="128" y="10"/>
                    </a:lnTo>
                    <a:lnTo>
                      <a:pt x="127" y="8"/>
                    </a:lnTo>
                    <a:lnTo>
                      <a:pt x="125" y="8"/>
                    </a:lnTo>
                    <a:lnTo>
                      <a:pt x="125" y="8"/>
                    </a:lnTo>
                    <a:lnTo>
                      <a:pt x="124" y="8"/>
                    </a:lnTo>
                    <a:lnTo>
                      <a:pt x="122" y="7"/>
                    </a:lnTo>
                    <a:lnTo>
                      <a:pt x="120" y="3"/>
                    </a:lnTo>
                    <a:lnTo>
                      <a:pt x="120" y="3"/>
                    </a:lnTo>
                    <a:lnTo>
                      <a:pt x="118" y="1"/>
                    </a:lnTo>
                    <a:lnTo>
                      <a:pt x="117" y="0"/>
                    </a:lnTo>
                    <a:lnTo>
                      <a:pt x="117" y="0"/>
                    </a:lnTo>
                    <a:lnTo>
                      <a:pt x="114" y="0"/>
                    </a:lnTo>
                    <a:lnTo>
                      <a:pt x="114" y="0"/>
                    </a:lnTo>
                    <a:lnTo>
                      <a:pt x="110" y="1"/>
                    </a:lnTo>
                    <a:lnTo>
                      <a:pt x="107" y="4"/>
                    </a:lnTo>
                    <a:lnTo>
                      <a:pt x="104" y="8"/>
                    </a:lnTo>
                    <a:lnTo>
                      <a:pt x="104" y="14"/>
                    </a:lnTo>
                    <a:lnTo>
                      <a:pt x="104" y="14"/>
                    </a:lnTo>
                    <a:lnTo>
                      <a:pt x="104" y="17"/>
                    </a:lnTo>
                    <a:lnTo>
                      <a:pt x="102" y="20"/>
                    </a:lnTo>
                    <a:lnTo>
                      <a:pt x="100" y="23"/>
                    </a:lnTo>
                    <a:lnTo>
                      <a:pt x="94" y="24"/>
                    </a:lnTo>
                    <a:lnTo>
                      <a:pt x="87" y="25"/>
                    </a:lnTo>
                    <a:lnTo>
                      <a:pt x="87" y="25"/>
                    </a:lnTo>
                    <a:lnTo>
                      <a:pt x="83" y="27"/>
                    </a:lnTo>
                    <a:lnTo>
                      <a:pt x="80" y="30"/>
                    </a:lnTo>
                    <a:lnTo>
                      <a:pt x="78" y="34"/>
                    </a:lnTo>
                    <a:lnTo>
                      <a:pt x="77" y="37"/>
                    </a:lnTo>
                    <a:lnTo>
                      <a:pt x="77" y="37"/>
                    </a:lnTo>
                    <a:lnTo>
                      <a:pt x="73" y="38"/>
                    </a:lnTo>
                    <a:lnTo>
                      <a:pt x="65" y="37"/>
                    </a:lnTo>
                    <a:lnTo>
                      <a:pt x="60" y="34"/>
                    </a:lnTo>
                    <a:lnTo>
                      <a:pt x="57" y="30"/>
                    </a:lnTo>
                    <a:lnTo>
                      <a:pt x="57" y="30"/>
                    </a:lnTo>
                    <a:lnTo>
                      <a:pt x="56" y="28"/>
                    </a:lnTo>
                    <a:lnTo>
                      <a:pt x="54" y="28"/>
                    </a:lnTo>
                    <a:lnTo>
                      <a:pt x="50" y="28"/>
                    </a:lnTo>
                    <a:lnTo>
                      <a:pt x="47" y="31"/>
                    </a:lnTo>
                    <a:lnTo>
                      <a:pt x="46" y="34"/>
                    </a:lnTo>
                    <a:lnTo>
                      <a:pt x="47" y="35"/>
                    </a:lnTo>
                    <a:lnTo>
                      <a:pt x="47" y="35"/>
                    </a:lnTo>
                    <a:lnTo>
                      <a:pt x="51" y="41"/>
                    </a:lnTo>
                    <a:lnTo>
                      <a:pt x="51" y="45"/>
                    </a:lnTo>
                    <a:lnTo>
                      <a:pt x="51" y="50"/>
                    </a:lnTo>
                    <a:lnTo>
                      <a:pt x="50" y="52"/>
                    </a:lnTo>
                    <a:lnTo>
                      <a:pt x="50" y="52"/>
                    </a:lnTo>
                    <a:lnTo>
                      <a:pt x="47" y="54"/>
                    </a:lnTo>
                    <a:lnTo>
                      <a:pt x="43" y="52"/>
                    </a:lnTo>
                    <a:lnTo>
                      <a:pt x="40" y="51"/>
                    </a:lnTo>
                    <a:lnTo>
                      <a:pt x="36" y="52"/>
                    </a:lnTo>
                    <a:lnTo>
                      <a:pt x="36" y="52"/>
                    </a:lnTo>
                    <a:lnTo>
                      <a:pt x="33" y="52"/>
                    </a:lnTo>
                    <a:lnTo>
                      <a:pt x="31" y="52"/>
                    </a:lnTo>
                    <a:lnTo>
                      <a:pt x="28" y="50"/>
                    </a:lnTo>
                    <a:lnTo>
                      <a:pt x="26" y="48"/>
                    </a:lnTo>
                    <a:lnTo>
                      <a:pt x="26" y="48"/>
                    </a:lnTo>
                    <a:lnTo>
                      <a:pt x="23" y="47"/>
                    </a:lnTo>
                    <a:lnTo>
                      <a:pt x="19" y="48"/>
                    </a:lnTo>
                    <a:lnTo>
                      <a:pt x="16" y="50"/>
                    </a:lnTo>
                    <a:lnTo>
                      <a:pt x="10" y="50"/>
                    </a:lnTo>
                    <a:lnTo>
                      <a:pt x="10" y="50"/>
                    </a:lnTo>
                    <a:lnTo>
                      <a:pt x="4" y="50"/>
                    </a:lnTo>
                    <a:lnTo>
                      <a:pt x="1" y="51"/>
                    </a:lnTo>
                    <a:lnTo>
                      <a:pt x="0" y="54"/>
                    </a:lnTo>
                    <a:lnTo>
                      <a:pt x="0" y="57"/>
                    </a:lnTo>
                    <a:lnTo>
                      <a:pt x="0" y="57"/>
                    </a:lnTo>
                    <a:lnTo>
                      <a:pt x="1" y="60"/>
                    </a:lnTo>
                    <a:lnTo>
                      <a:pt x="1" y="62"/>
                    </a:lnTo>
                    <a:lnTo>
                      <a:pt x="1" y="64"/>
                    </a:lnTo>
                    <a:lnTo>
                      <a:pt x="3" y="67"/>
                    </a:lnTo>
                    <a:lnTo>
                      <a:pt x="3" y="67"/>
                    </a:lnTo>
                    <a:lnTo>
                      <a:pt x="6" y="68"/>
                    </a:lnTo>
                    <a:lnTo>
                      <a:pt x="11" y="69"/>
                    </a:lnTo>
                    <a:lnTo>
                      <a:pt x="17" y="71"/>
                    </a:lnTo>
                    <a:lnTo>
                      <a:pt x="24" y="74"/>
                    </a:lnTo>
                    <a:lnTo>
                      <a:pt x="24" y="74"/>
                    </a:lnTo>
                    <a:lnTo>
                      <a:pt x="28" y="75"/>
                    </a:lnTo>
                    <a:lnTo>
                      <a:pt x="31" y="77"/>
                    </a:lnTo>
                    <a:lnTo>
                      <a:pt x="34" y="77"/>
                    </a:lnTo>
                    <a:lnTo>
                      <a:pt x="37" y="78"/>
                    </a:lnTo>
                    <a:lnTo>
                      <a:pt x="37" y="78"/>
                    </a:lnTo>
                    <a:lnTo>
                      <a:pt x="41" y="79"/>
                    </a:lnTo>
                    <a:lnTo>
                      <a:pt x="43" y="81"/>
                    </a:lnTo>
                    <a:lnTo>
                      <a:pt x="43" y="85"/>
                    </a:lnTo>
                    <a:lnTo>
                      <a:pt x="43" y="85"/>
                    </a:lnTo>
                    <a:lnTo>
                      <a:pt x="44" y="89"/>
                    </a:lnTo>
                    <a:lnTo>
                      <a:pt x="46" y="92"/>
                    </a:lnTo>
                    <a:lnTo>
                      <a:pt x="50" y="97"/>
                    </a:lnTo>
                    <a:lnTo>
                      <a:pt x="56" y="98"/>
                    </a:lnTo>
                    <a:lnTo>
                      <a:pt x="56" y="98"/>
                    </a:lnTo>
                    <a:lnTo>
                      <a:pt x="58" y="101"/>
                    </a:lnTo>
                    <a:lnTo>
                      <a:pt x="60" y="104"/>
                    </a:lnTo>
                    <a:lnTo>
                      <a:pt x="58" y="106"/>
                    </a:lnTo>
                    <a:lnTo>
                      <a:pt x="60" y="111"/>
                    </a:lnTo>
                    <a:lnTo>
                      <a:pt x="60" y="111"/>
                    </a:lnTo>
                    <a:lnTo>
                      <a:pt x="60" y="115"/>
                    </a:lnTo>
                    <a:lnTo>
                      <a:pt x="58" y="121"/>
                    </a:lnTo>
                    <a:lnTo>
                      <a:pt x="57" y="125"/>
                    </a:lnTo>
                    <a:lnTo>
                      <a:pt x="57" y="131"/>
                    </a:lnTo>
                    <a:lnTo>
                      <a:pt x="57" y="131"/>
                    </a:lnTo>
                    <a:lnTo>
                      <a:pt x="57" y="136"/>
                    </a:lnTo>
                    <a:lnTo>
                      <a:pt x="56" y="146"/>
                    </a:lnTo>
                    <a:lnTo>
                      <a:pt x="53" y="155"/>
                    </a:lnTo>
                    <a:lnTo>
                      <a:pt x="50" y="159"/>
                    </a:lnTo>
                    <a:lnTo>
                      <a:pt x="50" y="159"/>
                    </a:lnTo>
                    <a:lnTo>
                      <a:pt x="48" y="159"/>
                    </a:lnTo>
                    <a:lnTo>
                      <a:pt x="48" y="159"/>
                    </a:lnTo>
                    <a:lnTo>
                      <a:pt x="58" y="163"/>
                    </a:lnTo>
                    <a:lnTo>
                      <a:pt x="58" y="163"/>
                    </a:lnTo>
                    <a:lnTo>
                      <a:pt x="65" y="168"/>
                    </a:lnTo>
                    <a:lnTo>
                      <a:pt x="74" y="170"/>
                    </a:lnTo>
                    <a:lnTo>
                      <a:pt x="74" y="170"/>
                    </a:lnTo>
                    <a:lnTo>
                      <a:pt x="77" y="173"/>
                    </a:lnTo>
                    <a:lnTo>
                      <a:pt x="81" y="173"/>
                    </a:lnTo>
                    <a:lnTo>
                      <a:pt x="85" y="172"/>
                    </a:lnTo>
                    <a:lnTo>
                      <a:pt x="85" y="170"/>
                    </a:lnTo>
                    <a:lnTo>
                      <a:pt x="85" y="170"/>
                    </a:lnTo>
                    <a:lnTo>
                      <a:pt x="87" y="169"/>
                    </a:lnTo>
                    <a:lnTo>
                      <a:pt x="88" y="169"/>
                    </a:lnTo>
                    <a:lnTo>
                      <a:pt x="94" y="172"/>
                    </a:lnTo>
                    <a:lnTo>
                      <a:pt x="94" y="172"/>
                    </a:lnTo>
                    <a:lnTo>
                      <a:pt x="97" y="173"/>
                    </a:lnTo>
                    <a:lnTo>
                      <a:pt x="102" y="175"/>
                    </a:lnTo>
                    <a:lnTo>
                      <a:pt x="112" y="176"/>
                    </a:lnTo>
                    <a:lnTo>
                      <a:pt x="112" y="176"/>
                    </a:lnTo>
                    <a:lnTo>
                      <a:pt x="121" y="178"/>
                    </a:lnTo>
                    <a:lnTo>
                      <a:pt x="129" y="176"/>
                    </a:lnTo>
                    <a:lnTo>
                      <a:pt x="129" y="176"/>
                    </a:lnTo>
                    <a:lnTo>
                      <a:pt x="128" y="173"/>
                    </a:lnTo>
                    <a:lnTo>
                      <a:pt x="128" y="173"/>
                    </a:lnTo>
                    <a:lnTo>
                      <a:pt x="128" y="169"/>
                    </a:lnTo>
                    <a:lnTo>
                      <a:pt x="128" y="166"/>
                    </a:lnTo>
                    <a:lnTo>
                      <a:pt x="131" y="162"/>
                    </a:lnTo>
                    <a:lnTo>
                      <a:pt x="135" y="159"/>
                    </a:lnTo>
                    <a:lnTo>
                      <a:pt x="141" y="156"/>
                    </a:lnTo>
                    <a:lnTo>
                      <a:pt x="141" y="156"/>
                    </a:lnTo>
                    <a:lnTo>
                      <a:pt x="148" y="156"/>
                    </a:lnTo>
                    <a:lnTo>
                      <a:pt x="158" y="159"/>
                    </a:lnTo>
                    <a:lnTo>
                      <a:pt x="165" y="161"/>
                    </a:lnTo>
                    <a:lnTo>
                      <a:pt x="171" y="163"/>
                    </a:lnTo>
                    <a:lnTo>
                      <a:pt x="171" y="163"/>
                    </a:lnTo>
                    <a:lnTo>
                      <a:pt x="175" y="165"/>
                    </a:lnTo>
                    <a:lnTo>
                      <a:pt x="179" y="165"/>
                    </a:lnTo>
                    <a:lnTo>
                      <a:pt x="184" y="162"/>
                    </a:lnTo>
                    <a:lnTo>
                      <a:pt x="189" y="158"/>
                    </a:lnTo>
                    <a:lnTo>
                      <a:pt x="189" y="158"/>
                    </a:lnTo>
                    <a:lnTo>
                      <a:pt x="195" y="152"/>
                    </a:lnTo>
                    <a:lnTo>
                      <a:pt x="199" y="151"/>
                    </a:lnTo>
                    <a:lnTo>
                      <a:pt x="199" y="151"/>
                    </a:lnTo>
                    <a:lnTo>
                      <a:pt x="201" y="145"/>
                    </a:lnTo>
                    <a:lnTo>
                      <a:pt x="201" y="145"/>
                    </a:lnTo>
                    <a:lnTo>
                      <a:pt x="201" y="143"/>
                    </a:lnTo>
                    <a:lnTo>
                      <a:pt x="199" y="143"/>
                    </a:lnTo>
                    <a:lnTo>
                      <a:pt x="193" y="142"/>
                    </a:lnTo>
                    <a:lnTo>
                      <a:pt x="193" y="142"/>
                    </a:lnTo>
                    <a:lnTo>
                      <a:pt x="191" y="142"/>
                    </a:lnTo>
                    <a:lnTo>
                      <a:pt x="189" y="141"/>
                    </a:lnTo>
                    <a:lnTo>
                      <a:pt x="189" y="138"/>
                    </a:lnTo>
                    <a:lnTo>
                      <a:pt x="191" y="135"/>
                    </a:lnTo>
                    <a:lnTo>
                      <a:pt x="191" y="135"/>
                    </a:lnTo>
                    <a:lnTo>
                      <a:pt x="191" y="132"/>
                    </a:lnTo>
                    <a:lnTo>
                      <a:pt x="189" y="131"/>
                    </a:lnTo>
                    <a:lnTo>
                      <a:pt x="185" y="126"/>
                    </a:lnTo>
                    <a:lnTo>
                      <a:pt x="185" y="126"/>
                    </a:lnTo>
                    <a:lnTo>
                      <a:pt x="185" y="125"/>
                    </a:lnTo>
                    <a:lnTo>
                      <a:pt x="185" y="124"/>
                    </a:lnTo>
                    <a:lnTo>
                      <a:pt x="189" y="122"/>
                    </a:lnTo>
                    <a:lnTo>
                      <a:pt x="189" y="122"/>
                    </a:lnTo>
                    <a:lnTo>
                      <a:pt x="192" y="119"/>
                    </a:lnTo>
                    <a:lnTo>
                      <a:pt x="192" y="118"/>
                    </a:lnTo>
                    <a:lnTo>
                      <a:pt x="192" y="116"/>
                    </a:lnTo>
                    <a:lnTo>
                      <a:pt x="192" y="116"/>
                    </a:lnTo>
                    <a:lnTo>
                      <a:pt x="189" y="114"/>
                    </a:lnTo>
                    <a:lnTo>
                      <a:pt x="189" y="111"/>
                    </a:lnTo>
                    <a:lnTo>
                      <a:pt x="191" y="108"/>
                    </a:lnTo>
                    <a:lnTo>
                      <a:pt x="191" y="108"/>
                    </a:lnTo>
                    <a:lnTo>
                      <a:pt x="191" y="106"/>
                    </a:lnTo>
                    <a:lnTo>
                      <a:pt x="189" y="104"/>
                    </a:lnTo>
                    <a:lnTo>
                      <a:pt x="188" y="102"/>
                    </a:lnTo>
                    <a:lnTo>
                      <a:pt x="188" y="101"/>
                    </a:lnTo>
                    <a:lnTo>
                      <a:pt x="188" y="101"/>
                    </a:lnTo>
                    <a:lnTo>
                      <a:pt x="186" y="98"/>
                    </a:lnTo>
                    <a:lnTo>
                      <a:pt x="185" y="98"/>
                    </a:lnTo>
                    <a:lnTo>
                      <a:pt x="182" y="98"/>
                    </a:lnTo>
                    <a:lnTo>
                      <a:pt x="181" y="99"/>
                    </a:lnTo>
                    <a:lnTo>
                      <a:pt x="181" y="99"/>
                    </a:lnTo>
                    <a:lnTo>
                      <a:pt x="178" y="102"/>
                    </a:lnTo>
                    <a:lnTo>
                      <a:pt x="176" y="101"/>
                    </a:lnTo>
                    <a:lnTo>
                      <a:pt x="176" y="99"/>
                    </a:lnTo>
                    <a:lnTo>
                      <a:pt x="178" y="95"/>
                    </a:lnTo>
                    <a:lnTo>
                      <a:pt x="178" y="95"/>
                    </a:lnTo>
                    <a:lnTo>
                      <a:pt x="181" y="91"/>
                    </a:lnTo>
                    <a:lnTo>
                      <a:pt x="184" y="87"/>
                    </a:lnTo>
                    <a:lnTo>
                      <a:pt x="186" y="84"/>
                    </a:lnTo>
                    <a:lnTo>
                      <a:pt x="188" y="82"/>
                    </a:lnTo>
                    <a:lnTo>
                      <a:pt x="188" y="82"/>
                    </a:lnTo>
                    <a:lnTo>
                      <a:pt x="189" y="79"/>
                    </a:lnTo>
                    <a:lnTo>
                      <a:pt x="192" y="77"/>
                    </a:lnTo>
                    <a:lnTo>
                      <a:pt x="193" y="75"/>
                    </a:lnTo>
                    <a:lnTo>
                      <a:pt x="196" y="75"/>
                    </a:lnTo>
                    <a:lnTo>
                      <a:pt x="196" y="75"/>
                    </a:lnTo>
                    <a:lnTo>
                      <a:pt x="198" y="74"/>
                    </a:lnTo>
                    <a:lnTo>
                      <a:pt x="199" y="71"/>
                    </a:lnTo>
                    <a:lnTo>
                      <a:pt x="201" y="62"/>
                    </a:lnTo>
                    <a:lnTo>
                      <a:pt x="201" y="62"/>
                    </a:lnTo>
                    <a:lnTo>
                      <a:pt x="202" y="57"/>
                    </a:lnTo>
                    <a:lnTo>
                      <a:pt x="203" y="52"/>
                    </a:lnTo>
                    <a:lnTo>
                      <a:pt x="206" y="50"/>
                    </a:lnTo>
                    <a:lnTo>
                      <a:pt x="206" y="50"/>
                    </a:lnTo>
                    <a:lnTo>
                      <a:pt x="208" y="47"/>
                    </a:lnTo>
                    <a:lnTo>
                      <a:pt x="208" y="45"/>
                    </a:lnTo>
                    <a:lnTo>
                      <a:pt x="205" y="45"/>
                    </a:lnTo>
                    <a:lnTo>
                      <a:pt x="203" y="44"/>
                    </a:lnTo>
                    <a:lnTo>
                      <a:pt x="203" y="44"/>
                    </a:lnTo>
                    <a:close/>
                    <a:moveTo>
                      <a:pt x="229" y="165"/>
                    </a:moveTo>
                    <a:lnTo>
                      <a:pt x="229" y="165"/>
                    </a:lnTo>
                    <a:lnTo>
                      <a:pt x="226" y="166"/>
                    </a:lnTo>
                    <a:lnTo>
                      <a:pt x="225" y="168"/>
                    </a:lnTo>
                    <a:lnTo>
                      <a:pt x="222" y="170"/>
                    </a:lnTo>
                    <a:lnTo>
                      <a:pt x="219" y="173"/>
                    </a:lnTo>
                    <a:lnTo>
                      <a:pt x="219" y="173"/>
                    </a:lnTo>
                    <a:lnTo>
                      <a:pt x="216" y="176"/>
                    </a:lnTo>
                    <a:lnTo>
                      <a:pt x="216" y="179"/>
                    </a:lnTo>
                    <a:lnTo>
                      <a:pt x="218" y="186"/>
                    </a:lnTo>
                    <a:lnTo>
                      <a:pt x="221" y="193"/>
                    </a:lnTo>
                    <a:lnTo>
                      <a:pt x="223" y="195"/>
                    </a:lnTo>
                    <a:lnTo>
                      <a:pt x="225" y="195"/>
                    </a:lnTo>
                    <a:lnTo>
                      <a:pt x="225" y="195"/>
                    </a:lnTo>
                    <a:lnTo>
                      <a:pt x="228" y="193"/>
                    </a:lnTo>
                    <a:lnTo>
                      <a:pt x="229" y="190"/>
                    </a:lnTo>
                    <a:lnTo>
                      <a:pt x="230" y="180"/>
                    </a:lnTo>
                    <a:lnTo>
                      <a:pt x="230" y="170"/>
                    </a:lnTo>
                    <a:lnTo>
                      <a:pt x="229" y="166"/>
                    </a:lnTo>
                    <a:lnTo>
                      <a:pt x="229" y="165"/>
                    </a:lnTo>
                    <a:lnTo>
                      <a:pt x="229" y="16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sp>
        <p:nvSpPr>
          <p:cNvPr id="2" name="Rectangle 1">
            <a:extLst>
              <a:ext uri="{FF2B5EF4-FFF2-40B4-BE49-F238E27FC236}">
                <a16:creationId xmlns:a16="http://schemas.microsoft.com/office/drawing/2014/main" id="{D66A1BD2-C4A1-074A-A6D0-D3F4DD67FD06}"/>
              </a:ext>
            </a:extLst>
          </p:cNvPr>
          <p:cNvSpPr/>
          <p:nvPr/>
        </p:nvSpPr>
        <p:spPr bwMode="auto">
          <a:xfrm>
            <a:off x="882" y="446"/>
            <a:ext cx="5007035" cy="6993632"/>
          </a:xfrm>
          <a:prstGeom prst="rect">
            <a:avLst/>
          </a:prstGeom>
          <a:gradFill>
            <a:gsLst>
              <a:gs pos="100000">
                <a:schemeClr val="bg1">
                  <a:alpha val="0"/>
                </a:schemeClr>
              </a:gs>
              <a:gs pos="1000">
                <a:schemeClr val="bg1"/>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466" name="Group 1465">
            <a:extLst>
              <a:ext uri="{FF2B5EF4-FFF2-40B4-BE49-F238E27FC236}">
                <a16:creationId xmlns:a16="http://schemas.microsoft.com/office/drawing/2014/main" id="{F353206F-3E20-D747-8089-E808F537BC99}"/>
              </a:ext>
            </a:extLst>
          </p:cNvPr>
          <p:cNvGrpSpPr/>
          <p:nvPr/>
        </p:nvGrpSpPr>
        <p:grpSpPr>
          <a:xfrm>
            <a:off x="3974295" y="1158744"/>
            <a:ext cx="5769708" cy="3047090"/>
            <a:chOff x="5784081" y="1536912"/>
            <a:chExt cx="5657813" cy="2987996"/>
          </a:xfrm>
          <a:solidFill>
            <a:srgbClr val="FFC000"/>
          </a:solidFill>
        </p:grpSpPr>
        <p:sp>
          <p:nvSpPr>
            <p:cNvPr id="1467" name="Oval 1466">
              <a:extLst>
                <a:ext uri="{FF2B5EF4-FFF2-40B4-BE49-F238E27FC236}">
                  <a16:creationId xmlns:a16="http://schemas.microsoft.com/office/drawing/2014/main" id="{022D3504-A797-A949-A6D7-4EB000E3F9C8}"/>
                </a:ext>
              </a:extLst>
            </p:cNvPr>
            <p:cNvSpPr/>
            <p:nvPr/>
          </p:nvSpPr>
          <p:spPr bwMode="auto">
            <a:xfrm>
              <a:off x="5784081" y="2481684"/>
              <a:ext cx="336884" cy="336884"/>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68" name="Oval 1467">
              <a:extLst>
                <a:ext uri="{FF2B5EF4-FFF2-40B4-BE49-F238E27FC236}">
                  <a16:creationId xmlns:a16="http://schemas.microsoft.com/office/drawing/2014/main" id="{A71D3883-894D-CF4B-BA78-0FA63EFBC103}"/>
                </a:ext>
              </a:extLst>
            </p:cNvPr>
            <p:cNvSpPr/>
            <p:nvPr/>
          </p:nvSpPr>
          <p:spPr bwMode="auto">
            <a:xfrm>
              <a:off x="5823552" y="2919513"/>
              <a:ext cx="122808" cy="12280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69" name="Oval 1468">
              <a:extLst>
                <a:ext uri="{FF2B5EF4-FFF2-40B4-BE49-F238E27FC236}">
                  <a16:creationId xmlns:a16="http://schemas.microsoft.com/office/drawing/2014/main" id="{4C5C4D9E-B79C-C548-9B78-D9B2A352E548}"/>
                </a:ext>
              </a:extLst>
            </p:cNvPr>
            <p:cNvSpPr/>
            <p:nvPr/>
          </p:nvSpPr>
          <p:spPr bwMode="auto">
            <a:xfrm>
              <a:off x="5938674" y="2742250"/>
              <a:ext cx="122808" cy="12280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0" name="Oval 1469">
              <a:extLst>
                <a:ext uri="{FF2B5EF4-FFF2-40B4-BE49-F238E27FC236}">
                  <a16:creationId xmlns:a16="http://schemas.microsoft.com/office/drawing/2014/main" id="{FCAC4E9C-B7AA-9947-BBA6-788B3A25F7C2}"/>
                </a:ext>
              </a:extLst>
            </p:cNvPr>
            <p:cNvSpPr/>
            <p:nvPr/>
          </p:nvSpPr>
          <p:spPr bwMode="auto">
            <a:xfrm>
              <a:off x="6113690" y="2738960"/>
              <a:ext cx="92518" cy="9251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1" name="Oval 1470">
              <a:extLst>
                <a:ext uri="{FF2B5EF4-FFF2-40B4-BE49-F238E27FC236}">
                  <a16:creationId xmlns:a16="http://schemas.microsoft.com/office/drawing/2014/main" id="{FAB4AE49-6B2A-794D-B248-DCD1DD1FC610}"/>
                </a:ext>
              </a:extLst>
            </p:cNvPr>
            <p:cNvSpPr/>
            <p:nvPr/>
          </p:nvSpPr>
          <p:spPr bwMode="auto">
            <a:xfrm>
              <a:off x="6179119" y="2755406"/>
              <a:ext cx="92518" cy="9251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2" name="Oval 1471">
              <a:extLst>
                <a:ext uri="{FF2B5EF4-FFF2-40B4-BE49-F238E27FC236}">
                  <a16:creationId xmlns:a16="http://schemas.microsoft.com/office/drawing/2014/main" id="{10064310-2D83-864E-B977-65FE43E0A9A5}"/>
                </a:ext>
              </a:extLst>
            </p:cNvPr>
            <p:cNvSpPr/>
            <p:nvPr/>
          </p:nvSpPr>
          <p:spPr bwMode="auto">
            <a:xfrm>
              <a:off x="6505912" y="2765274"/>
              <a:ext cx="92518" cy="9251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3" name="Oval 1472">
              <a:extLst>
                <a:ext uri="{FF2B5EF4-FFF2-40B4-BE49-F238E27FC236}">
                  <a16:creationId xmlns:a16="http://schemas.microsoft.com/office/drawing/2014/main" id="{86C4DB40-00D8-D949-80CC-9B5F1C4D38AA}"/>
                </a:ext>
              </a:extLst>
            </p:cNvPr>
            <p:cNvSpPr/>
            <p:nvPr/>
          </p:nvSpPr>
          <p:spPr bwMode="auto">
            <a:xfrm>
              <a:off x="5920431" y="1923492"/>
              <a:ext cx="144339" cy="144339"/>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4" name="Oval 1473">
              <a:extLst>
                <a:ext uri="{FF2B5EF4-FFF2-40B4-BE49-F238E27FC236}">
                  <a16:creationId xmlns:a16="http://schemas.microsoft.com/office/drawing/2014/main" id="{18CCF4F6-3164-EC46-B75C-8DBBFDF5DF21}"/>
                </a:ext>
              </a:extLst>
            </p:cNvPr>
            <p:cNvSpPr/>
            <p:nvPr/>
          </p:nvSpPr>
          <p:spPr bwMode="auto">
            <a:xfrm>
              <a:off x="7344322" y="1841262"/>
              <a:ext cx="109579" cy="109579"/>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5" name="Oval 1474">
              <a:extLst>
                <a:ext uri="{FF2B5EF4-FFF2-40B4-BE49-F238E27FC236}">
                  <a16:creationId xmlns:a16="http://schemas.microsoft.com/office/drawing/2014/main" id="{33F7D9DC-38DA-4045-B85F-7B4A8EE45EAF}"/>
                </a:ext>
              </a:extLst>
            </p:cNvPr>
            <p:cNvSpPr/>
            <p:nvPr/>
          </p:nvSpPr>
          <p:spPr bwMode="auto">
            <a:xfrm>
              <a:off x="7555638" y="1959674"/>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6" name="Oval 1475">
              <a:extLst>
                <a:ext uri="{FF2B5EF4-FFF2-40B4-BE49-F238E27FC236}">
                  <a16:creationId xmlns:a16="http://schemas.microsoft.com/office/drawing/2014/main" id="{5C578C87-6CBB-3D4F-A045-229B43CDEB04}"/>
                </a:ext>
              </a:extLst>
            </p:cNvPr>
            <p:cNvSpPr/>
            <p:nvPr/>
          </p:nvSpPr>
          <p:spPr bwMode="auto">
            <a:xfrm>
              <a:off x="7850249" y="1959674"/>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7" name="Oval 1476">
              <a:extLst>
                <a:ext uri="{FF2B5EF4-FFF2-40B4-BE49-F238E27FC236}">
                  <a16:creationId xmlns:a16="http://schemas.microsoft.com/office/drawing/2014/main" id="{85654AE3-2FEE-D54A-93C2-11525DD56E8D}"/>
                </a:ext>
              </a:extLst>
            </p:cNvPr>
            <p:cNvSpPr/>
            <p:nvPr/>
          </p:nvSpPr>
          <p:spPr bwMode="auto">
            <a:xfrm>
              <a:off x="7981108" y="1936649"/>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8" name="Oval 1477">
              <a:extLst>
                <a:ext uri="{FF2B5EF4-FFF2-40B4-BE49-F238E27FC236}">
                  <a16:creationId xmlns:a16="http://schemas.microsoft.com/office/drawing/2014/main" id="{1BD95E60-F6D8-1B42-A451-8FB8A7CB0C62}"/>
                </a:ext>
              </a:extLst>
            </p:cNvPr>
            <p:cNvSpPr/>
            <p:nvPr/>
          </p:nvSpPr>
          <p:spPr bwMode="auto">
            <a:xfrm>
              <a:off x="7987686" y="1907402"/>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9" name="Oval 1478">
              <a:extLst>
                <a:ext uri="{FF2B5EF4-FFF2-40B4-BE49-F238E27FC236}">
                  <a16:creationId xmlns:a16="http://schemas.microsoft.com/office/drawing/2014/main" id="{6C6CDB3A-BEDC-C04B-BAD4-03A92A1862D5}"/>
                </a:ext>
              </a:extLst>
            </p:cNvPr>
            <p:cNvSpPr/>
            <p:nvPr/>
          </p:nvSpPr>
          <p:spPr bwMode="auto">
            <a:xfrm>
              <a:off x="8145214" y="1867931"/>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0" name="Oval 1479">
              <a:extLst>
                <a:ext uri="{FF2B5EF4-FFF2-40B4-BE49-F238E27FC236}">
                  <a16:creationId xmlns:a16="http://schemas.microsoft.com/office/drawing/2014/main" id="{9D9F364A-015B-5F49-A5C5-4FEE42C2CC52}"/>
                </a:ext>
              </a:extLst>
            </p:cNvPr>
            <p:cNvSpPr/>
            <p:nvPr/>
          </p:nvSpPr>
          <p:spPr bwMode="auto">
            <a:xfrm>
              <a:off x="9389069" y="1979764"/>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1" name="Oval 1480">
              <a:extLst>
                <a:ext uri="{FF2B5EF4-FFF2-40B4-BE49-F238E27FC236}">
                  <a16:creationId xmlns:a16="http://schemas.microsoft.com/office/drawing/2014/main" id="{2586253E-6FDD-A647-86F0-7E9E7EF792FF}"/>
                </a:ext>
              </a:extLst>
            </p:cNvPr>
            <p:cNvSpPr/>
            <p:nvPr/>
          </p:nvSpPr>
          <p:spPr bwMode="auto">
            <a:xfrm>
              <a:off x="8835320" y="2397493"/>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2" name="Oval 1481">
              <a:extLst>
                <a:ext uri="{FF2B5EF4-FFF2-40B4-BE49-F238E27FC236}">
                  <a16:creationId xmlns:a16="http://schemas.microsoft.com/office/drawing/2014/main" id="{2A420857-DE51-F348-B8D2-253E57680812}"/>
                </a:ext>
              </a:extLst>
            </p:cNvPr>
            <p:cNvSpPr/>
            <p:nvPr/>
          </p:nvSpPr>
          <p:spPr bwMode="auto">
            <a:xfrm>
              <a:off x="9459658" y="2430385"/>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3" name="Oval 1482">
              <a:extLst>
                <a:ext uri="{FF2B5EF4-FFF2-40B4-BE49-F238E27FC236}">
                  <a16:creationId xmlns:a16="http://schemas.microsoft.com/office/drawing/2014/main" id="{A6D0C626-5B40-A647-9245-0ED06C4F6D9E}"/>
                </a:ext>
              </a:extLst>
            </p:cNvPr>
            <p:cNvSpPr/>
            <p:nvPr/>
          </p:nvSpPr>
          <p:spPr bwMode="auto">
            <a:xfrm>
              <a:off x="9472815" y="2669888"/>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4" name="Oval 1483">
              <a:extLst>
                <a:ext uri="{FF2B5EF4-FFF2-40B4-BE49-F238E27FC236}">
                  <a16:creationId xmlns:a16="http://schemas.microsoft.com/office/drawing/2014/main" id="{6BBDEE5F-6AB4-4E43-AB82-C45359580062}"/>
                </a:ext>
              </a:extLst>
            </p:cNvPr>
            <p:cNvSpPr/>
            <p:nvPr/>
          </p:nvSpPr>
          <p:spPr bwMode="auto">
            <a:xfrm>
              <a:off x="6263416" y="2969206"/>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5" name="Oval 1484">
              <a:extLst>
                <a:ext uri="{FF2B5EF4-FFF2-40B4-BE49-F238E27FC236}">
                  <a16:creationId xmlns:a16="http://schemas.microsoft.com/office/drawing/2014/main" id="{293A935B-9836-ED44-8A42-BF2E7BE7EBF1}"/>
                </a:ext>
              </a:extLst>
            </p:cNvPr>
            <p:cNvSpPr/>
            <p:nvPr/>
          </p:nvSpPr>
          <p:spPr bwMode="auto">
            <a:xfrm>
              <a:off x="6276573" y="3032862"/>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6" name="Oval 1485">
              <a:extLst>
                <a:ext uri="{FF2B5EF4-FFF2-40B4-BE49-F238E27FC236}">
                  <a16:creationId xmlns:a16="http://schemas.microsoft.com/office/drawing/2014/main" id="{981238C7-3816-874F-A512-4812F94F9F85}"/>
                </a:ext>
              </a:extLst>
            </p:cNvPr>
            <p:cNvSpPr/>
            <p:nvPr/>
          </p:nvSpPr>
          <p:spPr bwMode="auto">
            <a:xfrm>
              <a:off x="6208367" y="3013127"/>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7" name="Oval 1486">
              <a:extLst>
                <a:ext uri="{FF2B5EF4-FFF2-40B4-BE49-F238E27FC236}">
                  <a16:creationId xmlns:a16="http://schemas.microsoft.com/office/drawing/2014/main" id="{DBA6854F-65CE-DD45-A971-39EAFB9BE131}"/>
                </a:ext>
              </a:extLst>
            </p:cNvPr>
            <p:cNvSpPr/>
            <p:nvPr/>
          </p:nvSpPr>
          <p:spPr bwMode="auto">
            <a:xfrm>
              <a:off x="6274152" y="2918449"/>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8" name="Oval 1487">
              <a:extLst>
                <a:ext uri="{FF2B5EF4-FFF2-40B4-BE49-F238E27FC236}">
                  <a16:creationId xmlns:a16="http://schemas.microsoft.com/office/drawing/2014/main" id="{88B7D197-CAE0-6944-94E2-4764A83F8579}"/>
                </a:ext>
              </a:extLst>
            </p:cNvPr>
            <p:cNvSpPr/>
            <p:nvPr/>
          </p:nvSpPr>
          <p:spPr bwMode="auto">
            <a:xfrm>
              <a:off x="6058128" y="3095357"/>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9" name="Oval 1488">
              <a:extLst>
                <a:ext uri="{FF2B5EF4-FFF2-40B4-BE49-F238E27FC236}">
                  <a16:creationId xmlns:a16="http://schemas.microsoft.com/office/drawing/2014/main" id="{1527D92B-5F2D-D44C-9CE5-54A56579AF02}"/>
                </a:ext>
              </a:extLst>
            </p:cNvPr>
            <p:cNvSpPr/>
            <p:nvPr/>
          </p:nvSpPr>
          <p:spPr bwMode="auto">
            <a:xfrm>
              <a:off x="6146937" y="3141760"/>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0" name="Oval 1489">
              <a:extLst>
                <a:ext uri="{FF2B5EF4-FFF2-40B4-BE49-F238E27FC236}">
                  <a16:creationId xmlns:a16="http://schemas.microsoft.com/office/drawing/2014/main" id="{F9E4C9CE-F235-DE40-990E-1C27F0D875DE}"/>
                </a:ext>
              </a:extLst>
            </p:cNvPr>
            <p:cNvSpPr/>
            <p:nvPr/>
          </p:nvSpPr>
          <p:spPr bwMode="auto">
            <a:xfrm>
              <a:off x="6133781" y="3115093"/>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1" name="Oval 1490">
              <a:extLst>
                <a:ext uri="{FF2B5EF4-FFF2-40B4-BE49-F238E27FC236}">
                  <a16:creationId xmlns:a16="http://schemas.microsoft.com/office/drawing/2014/main" id="{D0538DC4-7861-5B4C-A2ED-EDC6E5F9DDE9}"/>
                </a:ext>
              </a:extLst>
            </p:cNvPr>
            <p:cNvSpPr/>
            <p:nvPr/>
          </p:nvSpPr>
          <p:spPr bwMode="auto">
            <a:xfrm>
              <a:off x="6117335" y="3157498"/>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2" name="Oval 1491">
              <a:extLst>
                <a:ext uri="{FF2B5EF4-FFF2-40B4-BE49-F238E27FC236}">
                  <a16:creationId xmlns:a16="http://schemas.microsoft.com/office/drawing/2014/main" id="{378FAA4B-BB85-0545-BA1E-2CD646D154C1}"/>
                </a:ext>
              </a:extLst>
            </p:cNvPr>
            <p:cNvSpPr/>
            <p:nvPr/>
          </p:nvSpPr>
          <p:spPr bwMode="auto">
            <a:xfrm>
              <a:off x="6087376" y="3131184"/>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3" name="Oval 1492">
              <a:extLst>
                <a:ext uri="{FF2B5EF4-FFF2-40B4-BE49-F238E27FC236}">
                  <a16:creationId xmlns:a16="http://schemas.microsoft.com/office/drawing/2014/main" id="{83633479-1EBF-764F-AEB4-FDB87BE6EF91}"/>
                </a:ext>
              </a:extLst>
            </p:cNvPr>
            <p:cNvSpPr/>
            <p:nvPr/>
          </p:nvSpPr>
          <p:spPr bwMode="auto">
            <a:xfrm>
              <a:off x="6087376" y="3023349"/>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4" name="Oval 1493">
              <a:extLst>
                <a:ext uri="{FF2B5EF4-FFF2-40B4-BE49-F238E27FC236}">
                  <a16:creationId xmlns:a16="http://schemas.microsoft.com/office/drawing/2014/main" id="{C689BCAF-19F2-4148-BD14-A5327736F73D}"/>
                </a:ext>
              </a:extLst>
            </p:cNvPr>
            <p:cNvSpPr/>
            <p:nvPr/>
          </p:nvSpPr>
          <p:spPr bwMode="auto">
            <a:xfrm>
              <a:off x="6103822" y="3095357"/>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5" name="Oval 1494">
              <a:extLst>
                <a:ext uri="{FF2B5EF4-FFF2-40B4-BE49-F238E27FC236}">
                  <a16:creationId xmlns:a16="http://schemas.microsoft.com/office/drawing/2014/main" id="{F86A4396-45E2-B340-AD15-8533D6B9E6B4}"/>
                </a:ext>
              </a:extLst>
            </p:cNvPr>
            <p:cNvSpPr/>
            <p:nvPr/>
          </p:nvSpPr>
          <p:spPr bwMode="auto">
            <a:xfrm>
              <a:off x="6694108" y="3539400"/>
              <a:ext cx="120604" cy="120604"/>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6" name="Oval 1495">
              <a:extLst>
                <a:ext uri="{FF2B5EF4-FFF2-40B4-BE49-F238E27FC236}">
                  <a16:creationId xmlns:a16="http://schemas.microsoft.com/office/drawing/2014/main" id="{DF72B0F3-780E-F44B-BEA6-E89C1E06226B}"/>
                </a:ext>
              </a:extLst>
            </p:cNvPr>
            <p:cNvSpPr/>
            <p:nvPr/>
          </p:nvSpPr>
          <p:spPr bwMode="auto">
            <a:xfrm>
              <a:off x="6506976" y="3661101"/>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7" name="Oval 1496">
              <a:extLst>
                <a:ext uri="{FF2B5EF4-FFF2-40B4-BE49-F238E27FC236}">
                  <a16:creationId xmlns:a16="http://schemas.microsoft.com/office/drawing/2014/main" id="{6922DE1B-BB17-C94E-9540-70AB113D611E}"/>
                </a:ext>
              </a:extLst>
            </p:cNvPr>
            <p:cNvSpPr/>
            <p:nvPr/>
          </p:nvSpPr>
          <p:spPr bwMode="auto">
            <a:xfrm>
              <a:off x="6335937" y="3526244"/>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8" name="Oval 1497">
              <a:extLst>
                <a:ext uri="{FF2B5EF4-FFF2-40B4-BE49-F238E27FC236}">
                  <a16:creationId xmlns:a16="http://schemas.microsoft.com/office/drawing/2014/main" id="{FF7FB88F-FFB1-5141-9314-075AE328DD3A}"/>
                </a:ext>
              </a:extLst>
            </p:cNvPr>
            <p:cNvSpPr/>
            <p:nvPr/>
          </p:nvSpPr>
          <p:spPr bwMode="auto">
            <a:xfrm>
              <a:off x="6164899" y="3189680"/>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9" name="Oval 1498">
              <a:extLst>
                <a:ext uri="{FF2B5EF4-FFF2-40B4-BE49-F238E27FC236}">
                  <a16:creationId xmlns:a16="http://schemas.microsoft.com/office/drawing/2014/main" id="{B0A824C9-F46C-E24D-825B-B5E0D23FD73E}"/>
                </a:ext>
              </a:extLst>
            </p:cNvPr>
            <p:cNvSpPr/>
            <p:nvPr/>
          </p:nvSpPr>
          <p:spPr bwMode="auto">
            <a:xfrm>
              <a:off x="6231392" y="3212705"/>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0" name="Oval 1499">
              <a:extLst>
                <a:ext uri="{FF2B5EF4-FFF2-40B4-BE49-F238E27FC236}">
                  <a16:creationId xmlns:a16="http://schemas.microsoft.com/office/drawing/2014/main" id="{82EFA1BF-3FAE-BA45-8209-E425AD3CD62F}"/>
                </a:ext>
              </a:extLst>
            </p:cNvPr>
            <p:cNvSpPr/>
            <p:nvPr/>
          </p:nvSpPr>
          <p:spPr bwMode="auto">
            <a:xfrm>
              <a:off x="6660505" y="3285068"/>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1" name="Oval 1500">
              <a:extLst>
                <a:ext uri="{FF2B5EF4-FFF2-40B4-BE49-F238E27FC236}">
                  <a16:creationId xmlns:a16="http://schemas.microsoft.com/office/drawing/2014/main" id="{E49915DC-2BA1-EC4C-8EA2-1D7302AE2532}"/>
                </a:ext>
              </a:extLst>
            </p:cNvPr>
            <p:cNvSpPr/>
            <p:nvPr/>
          </p:nvSpPr>
          <p:spPr bwMode="auto">
            <a:xfrm>
              <a:off x="6705845" y="3294936"/>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2" name="Oval 1501">
              <a:extLst>
                <a:ext uri="{FF2B5EF4-FFF2-40B4-BE49-F238E27FC236}">
                  <a16:creationId xmlns:a16="http://schemas.microsoft.com/office/drawing/2014/main" id="{78622937-AC97-704A-8B59-47265DECD4B9}"/>
                </a:ext>
              </a:extLst>
            </p:cNvPr>
            <p:cNvSpPr/>
            <p:nvPr/>
          </p:nvSpPr>
          <p:spPr bwMode="auto">
            <a:xfrm>
              <a:off x="6601299" y="3281779"/>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3" name="Oval 1502">
              <a:extLst>
                <a:ext uri="{FF2B5EF4-FFF2-40B4-BE49-F238E27FC236}">
                  <a16:creationId xmlns:a16="http://schemas.microsoft.com/office/drawing/2014/main" id="{FA7027F9-0230-B545-9CB3-72F36F2FCAEC}"/>
                </a:ext>
              </a:extLst>
            </p:cNvPr>
            <p:cNvSpPr/>
            <p:nvPr/>
          </p:nvSpPr>
          <p:spPr bwMode="auto">
            <a:xfrm>
              <a:off x="6357898" y="3293419"/>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4" name="Oval 1503">
              <a:extLst>
                <a:ext uri="{FF2B5EF4-FFF2-40B4-BE49-F238E27FC236}">
                  <a16:creationId xmlns:a16="http://schemas.microsoft.com/office/drawing/2014/main" id="{A00562BF-6472-B245-9F74-ACB47B36BF52}"/>
                </a:ext>
              </a:extLst>
            </p:cNvPr>
            <p:cNvSpPr/>
            <p:nvPr/>
          </p:nvSpPr>
          <p:spPr bwMode="auto">
            <a:xfrm>
              <a:off x="6262059" y="3388806"/>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5" name="Oval 1504">
              <a:extLst>
                <a:ext uri="{FF2B5EF4-FFF2-40B4-BE49-F238E27FC236}">
                  <a16:creationId xmlns:a16="http://schemas.microsoft.com/office/drawing/2014/main" id="{832F97BF-9A16-9D44-BC8D-F0546495F52F}"/>
                </a:ext>
              </a:extLst>
            </p:cNvPr>
            <p:cNvSpPr/>
            <p:nvPr/>
          </p:nvSpPr>
          <p:spPr bwMode="auto">
            <a:xfrm>
              <a:off x="6488403" y="3247370"/>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6" name="Oval 1505">
              <a:extLst>
                <a:ext uri="{FF2B5EF4-FFF2-40B4-BE49-F238E27FC236}">
                  <a16:creationId xmlns:a16="http://schemas.microsoft.com/office/drawing/2014/main" id="{D24F49AD-90E8-7A4B-B1F3-AD347933A03D}"/>
                </a:ext>
              </a:extLst>
            </p:cNvPr>
            <p:cNvSpPr/>
            <p:nvPr/>
          </p:nvSpPr>
          <p:spPr bwMode="auto">
            <a:xfrm>
              <a:off x="6409462" y="3144341"/>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7" name="Oval 1506">
              <a:extLst>
                <a:ext uri="{FF2B5EF4-FFF2-40B4-BE49-F238E27FC236}">
                  <a16:creationId xmlns:a16="http://schemas.microsoft.com/office/drawing/2014/main" id="{28F8D1CD-DC69-AE48-B843-BB69F1889E12}"/>
                </a:ext>
              </a:extLst>
            </p:cNvPr>
            <p:cNvSpPr/>
            <p:nvPr/>
          </p:nvSpPr>
          <p:spPr bwMode="auto">
            <a:xfrm>
              <a:off x="6440838" y="3150919"/>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8" name="Oval 1507">
              <a:extLst>
                <a:ext uri="{FF2B5EF4-FFF2-40B4-BE49-F238E27FC236}">
                  <a16:creationId xmlns:a16="http://schemas.microsoft.com/office/drawing/2014/main" id="{284915E7-DFEE-7B48-97A6-4C28DDFF51D0}"/>
                </a:ext>
              </a:extLst>
            </p:cNvPr>
            <p:cNvSpPr/>
            <p:nvPr/>
          </p:nvSpPr>
          <p:spPr bwMode="auto">
            <a:xfrm>
              <a:off x="6616682" y="3782447"/>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9" name="Oval 1508">
              <a:extLst>
                <a:ext uri="{FF2B5EF4-FFF2-40B4-BE49-F238E27FC236}">
                  <a16:creationId xmlns:a16="http://schemas.microsoft.com/office/drawing/2014/main" id="{EFD31381-CD7A-714F-A725-E33ECE7F54DB}"/>
                </a:ext>
              </a:extLst>
            </p:cNvPr>
            <p:cNvSpPr/>
            <p:nvPr/>
          </p:nvSpPr>
          <p:spPr bwMode="auto">
            <a:xfrm>
              <a:off x="6659441" y="3978479"/>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0" name="Oval 1509">
              <a:extLst>
                <a:ext uri="{FF2B5EF4-FFF2-40B4-BE49-F238E27FC236}">
                  <a16:creationId xmlns:a16="http://schemas.microsoft.com/office/drawing/2014/main" id="{F13A6DCF-8013-E243-9D4D-2C5652E8211D}"/>
                </a:ext>
              </a:extLst>
            </p:cNvPr>
            <p:cNvSpPr/>
            <p:nvPr/>
          </p:nvSpPr>
          <p:spPr bwMode="auto">
            <a:xfrm>
              <a:off x="6499689" y="4031107"/>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1" name="Oval 1510">
              <a:extLst>
                <a:ext uri="{FF2B5EF4-FFF2-40B4-BE49-F238E27FC236}">
                  <a16:creationId xmlns:a16="http://schemas.microsoft.com/office/drawing/2014/main" id="{497E435D-1852-E24D-A3FE-13782F70CC32}"/>
                </a:ext>
              </a:extLst>
            </p:cNvPr>
            <p:cNvSpPr/>
            <p:nvPr/>
          </p:nvSpPr>
          <p:spPr bwMode="auto">
            <a:xfrm>
              <a:off x="6391854" y="4031107"/>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2" name="Oval 1511">
              <a:extLst>
                <a:ext uri="{FF2B5EF4-FFF2-40B4-BE49-F238E27FC236}">
                  <a16:creationId xmlns:a16="http://schemas.microsoft.com/office/drawing/2014/main" id="{FDCD70CD-5CC0-A34D-8A33-D2E13A74C96A}"/>
                </a:ext>
              </a:extLst>
            </p:cNvPr>
            <p:cNvSpPr/>
            <p:nvPr/>
          </p:nvSpPr>
          <p:spPr bwMode="auto">
            <a:xfrm>
              <a:off x="6608942" y="4424393"/>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3" name="Oval 1512">
              <a:extLst>
                <a:ext uri="{FF2B5EF4-FFF2-40B4-BE49-F238E27FC236}">
                  <a16:creationId xmlns:a16="http://schemas.microsoft.com/office/drawing/2014/main" id="{AF04F526-0A6F-A64C-8274-A0ABD5562B40}"/>
                </a:ext>
              </a:extLst>
            </p:cNvPr>
            <p:cNvSpPr/>
            <p:nvPr/>
          </p:nvSpPr>
          <p:spPr bwMode="auto">
            <a:xfrm>
              <a:off x="6553026" y="3049662"/>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4" name="Oval 1513">
              <a:extLst>
                <a:ext uri="{FF2B5EF4-FFF2-40B4-BE49-F238E27FC236}">
                  <a16:creationId xmlns:a16="http://schemas.microsoft.com/office/drawing/2014/main" id="{A7334820-C3A2-9F4C-96CA-985CF5D0134E}"/>
                </a:ext>
              </a:extLst>
            </p:cNvPr>
            <p:cNvSpPr/>
            <p:nvPr/>
          </p:nvSpPr>
          <p:spPr bwMode="auto">
            <a:xfrm>
              <a:off x="6553026" y="3023349"/>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5" name="Oval 1514">
              <a:extLst>
                <a:ext uri="{FF2B5EF4-FFF2-40B4-BE49-F238E27FC236}">
                  <a16:creationId xmlns:a16="http://schemas.microsoft.com/office/drawing/2014/main" id="{CD1A7C23-5566-F84F-B7CA-F89648EBE827}"/>
                </a:ext>
              </a:extLst>
            </p:cNvPr>
            <p:cNvSpPr/>
            <p:nvPr/>
          </p:nvSpPr>
          <p:spPr bwMode="auto">
            <a:xfrm>
              <a:off x="6509557" y="3036506"/>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6" name="Oval 1515">
              <a:extLst>
                <a:ext uri="{FF2B5EF4-FFF2-40B4-BE49-F238E27FC236}">
                  <a16:creationId xmlns:a16="http://schemas.microsoft.com/office/drawing/2014/main" id="{8F9FD341-C736-694E-923F-20DF411C9795}"/>
                </a:ext>
              </a:extLst>
            </p:cNvPr>
            <p:cNvSpPr/>
            <p:nvPr/>
          </p:nvSpPr>
          <p:spPr bwMode="auto">
            <a:xfrm>
              <a:off x="6529291" y="3016771"/>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7" name="Oval 1516">
              <a:extLst>
                <a:ext uri="{FF2B5EF4-FFF2-40B4-BE49-F238E27FC236}">
                  <a16:creationId xmlns:a16="http://schemas.microsoft.com/office/drawing/2014/main" id="{F593076B-585D-AE40-B482-E117F2C66C07}"/>
                </a:ext>
              </a:extLst>
            </p:cNvPr>
            <p:cNvSpPr/>
            <p:nvPr/>
          </p:nvSpPr>
          <p:spPr bwMode="auto">
            <a:xfrm>
              <a:off x="6364832" y="303615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8" name="Oval 1517">
              <a:extLst>
                <a:ext uri="{FF2B5EF4-FFF2-40B4-BE49-F238E27FC236}">
                  <a16:creationId xmlns:a16="http://schemas.microsoft.com/office/drawing/2014/main" id="{519F3F92-E5BC-1F4F-8D44-8C65DF7AA434}"/>
                </a:ext>
              </a:extLst>
            </p:cNvPr>
            <p:cNvSpPr/>
            <p:nvPr/>
          </p:nvSpPr>
          <p:spPr bwMode="auto">
            <a:xfrm>
              <a:off x="6391146" y="2980234"/>
              <a:ext cx="84778" cy="8477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9" name="Oval 1518">
              <a:extLst>
                <a:ext uri="{FF2B5EF4-FFF2-40B4-BE49-F238E27FC236}">
                  <a16:creationId xmlns:a16="http://schemas.microsoft.com/office/drawing/2014/main" id="{BFE8BCC5-B20C-F245-875C-10CDA95A96FF}"/>
                </a:ext>
              </a:extLst>
            </p:cNvPr>
            <p:cNvSpPr/>
            <p:nvPr/>
          </p:nvSpPr>
          <p:spPr bwMode="auto">
            <a:xfrm>
              <a:off x="6570278" y="312496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0" name="Oval 1519">
              <a:extLst>
                <a:ext uri="{FF2B5EF4-FFF2-40B4-BE49-F238E27FC236}">
                  <a16:creationId xmlns:a16="http://schemas.microsoft.com/office/drawing/2014/main" id="{7BA5C018-DE85-E54A-91B9-1EA5A7ADEFAB}"/>
                </a:ext>
              </a:extLst>
            </p:cNvPr>
            <p:cNvSpPr/>
            <p:nvPr/>
          </p:nvSpPr>
          <p:spPr bwMode="auto">
            <a:xfrm>
              <a:off x="6563700" y="314763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1" name="Oval 1520">
              <a:extLst>
                <a:ext uri="{FF2B5EF4-FFF2-40B4-BE49-F238E27FC236}">
                  <a16:creationId xmlns:a16="http://schemas.microsoft.com/office/drawing/2014/main" id="{AB15AC5D-9F47-9749-9FF9-75EA9D5C4BBC}"/>
                </a:ext>
              </a:extLst>
            </p:cNvPr>
            <p:cNvSpPr/>
            <p:nvPr/>
          </p:nvSpPr>
          <p:spPr bwMode="auto">
            <a:xfrm>
              <a:off x="6607523" y="312789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2" name="Oval 1521">
              <a:extLst>
                <a:ext uri="{FF2B5EF4-FFF2-40B4-BE49-F238E27FC236}">
                  <a16:creationId xmlns:a16="http://schemas.microsoft.com/office/drawing/2014/main" id="{88089A48-D9DD-9A4E-8DEB-C55F2F1569F4}"/>
                </a:ext>
              </a:extLst>
            </p:cNvPr>
            <p:cNvSpPr/>
            <p:nvPr/>
          </p:nvSpPr>
          <p:spPr bwMode="auto">
            <a:xfrm>
              <a:off x="6574631" y="318674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3" name="Oval 1522">
              <a:extLst>
                <a:ext uri="{FF2B5EF4-FFF2-40B4-BE49-F238E27FC236}">
                  <a16:creationId xmlns:a16="http://schemas.microsoft.com/office/drawing/2014/main" id="{0AD47890-A220-7F45-BE00-BBD13AAB9A95}"/>
                </a:ext>
              </a:extLst>
            </p:cNvPr>
            <p:cNvSpPr/>
            <p:nvPr/>
          </p:nvSpPr>
          <p:spPr bwMode="auto">
            <a:xfrm>
              <a:off x="6475955" y="304379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4" name="Oval 1523">
              <a:extLst>
                <a:ext uri="{FF2B5EF4-FFF2-40B4-BE49-F238E27FC236}">
                  <a16:creationId xmlns:a16="http://schemas.microsoft.com/office/drawing/2014/main" id="{8F7038C2-2FD8-CB44-B942-E11249E99BAE}"/>
                </a:ext>
              </a:extLst>
            </p:cNvPr>
            <p:cNvSpPr/>
            <p:nvPr/>
          </p:nvSpPr>
          <p:spPr bwMode="auto">
            <a:xfrm>
              <a:off x="6390436" y="303686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5" name="Oval 1524">
              <a:extLst>
                <a:ext uri="{FF2B5EF4-FFF2-40B4-BE49-F238E27FC236}">
                  <a16:creationId xmlns:a16="http://schemas.microsoft.com/office/drawing/2014/main" id="{F05BD5B0-7FF5-6245-9BB4-3C497CF2787B}"/>
                </a:ext>
              </a:extLst>
            </p:cNvPr>
            <p:cNvSpPr/>
            <p:nvPr/>
          </p:nvSpPr>
          <p:spPr bwMode="auto">
            <a:xfrm>
              <a:off x="7266091" y="309935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6" name="Oval 1525">
              <a:extLst>
                <a:ext uri="{FF2B5EF4-FFF2-40B4-BE49-F238E27FC236}">
                  <a16:creationId xmlns:a16="http://schemas.microsoft.com/office/drawing/2014/main" id="{56F437B9-32F8-4F44-ABC4-DEDB9D249792}"/>
                </a:ext>
              </a:extLst>
            </p:cNvPr>
            <p:cNvSpPr/>
            <p:nvPr/>
          </p:nvSpPr>
          <p:spPr bwMode="auto">
            <a:xfrm>
              <a:off x="7503366" y="300067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7" name="Oval 1526">
              <a:extLst>
                <a:ext uri="{FF2B5EF4-FFF2-40B4-BE49-F238E27FC236}">
                  <a16:creationId xmlns:a16="http://schemas.microsoft.com/office/drawing/2014/main" id="{C37ACA45-0A0F-6E44-BBE3-A0E20654116C}"/>
                </a:ext>
              </a:extLst>
            </p:cNvPr>
            <p:cNvSpPr/>
            <p:nvPr/>
          </p:nvSpPr>
          <p:spPr bwMode="auto">
            <a:xfrm>
              <a:off x="7614489" y="305001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8" name="Oval 1527">
              <a:extLst>
                <a:ext uri="{FF2B5EF4-FFF2-40B4-BE49-F238E27FC236}">
                  <a16:creationId xmlns:a16="http://schemas.microsoft.com/office/drawing/2014/main" id="{3F46C926-6709-E846-B6DB-7EB8F3DD5787}"/>
                </a:ext>
              </a:extLst>
            </p:cNvPr>
            <p:cNvSpPr/>
            <p:nvPr/>
          </p:nvSpPr>
          <p:spPr bwMode="auto">
            <a:xfrm>
              <a:off x="7846605" y="305001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9" name="Oval 1528">
              <a:extLst>
                <a:ext uri="{FF2B5EF4-FFF2-40B4-BE49-F238E27FC236}">
                  <a16:creationId xmlns:a16="http://schemas.microsoft.com/office/drawing/2014/main" id="{010C1A53-5DD8-9348-BE12-D1B5D2063F23}"/>
                </a:ext>
              </a:extLst>
            </p:cNvPr>
            <p:cNvSpPr/>
            <p:nvPr/>
          </p:nvSpPr>
          <p:spPr bwMode="auto">
            <a:xfrm>
              <a:off x="8010711" y="309277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0" name="Oval 1529">
              <a:extLst>
                <a:ext uri="{FF2B5EF4-FFF2-40B4-BE49-F238E27FC236}">
                  <a16:creationId xmlns:a16="http://schemas.microsoft.com/office/drawing/2014/main" id="{2B8A0EA3-C554-1042-9443-40BCAE5A2B8E}"/>
                </a:ext>
              </a:extLst>
            </p:cNvPr>
            <p:cNvSpPr/>
            <p:nvPr/>
          </p:nvSpPr>
          <p:spPr bwMode="auto">
            <a:xfrm>
              <a:off x="8213933" y="308290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1" name="Oval 1530">
              <a:extLst>
                <a:ext uri="{FF2B5EF4-FFF2-40B4-BE49-F238E27FC236}">
                  <a16:creationId xmlns:a16="http://schemas.microsoft.com/office/drawing/2014/main" id="{5A39EB31-AD6D-B04A-A125-BCE4F2FD6BF0}"/>
                </a:ext>
              </a:extLst>
            </p:cNvPr>
            <p:cNvSpPr/>
            <p:nvPr/>
          </p:nvSpPr>
          <p:spPr bwMode="auto">
            <a:xfrm>
              <a:off x="8691639" y="340749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2" name="Oval 1531">
              <a:extLst>
                <a:ext uri="{FF2B5EF4-FFF2-40B4-BE49-F238E27FC236}">
                  <a16:creationId xmlns:a16="http://schemas.microsoft.com/office/drawing/2014/main" id="{2DB75F53-60B4-3441-BEBF-075AC73A8F3E}"/>
                </a:ext>
              </a:extLst>
            </p:cNvPr>
            <p:cNvSpPr/>
            <p:nvPr/>
          </p:nvSpPr>
          <p:spPr bwMode="auto">
            <a:xfrm>
              <a:off x="8931515" y="337893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3" name="Oval 1532">
              <a:extLst>
                <a:ext uri="{FF2B5EF4-FFF2-40B4-BE49-F238E27FC236}">
                  <a16:creationId xmlns:a16="http://schemas.microsoft.com/office/drawing/2014/main" id="{E82688C2-9290-9240-9B01-2E9E68959A04}"/>
                </a:ext>
              </a:extLst>
            </p:cNvPr>
            <p:cNvSpPr/>
            <p:nvPr/>
          </p:nvSpPr>
          <p:spPr bwMode="auto">
            <a:xfrm>
              <a:off x="9059085" y="323092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4" name="Oval 1533">
              <a:extLst>
                <a:ext uri="{FF2B5EF4-FFF2-40B4-BE49-F238E27FC236}">
                  <a16:creationId xmlns:a16="http://schemas.microsoft.com/office/drawing/2014/main" id="{327299D5-7042-CF4E-8AF7-CC4F05FC4C19}"/>
                </a:ext>
              </a:extLst>
            </p:cNvPr>
            <p:cNvSpPr/>
            <p:nvPr/>
          </p:nvSpPr>
          <p:spPr bwMode="auto">
            <a:xfrm>
              <a:off x="9475751" y="334604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5" name="Oval 1534">
              <a:extLst>
                <a:ext uri="{FF2B5EF4-FFF2-40B4-BE49-F238E27FC236}">
                  <a16:creationId xmlns:a16="http://schemas.microsoft.com/office/drawing/2014/main" id="{0CD25E1B-C8C1-EC42-8A84-089EAD91D64A}"/>
                </a:ext>
              </a:extLst>
            </p:cNvPr>
            <p:cNvSpPr/>
            <p:nvPr/>
          </p:nvSpPr>
          <p:spPr bwMode="auto">
            <a:xfrm>
              <a:off x="8770147" y="373417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6" name="Oval 1535">
              <a:extLst>
                <a:ext uri="{FF2B5EF4-FFF2-40B4-BE49-F238E27FC236}">
                  <a16:creationId xmlns:a16="http://schemas.microsoft.com/office/drawing/2014/main" id="{2CA51D2B-797B-F049-B375-3DD8E495ADA1}"/>
                </a:ext>
              </a:extLst>
            </p:cNvPr>
            <p:cNvSpPr/>
            <p:nvPr/>
          </p:nvSpPr>
          <p:spPr bwMode="auto">
            <a:xfrm>
              <a:off x="8619117" y="371772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7" name="Oval 1536">
              <a:extLst>
                <a:ext uri="{FF2B5EF4-FFF2-40B4-BE49-F238E27FC236}">
                  <a16:creationId xmlns:a16="http://schemas.microsoft.com/office/drawing/2014/main" id="{1FA94CE5-4A24-0B44-8BDD-F9951C835537}"/>
                </a:ext>
              </a:extLst>
            </p:cNvPr>
            <p:cNvSpPr/>
            <p:nvPr/>
          </p:nvSpPr>
          <p:spPr bwMode="auto">
            <a:xfrm>
              <a:off x="8589514" y="359318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8" name="Oval 1537">
              <a:extLst>
                <a:ext uri="{FF2B5EF4-FFF2-40B4-BE49-F238E27FC236}">
                  <a16:creationId xmlns:a16="http://schemas.microsoft.com/office/drawing/2014/main" id="{429599A8-CE40-4C48-BE18-5BDEF0533D0C}"/>
                </a:ext>
              </a:extLst>
            </p:cNvPr>
            <p:cNvSpPr/>
            <p:nvPr/>
          </p:nvSpPr>
          <p:spPr bwMode="auto">
            <a:xfrm>
              <a:off x="8283006" y="359647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9" name="Oval 1538">
              <a:extLst>
                <a:ext uri="{FF2B5EF4-FFF2-40B4-BE49-F238E27FC236}">
                  <a16:creationId xmlns:a16="http://schemas.microsoft.com/office/drawing/2014/main" id="{2DBEAB5B-E6F6-1D4E-A928-A30BCC397F52}"/>
                </a:ext>
              </a:extLst>
            </p:cNvPr>
            <p:cNvSpPr/>
            <p:nvPr/>
          </p:nvSpPr>
          <p:spPr bwMode="auto">
            <a:xfrm>
              <a:off x="8302741" y="366813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0" name="Oval 1539">
              <a:extLst>
                <a:ext uri="{FF2B5EF4-FFF2-40B4-BE49-F238E27FC236}">
                  <a16:creationId xmlns:a16="http://schemas.microsoft.com/office/drawing/2014/main" id="{8CD305F4-3247-F949-991F-6B7A91329B25}"/>
                </a:ext>
              </a:extLst>
            </p:cNvPr>
            <p:cNvSpPr/>
            <p:nvPr/>
          </p:nvSpPr>
          <p:spPr bwMode="auto">
            <a:xfrm>
              <a:off x="8171883" y="360892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1" name="Oval 1540">
              <a:extLst>
                <a:ext uri="{FF2B5EF4-FFF2-40B4-BE49-F238E27FC236}">
                  <a16:creationId xmlns:a16="http://schemas.microsoft.com/office/drawing/2014/main" id="{E09E7A56-70B8-3D4D-8F5D-0400A622B498}"/>
                </a:ext>
              </a:extLst>
            </p:cNvPr>
            <p:cNvSpPr/>
            <p:nvPr/>
          </p:nvSpPr>
          <p:spPr bwMode="auto">
            <a:xfrm>
              <a:off x="8214642" y="370395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2" name="Oval 1541">
              <a:extLst>
                <a:ext uri="{FF2B5EF4-FFF2-40B4-BE49-F238E27FC236}">
                  <a16:creationId xmlns:a16="http://schemas.microsoft.com/office/drawing/2014/main" id="{EFB14586-B939-E94E-9C08-04FCA1F6438C}"/>
                </a:ext>
              </a:extLst>
            </p:cNvPr>
            <p:cNvSpPr/>
            <p:nvPr/>
          </p:nvSpPr>
          <p:spPr bwMode="auto">
            <a:xfrm>
              <a:off x="7413847" y="316078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3" name="Oval 1542">
              <a:extLst>
                <a:ext uri="{FF2B5EF4-FFF2-40B4-BE49-F238E27FC236}">
                  <a16:creationId xmlns:a16="http://schemas.microsoft.com/office/drawing/2014/main" id="{E21337E4-FE25-C946-9E5E-4E856873F163}"/>
                </a:ext>
              </a:extLst>
            </p:cNvPr>
            <p:cNvSpPr/>
            <p:nvPr/>
          </p:nvSpPr>
          <p:spPr bwMode="auto">
            <a:xfrm>
              <a:off x="7407269" y="311838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4" name="Oval 1543">
              <a:extLst>
                <a:ext uri="{FF2B5EF4-FFF2-40B4-BE49-F238E27FC236}">
                  <a16:creationId xmlns:a16="http://schemas.microsoft.com/office/drawing/2014/main" id="{D515F7F0-50CF-A943-BFE2-C8F220E42CA0}"/>
                </a:ext>
              </a:extLst>
            </p:cNvPr>
            <p:cNvSpPr/>
            <p:nvPr/>
          </p:nvSpPr>
          <p:spPr bwMode="auto">
            <a:xfrm>
              <a:off x="7428423" y="310522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5" name="Oval 1544">
              <a:extLst>
                <a:ext uri="{FF2B5EF4-FFF2-40B4-BE49-F238E27FC236}">
                  <a16:creationId xmlns:a16="http://schemas.microsoft.com/office/drawing/2014/main" id="{379BA90D-C240-814F-9425-0D835020D7A8}"/>
                </a:ext>
              </a:extLst>
            </p:cNvPr>
            <p:cNvSpPr/>
            <p:nvPr/>
          </p:nvSpPr>
          <p:spPr bwMode="auto">
            <a:xfrm>
              <a:off x="7477762" y="321928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6" name="Oval 1545">
              <a:extLst>
                <a:ext uri="{FF2B5EF4-FFF2-40B4-BE49-F238E27FC236}">
                  <a16:creationId xmlns:a16="http://schemas.microsoft.com/office/drawing/2014/main" id="{5158C20A-1BDB-9F4F-BC3B-935C5EBD20F2}"/>
                </a:ext>
              </a:extLst>
            </p:cNvPr>
            <p:cNvSpPr/>
            <p:nvPr/>
          </p:nvSpPr>
          <p:spPr bwMode="auto">
            <a:xfrm>
              <a:off x="7477762" y="316736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7" name="Oval 1546">
              <a:extLst>
                <a:ext uri="{FF2B5EF4-FFF2-40B4-BE49-F238E27FC236}">
                  <a16:creationId xmlns:a16="http://schemas.microsoft.com/office/drawing/2014/main" id="{8691FB06-45BA-5346-8E66-DC4BBA2CBCDB}"/>
                </a:ext>
              </a:extLst>
            </p:cNvPr>
            <p:cNvSpPr/>
            <p:nvPr/>
          </p:nvSpPr>
          <p:spPr bwMode="auto">
            <a:xfrm>
              <a:off x="7484340" y="318052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8" name="Oval 1547">
              <a:extLst>
                <a:ext uri="{FF2B5EF4-FFF2-40B4-BE49-F238E27FC236}">
                  <a16:creationId xmlns:a16="http://schemas.microsoft.com/office/drawing/2014/main" id="{708395FC-A3AD-4549-B29B-DFE29B7DCC12}"/>
                </a:ext>
              </a:extLst>
            </p:cNvPr>
            <p:cNvSpPr/>
            <p:nvPr/>
          </p:nvSpPr>
          <p:spPr bwMode="auto">
            <a:xfrm>
              <a:off x="7523810" y="324959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9" name="Oval 1548">
              <a:extLst>
                <a:ext uri="{FF2B5EF4-FFF2-40B4-BE49-F238E27FC236}">
                  <a16:creationId xmlns:a16="http://schemas.microsoft.com/office/drawing/2014/main" id="{76322A62-40BE-744A-869D-29B5B9A6019D}"/>
                </a:ext>
              </a:extLst>
            </p:cNvPr>
            <p:cNvSpPr/>
            <p:nvPr/>
          </p:nvSpPr>
          <p:spPr bwMode="auto">
            <a:xfrm>
              <a:off x="7828289" y="320025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0" name="Oval 1549">
              <a:extLst>
                <a:ext uri="{FF2B5EF4-FFF2-40B4-BE49-F238E27FC236}">
                  <a16:creationId xmlns:a16="http://schemas.microsoft.com/office/drawing/2014/main" id="{BD162024-8D1D-8F4B-880E-0C7D5ECB9E61}"/>
                </a:ext>
              </a:extLst>
            </p:cNvPr>
            <p:cNvSpPr/>
            <p:nvPr/>
          </p:nvSpPr>
          <p:spPr bwMode="auto">
            <a:xfrm>
              <a:off x="7703298" y="321999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1" name="Oval 1550">
              <a:extLst>
                <a:ext uri="{FF2B5EF4-FFF2-40B4-BE49-F238E27FC236}">
                  <a16:creationId xmlns:a16="http://schemas.microsoft.com/office/drawing/2014/main" id="{3C8B0DC3-DB3E-A240-8CC4-5242ADE46862}"/>
                </a:ext>
              </a:extLst>
            </p:cNvPr>
            <p:cNvSpPr/>
            <p:nvPr/>
          </p:nvSpPr>
          <p:spPr bwMode="auto">
            <a:xfrm>
              <a:off x="7663828" y="314763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2" name="Oval 1551">
              <a:extLst>
                <a:ext uri="{FF2B5EF4-FFF2-40B4-BE49-F238E27FC236}">
                  <a16:creationId xmlns:a16="http://schemas.microsoft.com/office/drawing/2014/main" id="{EF5D8176-F171-F34B-99D5-0491F8624BEB}"/>
                </a:ext>
              </a:extLst>
            </p:cNvPr>
            <p:cNvSpPr/>
            <p:nvPr/>
          </p:nvSpPr>
          <p:spPr bwMode="auto">
            <a:xfrm>
              <a:off x="7657249" y="321963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3" name="Oval 1552">
              <a:extLst>
                <a:ext uri="{FF2B5EF4-FFF2-40B4-BE49-F238E27FC236}">
                  <a16:creationId xmlns:a16="http://schemas.microsoft.com/office/drawing/2014/main" id="{08AA4B86-F6F0-AF44-874B-C4F5B72A0C2F}"/>
                </a:ext>
              </a:extLst>
            </p:cNvPr>
            <p:cNvSpPr/>
            <p:nvPr/>
          </p:nvSpPr>
          <p:spPr bwMode="auto">
            <a:xfrm>
              <a:off x="7726323" y="319661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4" name="Oval 1553">
              <a:extLst>
                <a:ext uri="{FF2B5EF4-FFF2-40B4-BE49-F238E27FC236}">
                  <a16:creationId xmlns:a16="http://schemas.microsoft.com/office/drawing/2014/main" id="{C9A2DEEC-BA08-5F4D-BA36-B819B2A48E94}"/>
                </a:ext>
              </a:extLst>
            </p:cNvPr>
            <p:cNvSpPr/>
            <p:nvPr/>
          </p:nvSpPr>
          <p:spPr bwMode="auto">
            <a:xfrm>
              <a:off x="7726323" y="285301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5" name="Oval 1554">
              <a:extLst>
                <a:ext uri="{FF2B5EF4-FFF2-40B4-BE49-F238E27FC236}">
                  <a16:creationId xmlns:a16="http://schemas.microsoft.com/office/drawing/2014/main" id="{7859FC30-2A58-0B4F-8FF9-3FA4438CE96F}"/>
                </a:ext>
              </a:extLst>
            </p:cNvPr>
            <p:cNvSpPr/>
            <p:nvPr/>
          </p:nvSpPr>
          <p:spPr bwMode="auto">
            <a:xfrm>
              <a:off x="7572439" y="278394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6" name="Oval 1555">
              <a:extLst>
                <a:ext uri="{FF2B5EF4-FFF2-40B4-BE49-F238E27FC236}">
                  <a16:creationId xmlns:a16="http://schemas.microsoft.com/office/drawing/2014/main" id="{3AB84CC6-24EB-E44E-99E3-EF6E86A3CD3C}"/>
                </a:ext>
              </a:extLst>
            </p:cNvPr>
            <p:cNvSpPr/>
            <p:nvPr/>
          </p:nvSpPr>
          <p:spPr bwMode="auto">
            <a:xfrm>
              <a:off x="7592175" y="268926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7" name="Oval 1556">
              <a:extLst>
                <a:ext uri="{FF2B5EF4-FFF2-40B4-BE49-F238E27FC236}">
                  <a16:creationId xmlns:a16="http://schemas.microsoft.com/office/drawing/2014/main" id="{F3C66224-0C97-764F-9206-93D853B49222}"/>
                </a:ext>
              </a:extLst>
            </p:cNvPr>
            <p:cNvSpPr/>
            <p:nvPr/>
          </p:nvSpPr>
          <p:spPr bwMode="auto">
            <a:xfrm>
              <a:off x="7856408" y="272983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8" name="Oval 1557">
              <a:extLst>
                <a:ext uri="{FF2B5EF4-FFF2-40B4-BE49-F238E27FC236}">
                  <a16:creationId xmlns:a16="http://schemas.microsoft.com/office/drawing/2014/main" id="{8CE20E8E-E75E-094D-AA24-2AC963E80B26}"/>
                </a:ext>
              </a:extLst>
            </p:cNvPr>
            <p:cNvSpPr/>
            <p:nvPr/>
          </p:nvSpPr>
          <p:spPr bwMode="auto">
            <a:xfrm>
              <a:off x="7744575" y="284166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9" name="Oval 1558">
              <a:extLst>
                <a:ext uri="{FF2B5EF4-FFF2-40B4-BE49-F238E27FC236}">
                  <a16:creationId xmlns:a16="http://schemas.microsoft.com/office/drawing/2014/main" id="{88174A5C-4929-AC49-90A1-0423AC2634AE}"/>
                </a:ext>
              </a:extLst>
            </p:cNvPr>
            <p:cNvSpPr/>
            <p:nvPr/>
          </p:nvSpPr>
          <p:spPr bwMode="auto">
            <a:xfrm>
              <a:off x="8002229" y="287565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0" name="Oval 1559">
              <a:extLst>
                <a:ext uri="{FF2B5EF4-FFF2-40B4-BE49-F238E27FC236}">
                  <a16:creationId xmlns:a16="http://schemas.microsoft.com/office/drawing/2014/main" id="{197C6BF8-FD83-9A4B-BA1B-3AFFEFB71191}"/>
                </a:ext>
              </a:extLst>
            </p:cNvPr>
            <p:cNvSpPr/>
            <p:nvPr/>
          </p:nvSpPr>
          <p:spPr bwMode="auto">
            <a:xfrm>
              <a:off x="8207257" y="288333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1" name="Oval 1560">
              <a:extLst>
                <a:ext uri="{FF2B5EF4-FFF2-40B4-BE49-F238E27FC236}">
                  <a16:creationId xmlns:a16="http://schemas.microsoft.com/office/drawing/2014/main" id="{A37BA5FE-08C0-BE4D-B922-2DC5FC3197BA}"/>
                </a:ext>
              </a:extLst>
            </p:cNvPr>
            <p:cNvSpPr/>
            <p:nvPr/>
          </p:nvSpPr>
          <p:spPr bwMode="auto">
            <a:xfrm>
              <a:off x="7930963" y="269584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2" name="Oval 1561">
              <a:extLst>
                <a:ext uri="{FF2B5EF4-FFF2-40B4-BE49-F238E27FC236}">
                  <a16:creationId xmlns:a16="http://schemas.microsoft.com/office/drawing/2014/main" id="{58E47F4C-26A2-6643-8EBB-D8064E55BCC6}"/>
                </a:ext>
              </a:extLst>
            </p:cNvPr>
            <p:cNvSpPr/>
            <p:nvPr/>
          </p:nvSpPr>
          <p:spPr bwMode="auto">
            <a:xfrm>
              <a:off x="8361849" y="308726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3" name="Oval 1562">
              <a:extLst>
                <a:ext uri="{FF2B5EF4-FFF2-40B4-BE49-F238E27FC236}">
                  <a16:creationId xmlns:a16="http://schemas.microsoft.com/office/drawing/2014/main" id="{3793ED1F-8BC9-AB4E-8EAD-174E8BA614F9}"/>
                </a:ext>
              </a:extLst>
            </p:cNvPr>
            <p:cNvSpPr/>
            <p:nvPr/>
          </p:nvSpPr>
          <p:spPr bwMode="auto">
            <a:xfrm>
              <a:off x="8528633" y="309055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4" name="Oval 1563">
              <a:extLst>
                <a:ext uri="{FF2B5EF4-FFF2-40B4-BE49-F238E27FC236}">
                  <a16:creationId xmlns:a16="http://schemas.microsoft.com/office/drawing/2014/main" id="{D9199073-988A-8D46-8187-6A9F87B6F7F6}"/>
                </a:ext>
              </a:extLst>
            </p:cNvPr>
            <p:cNvSpPr/>
            <p:nvPr/>
          </p:nvSpPr>
          <p:spPr bwMode="auto">
            <a:xfrm>
              <a:off x="8433601" y="315633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5" name="Oval 1564">
              <a:extLst>
                <a:ext uri="{FF2B5EF4-FFF2-40B4-BE49-F238E27FC236}">
                  <a16:creationId xmlns:a16="http://schemas.microsoft.com/office/drawing/2014/main" id="{68C71B9D-C43F-CA4C-A405-B17CAC8ECEAC}"/>
                </a:ext>
              </a:extLst>
            </p:cNvPr>
            <p:cNvSpPr/>
            <p:nvPr/>
          </p:nvSpPr>
          <p:spPr bwMode="auto">
            <a:xfrm>
              <a:off x="8387552" y="321963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6" name="Oval 1565">
              <a:extLst>
                <a:ext uri="{FF2B5EF4-FFF2-40B4-BE49-F238E27FC236}">
                  <a16:creationId xmlns:a16="http://schemas.microsoft.com/office/drawing/2014/main" id="{880939B2-355F-F04D-A8EB-EE83FFB303FB}"/>
                </a:ext>
              </a:extLst>
            </p:cNvPr>
            <p:cNvSpPr/>
            <p:nvPr/>
          </p:nvSpPr>
          <p:spPr bwMode="auto">
            <a:xfrm>
              <a:off x="8495386" y="329857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7" name="Oval 1566">
              <a:extLst>
                <a:ext uri="{FF2B5EF4-FFF2-40B4-BE49-F238E27FC236}">
                  <a16:creationId xmlns:a16="http://schemas.microsoft.com/office/drawing/2014/main" id="{594E844D-E311-FC42-8544-6197FA75E844}"/>
                </a:ext>
              </a:extLst>
            </p:cNvPr>
            <p:cNvSpPr/>
            <p:nvPr/>
          </p:nvSpPr>
          <p:spPr bwMode="auto">
            <a:xfrm>
              <a:off x="8230379" y="329857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8" name="Oval 1567">
              <a:extLst>
                <a:ext uri="{FF2B5EF4-FFF2-40B4-BE49-F238E27FC236}">
                  <a16:creationId xmlns:a16="http://schemas.microsoft.com/office/drawing/2014/main" id="{6B9A7B0B-4389-6146-BAC7-3A7901183239}"/>
                </a:ext>
              </a:extLst>
            </p:cNvPr>
            <p:cNvSpPr/>
            <p:nvPr/>
          </p:nvSpPr>
          <p:spPr bwMode="auto">
            <a:xfrm>
              <a:off x="8213933" y="324266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9" name="Oval 1568">
              <a:extLst>
                <a:ext uri="{FF2B5EF4-FFF2-40B4-BE49-F238E27FC236}">
                  <a16:creationId xmlns:a16="http://schemas.microsoft.com/office/drawing/2014/main" id="{70F36455-13FF-9645-8855-FACAA28C40F0}"/>
                </a:ext>
              </a:extLst>
            </p:cNvPr>
            <p:cNvSpPr/>
            <p:nvPr/>
          </p:nvSpPr>
          <p:spPr bwMode="auto">
            <a:xfrm>
              <a:off x="8053825" y="324924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0" name="Oval 1569">
              <a:extLst>
                <a:ext uri="{FF2B5EF4-FFF2-40B4-BE49-F238E27FC236}">
                  <a16:creationId xmlns:a16="http://schemas.microsoft.com/office/drawing/2014/main" id="{DA622B2D-DE32-0648-BB47-054068246DE1}"/>
                </a:ext>
              </a:extLst>
            </p:cNvPr>
            <p:cNvSpPr/>
            <p:nvPr/>
          </p:nvSpPr>
          <p:spPr bwMode="auto">
            <a:xfrm>
              <a:off x="7872919" y="334791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1" name="Oval 1570">
              <a:extLst>
                <a:ext uri="{FF2B5EF4-FFF2-40B4-BE49-F238E27FC236}">
                  <a16:creationId xmlns:a16="http://schemas.microsoft.com/office/drawing/2014/main" id="{223E23F8-62F3-6643-A333-FACF41A3CE6B}"/>
                </a:ext>
              </a:extLst>
            </p:cNvPr>
            <p:cNvSpPr/>
            <p:nvPr/>
          </p:nvSpPr>
          <p:spPr bwMode="auto">
            <a:xfrm>
              <a:off x="7899232" y="325581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2" name="Oval 1571">
              <a:extLst>
                <a:ext uri="{FF2B5EF4-FFF2-40B4-BE49-F238E27FC236}">
                  <a16:creationId xmlns:a16="http://schemas.microsoft.com/office/drawing/2014/main" id="{96FC0EC8-A886-574C-83B5-29DEBE44BA0C}"/>
                </a:ext>
              </a:extLst>
            </p:cNvPr>
            <p:cNvSpPr/>
            <p:nvPr/>
          </p:nvSpPr>
          <p:spPr bwMode="auto">
            <a:xfrm>
              <a:off x="7902521" y="338632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3" name="Oval 1572">
              <a:extLst>
                <a:ext uri="{FF2B5EF4-FFF2-40B4-BE49-F238E27FC236}">
                  <a16:creationId xmlns:a16="http://schemas.microsoft.com/office/drawing/2014/main" id="{901D1D84-7713-1347-9541-392D40AB616D}"/>
                </a:ext>
              </a:extLst>
            </p:cNvPr>
            <p:cNvSpPr/>
            <p:nvPr/>
          </p:nvSpPr>
          <p:spPr bwMode="auto">
            <a:xfrm>
              <a:off x="8094005" y="341592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4" name="Oval 1573">
              <a:extLst>
                <a:ext uri="{FF2B5EF4-FFF2-40B4-BE49-F238E27FC236}">
                  <a16:creationId xmlns:a16="http://schemas.microsoft.com/office/drawing/2014/main" id="{0B7F34B8-F29D-DA44-8F76-C1D5B87724E8}"/>
                </a:ext>
              </a:extLst>
            </p:cNvPr>
            <p:cNvSpPr/>
            <p:nvPr/>
          </p:nvSpPr>
          <p:spPr bwMode="auto">
            <a:xfrm>
              <a:off x="8207354" y="340276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5" name="Oval 1574">
              <a:extLst>
                <a:ext uri="{FF2B5EF4-FFF2-40B4-BE49-F238E27FC236}">
                  <a16:creationId xmlns:a16="http://schemas.microsoft.com/office/drawing/2014/main" id="{C3DCE13C-F1AB-C84F-9C96-1B174019D42C}"/>
                </a:ext>
              </a:extLst>
            </p:cNvPr>
            <p:cNvSpPr/>
            <p:nvPr/>
          </p:nvSpPr>
          <p:spPr bwMode="auto">
            <a:xfrm>
              <a:off x="8207354" y="343237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6" name="Oval 1575">
              <a:extLst>
                <a:ext uri="{FF2B5EF4-FFF2-40B4-BE49-F238E27FC236}">
                  <a16:creationId xmlns:a16="http://schemas.microsoft.com/office/drawing/2014/main" id="{C5150336-D72C-2B4E-B3CF-A144D85F2F0F}"/>
                </a:ext>
              </a:extLst>
            </p:cNvPr>
            <p:cNvSpPr/>
            <p:nvPr/>
          </p:nvSpPr>
          <p:spPr bwMode="auto">
            <a:xfrm>
              <a:off x="8246471" y="333369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7" name="Oval 1576">
              <a:extLst>
                <a:ext uri="{FF2B5EF4-FFF2-40B4-BE49-F238E27FC236}">
                  <a16:creationId xmlns:a16="http://schemas.microsoft.com/office/drawing/2014/main" id="{6FB504F5-FA93-E846-8B6F-D8466F83D02A}"/>
                </a:ext>
              </a:extLst>
            </p:cNvPr>
            <p:cNvSpPr/>
            <p:nvPr/>
          </p:nvSpPr>
          <p:spPr bwMode="auto">
            <a:xfrm>
              <a:off x="8348081" y="335672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8" name="Oval 1577">
              <a:extLst>
                <a:ext uri="{FF2B5EF4-FFF2-40B4-BE49-F238E27FC236}">
                  <a16:creationId xmlns:a16="http://schemas.microsoft.com/office/drawing/2014/main" id="{63C2CA67-576A-C144-B6E3-9A9E9E81C194}"/>
                </a:ext>
              </a:extLst>
            </p:cNvPr>
            <p:cNvSpPr/>
            <p:nvPr/>
          </p:nvSpPr>
          <p:spPr bwMode="auto">
            <a:xfrm>
              <a:off x="7990267" y="358554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9" name="Oval 1578">
              <a:extLst>
                <a:ext uri="{FF2B5EF4-FFF2-40B4-BE49-F238E27FC236}">
                  <a16:creationId xmlns:a16="http://schemas.microsoft.com/office/drawing/2014/main" id="{2411D8C1-9336-BC44-8FE7-2606A8FA8586}"/>
                </a:ext>
              </a:extLst>
            </p:cNvPr>
            <p:cNvSpPr/>
            <p:nvPr/>
          </p:nvSpPr>
          <p:spPr bwMode="auto">
            <a:xfrm>
              <a:off x="7990267" y="376609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0" name="Oval 1579">
              <a:extLst>
                <a:ext uri="{FF2B5EF4-FFF2-40B4-BE49-F238E27FC236}">
                  <a16:creationId xmlns:a16="http://schemas.microsoft.com/office/drawing/2014/main" id="{F2799215-CAA5-DB46-903B-A1C6F08FC439}"/>
                </a:ext>
              </a:extLst>
            </p:cNvPr>
            <p:cNvSpPr/>
            <p:nvPr/>
          </p:nvSpPr>
          <p:spPr bwMode="auto">
            <a:xfrm>
              <a:off x="8102455" y="376609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1" name="Oval 1580">
              <a:extLst>
                <a:ext uri="{FF2B5EF4-FFF2-40B4-BE49-F238E27FC236}">
                  <a16:creationId xmlns:a16="http://schemas.microsoft.com/office/drawing/2014/main" id="{CC7F5867-E222-4B48-9EE7-959BF41F34E1}"/>
                </a:ext>
              </a:extLst>
            </p:cNvPr>
            <p:cNvSpPr/>
            <p:nvPr/>
          </p:nvSpPr>
          <p:spPr bwMode="auto">
            <a:xfrm>
              <a:off x="8243536" y="385490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2" name="Oval 1581">
              <a:extLst>
                <a:ext uri="{FF2B5EF4-FFF2-40B4-BE49-F238E27FC236}">
                  <a16:creationId xmlns:a16="http://schemas.microsoft.com/office/drawing/2014/main" id="{55A1E164-E748-5E4C-9B2B-7A3DD401360F}"/>
                </a:ext>
              </a:extLst>
            </p:cNvPr>
            <p:cNvSpPr/>
            <p:nvPr/>
          </p:nvSpPr>
          <p:spPr bwMode="auto">
            <a:xfrm>
              <a:off x="8181396" y="391082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3" name="Oval 1582">
              <a:extLst>
                <a:ext uri="{FF2B5EF4-FFF2-40B4-BE49-F238E27FC236}">
                  <a16:creationId xmlns:a16="http://schemas.microsoft.com/office/drawing/2014/main" id="{31B27243-1CA7-2B4F-BE1F-BDDBB8E27925}"/>
                </a:ext>
              </a:extLst>
            </p:cNvPr>
            <p:cNvSpPr/>
            <p:nvPr/>
          </p:nvSpPr>
          <p:spPr bwMode="auto">
            <a:xfrm>
              <a:off x="8181396" y="384504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4" name="Oval 1583">
              <a:extLst>
                <a:ext uri="{FF2B5EF4-FFF2-40B4-BE49-F238E27FC236}">
                  <a16:creationId xmlns:a16="http://schemas.microsoft.com/office/drawing/2014/main" id="{0502F8BE-D108-6E43-B150-A9FB98390964}"/>
                </a:ext>
              </a:extLst>
            </p:cNvPr>
            <p:cNvSpPr/>
            <p:nvPr/>
          </p:nvSpPr>
          <p:spPr bwMode="auto">
            <a:xfrm>
              <a:off x="8129122" y="390095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5" name="Oval 1584">
              <a:extLst>
                <a:ext uri="{FF2B5EF4-FFF2-40B4-BE49-F238E27FC236}">
                  <a16:creationId xmlns:a16="http://schemas.microsoft.com/office/drawing/2014/main" id="{F59BE761-A224-8449-B4F7-E1B6326380BB}"/>
                </a:ext>
              </a:extLst>
            </p:cNvPr>
            <p:cNvSpPr/>
            <p:nvPr/>
          </p:nvSpPr>
          <p:spPr bwMode="auto">
            <a:xfrm>
              <a:off x="8637259" y="300300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6" name="Oval 1585">
              <a:extLst>
                <a:ext uri="{FF2B5EF4-FFF2-40B4-BE49-F238E27FC236}">
                  <a16:creationId xmlns:a16="http://schemas.microsoft.com/office/drawing/2014/main" id="{BCEE8D47-9A65-1A41-8F74-171B664338D3}"/>
                </a:ext>
              </a:extLst>
            </p:cNvPr>
            <p:cNvSpPr/>
            <p:nvPr/>
          </p:nvSpPr>
          <p:spPr bwMode="auto">
            <a:xfrm>
              <a:off x="8636114" y="275834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7" name="Oval 1586">
              <a:extLst>
                <a:ext uri="{FF2B5EF4-FFF2-40B4-BE49-F238E27FC236}">
                  <a16:creationId xmlns:a16="http://schemas.microsoft.com/office/drawing/2014/main" id="{3B427E8E-8910-9A45-BB5F-B012DDA49E4E}"/>
                </a:ext>
              </a:extLst>
            </p:cNvPr>
            <p:cNvSpPr/>
            <p:nvPr/>
          </p:nvSpPr>
          <p:spPr bwMode="auto">
            <a:xfrm>
              <a:off x="8693176" y="261432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8" name="Oval 1587">
              <a:extLst>
                <a:ext uri="{FF2B5EF4-FFF2-40B4-BE49-F238E27FC236}">
                  <a16:creationId xmlns:a16="http://schemas.microsoft.com/office/drawing/2014/main" id="{91F6E864-F5D3-CA4A-BCF3-B3CF0CE75D05}"/>
                </a:ext>
              </a:extLst>
            </p:cNvPr>
            <p:cNvSpPr/>
            <p:nvPr/>
          </p:nvSpPr>
          <p:spPr bwMode="auto">
            <a:xfrm>
              <a:off x="8761540" y="256498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9" name="Oval 1588">
              <a:extLst>
                <a:ext uri="{FF2B5EF4-FFF2-40B4-BE49-F238E27FC236}">
                  <a16:creationId xmlns:a16="http://schemas.microsoft.com/office/drawing/2014/main" id="{1D063A38-E9D6-5F49-B90E-153D0DEA782A}"/>
                </a:ext>
              </a:extLst>
            </p:cNvPr>
            <p:cNvSpPr/>
            <p:nvPr/>
          </p:nvSpPr>
          <p:spPr bwMode="auto">
            <a:xfrm>
              <a:off x="8954539" y="256498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0" name="Oval 1589">
              <a:extLst>
                <a:ext uri="{FF2B5EF4-FFF2-40B4-BE49-F238E27FC236}">
                  <a16:creationId xmlns:a16="http://schemas.microsoft.com/office/drawing/2014/main" id="{A995D35F-1DDC-CE49-9425-DB9F1365B4B4}"/>
                </a:ext>
              </a:extLst>
            </p:cNvPr>
            <p:cNvSpPr/>
            <p:nvPr/>
          </p:nvSpPr>
          <p:spPr bwMode="auto">
            <a:xfrm>
              <a:off x="8895334" y="263370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1" name="Oval 1590">
              <a:extLst>
                <a:ext uri="{FF2B5EF4-FFF2-40B4-BE49-F238E27FC236}">
                  <a16:creationId xmlns:a16="http://schemas.microsoft.com/office/drawing/2014/main" id="{E95CEAD1-EF3E-6C47-B3D4-760F43DD33E2}"/>
                </a:ext>
              </a:extLst>
            </p:cNvPr>
            <p:cNvSpPr/>
            <p:nvPr/>
          </p:nvSpPr>
          <p:spPr bwMode="auto">
            <a:xfrm>
              <a:off x="8809815" y="273825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2" name="Oval 1591">
              <a:extLst>
                <a:ext uri="{FF2B5EF4-FFF2-40B4-BE49-F238E27FC236}">
                  <a16:creationId xmlns:a16="http://schemas.microsoft.com/office/drawing/2014/main" id="{3E5E7895-ADA9-8641-91A6-7A47E3095146}"/>
                </a:ext>
              </a:extLst>
            </p:cNvPr>
            <p:cNvSpPr/>
            <p:nvPr/>
          </p:nvSpPr>
          <p:spPr bwMode="auto">
            <a:xfrm>
              <a:off x="8852575" y="282670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3" name="Oval 1592">
              <a:extLst>
                <a:ext uri="{FF2B5EF4-FFF2-40B4-BE49-F238E27FC236}">
                  <a16:creationId xmlns:a16="http://schemas.microsoft.com/office/drawing/2014/main" id="{EB8D9C50-BC7A-F64A-B6BB-07B7DAC0C3D6}"/>
                </a:ext>
              </a:extLst>
            </p:cNvPr>
            <p:cNvSpPr/>
            <p:nvPr/>
          </p:nvSpPr>
          <p:spPr bwMode="auto">
            <a:xfrm>
              <a:off x="9112421" y="284973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4" name="Oval 1593">
              <a:extLst>
                <a:ext uri="{FF2B5EF4-FFF2-40B4-BE49-F238E27FC236}">
                  <a16:creationId xmlns:a16="http://schemas.microsoft.com/office/drawing/2014/main" id="{F661BC66-425A-5E4E-A9C1-BF792D6BC309}"/>
                </a:ext>
              </a:extLst>
            </p:cNvPr>
            <p:cNvSpPr/>
            <p:nvPr/>
          </p:nvSpPr>
          <p:spPr bwMode="auto">
            <a:xfrm>
              <a:off x="9236348" y="285301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5" name="Oval 1594">
              <a:extLst>
                <a:ext uri="{FF2B5EF4-FFF2-40B4-BE49-F238E27FC236}">
                  <a16:creationId xmlns:a16="http://schemas.microsoft.com/office/drawing/2014/main" id="{0122873E-F8D0-8042-BE2A-C242836B77A9}"/>
                </a:ext>
              </a:extLst>
            </p:cNvPr>
            <p:cNvSpPr/>
            <p:nvPr/>
          </p:nvSpPr>
          <p:spPr bwMode="auto">
            <a:xfrm>
              <a:off x="9236348" y="292831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6" name="Oval 1595">
              <a:extLst>
                <a:ext uri="{FF2B5EF4-FFF2-40B4-BE49-F238E27FC236}">
                  <a16:creationId xmlns:a16="http://schemas.microsoft.com/office/drawing/2014/main" id="{50766BA4-E011-0D48-A750-E180544E1F7C}"/>
                </a:ext>
              </a:extLst>
            </p:cNvPr>
            <p:cNvSpPr/>
            <p:nvPr/>
          </p:nvSpPr>
          <p:spPr bwMode="auto">
            <a:xfrm>
              <a:off x="8461785" y="292831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7" name="Oval 1596">
              <a:extLst>
                <a:ext uri="{FF2B5EF4-FFF2-40B4-BE49-F238E27FC236}">
                  <a16:creationId xmlns:a16="http://schemas.microsoft.com/office/drawing/2014/main" id="{CFFA5A78-F7A9-6940-8820-AB9C1BD8ADD4}"/>
                </a:ext>
              </a:extLst>
            </p:cNvPr>
            <p:cNvSpPr/>
            <p:nvPr/>
          </p:nvSpPr>
          <p:spPr bwMode="auto">
            <a:xfrm>
              <a:off x="8461785" y="259130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8" name="Oval 1597">
              <a:extLst>
                <a:ext uri="{FF2B5EF4-FFF2-40B4-BE49-F238E27FC236}">
                  <a16:creationId xmlns:a16="http://schemas.microsoft.com/office/drawing/2014/main" id="{C27B3B9D-DF13-4B40-A501-61CD59FA3BE9}"/>
                </a:ext>
              </a:extLst>
            </p:cNvPr>
            <p:cNvSpPr/>
            <p:nvPr/>
          </p:nvSpPr>
          <p:spPr bwMode="auto">
            <a:xfrm>
              <a:off x="8518411" y="259130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9" name="Oval 1598">
              <a:extLst>
                <a:ext uri="{FF2B5EF4-FFF2-40B4-BE49-F238E27FC236}">
                  <a16:creationId xmlns:a16="http://schemas.microsoft.com/office/drawing/2014/main" id="{B9E83D79-C3E6-C942-96F9-0F4C14FF8B4F}"/>
                </a:ext>
              </a:extLst>
            </p:cNvPr>
            <p:cNvSpPr/>
            <p:nvPr/>
          </p:nvSpPr>
          <p:spPr bwMode="auto">
            <a:xfrm>
              <a:off x="8189490" y="242168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0" name="Oval 1599">
              <a:extLst>
                <a:ext uri="{FF2B5EF4-FFF2-40B4-BE49-F238E27FC236}">
                  <a16:creationId xmlns:a16="http://schemas.microsoft.com/office/drawing/2014/main" id="{651BF117-93F7-0F48-A62A-385226514B9D}"/>
                </a:ext>
              </a:extLst>
            </p:cNvPr>
            <p:cNvSpPr/>
            <p:nvPr/>
          </p:nvSpPr>
          <p:spPr bwMode="auto">
            <a:xfrm>
              <a:off x="8242117" y="237527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1" name="Oval 1600">
              <a:extLst>
                <a:ext uri="{FF2B5EF4-FFF2-40B4-BE49-F238E27FC236}">
                  <a16:creationId xmlns:a16="http://schemas.microsoft.com/office/drawing/2014/main" id="{69429B1C-E98A-B046-A312-10F9EA74287F}"/>
                </a:ext>
              </a:extLst>
            </p:cNvPr>
            <p:cNvSpPr/>
            <p:nvPr/>
          </p:nvSpPr>
          <p:spPr bwMode="auto">
            <a:xfrm>
              <a:off x="8103970" y="218850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2" name="Oval 1601">
              <a:extLst>
                <a:ext uri="{FF2B5EF4-FFF2-40B4-BE49-F238E27FC236}">
                  <a16:creationId xmlns:a16="http://schemas.microsoft.com/office/drawing/2014/main" id="{49C7ECC1-8A32-7F4A-B1FE-ED9F9934EDF6}"/>
                </a:ext>
              </a:extLst>
            </p:cNvPr>
            <p:cNvSpPr/>
            <p:nvPr/>
          </p:nvSpPr>
          <p:spPr bwMode="auto">
            <a:xfrm>
              <a:off x="8120416" y="214938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3" name="Oval 1602">
              <a:extLst>
                <a:ext uri="{FF2B5EF4-FFF2-40B4-BE49-F238E27FC236}">
                  <a16:creationId xmlns:a16="http://schemas.microsoft.com/office/drawing/2014/main" id="{C7377F58-29FC-3E4D-810C-D546053D2B8A}"/>
                </a:ext>
              </a:extLst>
            </p:cNvPr>
            <p:cNvSpPr/>
            <p:nvPr/>
          </p:nvSpPr>
          <p:spPr bwMode="auto">
            <a:xfrm>
              <a:off x="8140152" y="209382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4" name="Oval 1603">
              <a:extLst>
                <a:ext uri="{FF2B5EF4-FFF2-40B4-BE49-F238E27FC236}">
                  <a16:creationId xmlns:a16="http://schemas.microsoft.com/office/drawing/2014/main" id="{FFE5A62A-D34E-514D-8445-CD02263DAC1B}"/>
                </a:ext>
              </a:extLst>
            </p:cNvPr>
            <p:cNvSpPr/>
            <p:nvPr/>
          </p:nvSpPr>
          <p:spPr bwMode="auto">
            <a:xfrm>
              <a:off x="8173045" y="225393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5" name="Oval 1604">
              <a:extLst>
                <a:ext uri="{FF2B5EF4-FFF2-40B4-BE49-F238E27FC236}">
                  <a16:creationId xmlns:a16="http://schemas.microsoft.com/office/drawing/2014/main" id="{EE382331-2DF0-544C-9E3B-1F6934DAF9B6}"/>
                </a:ext>
              </a:extLst>
            </p:cNvPr>
            <p:cNvSpPr/>
            <p:nvPr/>
          </p:nvSpPr>
          <p:spPr bwMode="auto">
            <a:xfrm>
              <a:off x="8024223" y="229011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6" name="Oval 1605">
              <a:extLst>
                <a:ext uri="{FF2B5EF4-FFF2-40B4-BE49-F238E27FC236}">
                  <a16:creationId xmlns:a16="http://schemas.microsoft.com/office/drawing/2014/main" id="{ED5C8524-5C5B-D044-A5DE-7A30A2C3F392}"/>
                </a:ext>
              </a:extLst>
            </p:cNvPr>
            <p:cNvSpPr/>
            <p:nvPr/>
          </p:nvSpPr>
          <p:spPr bwMode="auto">
            <a:xfrm>
              <a:off x="7850604" y="217170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7" name="Oval 1606">
              <a:extLst>
                <a:ext uri="{FF2B5EF4-FFF2-40B4-BE49-F238E27FC236}">
                  <a16:creationId xmlns:a16="http://schemas.microsoft.com/office/drawing/2014/main" id="{FFB0118B-8E48-C946-9850-7D8EC91BCF9C}"/>
                </a:ext>
              </a:extLst>
            </p:cNvPr>
            <p:cNvSpPr/>
            <p:nvPr/>
          </p:nvSpPr>
          <p:spPr bwMode="auto">
            <a:xfrm>
              <a:off x="7615198" y="2211170"/>
              <a:ext cx="135791" cy="135791"/>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8" name="Oval 1607">
              <a:extLst>
                <a:ext uri="{FF2B5EF4-FFF2-40B4-BE49-F238E27FC236}">
                  <a16:creationId xmlns:a16="http://schemas.microsoft.com/office/drawing/2014/main" id="{B1293334-6ED0-8843-9CC8-F4DBA9505486}"/>
                </a:ext>
              </a:extLst>
            </p:cNvPr>
            <p:cNvSpPr/>
            <p:nvPr/>
          </p:nvSpPr>
          <p:spPr bwMode="auto">
            <a:xfrm>
              <a:off x="7588531" y="2201658"/>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9" name="Oval 1608">
              <a:extLst>
                <a:ext uri="{FF2B5EF4-FFF2-40B4-BE49-F238E27FC236}">
                  <a16:creationId xmlns:a16="http://schemas.microsoft.com/office/drawing/2014/main" id="{24D27BFC-5914-6048-92A0-397EF52BD495}"/>
                </a:ext>
              </a:extLst>
            </p:cNvPr>
            <p:cNvSpPr/>
            <p:nvPr/>
          </p:nvSpPr>
          <p:spPr bwMode="auto">
            <a:xfrm>
              <a:off x="7532614" y="2253931"/>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0" name="Oval 1609">
              <a:extLst>
                <a:ext uri="{FF2B5EF4-FFF2-40B4-BE49-F238E27FC236}">
                  <a16:creationId xmlns:a16="http://schemas.microsoft.com/office/drawing/2014/main" id="{0370D68E-A172-EA43-9EED-C4E46E79DCEE}"/>
                </a:ext>
              </a:extLst>
            </p:cNvPr>
            <p:cNvSpPr/>
            <p:nvPr/>
          </p:nvSpPr>
          <p:spPr bwMode="auto">
            <a:xfrm>
              <a:off x="7555639" y="2286823"/>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1" name="Oval 1610">
              <a:extLst>
                <a:ext uri="{FF2B5EF4-FFF2-40B4-BE49-F238E27FC236}">
                  <a16:creationId xmlns:a16="http://schemas.microsoft.com/office/drawing/2014/main" id="{3E789C3B-B9DC-6147-A790-F864914B5CA9}"/>
                </a:ext>
              </a:extLst>
            </p:cNvPr>
            <p:cNvSpPr/>
            <p:nvPr/>
          </p:nvSpPr>
          <p:spPr bwMode="auto">
            <a:xfrm>
              <a:off x="7637869" y="2361765"/>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2" name="Oval 1611">
              <a:extLst>
                <a:ext uri="{FF2B5EF4-FFF2-40B4-BE49-F238E27FC236}">
                  <a16:creationId xmlns:a16="http://schemas.microsoft.com/office/drawing/2014/main" id="{7C5D082E-F345-BD40-8811-EDD3619932EF}"/>
                </a:ext>
              </a:extLst>
            </p:cNvPr>
            <p:cNvSpPr/>
            <p:nvPr/>
          </p:nvSpPr>
          <p:spPr bwMode="auto">
            <a:xfrm>
              <a:off x="7611200" y="2592009"/>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3" name="Oval 1612">
              <a:extLst>
                <a:ext uri="{FF2B5EF4-FFF2-40B4-BE49-F238E27FC236}">
                  <a16:creationId xmlns:a16="http://schemas.microsoft.com/office/drawing/2014/main" id="{BD8589E1-7EC5-A841-9C58-3E4DA9157B9C}"/>
                </a:ext>
              </a:extLst>
            </p:cNvPr>
            <p:cNvSpPr/>
            <p:nvPr/>
          </p:nvSpPr>
          <p:spPr bwMode="auto">
            <a:xfrm>
              <a:off x="7539902" y="2601877"/>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4" name="Oval 1613">
              <a:extLst>
                <a:ext uri="{FF2B5EF4-FFF2-40B4-BE49-F238E27FC236}">
                  <a16:creationId xmlns:a16="http://schemas.microsoft.com/office/drawing/2014/main" id="{52D28ABB-CE3D-FD45-B952-B0E9B9DAF8BF}"/>
                </a:ext>
              </a:extLst>
            </p:cNvPr>
            <p:cNvSpPr/>
            <p:nvPr/>
          </p:nvSpPr>
          <p:spPr bwMode="auto">
            <a:xfrm>
              <a:off x="7709877" y="2545960"/>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5" name="Oval 1614">
              <a:extLst>
                <a:ext uri="{FF2B5EF4-FFF2-40B4-BE49-F238E27FC236}">
                  <a16:creationId xmlns:a16="http://schemas.microsoft.com/office/drawing/2014/main" id="{531BF9B9-86F3-8140-B55F-FC985071523B}"/>
                </a:ext>
              </a:extLst>
            </p:cNvPr>
            <p:cNvSpPr/>
            <p:nvPr/>
          </p:nvSpPr>
          <p:spPr bwMode="auto">
            <a:xfrm>
              <a:off x="7706587" y="2427905"/>
              <a:ext cx="124862" cy="124862"/>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6" name="Oval 1615">
              <a:extLst>
                <a:ext uri="{FF2B5EF4-FFF2-40B4-BE49-F238E27FC236}">
                  <a16:creationId xmlns:a16="http://schemas.microsoft.com/office/drawing/2014/main" id="{347DE706-D467-634F-BAB4-EFABB0DABBF3}"/>
                </a:ext>
              </a:extLst>
            </p:cNvPr>
            <p:cNvSpPr/>
            <p:nvPr/>
          </p:nvSpPr>
          <p:spPr bwMode="auto">
            <a:xfrm>
              <a:off x="7791398" y="235518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7" name="Oval 1616">
              <a:extLst>
                <a:ext uri="{FF2B5EF4-FFF2-40B4-BE49-F238E27FC236}">
                  <a16:creationId xmlns:a16="http://schemas.microsoft.com/office/drawing/2014/main" id="{77013456-CE07-424E-9EC3-1FCBCC56D3D1}"/>
                </a:ext>
              </a:extLst>
            </p:cNvPr>
            <p:cNvSpPr/>
            <p:nvPr/>
          </p:nvSpPr>
          <p:spPr bwMode="auto">
            <a:xfrm>
              <a:off x="7765085" y="232629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8" name="Oval 1617">
              <a:extLst>
                <a:ext uri="{FF2B5EF4-FFF2-40B4-BE49-F238E27FC236}">
                  <a16:creationId xmlns:a16="http://schemas.microsoft.com/office/drawing/2014/main" id="{6935293E-691D-E742-993B-5F9A06081CE9}"/>
                </a:ext>
              </a:extLst>
            </p:cNvPr>
            <p:cNvSpPr/>
            <p:nvPr/>
          </p:nvSpPr>
          <p:spPr bwMode="auto">
            <a:xfrm>
              <a:off x="7768374" y="2277309"/>
              <a:ext cx="110895" cy="11089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9" name="Oval 1618">
              <a:extLst>
                <a:ext uri="{FF2B5EF4-FFF2-40B4-BE49-F238E27FC236}">
                  <a16:creationId xmlns:a16="http://schemas.microsoft.com/office/drawing/2014/main" id="{0E5D6DD0-5CEC-F54C-BAE0-F81B9E7511C4}"/>
                </a:ext>
              </a:extLst>
            </p:cNvPr>
            <p:cNvSpPr/>
            <p:nvPr/>
          </p:nvSpPr>
          <p:spPr bwMode="auto">
            <a:xfrm>
              <a:off x="7853539" y="2293756"/>
              <a:ext cx="121117" cy="121117"/>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0" name="Oval 1619">
              <a:extLst>
                <a:ext uri="{FF2B5EF4-FFF2-40B4-BE49-F238E27FC236}">
                  <a16:creationId xmlns:a16="http://schemas.microsoft.com/office/drawing/2014/main" id="{40491DF0-FF5A-604E-8985-E8C674F9F36B}"/>
                </a:ext>
              </a:extLst>
            </p:cNvPr>
            <p:cNvSpPr/>
            <p:nvPr/>
          </p:nvSpPr>
          <p:spPr bwMode="auto">
            <a:xfrm>
              <a:off x="8024223" y="237527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1" name="Oval 1620">
              <a:extLst>
                <a:ext uri="{FF2B5EF4-FFF2-40B4-BE49-F238E27FC236}">
                  <a16:creationId xmlns:a16="http://schemas.microsoft.com/office/drawing/2014/main" id="{58320454-A83B-D641-8492-CDA2E7B82CC8}"/>
                </a:ext>
              </a:extLst>
            </p:cNvPr>
            <p:cNvSpPr/>
            <p:nvPr/>
          </p:nvSpPr>
          <p:spPr bwMode="auto">
            <a:xfrm>
              <a:off x="7902878" y="2513780"/>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2" name="Oval 1621">
              <a:extLst>
                <a:ext uri="{FF2B5EF4-FFF2-40B4-BE49-F238E27FC236}">
                  <a16:creationId xmlns:a16="http://schemas.microsoft.com/office/drawing/2014/main" id="{AA340392-CA8B-B84B-B199-FB94CD1A73B5}"/>
                </a:ext>
              </a:extLst>
            </p:cNvPr>
            <p:cNvSpPr/>
            <p:nvPr/>
          </p:nvSpPr>
          <p:spPr bwMode="auto">
            <a:xfrm>
              <a:off x="7818066" y="2513780"/>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3" name="Oval 1622">
              <a:extLst>
                <a:ext uri="{FF2B5EF4-FFF2-40B4-BE49-F238E27FC236}">
                  <a16:creationId xmlns:a16="http://schemas.microsoft.com/office/drawing/2014/main" id="{4D98D9C3-07FA-2945-8FFE-56A6321598DE}"/>
                </a:ext>
              </a:extLst>
            </p:cNvPr>
            <p:cNvSpPr/>
            <p:nvPr/>
          </p:nvSpPr>
          <p:spPr bwMode="auto">
            <a:xfrm>
              <a:off x="8084492" y="2618323"/>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4" name="Oval 1623">
              <a:extLst>
                <a:ext uri="{FF2B5EF4-FFF2-40B4-BE49-F238E27FC236}">
                  <a16:creationId xmlns:a16="http://schemas.microsoft.com/office/drawing/2014/main" id="{C02CB7A8-76B4-364E-A4F5-AC8E31787432}"/>
                </a:ext>
              </a:extLst>
            </p:cNvPr>
            <p:cNvSpPr/>
            <p:nvPr/>
          </p:nvSpPr>
          <p:spPr bwMode="auto">
            <a:xfrm>
              <a:off x="8045022" y="2574855"/>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5" name="Oval 1624">
              <a:extLst>
                <a:ext uri="{FF2B5EF4-FFF2-40B4-BE49-F238E27FC236}">
                  <a16:creationId xmlns:a16="http://schemas.microsoft.com/office/drawing/2014/main" id="{5464BF13-7BAF-D44C-A176-5E60F1BE0FFD}"/>
                </a:ext>
              </a:extLst>
            </p:cNvPr>
            <p:cNvSpPr/>
            <p:nvPr/>
          </p:nvSpPr>
          <p:spPr bwMode="auto">
            <a:xfrm>
              <a:off x="8035154" y="2545607"/>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6" name="Oval 1625">
              <a:extLst>
                <a:ext uri="{FF2B5EF4-FFF2-40B4-BE49-F238E27FC236}">
                  <a16:creationId xmlns:a16="http://schemas.microsoft.com/office/drawing/2014/main" id="{68804168-6FC2-FD42-8843-C143B1BC0475}"/>
                </a:ext>
              </a:extLst>
            </p:cNvPr>
            <p:cNvSpPr/>
            <p:nvPr/>
          </p:nvSpPr>
          <p:spPr bwMode="auto">
            <a:xfrm>
              <a:off x="7992394" y="2506136"/>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7" name="Oval 1626">
              <a:extLst>
                <a:ext uri="{FF2B5EF4-FFF2-40B4-BE49-F238E27FC236}">
                  <a16:creationId xmlns:a16="http://schemas.microsoft.com/office/drawing/2014/main" id="{D119A0FC-CF24-BC4B-809F-874A9D6864D8}"/>
                </a:ext>
              </a:extLst>
            </p:cNvPr>
            <p:cNvSpPr/>
            <p:nvPr/>
          </p:nvSpPr>
          <p:spPr bwMode="auto">
            <a:xfrm>
              <a:off x="7952923" y="2457153"/>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8" name="Oval 1627">
              <a:extLst>
                <a:ext uri="{FF2B5EF4-FFF2-40B4-BE49-F238E27FC236}">
                  <a16:creationId xmlns:a16="http://schemas.microsoft.com/office/drawing/2014/main" id="{25E1C655-C189-9D4D-9C36-91439F3A5776}"/>
                </a:ext>
              </a:extLst>
            </p:cNvPr>
            <p:cNvSpPr/>
            <p:nvPr/>
          </p:nvSpPr>
          <p:spPr bwMode="auto">
            <a:xfrm>
              <a:off x="7939766" y="2355542"/>
              <a:ext cx="113831" cy="113831"/>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9" name="Oval 1628">
              <a:extLst>
                <a:ext uri="{FF2B5EF4-FFF2-40B4-BE49-F238E27FC236}">
                  <a16:creationId xmlns:a16="http://schemas.microsoft.com/office/drawing/2014/main" id="{E3CBAC96-AFBA-4044-9A03-8241FA8B9106}"/>
                </a:ext>
              </a:extLst>
            </p:cNvPr>
            <p:cNvSpPr/>
            <p:nvPr/>
          </p:nvSpPr>
          <p:spPr bwMode="auto">
            <a:xfrm>
              <a:off x="7840384" y="2411104"/>
              <a:ext cx="102192" cy="102192"/>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0" name="Oval 1629">
              <a:extLst>
                <a:ext uri="{FF2B5EF4-FFF2-40B4-BE49-F238E27FC236}">
                  <a16:creationId xmlns:a16="http://schemas.microsoft.com/office/drawing/2014/main" id="{79132ED9-AC35-554D-9CCA-17A134660411}"/>
                </a:ext>
              </a:extLst>
            </p:cNvPr>
            <p:cNvSpPr/>
            <p:nvPr/>
          </p:nvSpPr>
          <p:spPr bwMode="auto">
            <a:xfrm>
              <a:off x="8126995" y="253245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1" name="Oval 1630">
              <a:extLst>
                <a:ext uri="{FF2B5EF4-FFF2-40B4-BE49-F238E27FC236}">
                  <a16:creationId xmlns:a16="http://schemas.microsoft.com/office/drawing/2014/main" id="{EAA6C4D0-709E-6C47-A0BC-6FBE5A86825D}"/>
                </a:ext>
              </a:extLst>
            </p:cNvPr>
            <p:cNvSpPr/>
            <p:nvPr/>
          </p:nvSpPr>
          <p:spPr bwMode="auto">
            <a:xfrm>
              <a:off x="8090814" y="255511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2" name="Oval 1631">
              <a:extLst>
                <a:ext uri="{FF2B5EF4-FFF2-40B4-BE49-F238E27FC236}">
                  <a16:creationId xmlns:a16="http://schemas.microsoft.com/office/drawing/2014/main" id="{A04FB605-2BA4-164F-8F5C-D90E930FC606}"/>
                </a:ext>
              </a:extLst>
            </p:cNvPr>
            <p:cNvSpPr/>
            <p:nvPr/>
          </p:nvSpPr>
          <p:spPr bwMode="auto">
            <a:xfrm>
              <a:off x="8120416" y="2450573"/>
              <a:ext cx="104219" cy="104219"/>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3" name="Oval 1632">
              <a:extLst>
                <a:ext uri="{FF2B5EF4-FFF2-40B4-BE49-F238E27FC236}">
                  <a16:creationId xmlns:a16="http://schemas.microsoft.com/office/drawing/2014/main" id="{4B2B208F-7DAC-364F-8953-0C43D806B4CE}"/>
                </a:ext>
              </a:extLst>
            </p:cNvPr>
            <p:cNvSpPr/>
            <p:nvPr/>
          </p:nvSpPr>
          <p:spPr bwMode="auto">
            <a:xfrm>
              <a:off x="8017645" y="244070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4" name="Oval 1633">
              <a:extLst>
                <a:ext uri="{FF2B5EF4-FFF2-40B4-BE49-F238E27FC236}">
                  <a16:creationId xmlns:a16="http://schemas.microsoft.com/office/drawing/2014/main" id="{73FCCD2A-55C8-7748-95F4-6293732D27F0}"/>
                </a:ext>
              </a:extLst>
            </p:cNvPr>
            <p:cNvSpPr/>
            <p:nvPr/>
          </p:nvSpPr>
          <p:spPr bwMode="auto">
            <a:xfrm>
              <a:off x="8064501" y="247982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5" name="Oval 1634">
              <a:extLst>
                <a:ext uri="{FF2B5EF4-FFF2-40B4-BE49-F238E27FC236}">
                  <a16:creationId xmlns:a16="http://schemas.microsoft.com/office/drawing/2014/main" id="{AAE156A7-4361-FD4E-9383-F00C1E4BCC29}"/>
                </a:ext>
              </a:extLst>
            </p:cNvPr>
            <p:cNvSpPr/>
            <p:nvPr/>
          </p:nvSpPr>
          <p:spPr bwMode="auto">
            <a:xfrm>
              <a:off x="8312254" y="2618323"/>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6" name="Oval 1635">
              <a:extLst>
                <a:ext uri="{FF2B5EF4-FFF2-40B4-BE49-F238E27FC236}">
                  <a16:creationId xmlns:a16="http://schemas.microsoft.com/office/drawing/2014/main" id="{BBA9574B-7743-1445-864E-F12404A2E8CD}"/>
                </a:ext>
              </a:extLst>
            </p:cNvPr>
            <p:cNvSpPr/>
            <p:nvPr/>
          </p:nvSpPr>
          <p:spPr bwMode="auto">
            <a:xfrm>
              <a:off x="8312254" y="2735317"/>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7" name="Oval 1636">
              <a:extLst>
                <a:ext uri="{FF2B5EF4-FFF2-40B4-BE49-F238E27FC236}">
                  <a16:creationId xmlns:a16="http://schemas.microsoft.com/office/drawing/2014/main" id="{F1713831-BF69-864B-9E0B-912E7B7DE52E}"/>
                </a:ext>
              </a:extLst>
            </p:cNvPr>
            <p:cNvSpPr/>
            <p:nvPr/>
          </p:nvSpPr>
          <p:spPr bwMode="auto">
            <a:xfrm>
              <a:off x="8263271" y="2702425"/>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8" name="Oval 1637">
              <a:extLst>
                <a:ext uri="{FF2B5EF4-FFF2-40B4-BE49-F238E27FC236}">
                  <a16:creationId xmlns:a16="http://schemas.microsoft.com/office/drawing/2014/main" id="{4E10EC93-B9BF-324B-B3FE-A341B69E583F}"/>
                </a:ext>
              </a:extLst>
            </p:cNvPr>
            <p:cNvSpPr/>
            <p:nvPr/>
          </p:nvSpPr>
          <p:spPr bwMode="auto">
            <a:xfrm>
              <a:off x="8354660" y="2702425"/>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9" name="Oval 1638">
              <a:extLst>
                <a:ext uri="{FF2B5EF4-FFF2-40B4-BE49-F238E27FC236}">
                  <a16:creationId xmlns:a16="http://schemas.microsoft.com/office/drawing/2014/main" id="{6A28273C-5552-3441-A54E-FC1E7C340FD3}"/>
                </a:ext>
              </a:extLst>
            </p:cNvPr>
            <p:cNvSpPr/>
            <p:nvPr/>
          </p:nvSpPr>
          <p:spPr bwMode="auto">
            <a:xfrm>
              <a:off x="8328346" y="2793814"/>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0" name="Oval 1639">
              <a:extLst>
                <a:ext uri="{FF2B5EF4-FFF2-40B4-BE49-F238E27FC236}">
                  <a16:creationId xmlns:a16="http://schemas.microsoft.com/office/drawing/2014/main" id="{9568ECFC-74B6-0A49-904D-486F72F11609}"/>
                </a:ext>
              </a:extLst>
            </p:cNvPr>
            <p:cNvSpPr/>
            <p:nvPr/>
          </p:nvSpPr>
          <p:spPr bwMode="auto">
            <a:xfrm>
              <a:off x="8276074" y="2797103"/>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1" name="Oval 1640">
              <a:extLst>
                <a:ext uri="{FF2B5EF4-FFF2-40B4-BE49-F238E27FC236}">
                  <a16:creationId xmlns:a16="http://schemas.microsoft.com/office/drawing/2014/main" id="{2DE0B32B-1176-F84E-A16D-220E9B44C394}"/>
                </a:ext>
              </a:extLst>
            </p:cNvPr>
            <p:cNvSpPr/>
            <p:nvPr/>
          </p:nvSpPr>
          <p:spPr bwMode="auto">
            <a:xfrm>
              <a:off x="8455916" y="2747765"/>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2" name="Oval 1641">
              <a:extLst>
                <a:ext uri="{FF2B5EF4-FFF2-40B4-BE49-F238E27FC236}">
                  <a16:creationId xmlns:a16="http://schemas.microsoft.com/office/drawing/2014/main" id="{D6859EBD-21E5-8B48-8DA8-7983DCA8DCF4}"/>
                </a:ext>
              </a:extLst>
            </p:cNvPr>
            <p:cNvSpPr/>
            <p:nvPr/>
          </p:nvSpPr>
          <p:spPr bwMode="auto">
            <a:xfrm>
              <a:off x="8527924" y="2829995"/>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3" name="Oval 1642">
              <a:extLst>
                <a:ext uri="{FF2B5EF4-FFF2-40B4-BE49-F238E27FC236}">
                  <a16:creationId xmlns:a16="http://schemas.microsoft.com/office/drawing/2014/main" id="{B4F55A91-9EC7-A24E-B4B8-2C8966B0A409}"/>
                </a:ext>
              </a:extLst>
            </p:cNvPr>
            <p:cNvSpPr/>
            <p:nvPr/>
          </p:nvSpPr>
          <p:spPr bwMode="auto">
            <a:xfrm>
              <a:off x="8580552" y="2898713"/>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4" name="Oval 1643">
              <a:extLst>
                <a:ext uri="{FF2B5EF4-FFF2-40B4-BE49-F238E27FC236}">
                  <a16:creationId xmlns:a16="http://schemas.microsoft.com/office/drawing/2014/main" id="{1FA66350-7352-6348-8A1E-F81F0175AD5E}"/>
                </a:ext>
              </a:extLst>
            </p:cNvPr>
            <p:cNvSpPr/>
            <p:nvPr/>
          </p:nvSpPr>
          <p:spPr bwMode="auto">
            <a:xfrm>
              <a:off x="8619313" y="2918448"/>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5" name="Oval 1644">
              <a:extLst>
                <a:ext uri="{FF2B5EF4-FFF2-40B4-BE49-F238E27FC236}">
                  <a16:creationId xmlns:a16="http://schemas.microsoft.com/office/drawing/2014/main" id="{384BCEE6-0BEB-7F43-BE72-A38A289E6409}"/>
                </a:ext>
              </a:extLst>
            </p:cNvPr>
            <p:cNvSpPr/>
            <p:nvPr/>
          </p:nvSpPr>
          <p:spPr bwMode="auto">
            <a:xfrm>
              <a:off x="9654884" y="337235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6" name="Oval 1645">
              <a:extLst>
                <a:ext uri="{FF2B5EF4-FFF2-40B4-BE49-F238E27FC236}">
                  <a16:creationId xmlns:a16="http://schemas.microsoft.com/office/drawing/2014/main" id="{162E464D-29DF-5C43-978C-252477C4CCEF}"/>
                </a:ext>
              </a:extLst>
            </p:cNvPr>
            <p:cNvSpPr/>
            <p:nvPr/>
          </p:nvSpPr>
          <p:spPr bwMode="auto">
            <a:xfrm>
              <a:off x="9654884" y="328835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7" name="Oval 1646">
              <a:extLst>
                <a:ext uri="{FF2B5EF4-FFF2-40B4-BE49-F238E27FC236}">
                  <a16:creationId xmlns:a16="http://schemas.microsoft.com/office/drawing/2014/main" id="{592310BA-D2B2-0D40-B7BB-E4214669D9CB}"/>
                </a:ext>
              </a:extLst>
            </p:cNvPr>
            <p:cNvSpPr/>
            <p:nvPr/>
          </p:nvSpPr>
          <p:spPr bwMode="auto">
            <a:xfrm>
              <a:off x="9779873" y="307562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8" name="Oval 1647">
              <a:extLst>
                <a:ext uri="{FF2B5EF4-FFF2-40B4-BE49-F238E27FC236}">
                  <a16:creationId xmlns:a16="http://schemas.microsoft.com/office/drawing/2014/main" id="{2C3EECBC-9C4D-1F45-BD89-09816D666F77}"/>
                </a:ext>
              </a:extLst>
            </p:cNvPr>
            <p:cNvSpPr/>
            <p:nvPr/>
          </p:nvSpPr>
          <p:spPr bwMode="auto">
            <a:xfrm>
              <a:off x="9770005" y="292538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9" name="Oval 1648">
              <a:extLst>
                <a:ext uri="{FF2B5EF4-FFF2-40B4-BE49-F238E27FC236}">
                  <a16:creationId xmlns:a16="http://schemas.microsoft.com/office/drawing/2014/main" id="{8C96EFBA-FFB7-1345-B3F2-E50D3E59EEE0}"/>
                </a:ext>
              </a:extLst>
            </p:cNvPr>
            <p:cNvSpPr/>
            <p:nvPr/>
          </p:nvSpPr>
          <p:spPr bwMode="auto">
            <a:xfrm>
              <a:off x="9635503" y="295498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0" name="Oval 1649">
              <a:extLst>
                <a:ext uri="{FF2B5EF4-FFF2-40B4-BE49-F238E27FC236}">
                  <a16:creationId xmlns:a16="http://schemas.microsoft.com/office/drawing/2014/main" id="{C71DC73F-D916-B945-9356-1120D21575D2}"/>
                </a:ext>
              </a:extLst>
            </p:cNvPr>
            <p:cNvSpPr/>
            <p:nvPr/>
          </p:nvSpPr>
          <p:spPr bwMode="auto">
            <a:xfrm>
              <a:off x="9664751" y="295498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1" name="Oval 1650">
              <a:extLst>
                <a:ext uri="{FF2B5EF4-FFF2-40B4-BE49-F238E27FC236}">
                  <a16:creationId xmlns:a16="http://schemas.microsoft.com/office/drawing/2014/main" id="{74040D01-8CD4-634E-BE2B-9B5507E96AB7}"/>
                </a:ext>
              </a:extLst>
            </p:cNvPr>
            <p:cNvSpPr/>
            <p:nvPr/>
          </p:nvSpPr>
          <p:spPr bwMode="auto">
            <a:xfrm>
              <a:off x="10249698" y="267540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2" name="Oval 1651">
              <a:extLst>
                <a:ext uri="{FF2B5EF4-FFF2-40B4-BE49-F238E27FC236}">
                  <a16:creationId xmlns:a16="http://schemas.microsoft.com/office/drawing/2014/main" id="{CD5933B0-A1C6-2F43-9740-4CA5549979A7}"/>
                </a:ext>
              </a:extLst>
            </p:cNvPr>
            <p:cNvSpPr/>
            <p:nvPr/>
          </p:nvSpPr>
          <p:spPr bwMode="auto">
            <a:xfrm>
              <a:off x="10075724" y="267540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3" name="Oval 1652">
              <a:extLst>
                <a:ext uri="{FF2B5EF4-FFF2-40B4-BE49-F238E27FC236}">
                  <a16:creationId xmlns:a16="http://schemas.microsoft.com/office/drawing/2014/main" id="{AF04D3CC-A6A1-8B41-8BD3-39F64764F3BB}"/>
                </a:ext>
              </a:extLst>
            </p:cNvPr>
            <p:cNvSpPr/>
            <p:nvPr/>
          </p:nvSpPr>
          <p:spPr bwMode="auto">
            <a:xfrm>
              <a:off x="9420543" y="310628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4" name="Oval 1653">
              <a:extLst>
                <a:ext uri="{FF2B5EF4-FFF2-40B4-BE49-F238E27FC236}">
                  <a16:creationId xmlns:a16="http://schemas.microsoft.com/office/drawing/2014/main" id="{4F61A715-DF6A-3C45-AD64-2E56F1B326ED}"/>
                </a:ext>
              </a:extLst>
            </p:cNvPr>
            <p:cNvSpPr/>
            <p:nvPr/>
          </p:nvSpPr>
          <p:spPr bwMode="auto">
            <a:xfrm>
              <a:off x="9476460" y="303650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5" name="Oval 1654">
              <a:extLst>
                <a:ext uri="{FF2B5EF4-FFF2-40B4-BE49-F238E27FC236}">
                  <a16:creationId xmlns:a16="http://schemas.microsoft.com/office/drawing/2014/main" id="{16B87388-FC95-E24A-80E9-CBD9B86D6D22}"/>
                </a:ext>
              </a:extLst>
            </p:cNvPr>
            <p:cNvSpPr/>
            <p:nvPr/>
          </p:nvSpPr>
          <p:spPr bwMode="auto">
            <a:xfrm>
              <a:off x="9476460" y="313776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6" name="Oval 1655">
              <a:extLst>
                <a:ext uri="{FF2B5EF4-FFF2-40B4-BE49-F238E27FC236}">
                  <a16:creationId xmlns:a16="http://schemas.microsoft.com/office/drawing/2014/main" id="{1C5607EA-406D-0D4E-82BC-A046E21912AB}"/>
                </a:ext>
              </a:extLst>
            </p:cNvPr>
            <p:cNvSpPr/>
            <p:nvPr/>
          </p:nvSpPr>
          <p:spPr bwMode="auto">
            <a:xfrm>
              <a:off x="9540471" y="312460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7" name="Oval 1656">
              <a:extLst>
                <a:ext uri="{FF2B5EF4-FFF2-40B4-BE49-F238E27FC236}">
                  <a16:creationId xmlns:a16="http://schemas.microsoft.com/office/drawing/2014/main" id="{56516B9F-8C77-D440-8D31-8AB155E46E37}"/>
                </a:ext>
              </a:extLst>
            </p:cNvPr>
            <p:cNvSpPr/>
            <p:nvPr/>
          </p:nvSpPr>
          <p:spPr bwMode="auto">
            <a:xfrm>
              <a:off x="9337603" y="298974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8" name="Oval 1657">
              <a:extLst>
                <a:ext uri="{FF2B5EF4-FFF2-40B4-BE49-F238E27FC236}">
                  <a16:creationId xmlns:a16="http://schemas.microsoft.com/office/drawing/2014/main" id="{5D78DB58-4B2F-7F46-B052-A9ECF045CF39}"/>
                </a:ext>
              </a:extLst>
            </p:cNvPr>
            <p:cNvSpPr/>
            <p:nvPr/>
          </p:nvSpPr>
          <p:spPr bwMode="auto">
            <a:xfrm>
              <a:off x="9860587" y="352047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9" name="Oval 1658">
              <a:extLst>
                <a:ext uri="{FF2B5EF4-FFF2-40B4-BE49-F238E27FC236}">
                  <a16:creationId xmlns:a16="http://schemas.microsoft.com/office/drawing/2014/main" id="{2F4503D5-EFF2-FB4F-902C-3265A10D69C8}"/>
                </a:ext>
              </a:extLst>
            </p:cNvPr>
            <p:cNvSpPr/>
            <p:nvPr/>
          </p:nvSpPr>
          <p:spPr bwMode="auto">
            <a:xfrm>
              <a:off x="10188897" y="348758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0" name="Oval 1659">
              <a:extLst>
                <a:ext uri="{FF2B5EF4-FFF2-40B4-BE49-F238E27FC236}">
                  <a16:creationId xmlns:a16="http://schemas.microsoft.com/office/drawing/2014/main" id="{7936CE19-0FBE-5F4E-BE3D-68491A5481DE}"/>
                </a:ext>
              </a:extLst>
            </p:cNvPr>
            <p:cNvSpPr/>
            <p:nvPr/>
          </p:nvSpPr>
          <p:spPr bwMode="auto">
            <a:xfrm>
              <a:off x="10469996" y="353362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1" name="Oval 1660">
              <a:extLst>
                <a:ext uri="{FF2B5EF4-FFF2-40B4-BE49-F238E27FC236}">
                  <a16:creationId xmlns:a16="http://schemas.microsoft.com/office/drawing/2014/main" id="{654D18A2-FCBD-3C43-9946-1DB870404983}"/>
                </a:ext>
              </a:extLst>
            </p:cNvPr>
            <p:cNvSpPr/>
            <p:nvPr/>
          </p:nvSpPr>
          <p:spPr bwMode="auto">
            <a:xfrm>
              <a:off x="10422431" y="324417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2" name="Oval 1661">
              <a:extLst>
                <a:ext uri="{FF2B5EF4-FFF2-40B4-BE49-F238E27FC236}">
                  <a16:creationId xmlns:a16="http://schemas.microsoft.com/office/drawing/2014/main" id="{EF4579D5-38A8-754B-BA7B-835D38A0DA79}"/>
                </a:ext>
              </a:extLst>
            </p:cNvPr>
            <p:cNvSpPr/>
            <p:nvPr/>
          </p:nvSpPr>
          <p:spPr bwMode="auto">
            <a:xfrm>
              <a:off x="10650902" y="324417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3" name="Oval 1662">
              <a:extLst>
                <a:ext uri="{FF2B5EF4-FFF2-40B4-BE49-F238E27FC236}">
                  <a16:creationId xmlns:a16="http://schemas.microsoft.com/office/drawing/2014/main" id="{21B9B5D5-B08B-544B-AE69-6FC1F62A0E68}"/>
                </a:ext>
              </a:extLst>
            </p:cNvPr>
            <p:cNvSpPr/>
            <p:nvPr/>
          </p:nvSpPr>
          <p:spPr bwMode="auto">
            <a:xfrm>
              <a:off x="11213100" y="333298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4" name="Oval 1663">
              <a:extLst>
                <a:ext uri="{FF2B5EF4-FFF2-40B4-BE49-F238E27FC236}">
                  <a16:creationId xmlns:a16="http://schemas.microsoft.com/office/drawing/2014/main" id="{A75A3459-C224-4144-A7E7-1FD6436B6D6C}"/>
                </a:ext>
              </a:extLst>
            </p:cNvPr>
            <p:cNvSpPr/>
            <p:nvPr/>
          </p:nvSpPr>
          <p:spPr bwMode="auto">
            <a:xfrm>
              <a:off x="11167051" y="375258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5" name="Oval 1664">
              <a:extLst>
                <a:ext uri="{FF2B5EF4-FFF2-40B4-BE49-F238E27FC236}">
                  <a16:creationId xmlns:a16="http://schemas.microsoft.com/office/drawing/2014/main" id="{F281A2C2-328A-1947-B832-56C32EAEF74C}"/>
                </a:ext>
              </a:extLst>
            </p:cNvPr>
            <p:cNvSpPr/>
            <p:nvPr/>
          </p:nvSpPr>
          <p:spPr bwMode="auto">
            <a:xfrm>
              <a:off x="11350538" y="368351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6" name="Oval 1665">
              <a:extLst>
                <a:ext uri="{FF2B5EF4-FFF2-40B4-BE49-F238E27FC236}">
                  <a16:creationId xmlns:a16="http://schemas.microsoft.com/office/drawing/2014/main" id="{30D1661A-7804-0D47-979C-771D8D57A5B2}"/>
                </a:ext>
              </a:extLst>
            </p:cNvPr>
            <p:cNvSpPr/>
            <p:nvPr/>
          </p:nvSpPr>
          <p:spPr bwMode="auto">
            <a:xfrm>
              <a:off x="10888887" y="373943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7" name="Oval 1666">
              <a:extLst>
                <a:ext uri="{FF2B5EF4-FFF2-40B4-BE49-F238E27FC236}">
                  <a16:creationId xmlns:a16="http://schemas.microsoft.com/office/drawing/2014/main" id="{E82A4082-060F-A243-9A6A-8892D038E5AA}"/>
                </a:ext>
              </a:extLst>
            </p:cNvPr>
            <p:cNvSpPr/>
            <p:nvPr/>
          </p:nvSpPr>
          <p:spPr bwMode="auto">
            <a:xfrm>
              <a:off x="10938225" y="361257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8" name="Oval 1667">
              <a:extLst>
                <a:ext uri="{FF2B5EF4-FFF2-40B4-BE49-F238E27FC236}">
                  <a16:creationId xmlns:a16="http://schemas.microsoft.com/office/drawing/2014/main" id="{278F76CB-8C0F-0447-8CF3-F5210880F7CD}"/>
                </a:ext>
              </a:extLst>
            </p:cNvPr>
            <p:cNvSpPr/>
            <p:nvPr/>
          </p:nvSpPr>
          <p:spPr bwMode="auto">
            <a:xfrm>
              <a:off x="10758738" y="368493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9" name="Oval 1668">
              <a:extLst>
                <a:ext uri="{FF2B5EF4-FFF2-40B4-BE49-F238E27FC236}">
                  <a16:creationId xmlns:a16="http://schemas.microsoft.com/office/drawing/2014/main" id="{B5AD9EB4-5495-C04E-A710-02FC96F75EE9}"/>
                </a:ext>
              </a:extLst>
            </p:cNvPr>
            <p:cNvSpPr/>
            <p:nvPr/>
          </p:nvSpPr>
          <p:spPr bwMode="auto">
            <a:xfrm>
              <a:off x="10568673" y="364217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0" name="Oval 1669">
              <a:extLst>
                <a:ext uri="{FF2B5EF4-FFF2-40B4-BE49-F238E27FC236}">
                  <a16:creationId xmlns:a16="http://schemas.microsoft.com/office/drawing/2014/main" id="{0B3DB53C-3FD3-4E45-9D49-038048442F5F}"/>
                </a:ext>
              </a:extLst>
            </p:cNvPr>
            <p:cNvSpPr/>
            <p:nvPr/>
          </p:nvSpPr>
          <p:spPr bwMode="auto">
            <a:xfrm>
              <a:off x="10558805" y="375329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1" name="Oval 1670">
              <a:extLst>
                <a:ext uri="{FF2B5EF4-FFF2-40B4-BE49-F238E27FC236}">
                  <a16:creationId xmlns:a16="http://schemas.microsoft.com/office/drawing/2014/main" id="{F10BA8A7-B393-084B-BC41-30A6011455FD}"/>
                </a:ext>
              </a:extLst>
            </p:cNvPr>
            <p:cNvSpPr/>
            <p:nvPr/>
          </p:nvSpPr>
          <p:spPr bwMode="auto">
            <a:xfrm>
              <a:off x="10197973" y="3812502"/>
              <a:ext cx="141623" cy="14162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2" name="Oval 1671">
              <a:extLst>
                <a:ext uri="{FF2B5EF4-FFF2-40B4-BE49-F238E27FC236}">
                  <a16:creationId xmlns:a16="http://schemas.microsoft.com/office/drawing/2014/main" id="{01DBB385-8A53-0742-8A90-AB70ADA8D6A5}"/>
                </a:ext>
              </a:extLst>
            </p:cNvPr>
            <p:cNvSpPr/>
            <p:nvPr/>
          </p:nvSpPr>
          <p:spPr bwMode="auto">
            <a:xfrm>
              <a:off x="9011715" y="2941473"/>
              <a:ext cx="141623" cy="14162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3" name="Oval 1672">
              <a:extLst>
                <a:ext uri="{FF2B5EF4-FFF2-40B4-BE49-F238E27FC236}">
                  <a16:creationId xmlns:a16="http://schemas.microsoft.com/office/drawing/2014/main" id="{691D3BB5-C0F7-0F40-9850-C763206CDEDF}"/>
                </a:ext>
              </a:extLst>
            </p:cNvPr>
            <p:cNvSpPr/>
            <p:nvPr/>
          </p:nvSpPr>
          <p:spPr bwMode="auto">
            <a:xfrm>
              <a:off x="10183028" y="314140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4" name="Oval 1673">
              <a:extLst>
                <a:ext uri="{FF2B5EF4-FFF2-40B4-BE49-F238E27FC236}">
                  <a16:creationId xmlns:a16="http://schemas.microsoft.com/office/drawing/2014/main" id="{BE562E6A-5422-AD4F-A8CB-2627E6DE9F45}"/>
                </a:ext>
              </a:extLst>
            </p:cNvPr>
            <p:cNvSpPr/>
            <p:nvPr/>
          </p:nvSpPr>
          <p:spPr bwMode="auto">
            <a:xfrm>
              <a:off x="10212631" y="310193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5" name="Oval 1674">
              <a:extLst>
                <a:ext uri="{FF2B5EF4-FFF2-40B4-BE49-F238E27FC236}">
                  <a16:creationId xmlns:a16="http://schemas.microsoft.com/office/drawing/2014/main" id="{0B74B1C6-44D9-664F-81E9-513DBFDCA9C6}"/>
                </a:ext>
              </a:extLst>
            </p:cNvPr>
            <p:cNvSpPr/>
            <p:nvPr/>
          </p:nvSpPr>
          <p:spPr bwMode="auto">
            <a:xfrm>
              <a:off x="6901395" y="1536912"/>
              <a:ext cx="109579" cy="109579"/>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6" name="Oval 1675">
              <a:extLst>
                <a:ext uri="{FF2B5EF4-FFF2-40B4-BE49-F238E27FC236}">
                  <a16:creationId xmlns:a16="http://schemas.microsoft.com/office/drawing/2014/main" id="{35191CD2-83C0-7D4B-B5D5-C75C43C278E0}"/>
                </a:ext>
              </a:extLst>
            </p:cNvPr>
            <p:cNvSpPr/>
            <p:nvPr/>
          </p:nvSpPr>
          <p:spPr bwMode="auto">
            <a:xfrm>
              <a:off x="10945594" y="422734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grpSp>
      <p:grpSp>
        <p:nvGrpSpPr>
          <p:cNvPr id="1677" name="Group 1676">
            <a:extLst>
              <a:ext uri="{FF2B5EF4-FFF2-40B4-BE49-F238E27FC236}">
                <a16:creationId xmlns:a16="http://schemas.microsoft.com/office/drawing/2014/main" id="{0CCB8CB9-F751-7F40-9FAA-5610C48EFF1E}"/>
              </a:ext>
            </a:extLst>
          </p:cNvPr>
          <p:cNvGrpSpPr/>
          <p:nvPr/>
        </p:nvGrpSpPr>
        <p:grpSpPr>
          <a:xfrm>
            <a:off x="3258582" y="4537151"/>
            <a:ext cx="1642878" cy="1499976"/>
            <a:chOff x="4963793" y="4708040"/>
            <a:chExt cx="1106701" cy="1470885"/>
          </a:xfrm>
        </p:grpSpPr>
        <p:sp>
          <p:nvSpPr>
            <p:cNvPr id="1678" name="Text Placeholder 9">
              <a:extLst>
                <a:ext uri="{FF2B5EF4-FFF2-40B4-BE49-F238E27FC236}">
                  <a16:creationId xmlns:a16="http://schemas.microsoft.com/office/drawing/2014/main" id="{B4F4CEDA-60F7-4C4D-800D-E855071AEE71}"/>
                </a:ext>
              </a:extLst>
            </p:cNvPr>
            <p:cNvSpPr txBox="1">
              <a:spLocks/>
            </p:cNvSpPr>
            <p:nvPr/>
          </p:nvSpPr>
          <p:spPr>
            <a:xfrm>
              <a:off x="4963793" y="4708040"/>
              <a:ext cx="1106701" cy="923201"/>
            </a:xfrm>
            <a:prstGeom prst="rect">
              <a:avLst/>
            </a:prstGeom>
          </p:spPr>
          <p:txBody>
            <a:bodyPr wrap="none" lIns="0" tIns="0" rIns="0" b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defTabSz="932112">
                <a:lnSpc>
                  <a:spcPct val="100000"/>
                </a:lnSpc>
                <a:buNone/>
                <a:defRPr/>
              </a:pPr>
              <a:r>
                <a:rPr lang="en-US" sz="5998" spc="-50">
                  <a:ln w="3175">
                    <a:noFill/>
                  </a:ln>
                  <a:solidFill>
                    <a:srgbClr val="F2C811"/>
                  </a:solidFill>
                  <a:latin typeface="Segoe UI Semibold"/>
                  <a:cs typeface="Segoe UI" pitchFamily="34" charset="0"/>
                </a:rPr>
                <a:t>1.6M</a:t>
              </a:r>
            </a:p>
          </p:txBody>
        </p:sp>
        <p:sp>
          <p:nvSpPr>
            <p:cNvPr id="1679" name="Text Placeholder 9">
              <a:extLst>
                <a:ext uri="{FF2B5EF4-FFF2-40B4-BE49-F238E27FC236}">
                  <a16:creationId xmlns:a16="http://schemas.microsoft.com/office/drawing/2014/main" id="{9BF85106-8ADF-FD4F-AF94-EB65CED5779C}"/>
                </a:ext>
              </a:extLst>
            </p:cNvPr>
            <p:cNvSpPr txBox="1">
              <a:spLocks/>
            </p:cNvSpPr>
            <p:nvPr/>
          </p:nvSpPr>
          <p:spPr>
            <a:xfrm>
              <a:off x="5041974" y="5551061"/>
              <a:ext cx="950332" cy="627864"/>
            </a:xfrm>
            <a:prstGeom prst="rect">
              <a:avLst/>
            </a:prstGeom>
          </p:spPr>
          <p:txBody>
            <a:bodyPr wrap="none" lIns="0" tIns="0" rIns="0" b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defTabSz="932112">
                <a:lnSpc>
                  <a:spcPct val="100000"/>
                </a:lnSpc>
                <a:spcBef>
                  <a:spcPts val="0"/>
                </a:spcBef>
                <a:buClr>
                  <a:srgbClr val="FFFFFF"/>
                </a:buClr>
                <a:buNone/>
                <a:defRPr/>
              </a:pPr>
              <a:r>
                <a:rPr lang="en-US" sz="2040" kern="0">
                  <a:solidFill>
                    <a:schemeClr val="tx1"/>
                  </a:solidFill>
                  <a:cs typeface="Segoe UI Semilight" panose="020B0402040204020203" pitchFamily="34" charset="0"/>
                </a:rPr>
                <a:t>Community</a:t>
              </a:r>
              <a:br>
                <a:rPr lang="en-US" sz="2040" kern="0">
                  <a:solidFill>
                    <a:schemeClr val="tx1"/>
                  </a:solidFill>
                  <a:cs typeface="Segoe UI Semilight" panose="020B0402040204020203" pitchFamily="34" charset="0"/>
                </a:rPr>
              </a:br>
              <a:r>
                <a:rPr lang="en-US" sz="2040" kern="0">
                  <a:solidFill>
                    <a:schemeClr val="tx1"/>
                  </a:solidFill>
                  <a:cs typeface="Segoe UI Semilight" panose="020B0402040204020203" pitchFamily="34" charset="0"/>
                </a:rPr>
                <a:t>Members</a:t>
              </a:r>
            </a:p>
          </p:txBody>
        </p:sp>
      </p:grpSp>
      <p:grpSp>
        <p:nvGrpSpPr>
          <p:cNvPr id="1680" name="Group 1679">
            <a:extLst>
              <a:ext uri="{FF2B5EF4-FFF2-40B4-BE49-F238E27FC236}">
                <a16:creationId xmlns:a16="http://schemas.microsoft.com/office/drawing/2014/main" id="{B06AE3BA-2777-0540-8F98-B3ED95585E72}"/>
              </a:ext>
            </a:extLst>
          </p:cNvPr>
          <p:cNvGrpSpPr/>
          <p:nvPr/>
        </p:nvGrpSpPr>
        <p:grpSpPr>
          <a:xfrm>
            <a:off x="5745920" y="4529064"/>
            <a:ext cx="3790157" cy="1523477"/>
            <a:chOff x="6896838" y="4646832"/>
            <a:chExt cx="2553182" cy="1493931"/>
          </a:xfrm>
        </p:grpSpPr>
        <p:sp>
          <p:nvSpPr>
            <p:cNvPr id="1681" name="Text Placeholder 9">
              <a:extLst>
                <a:ext uri="{FF2B5EF4-FFF2-40B4-BE49-F238E27FC236}">
                  <a16:creationId xmlns:a16="http://schemas.microsoft.com/office/drawing/2014/main" id="{D229658F-147E-3D47-B665-D49BDBA7E4ED}"/>
                </a:ext>
              </a:extLst>
            </p:cNvPr>
            <p:cNvSpPr txBox="1">
              <a:spLocks/>
            </p:cNvSpPr>
            <p:nvPr/>
          </p:nvSpPr>
          <p:spPr>
            <a:xfrm>
              <a:off x="6896838" y="5512899"/>
              <a:ext cx="2553182" cy="627864"/>
            </a:xfrm>
            <a:prstGeom prst="rect">
              <a:avLst/>
            </a:prstGeom>
          </p:spPr>
          <p:txBody>
            <a:bodyPr wrap="square" lIns="0" tIns="0" rIns="0" b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defTabSz="932112">
                <a:lnSpc>
                  <a:spcPct val="100000"/>
                </a:lnSpc>
                <a:spcBef>
                  <a:spcPts val="0"/>
                </a:spcBef>
                <a:buClr>
                  <a:srgbClr val="FFFFFF"/>
                </a:buClr>
                <a:buNone/>
                <a:defRPr/>
              </a:pPr>
              <a:r>
                <a:rPr lang="en-US" sz="2040" kern="0">
                  <a:solidFill>
                    <a:schemeClr val="tx1"/>
                  </a:solidFill>
                  <a:cs typeface="Segoe UI Semilight" panose="020B0402040204020203" pitchFamily="34" charset="0"/>
                </a:rPr>
                <a:t>Independent Power BI </a:t>
              </a:r>
            </a:p>
            <a:p>
              <a:pPr marL="0" indent="0" algn="ctr" defTabSz="932112">
                <a:lnSpc>
                  <a:spcPct val="100000"/>
                </a:lnSpc>
                <a:spcBef>
                  <a:spcPts val="0"/>
                </a:spcBef>
                <a:buClr>
                  <a:srgbClr val="FFFFFF"/>
                </a:buClr>
                <a:buNone/>
                <a:defRPr/>
              </a:pPr>
              <a:r>
                <a:rPr lang="en-US" sz="2040" kern="0">
                  <a:solidFill>
                    <a:schemeClr val="tx1"/>
                  </a:solidFill>
                  <a:cs typeface="Segoe UI Semilight" panose="020B0402040204020203" pitchFamily="34" charset="0"/>
                </a:rPr>
                <a:t>User Groups Worldwide</a:t>
              </a:r>
            </a:p>
          </p:txBody>
        </p:sp>
        <p:sp>
          <p:nvSpPr>
            <p:cNvPr id="1682" name="Text Placeholder 9">
              <a:extLst>
                <a:ext uri="{FF2B5EF4-FFF2-40B4-BE49-F238E27FC236}">
                  <a16:creationId xmlns:a16="http://schemas.microsoft.com/office/drawing/2014/main" id="{91C0D4EF-747F-984F-BE15-4CA4C1D402D4}"/>
                </a:ext>
              </a:extLst>
            </p:cNvPr>
            <p:cNvSpPr txBox="1">
              <a:spLocks/>
            </p:cNvSpPr>
            <p:nvPr/>
          </p:nvSpPr>
          <p:spPr>
            <a:xfrm>
              <a:off x="7559513" y="4646832"/>
              <a:ext cx="1227833" cy="923201"/>
            </a:xfrm>
            <a:prstGeom prst="rect">
              <a:avLst/>
            </a:prstGeom>
          </p:spPr>
          <p:txBody>
            <a:bodyPr wrap="none" lIns="0" tIns="0" rIns="0" b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defTabSz="932112">
                <a:lnSpc>
                  <a:spcPct val="100000"/>
                </a:lnSpc>
                <a:buNone/>
                <a:defRPr/>
              </a:pPr>
              <a:r>
                <a:rPr lang="en-US" sz="5998" spc="-50">
                  <a:ln w="3175">
                    <a:noFill/>
                  </a:ln>
                  <a:solidFill>
                    <a:srgbClr val="F2C811"/>
                  </a:solidFill>
                  <a:latin typeface="Segoe UI Semibold"/>
                  <a:cs typeface="Segoe UI" pitchFamily="34" charset="0"/>
                </a:rPr>
                <a:t>300+</a:t>
              </a:r>
            </a:p>
          </p:txBody>
        </p:sp>
      </p:grpSp>
      <p:cxnSp>
        <p:nvCxnSpPr>
          <p:cNvPr id="1683" name="Straight Connector 1682">
            <a:extLst>
              <a:ext uri="{FF2B5EF4-FFF2-40B4-BE49-F238E27FC236}">
                <a16:creationId xmlns:a16="http://schemas.microsoft.com/office/drawing/2014/main" id="{73F00934-0750-C643-BAE8-21CE19B73429}"/>
              </a:ext>
            </a:extLst>
          </p:cNvPr>
          <p:cNvCxnSpPr>
            <a:cxnSpLocks/>
          </p:cNvCxnSpPr>
          <p:nvPr/>
        </p:nvCxnSpPr>
        <p:spPr>
          <a:xfrm flipH="1">
            <a:off x="5451897" y="4683504"/>
            <a:ext cx="406207" cy="137809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823714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84"/>
                                        </p:tgtEl>
                                        <p:attrNameLst>
                                          <p:attrName>style.visibility</p:attrName>
                                        </p:attrNameLst>
                                      </p:cBhvr>
                                      <p:to>
                                        <p:strVal val="visible"/>
                                      </p:to>
                                    </p:set>
                                    <p:animEffect transition="in" filter="fade">
                                      <p:cBhvr>
                                        <p:cTn id="7" dur="500"/>
                                        <p:tgtEl>
                                          <p:spTgt spid="168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466"/>
                                        </p:tgtEl>
                                        <p:attrNameLst>
                                          <p:attrName>style.visibility</p:attrName>
                                        </p:attrNameLst>
                                      </p:cBhvr>
                                      <p:to>
                                        <p:strVal val="visible"/>
                                      </p:to>
                                    </p:set>
                                    <p:animEffect transition="in" filter="fade">
                                      <p:cBhvr>
                                        <p:cTn id="11" dur="500"/>
                                        <p:tgtEl>
                                          <p:spTgt spid="1466"/>
                                        </p:tgtEl>
                                      </p:cBhvr>
                                    </p:animEffect>
                                  </p:childTnLst>
                                </p:cTn>
                              </p:par>
                              <p:par>
                                <p:cTn id="12" presetID="10" presetClass="entr" presetSubtype="0" fill="hold" nodeType="withEffect">
                                  <p:stCondLst>
                                    <p:cond delay="0"/>
                                  </p:stCondLst>
                                  <p:childTnLst>
                                    <p:set>
                                      <p:cBhvr>
                                        <p:cTn id="13" dur="1" fill="hold">
                                          <p:stCondLst>
                                            <p:cond delay="0"/>
                                          </p:stCondLst>
                                        </p:cTn>
                                        <p:tgtEl>
                                          <p:spTgt spid="1677"/>
                                        </p:tgtEl>
                                        <p:attrNameLst>
                                          <p:attrName>style.visibility</p:attrName>
                                        </p:attrNameLst>
                                      </p:cBhvr>
                                      <p:to>
                                        <p:strVal val="visible"/>
                                      </p:to>
                                    </p:set>
                                    <p:animEffect transition="in" filter="fade">
                                      <p:cBhvr>
                                        <p:cTn id="14" dur="750"/>
                                        <p:tgtEl>
                                          <p:spTgt spid="1677"/>
                                        </p:tgtEl>
                                      </p:cBhvr>
                                    </p:animEffect>
                                  </p:childTnLst>
                                </p:cTn>
                              </p:par>
                              <p:par>
                                <p:cTn id="15" presetID="42" presetClass="path" presetSubtype="0" decel="100000" fill="hold" nodeType="withEffect">
                                  <p:stCondLst>
                                    <p:cond delay="0"/>
                                  </p:stCondLst>
                                  <p:childTnLst>
                                    <p:animMotion origin="layout" path="M -4.79167E-6 -1.11111E-6 L -4.79167E-6 0.03773 " pathEditMode="relative" rAng="0" ptsTypes="AA">
                                      <p:cBhvr>
                                        <p:cTn id="16" dur="750" spd="-100000" fill="hold"/>
                                        <p:tgtEl>
                                          <p:spTgt spid="1677"/>
                                        </p:tgtEl>
                                        <p:attrNameLst>
                                          <p:attrName>ppt_x</p:attrName>
                                          <p:attrName>ppt_y</p:attrName>
                                        </p:attrNameLst>
                                      </p:cBhvr>
                                      <p:rCtr x="0" y="1875"/>
                                    </p:animMotion>
                                  </p:childTnLst>
                                </p:cTn>
                              </p:par>
                              <p:par>
                                <p:cTn id="17" presetID="10" presetClass="entr" presetSubtype="0" fill="hold" nodeType="withEffect">
                                  <p:stCondLst>
                                    <p:cond delay="0"/>
                                  </p:stCondLst>
                                  <p:childTnLst>
                                    <p:set>
                                      <p:cBhvr>
                                        <p:cTn id="18" dur="1" fill="hold">
                                          <p:stCondLst>
                                            <p:cond delay="0"/>
                                          </p:stCondLst>
                                        </p:cTn>
                                        <p:tgtEl>
                                          <p:spTgt spid="1683"/>
                                        </p:tgtEl>
                                        <p:attrNameLst>
                                          <p:attrName>style.visibility</p:attrName>
                                        </p:attrNameLst>
                                      </p:cBhvr>
                                      <p:to>
                                        <p:strVal val="visible"/>
                                      </p:to>
                                    </p:set>
                                    <p:animEffect transition="in" filter="fade">
                                      <p:cBhvr>
                                        <p:cTn id="19" dur="750"/>
                                        <p:tgtEl>
                                          <p:spTgt spid="1683"/>
                                        </p:tgtEl>
                                      </p:cBhvr>
                                    </p:animEffect>
                                  </p:childTnLst>
                                </p:cTn>
                              </p:par>
                              <p:par>
                                <p:cTn id="20" presetID="10" presetClass="entr" presetSubtype="0" fill="hold" nodeType="withEffect">
                                  <p:stCondLst>
                                    <p:cond delay="0"/>
                                  </p:stCondLst>
                                  <p:childTnLst>
                                    <p:set>
                                      <p:cBhvr>
                                        <p:cTn id="21" dur="1" fill="hold">
                                          <p:stCondLst>
                                            <p:cond delay="0"/>
                                          </p:stCondLst>
                                        </p:cTn>
                                        <p:tgtEl>
                                          <p:spTgt spid="1680"/>
                                        </p:tgtEl>
                                        <p:attrNameLst>
                                          <p:attrName>style.visibility</p:attrName>
                                        </p:attrNameLst>
                                      </p:cBhvr>
                                      <p:to>
                                        <p:strVal val="visible"/>
                                      </p:to>
                                    </p:set>
                                    <p:animEffect transition="in" filter="fade">
                                      <p:cBhvr>
                                        <p:cTn id="22" dur="750"/>
                                        <p:tgtEl>
                                          <p:spTgt spid="1680"/>
                                        </p:tgtEl>
                                      </p:cBhvr>
                                    </p:animEffect>
                                  </p:childTnLst>
                                </p:cTn>
                              </p:par>
                              <p:par>
                                <p:cTn id="23" presetID="42" presetClass="path" presetSubtype="0" decel="100000" fill="hold" nodeType="withEffect">
                                  <p:stCondLst>
                                    <p:cond delay="0"/>
                                  </p:stCondLst>
                                  <p:childTnLst>
                                    <p:animMotion origin="layout" path="M -3.125E-6 4.44444E-6 L -3.125E-6 0.03773 " pathEditMode="relative" rAng="0" ptsTypes="AA">
                                      <p:cBhvr>
                                        <p:cTn id="24" dur="750" spd="-100000" fill="hold"/>
                                        <p:tgtEl>
                                          <p:spTgt spid="1680"/>
                                        </p:tgtEl>
                                        <p:attrNameLst>
                                          <p:attrName>ppt_x</p:attrName>
                                          <p:attrName>ppt_y</p:attrName>
                                        </p:attrNameLst>
                                      </p:cBhvr>
                                      <p:rCtr x="0" y="187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8509" y="1333139"/>
            <a:ext cx="11237870" cy="1088591"/>
          </a:xfrm>
        </p:spPr>
        <p:txBody>
          <a:bodyPr/>
          <a:lstStyle/>
          <a:p>
            <a:r>
              <a:rPr lang="en-US" sz="2040" b="1"/>
              <a:t>P1 = 25GB </a:t>
            </a:r>
          </a:p>
          <a:p>
            <a:r>
              <a:rPr lang="en-US" sz="2040" b="1"/>
              <a:t>Model Size = 17 GB</a:t>
            </a:r>
          </a:p>
          <a:p>
            <a:r>
              <a:rPr lang="en-US" sz="2040" b="1"/>
              <a:t>Refresh Size ≈ 2.5 * Model Size</a:t>
            </a:r>
          </a:p>
        </p:txBody>
      </p:sp>
      <p:sp>
        <p:nvSpPr>
          <p:cNvPr id="7" name="Rectangle 6">
            <a:extLst>
              <a:ext uri="{FF2B5EF4-FFF2-40B4-BE49-F238E27FC236}">
                <a16:creationId xmlns:a16="http://schemas.microsoft.com/office/drawing/2014/main" id="{1E85CD01-95CA-47C9-985B-25C543E04654}"/>
              </a:ext>
            </a:extLst>
          </p:cNvPr>
          <p:cNvSpPr/>
          <p:nvPr/>
        </p:nvSpPr>
        <p:spPr bwMode="auto">
          <a:xfrm>
            <a:off x="1443379"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1</a:t>
            </a:r>
          </a:p>
        </p:txBody>
      </p:sp>
      <p:sp>
        <p:nvSpPr>
          <p:cNvPr id="10" name="Rectangle 9">
            <a:extLst>
              <a:ext uri="{FF2B5EF4-FFF2-40B4-BE49-F238E27FC236}">
                <a16:creationId xmlns:a16="http://schemas.microsoft.com/office/drawing/2014/main" id="{77C1B2CA-F04E-4767-91C7-569AEB5C309B}"/>
              </a:ext>
            </a:extLst>
          </p:cNvPr>
          <p:cNvSpPr/>
          <p:nvPr/>
        </p:nvSpPr>
        <p:spPr bwMode="auto">
          <a:xfrm>
            <a:off x="2405956"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2</a:t>
            </a:r>
          </a:p>
        </p:txBody>
      </p:sp>
      <p:sp>
        <p:nvSpPr>
          <p:cNvPr id="13" name="Rectangle 12">
            <a:extLst>
              <a:ext uri="{FF2B5EF4-FFF2-40B4-BE49-F238E27FC236}">
                <a16:creationId xmlns:a16="http://schemas.microsoft.com/office/drawing/2014/main" id="{4ACD3412-788F-49DC-98FD-19C625333BC6}"/>
              </a:ext>
            </a:extLst>
          </p:cNvPr>
          <p:cNvSpPr/>
          <p:nvPr/>
        </p:nvSpPr>
        <p:spPr bwMode="auto">
          <a:xfrm>
            <a:off x="7218843"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7</a:t>
            </a:r>
          </a:p>
        </p:txBody>
      </p:sp>
      <p:sp>
        <p:nvSpPr>
          <p:cNvPr id="15" name="Rectangle 14">
            <a:extLst>
              <a:ext uri="{FF2B5EF4-FFF2-40B4-BE49-F238E27FC236}">
                <a16:creationId xmlns:a16="http://schemas.microsoft.com/office/drawing/2014/main" id="{A88C60D1-2857-4CE6-98CC-DB7E014575E0}"/>
              </a:ext>
            </a:extLst>
          </p:cNvPr>
          <p:cNvSpPr/>
          <p:nvPr/>
        </p:nvSpPr>
        <p:spPr bwMode="auto">
          <a:xfrm>
            <a:off x="11069148"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1</a:t>
            </a:r>
          </a:p>
        </p:txBody>
      </p:sp>
      <p:sp>
        <p:nvSpPr>
          <p:cNvPr id="43" name="Rectangle 42">
            <a:extLst>
              <a:ext uri="{FF2B5EF4-FFF2-40B4-BE49-F238E27FC236}">
                <a16:creationId xmlns:a16="http://schemas.microsoft.com/office/drawing/2014/main" id="{86430280-6C99-4817-9C30-84EDAA337868}"/>
              </a:ext>
            </a:extLst>
          </p:cNvPr>
          <p:cNvSpPr/>
          <p:nvPr/>
        </p:nvSpPr>
        <p:spPr bwMode="auto">
          <a:xfrm>
            <a:off x="9143998"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9</a:t>
            </a:r>
          </a:p>
        </p:txBody>
      </p:sp>
      <p:sp>
        <p:nvSpPr>
          <p:cNvPr id="45" name="Rectangle 44">
            <a:extLst>
              <a:ext uri="{FF2B5EF4-FFF2-40B4-BE49-F238E27FC236}">
                <a16:creationId xmlns:a16="http://schemas.microsoft.com/office/drawing/2014/main" id="{72A87A1C-E46C-421B-A290-7E3583A3EDE8}"/>
              </a:ext>
            </a:extLst>
          </p:cNvPr>
          <p:cNvSpPr/>
          <p:nvPr/>
        </p:nvSpPr>
        <p:spPr bwMode="auto">
          <a:xfrm>
            <a:off x="5293688"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5</a:t>
            </a:r>
          </a:p>
        </p:txBody>
      </p:sp>
      <p:sp>
        <p:nvSpPr>
          <p:cNvPr id="47" name="Rectangle 46">
            <a:extLst>
              <a:ext uri="{FF2B5EF4-FFF2-40B4-BE49-F238E27FC236}">
                <a16:creationId xmlns:a16="http://schemas.microsoft.com/office/drawing/2014/main" id="{A8F045CA-A84F-41AF-B4C2-725B88D3F123}"/>
              </a:ext>
            </a:extLst>
          </p:cNvPr>
          <p:cNvSpPr/>
          <p:nvPr/>
        </p:nvSpPr>
        <p:spPr bwMode="auto">
          <a:xfrm>
            <a:off x="480801"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0</a:t>
            </a:r>
          </a:p>
        </p:txBody>
      </p:sp>
      <p:sp>
        <p:nvSpPr>
          <p:cNvPr id="49" name="Rectangle 48">
            <a:extLst>
              <a:ext uri="{FF2B5EF4-FFF2-40B4-BE49-F238E27FC236}">
                <a16:creationId xmlns:a16="http://schemas.microsoft.com/office/drawing/2014/main" id="{B54E62FD-79E6-436A-9AF9-E1A6BBB40300}"/>
              </a:ext>
            </a:extLst>
          </p:cNvPr>
          <p:cNvSpPr/>
          <p:nvPr/>
        </p:nvSpPr>
        <p:spPr bwMode="auto">
          <a:xfrm>
            <a:off x="3368533"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3</a:t>
            </a:r>
          </a:p>
        </p:txBody>
      </p:sp>
      <p:sp>
        <p:nvSpPr>
          <p:cNvPr id="51" name="Rectangle 50">
            <a:extLst>
              <a:ext uri="{FF2B5EF4-FFF2-40B4-BE49-F238E27FC236}">
                <a16:creationId xmlns:a16="http://schemas.microsoft.com/office/drawing/2014/main" id="{A174F806-BB61-4D02-BE1C-A3960C7060A4}"/>
              </a:ext>
            </a:extLst>
          </p:cNvPr>
          <p:cNvSpPr/>
          <p:nvPr/>
        </p:nvSpPr>
        <p:spPr bwMode="auto">
          <a:xfrm>
            <a:off x="4331111"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4</a:t>
            </a:r>
          </a:p>
        </p:txBody>
      </p:sp>
      <p:sp>
        <p:nvSpPr>
          <p:cNvPr id="53" name="Rectangle 52">
            <a:extLst>
              <a:ext uri="{FF2B5EF4-FFF2-40B4-BE49-F238E27FC236}">
                <a16:creationId xmlns:a16="http://schemas.microsoft.com/office/drawing/2014/main" id="{72FA6718-7BA0-42F8-A131-6583FD77A828}"/>
              </a:ext>
            </a:extLst>
          </p:cNvPr>
          <p:cNvSpPr/>
          <p:nvPr/>
        </p:nvSpPr>
        <p:spPr bwMode="auto">
          <a:xfrm>
            <a:off x="6256266"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6</a:t>
            </a:r>
          </a:p>
        </p:txBody>
      </p:sp>
      <p:sp>
        <p:nvSpPr>
          <p:cNvPr id="55" name="Rectangle 54">
            <a:extLst>
              <a:ext uri="{FF2B5EF4-FFF2-40B4-BE49-F238E27FC236}">
                <a16:creationId xmlns:a16="http://schemas.microsoft.com/office/drawing/2014/main" id="{7101FA97-BDA5-4733-AD32-5A5F6BA65A5E}"/>
              </a:ext>
            </a:extLst>
          </p:cNvPr>
          <p:cNvSpPr/>
          <p:nvPr/>
        </p:nvSpPr>
        <p:spPr bwMode="auto">
          <a:xfrm>
            <a:off x="8181420"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8</a:t>
            </a:r>
          </a:p>
        </p:txBody>
      </p:sp>
      <p:sp>
        <p:nvSpPr>
          <p:cNvPr id="57" name="Rectangle 56">
            <a:extLst>
              <a:ext uri="{FF2B5EF4-FFF2-40B4-BE49-F238E27FC236}">
                <a16:creationId xmlns:a16="http://schemas.microsoft.com/office/drawing/2014/main" id="{FAD1CF8A-7198-4FD3-BF11-2063BCEC5BA8}"/>
              </a:ext>
            </a:extLst>
          </p:cNvPr>
          <p:cNvSpPr/>
          <p:nvPr/>
        </p:nvSpPr>
        <p:spPr bwMode="auto">
          <a:xfrm>
            <a:off x="10106575"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0</a:t>
            </a:r>
          </a:p>
        </p:txBody>
      </p:sp>
      <p:sp>
        <p:nvSpPr>
          <p:cNvPr id="60" name="Arrow: Right 59">
            <a:extLst>
              <a:ext uri="{FF2B5EF4-FFF2-40B4-BE49-F238E27FC236}">
                <a16:creationId xmlns:a16="http://schemas.microsoft.com/office/drawing/2014/main" id="{7B6B0CBE-D9EF-4606-B4A1-19A59350F356}"/>
              </a:ext>
            </a:extLst>
          </p:cNvPr>
          <p:cNvSpPr/>
          <p:nvPr/>
        </p:nvSpPr>
        <p:spPr bwMode="auto">
          <a:xfrm>
            <a:off x="482789" y="4096122"/>
            <a:ext cx="11264615" cy="497992"/>
          </a:xfrm>
          <a:prstGeom prst="rightArrow">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1">
            <a:extLst>
              <a:ext uri="{FF2B5EF4-FFF2-40B4-BE49-F238E27FC236}">
                <a16:creationId xmlns:a16="http://schemas.microsoft.com/office/drawing/2014/main" id="{A0B0CD16-BC87-4AC0-AEF5-B6E30105BEBE}"/>
              </a:ext>
            </a:extLst>
          </p:cNvPr>
          <p:cNvSpPr txBox="1">
            <a:spLocks/>
          </p:cNvSpPr>
          <p:nvPr/>
        </p:nvSpPr>
        <p:spPr>
          <a:xfrm>
            <a:off x="509533" y="4931785"/>
            <a:ext cx="11237870" cy="57634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sz="3672" spc="0"/>
              <a:t>Load Partitions/Tables using XMLA endpoint</a:t>
            </a:r>
          </a:p>
        </p:txBody>
      </p:sp>
      <p:cxnSp>
        <p:nvCxnSpPr>
          <p:cNvPr id="11" name="Straight Connector 10">
            <a:extLst>
              <a:ext uri="{FF2B5EF4-FFF2-40B4-BE49-F238E27FC236}">
                <a16:creationId xmlns:a16="http://schemas.microsoft.com/office/drawing/2014/main" id="{6DE5783A-E20C-4677-AF51-FA7E152CB9A2}"/>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2" name="Title 1">
            <a:extLst>
              <a:ext uri="{FF2B5EF4-FFF2-40B4-BE49-F238E27FC236}">
                <a16:creationId xmlns:a16="http://schemas.microsoft.com/office/drawing/2014/main" id="{B89B5BCA-B02C-496F-B3B4-7EC34B922586}"/>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Loading Large Models</a:t>
            </a:r>
            <a:endParaRPr lang="en-US" sz="4080" spc="0">
              <a:solidFill>
                <a:srgbClr val="FFC000"/>
              </a:solidFill>
            </a:endParaRPr>
          </a:p>
        </p:txBody>
      </p:sp>
      <p:grpSp>
        <p:nvGrpSpPr>
          <p:cNvPr id="26" name="Group 25">
            <a:extLst>
              <a:ext uri="{FF2B5EF4-FFF2-40B4-BE49-F238E27FC236}">
                <a16:creationId xmlns:a16="http://schemas.microsoft.com/office/drawing/2014/main" id="{24554D04-33E8-4A56-A5E4-31B271AB09A5}"/>
              </a:ext>
            </a:extLst>
          </p:cNvPr>
          <p:cNvGrpSpPr/>
          <p:nvPr/>
        </p:nvGrpSpPr>
        <p:grpSpPr>
          <a:xfrm>
            <a:off x="11012963" y="1377069"/>
            <a:ext cx="852149" cy="552029"/>
            <a:chOff x="11012963" y="1377069"/>
            <a:chExt cx="852149" cy="552029"/>
          </a:xfrm>
        </p:grpSpPr>
        <p:sp>
          <p:nvSpPr>
            <p:cNvPr id="27" name="Rectangle 26">
              <a:extLst>
                <a:ext uri="{FF2B5EF4-FFF2-40B4-BE49-F238E27FC236}">
                  <a16:creationId xmlns:a16="http://schemas.microsoft.com/office/drawing/2014/main" id="{6AAFE609-F87D-4A0F-99DD-60AD7A43C1E0}"/>
                </a:ext>
              </a:extLst>
            </p:cNvPr>
            <p:cNvSpPr/>
            <p:nvPr/>
          </p:nvSpPr>
          <p:spPr bwMode="auto">
            <a:xfrm>
              <a:off x="11012963" y="1377069"/>
              <a:ext cx="852149" cy="24609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1"/>
                  </a:solidFill>
                  <a:ea typeface="Segoe UI" pitchFamily="34" charset="0"/>
                  <a:cs typeface="Segoe UI" pitchFamily="34" charset="0"/>
                </a:rPr>
                <a:t>Empty</a:t>
              </a:r>
            </a:p>
          </p:txBody>
        </p:sp>
        <p:sp>
          <p:nvSpPr>
            <p:cNvPr id="28" name="Rectangle 27">
              <a:extLst>
                <a:ext uri="{FF2B5EF4-FFF2-40B4-BE49-F238E27FC236}">
                  <a16:creationId xmlns:a16="http://schemas.microsoft.com/office/drawing/2014/main" id="{C4C852E7-9294-434C-98BE-4CE474486FDB}"/>
                </a:ext>
              </a:extLst>
            </p:cNvPr>
            <p:cNvSpPr/>
            <p:nvPr/>
          </p:nvSpPr>
          <p:spPr bwMode="auto">
            <a:xfrm>
              <a:off x="11012963" y="1683007"/>
              <a:ext cx="852149" cy="24609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071">
                  <a:solidFill>
                    <a:schemeClr val="tx1"/>
                  </a:solidFill>
                  <a:ea typeface="Segoe UI" pitchFamily="34" charset="0"/>
                  <a:cs typeface="Segoe UI" pitchFamily="34" charset="0"/>
                </a:rPr>
                <a:t>Loaded</a:t>
              </a:r>
            </a:p>
          </p:txBody>
        </p:sp>
      </p:grpSp>
    </p:spTree>
    <p:extLst>
      <p:ext uri="{BB962C8B-B14F-4D97-AF65-F5344CB8AC3E}">
        <p14:creationId xmlns:p14="http://schemas.microsoft.com/office/powerpoint/2010/main" val="37702213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8509" y="2093352"/>
            <a:ext cx="11237870" cy="2807820"/>
          </a:xfrm>
        </p:spPr>
        <p:txBody>
          <a:bodyPr/>
          <a:lstStyle/>
          <a:p>
            <a:r>
              <a:rPr lang="en-US" sz="3649">
                <a:ea typeface="Times New Roman" panose="02020603050405020304" pitchFamily="18" charset="0"/>
                <a:cs typeface="Segoe UI"/>
              </a:rPr>
              <a:t>DAX:</a:t>
            </a:r>
            <a:br>
              <a:rPr lang="en-US" sz="3649">
                <a:ea typeface="Times New Roman" panose="02020603050405020304" pitchFamily="18" charset="0"/>
                <a:cs typeface="Segoe UI"/>
              </a:rPr>
            </a:br>
            <a:r>
              <a:rPr lang="en-US" sz="3649">
                <a:latin typeface="+mn-lt"/>
                <a:ea typeface="Times New Roman" panose="02020603050405020304" pitchFamily="18" charset="0"/>
                <a:cs typeface="Segoe UI"/>
              </a:rPr>
              <a:t>Calculated Columns</a:t>
            </a:r>
            <a:br>
              <a:rPr lang="en-US" sz="3649">
                <a:latin typeface="+mn-lt"/>
                <a:ea typeface="Times New Roman" panose="02020603050405020304" pitchFamily="18" charset="0"/>
                <a:cs typeface="Segoe UI"/>
              </a:rPr>
            </a:br>
            <a:r>
              <a:rPr lang="en-US" sz="3649">
                <a:latin typeface="+mn-lt"/>
                <a:ea typeface="Times New Roman" panose="02020603050405020304" pitchFamily="18" charset="0"/>
                <a:cs typeface="Segoe UI"/>
              </a:rPr>
              <a:t>Iterator Functions</a:t>
            </a:r>
            <a:br>
              <a:rPr lang="en-US" sz="3649">
                <a:latin typeface="+mn-lt"/>
                <a:ea typeface="Times New Roman" panose="02020603050405020304" pitchFamily="18" charset="0"/>
                <a:cs typeface="Segoe UI"/>
              </a:rPr>
            </a:br>
            <a:r>
              <a:rPr lang="en-US" sz="3649">
                <a:latin typeface="+mn-lt"/>
                <a:ea typeface="Times New Roman" panose="02020603050405020304" pitchFamily="18" charset="0"/>
                <a:cs typeface="Segoe UI"/>
              </a:rPr>
              <a:t>DIVIDE</a:t>
            </a:r>
            <a:br>
              <a:rPr lang="en-US" sz="3649">
                <a:latin typeface="+mn-lt"/>
                <a:ea typeface="Times New Roman" panose="02020603050405020304" pitchFamily="18" charset="0"/>
                <a:cs typeface="Segoe UI"/>
              </a:rPr>
            </a:br>
            <a:r>
              <a:rPr lang="en-US" sz="3649">
                <a:latin typeface="+mn-lt"/>
                <a:ea typeface="Times New Roman" panose="02020603050405020304" pitchFamily="18" charset="0"/>
                <a:cs typeface="Segoe UI"/>
              </a:rPr>
              <a:t>Variables</a:t>
            </a:r>
            <a:endParaRPr lang="en-US" sz="4399">
              <a:cs typeface="Segoe UI"/>
            </a:endParaRPr>
          </a:p>
        </p:txBody>
      </p:sp>
    </p:spTree>
    <p:extLst>
      <p:ext uri="{BB962C8B-B14F-4D97-AF65-F5344CB8AC3E}">
        <p14:creationId xmlns:p14="http://schemas.microsoft.com/office/powerpoint/2010/main" val="2399305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FE023377-B92D-4F27-8F5F-A211AE3368C7}"/>
              </a:ext>
            </a:extLst>
          </p:cNvPr>
          <p:cNvSpPr txBox="1">
            <a:spLocks/>
          </p:cNvSpPr>
          <p:nvPr/>
        </p:nvSpPr>
        <p:spPr>
          <a:xfrm>
            <a:off x="990600" y="762000"/>
            <a:ext cx="10591800" cy="4530686"/>
          </a:xfrm>
          <a:prstGeom prst="rect">
            <a:avLst/>
          </a:prstGeom>
        </p:spPr>
        <p:txBody>
          <a:bodyPr vert="horz" wrap="square" lIns="0" tIns="0" rIns="0" bIns="0" rtlCol="0" anchor="t">
            <a:normAutofit fontScale="97500"/>
          </a:bodyPr>
          <a:lstStyle>
            <a:lvl1pPr algn="l" defTabSz="951304"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pPr defTabSz="951209">
              <a:defRPr/>
            </a:pPr>
            <a:r>
              <a:rPr lang="en-US">
                <a:gradFill flip="none" rotWithShape="1">
                  <a:gsLst>
                    <a:gs pos="82000">
                      <a:srgbClr val="000000"/>
                    </a:gs>
                    <a:gs pos="0">
                      <a:srgbClr val="000000"/>
                    </a:gs>
                  </a:gsLst>
                  <a:lin ang="2700000" scaled="1"/>
                  <a:tileRect/>
                </a:gradFill>
                <a:latin typeface="Segoe UI Semibold"/>
              </a:rPr>
              <a:t>What is DAX?</a:t>
            </a:r>
            <a:br>
              <a:rPr lang="en-US" sz="2700">
                <a:gradFill flip="none" rotWithShape="1">
                  <a:gsLst>
                    <a:gs pos="82000">
                      <a:srgbClr val="000000"/>
                    </a:gs>
                    <a:gs pos="0">
                      <a:srgbClr val="000000"/>
                    </a:gs>
                  </a:gsLst>
                  <a:lin ang="2700000" scaled="1"/>
                  <a:tileRect/>
                </a:gradFill>
                <a:latin typeface="Segoe UI Semibold"/>
              </a:rPr>
            </a:br>
            <a:br>
              <a:rPr lang="en-US" sz="2700">
                <a:gradFill flip="none" rotWithShape="1">
                  <a:gsLst>
                    <a:gs pos="82000">
                      <a:srgbClr val="000000"/>
                    </a:gs>
                    <a:gs pos="0">
                      <a:srgbClr val="000000"/>
                    </a:gs>
                  </a:gsLst>
                  <a:lin ang="2700000" scaled="1"/>
                  <a:tileRect/>
                </a:gradFill>
                <a:latin typeface="Segoe UI Semibold"/>
              </a:rPr>
            </a:br>
            <a:r>
              <a:rPr lang="en-US" sz="2700" b="1">
                <a:solidFill>
                  <a:srgbClr val="222222"/>
                </a:solidFill>
                <a:latin typeface="Segoe UI Semibold"/>
                <a:cs typeface="Leelawadee" panose="020B0502040204020203" pitchFamily="34" charset="-34"/>
              </a:rPr>
              <a:t>Data Analysis Expressions (DAX)</a:t>
            </a:r>
            <a:br>
              <a:rPr lang="en-US" sz="2700">
                <a:solidFill>
                  <a:srgbClr val="222222"/>
                </a:solidFill>
                <a:latin typeface="Leelawadee" panose="020B0502040204020203" pitchFamily="34" charset="-34"/>
                <a:cs typeface="Leelawadee" panose="020B0502040204020203" pitchFamily="34" charset="-34"/>
              </a:rPr>
            </a:br>
            <a:r>
              <a:rPr lang="en-US" sz="2700">
                <a:solidFill>
                  <a:srgbClr val="222222"/>
                </a:solidFill>
                <a:latin typeface="Segoe UI"/>
                <a:cs typeface="Leelawadee" panose="020B0502040204020203" pitchFamily="34" charset="-34"/>
              </a:rPr>
              <a:t>Is the native </a:t>
            </a:r>
            <a:r>
              <a:rPr lang="en-US" sz="2700" b="1">
                <a:solidFill>
                  <a:srgbClr val="222222"/>
                </a:solidFill>
                <a:latin typeface="Segoe UI"/>
                <a:cs typeface="Leelawadee" panose="020B0502040204020203" pitchFamily="34" charset="-34"/>
              </a:rPr>
              <a:t>formula</a:t>
            </a:r>
            <a:r>
              <a:rPr lang="en-US" sz="2700">
                <a:solidFill>
                  <a:srgbClr val="222222"/>
                </a:solidFill>
                <a:latin typeface="Segoe UI"/>
                <a:cs typeface="Leelawadee" panose="020B0502040204020203" pitchFamily="34" charset="-34"/>
              </a:rPr>
              <a:t> and </a:t>
            </a:r>
            <a:r>
              <a:rPr lang="en-US" sz="2700" b="1">
                <a:gradFill flip="none" rotWithShape="1">
                  <a:gsLst>
                    <a:gs pos="82000">
                      <a:srgbClr val="000000"/>
                    </a:gs>
                    <a:gs pos="0">
                      <a:srgbClr val="000000"/>
                    </a:gs>
                  </a:gsLst>
                  <a:lin ang="2700000" scaled="1"/>
                  <a:tileRect/>
                </a:gradFill>
                <a:latin typeface="Segoe UI"/>
                <a:cs typeface="Leelawadee" panose="020B0502040204020203" pitchFamily="34" charset="-34"/>
              </a:rPr>
              <a:t>query language </a:t>
            </a:r>
            <a:r>
              <a:rPr lang="en-US" sz="2700">
                <a:solidFill>
                  <a:srgbClr val="222222"/>
                </a:solidFill>
                <a:latin typeface="Segoe UI"/>
                <a:cs typeface="Leelawadee" panose="020B0502040204020203" pitchFamily="34" charset="-34"/>
              </a:rPr>
              <a:t>for </a:t>
            </a:r>
            <a:r>
              <a:rPr lang="en-US" sz="2700">
                <a:solidFill>
                  <a:srgbClr val="0B0080"/>
                </a:solidFill>
                <a:latin typeface="Segoe UI"/>
                <a:cs typeface="Leelawadee" panose="020B0502040204020203" pitchFamily="34" charset="-34"/>
                <a:hlinkClick r:id="rId2" tooltip="Microsoft"/>
              </a:rPr>
              <a:t>Microsoft</a:t>
            </a:r>
            <a:r>
              <a:rPr lang="en-US" sz="2700">
                <a:solidFill>
                  <a:srgbClr val="222222"/>
                </a:solidFill>
                <a:latin typeface="Segoe UI"/>
                <a:cs typeface="Leelawadee" panose="020B0502040204020203" pitchFamily="34" charset="-34"/>
              </a:rPr>
              <a:t> </a:t>
            </a:r>
            <a:r>
              <a:rPr lang="en-US" sz="2700">
                <a:solidFill>
                  <a:srgbClr val="0B0080"/>
                </a:solidFill>
                <a:latin typeface="Segoe UI"/>
                <a:cs typeface="Leelawadee" panose="020B0502040204020203" pitchFamily="34" charset="-34"/>
                <a:hlinkClick r:id="rId3" tooltip="PowerPivot"/>
              </a:rPr>
              <a:t>PowerPivot</a:t>
            </a:r>
            <a:r>
              <a:rPr lang="en-US" sz="2700">
                <a:solidFill>
                  <a:srgbClr val="0B0080"/>
                </a:solidFill>
                <a:latin typeface="Segoe UI"/>
                <a:cs typeface="Leelawadee" panose="020B0502040204020203" pitchFamily="34" charset="-34"/>
              </a:rPr>
              <a:t> </a:t>
            </a:r>
            <a:r>
              <a:rPr lang="en-US" sz="2700">
                <a:gradFill flip="none" rotWithShape="1">
                  <a:gsLst>
                    <a:gs pos="82000">
                      <a:srgbClr val="000000"/>
                    </a:gs>
                    <a:gs pos="0">
                      <a:srgbClr val="000000"/>
                    </a:gs>
                  </a:gsLst>
                  <a:lin ang="2700000" scaled="1"/>
                  <a:tileRect/>
                </a:gradFill>
                <a:latin typeface="Segoe UI"/>
                <a:cs typeface="Leelawadee" panose="020B0502040204020203" pitchFamily="34" charset="-34"/>
              </a:rPr>
              <a:t>for Excel</a:t>
            </a:r>
            <a:r>
              <a:rPr lang="en-US" sz="2700">
                <a:solidFill>
                  <a:srgbClr val="222222"/>
                </a:solidFill>
                <a:latin typeface="Segoe UI"/>
                <a:cs typeface="Leelawadee" panose="020B0502040204020203" pitchFamily="34" charset="-34"/>
              </a:rPr>
              <a:t>, </a:t>
            </a:r>
            <a:r>
              <a:rPr lang="en-US" sz="2700">
                <a:solidFill>
                  <a:srgbClr val="0B0080"/>
                </a:solidFill>
                <a:latin typeface="Segoe UI"/>
                <a:cs typeface="Leelawadee" panose="020B0502040204020203" pitchFamily="34" charset="-34"/>
                <a:hlinkClick r:id="rId4" tooltip="Power BI"/>
              </a:rPr>
              <a:t>Power BI</a:t>
            </a:r>
            <a:r>
              <a:rPr lang="en-US" sz="2700">
                <a:solidFill>
                  <a:srgbClr val="222222"/>
                </a:solidFill>
                <a:latin typeface="Segoe UI"/>
                <a:cs typeface="Leelawadee" panose="020B0502040204020203" pitchFamily="34" charset="-34"/>
              </a:rPr>
              <a:t> Desktop and </a:t>
            </a:r>
            <a:r>
              <a:rPr lang="en-US" sz="2700">
                <a:solidFill>
                  <a:srgbClr val="0B0080"/>
                </a:solidFill>
                <a:latin typeface="Segoe UI"/>
                <a:cs typeface="Leelawadee" panose="020B0502040204020203" pitchFamily="34" charset="-34"/>
                <a:hlinkClick r:id="rId5" tooltip="Microsoft Analysis Services"/>
              </a:rPr>
              <a:t>Analysis Services</a:t>
            </a:r>
            <a:r>
              <a:rPr lang="en-US" sz="2700">
                <a:solidFill>
                  <a:srgbClr val="222222"/>
                </a:solidFill>
                <a:latin typeface="Segoe UI"/>
                <a:cs typeface="Leelawadee" panose="020B0502040204020203" pitchFamily="34" charset="-34"/>
              </a:rPr>
              <a:t> (SSAS, AAS) Tabular models. DAX includes some of the functions that are used in </a:t>
            </a:r>
            <a:r>
              <a:rPr lang="en-US" sz="2700">
                <a:solidFill>
                  <a:srgbClr val="0B0080"/>
                </a:solidFill>
                <a:latin typeface="Segoe UI"/>
                <a:cs typeface="Leelawadee" panose="020B0502040204020203" pitchFamily="34" charset="-34"/>
                <a:hlinkClick r:id="rId6" tooltip="Microsoft Excel"/>
              </a:rPr>
              <a:t>Excel</a:t>
            </a:r>
            <a:r>
              <a:rPr lang="en-US" sz="2700">
                <a:solidFill>
                  <a:srgbClr val="222222"/>
                </a:solidFill>
                <a:latin typeface="Segoe UI"/>
                <a:cs typeface="Leelawadee" panose="020B0502040204020203" pitchFamily="34" charset="-34"/>
              </a:rPr>
              <a:t> formulas with additional functions that are designed to work with </a:t>
            </a:r>
            <a:r>
              <a:rPr lang="en-US" sz="2700">
                <a:solidFill>
                  <a:srgbClr val="0B0080"/>
                </a:solidFill>
                <a:latin typeface="Segoe UI"/>
                <a:cs typeface="Leelawadee" panose="020B0502040204020203" pitchFamily="34" charset="-34"/>
                <a:hlinkClick r:id="rId7" tooltip="Relational model"/>
              </a:rPr>
              <a:t>relational data</a:t>
            </a:r>
            <a:r>
              <a:rPr lang="en-US" sz="2700">
                <a:solidFill>
                  <a:srgbClr val="222222"/>
                </a:solidFill>
                <a:latin typeface="Segoe UI"/>
                <a:cs typeface="Leelawadee" panose="020B0502040204020203" pitchFamily="34" charset="-34"/>
              </a:rPr>
              <a:t> and perform dynamic </a:t>
            </a:r>
            <a:r>
              <a:rPr lang="en-US" sz="2700">
                <a:solidFill>
                  <a:srgbClr val="0B0080"/>
                </a:solidFill>
                <a:latin typeface="Segoe UI"/>
                <a:cs typeface="Leelawadee" panose="020B0502040204020203" pitchFamily="34" charset="-34"/>
                <a:hlinkClick r:id="rId8" tooltip="Data aggregation"/>
              </a:rPr>
              <a:t>aggregation</a:t>
            </a:r>
            <a:r>
              <a:rPr lang="en-US" sz="2700">
                <a:solidFill>
                  <a:srgbClr val="222222"/>
                </a:solidFill>
                <a:latin typeface="Segoe UI"/>
                <a:cs typeface="Leelawadee" panose="020B0502040204020203" pitchFamily="34" charset="-34"/>
              </a:rPr>
              <a:t>.</a:t>
            </a:r>
            <a:br>
              <a:rPr lang="en-US" sz="2700">
                <a:solidFill>
                  <a:srgbClr val="222222"/>
                </a:solidFill>
                <a:latin typeface="Segoe UI"/>
                <a:cs typeface="Leelawadee" panose="020B0502040204020203" pitchFamily="34" charset="-34"/>
              </a:rPr>
            </a:br>
            <a:br>
              <a:rPr lang="en-US" sz="2700">
                <a:solidFill>
                  <a:srgbClr val="222222"/>
                </a:solidFill>
                <a:latin typeface="Segoe UI"/>
                <a:cs typeface="Leelawadee" panose="020B0502040204020203" pitchFamily="34" charset="-34"/>
              </a:rPr>
            </a:br>
            <a:r>
              <a:rPr lang="en-US" sz="2700">
                <a:gradFill flip="none" rotWithShape="1">
                  <a:gsLst>
                    <a:gs pos="82000">
                      <a:srgbClr val="000000"/>
                    </a:gs>
                    <a:gs pos="0">
                      <a:srgbClr val="000000"/>
                    </a:gs>
                  </a:gsLst>
                  <a:lin ang="2700000" scaled="1"/>
                  <a:tileRect/>
                </a:gradFill>
                <a:latin typeface="Segoe UI"/>
                <a:cs typeface="Leelawadee" panose="020B0502040204020203" pitchFamily="34" charset="-34"/>
              </a:rPr>
              <a:t>Stated more simply, DAX helps you create new information from data already in your model.</a:t>
            </a:r>
            <a:endParaRPr lang="en-US">
              <a:gradFill flip="none" rotWithShape="1">
                <a:gsLst>
                  <a:gs pos="82000">
                    <a:srgbClr val="000000"/>
                  </a:gs>
                  <a:gs pos="0">
                    <a:srgbClr val="000000"/>
                  </a:gs>
                </a:gsLst>
                <a:lin ang="2700000" scaled="1"/>
                <a:tileRect/>
              </a:gradFill>
              <a:latin typeface="Segoe UI"/>
            </a:endParaRPr>
          </a:p>
        </p:txBody>
      </p:sp>
    </p:spTree>
    <p:extLst>
      <p:ext uri="{BB962C8B-B14F-4D97-AF65-F5344CB8AC3E}">
        <p14:creationId xmlns:p14="http://schemas.microsoft.com/office/powerpoint/2010/main" val="213415237"/>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9DD31B25-22A8-4E8E-AA57-BE5104CA33D7}"/>
              </a:ext>
            </a:extLst>
          </p:cNvPr>
          <p:cNvGraphicFramePr>
            <a:graphicFrameLocks noGrp="1"/>
          </p:cNvGraphicFramePr>
          <p:nvPr/>
        </p:nvGraphicFramePr>
        <p:xfrm>
          <a:off x="411480" y="731520"/>
          <a:ext cx="9681061" cy="6217872"/>
        </p:xfrm>
        <a:graphic>
          <a:graphicData uri="http://schemas.openxmlformats.org/drawingml/2006/table">
            <a:tbl>
              <a:tblPr firstRow="1" bandRow="1">
                <a:tableStyleId>{2D5ABB26-0587-4C30-8999-92F81FD0307C}</a:tableStyleId>
              </a:tblPr>
              <a:tblGrid>
                <a:gridCol w="705389">
                  <a:extLst>
                    <a:ext uri="{9D8B030D-6E8A-4147-A177-3AD203B41FA5}">
                      <a16:colId xmlns:a16="http://schemas.microsoft.com/office/drawing/2014/main" val="2078347244"/>
                    </a:ext>
                  </a:extLst>
                </a:gridCol>
                <a:gridCol w="1417774">
                  <a:extLst>
                    <a:ext uri="{9D8B030D-6E8A-4147-A177-3AD203B41FA5}">
                      <a16:colId xmlns:a16="http://schemas.microsoft.com/office/drawing/2014/main" val="3481974625"/>
                    </a:ext>
                  </a:extLst>
                </a:gridCol>
                <a:gridCol w="7557898">
                  <a:extLst>
                    <a:ext uri="{9D8B030D-6E8A-4147-A177-3AD203B41FA5}">
                      <a16:colId xmlns:a16="http://schemas.microsoft.com/office/drawing/2014/main" val="764360164"/>
                    </a:ext>
                  </a:extLst>
                </a:gridCol>
              </a:tblGrid>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S</a:t>
                      </a:r>
                    </a:p>
                  </a:txBody>
                  <a:tcPr marL="91428" marR="91428" marT="45714" marB="45714">
                    <a:solidFill>
                      <a:srgbClr val="F2C811"/>
                    </a:solidFill>
                  </a:tcPr>
                </a:tc>
                <a:tc>
                  <a:txBody>
                    <a:bodyPr/>
                    <a:lstStyle/>
                    <a:p>
                      <a:r>
                        <a:rPr lang="en-US" sz="9600" err="1">
                          <a:solidFill>
                            <a:schemeClr val="tx1"/>
                          </a:solidFill>
                          <a:latin typeface="+mj-lt"/>
                        </a:rPr>
                        <a:t>imple</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127189946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Q</a:t>
                      </a:r>
                    </a:p>
                  </a:txBody>
                  <a:tcPr marL="91428" marR="91428" marT="45714" marB="45714">
                    <a:solidFill>
                      <a:srgbClr val="F2C811"/>
                    </a:solidFill>
                  </a:tcPr>
                </a:tc>
                <a:tc>
                  <a:txBody>
                    <a:bodyPr/>
                    <a:lstStyle/>
                    <a:p>
                      <a:r>
                        <a:rPr lang="en-US" sz="9600" err="1">
                          <a:solidFill>
                            <a:schemeClr val="tx1"/>
                          </a:solidFill>
                          <a:latin typeface="+mj-lt"/>
                        </a:rPr>
                        <a:t>uery</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483072485"/>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L</a:t>
                      </a:r>
                    </a:p>
                  </a:txBody>
                  <a:tcPr marL="91428" marR="91428" marT="45714" marB="45714">
                    <a:solidFill>
                      <a:srgbClr val="F2C811"/>
                    </a:solidFill>
                  </a:tcPr>
                </a:tc>
                <a:tc>
                  <a:txBody>
                    <a:bodyPr/>
                    <a:lstStyle/>
                    <a:p>
                      <a:r>
                        <a:rPr lang="en-US" sz="9600" err="1">
                          <a:solidFill>
                            <a:schemeClr val="tx1"/>
                          </a:solidFill>
                          <a:latin typeface="+mj-lt"/>
                        </a:rPr>
                        <a:t>anguage</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143123939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endParaRPr lang="en-US" sz="96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r>
                        <a:rPr lang="en-US" sz="4400">
                          <a:solidFill>
                            <a:srgbClr val="F2C811"/>
                          </a:solidFill>
                          <a:latin typeface="+mj-lt"/>
                        </a:rPr>
                        <a:t>Query Language</a:t>
                      </a:r>
                    </a:p>
                  </a:txBody>
                  <a:tcPr marL="91428" marR="91428" marT="45714" marB="45714"/>
                </a:tc>
                <a:extLst>
                  <a:ext uri="{0D108BD9-81ED-4DB2-BD59-A6C34878D82A}">
                    <a16:rowId xmlns:a16="http://schemas.microsoft.com/office/drawing/2014/main" val="3559013353"/>
                  </a:ext>
                </a:extLst>
              </a:tr>
            </a:tbl>
          </a:graphicData>
        </a:graphic>
      </p:graphicFrame>
    </p:spTree>
    <p:extLst>
      <p:ext uri="{BB962C8B-B14F-4D97-AF65-F5344CB8AC3E}">
        <p14:creationId xmlns:p14="http://schemas.microsoft.com/office/powerpoint/2010/main" val="3331753161"/>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9DD31B25-22A8-4E8E-AA57-BE5104CA33D7}"/>
              </a:ext>
            </a:extLst>
          </p:cNvPr>
          <p:cNvGraphicFramePr>
            <a:graphicFrameLocks noGrp="1"/>
          </p:cNvGraphicFramePr>
          <p:nvPr>
            <p:extLst>
              <p:ext uri="{D42A27DB-BD31-4B8C-83A1-F6EECF244321}">
                <p14:modId xmlns:p14="http://schemas.microsoft.com/office/powerpoint/2010/main" val="3276952645"/>
              </p:ext>
            </p:extLst>
          </p:nvPr>
        </p:nvGraphicFramePr>
        <p:xfrm>
          <a:off x="411480" y="731520"/>
          <a:ext cx="9681061" cy="6217872"/>
        </p:xfrm>
        <a:graphic>
          <a:graphicData uri="http://schemas.openxmlformats.org/drawingml/2006/table">
            <a:tbl>
              <a:tblPr firstRow="1" bandRow="1">
                <a:tableStyleId>{2D5ABB26-0587-4C30-8999-92F81FD0307C}</a:tableStyleId>
              </a:tblPr>
              <a:tblGrid>
                <a:gridCol w="705389">
                  <a:extLst>
                    <a:ext uri="{9D8B030D-6E8A-4147-A177-3AD203B41FA5}">
                      <a16:colId xmlns:a16="http://schemas.microsoft.com/office/drawing/2014/main" val="2078347244"/>
                    </a:ext>
                  </a:extLst>
                </a:gridCol>
                <a:gridCol w="1417774">
                  <a:extLst>
                    <a:ext uri="{9D8B030D-6E8A-4147-A177-3AD203B41FA5}">
                      <a16:colId xmlns:a16="http://schemas.microsoft.com/office/drawing/2014/main" val="3481974625"/>
                    </a:ext>
                  </a:extLst>
                </a:gridCol>
                <a:gridCol w="7557898">
                  <a:extLst>
                    <a:ext uri="{9D8B030D-6E8A-4147-A177-3AD203B41FA5}">
                      <a16:colId xmlns:a16="http://schemas.microsoft.com/office/drawing/2014/main" val="764360164"/>
                    </a:ext>
                  </a:extLst>
                </a:gridCol>
              </a:tblGrid>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D</a:t>
                      </a:r>
                    </a:p>
                  </a:txBody>
                  <a:tcPr marL="91428" marR="91428" marT="45714" marB="45714">
                    <a:solidFill>
                      <a:srgbClr val="F2C811"/>
                    </a:solidFill>
                  </a:tcPr>
                </a:tc>
                <a:tc>
                  <a:txBody>
                    <a:bodyPr/>
                    <a:lstStyle/>
                    <a:p>
                      <a:r>
                        <a:rPr lang="en-US" sz="9600" err="1">
                          <a:solidFill>
                            <a:schemeClr val="tx1"/>
                          </a:solidFill>
                          <a:latin typeface="+mj-lt"/>
                        </a:rPr>
                        <a:t>ata</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127189946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A</a:t>
                      </a:r>
                    </a:p>
                  </a:txBody>
                  <a:tcPr marL="91428" marR="91428" marT="45714" marB="45714">
                    <a:solidFill>
                      <a:srgbClr val="F2C811"/>
                    </a:solidFill>
                  </a:tcPr>
                </a:tc>
                <a:tc>
                  <a:txBody>
                    <a:bodyPr/>
                    <a:lstStyle/>
                    <a:p>
                      <a:r>
                        <a:rPr lang="en-US" sz="9600" err="1">
                          <a:solidFill>
                            <a:schemeClr val="tx1"/>
                          </a:solidFill>
                          <a:latin typeface="+mj-lt"/>
                        </a:rPr>
                        <a:t>nalysis</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483072485"/>
                  </a:ext>
                </a:extLst>
              </a:tr>
              <a:tr h="1554282">
                <a:tc>
                  <a:txBody>
                    <a:bodyPr/>
                    <a:lstStyle/>
                    <a:p>
                      <a:pPr algn="ctr"/>
                      <a:endParaRPr lang="en-US" sz="9600" kern="1200">
                        <a:solidFill>
                          <a:schemeClr val="tx1"/>
                        </a:solidFill>
                        <a:latin typeface="+mj-lt"/>
                        <a:ea typeface="+mn-ea"/>
                        <a:cs typeface="+mn-cs"/>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X</a:t>
                      </a:r>
                    </a:p>
                  </a:txBody>
                  <a:tcPr marL="91428" marR="91428" marT="45714" marB="45714">
                    <a:solidFill>
                      <a:srgbClr val="F2C811"/>
                    </a:solidFill>
                  </a:tcPr>
                </a:tc>
                <a:tc>
                  <a:txBody>
                    <a:bodyPr/>
                    <a:lstStyle/>
                    <a:p>
                      <a:r>
                        <a:rPr lang="en-US" sz="9600">
                          <a:solidFill>
                            <a:schemeClr val="tx1"/>
                          </a:solidFill>
                          <a:latin typeface="+mj-lt"/>
                        </a:rPr>
                        <a:t>pressions</a:t>
                      </a:r>
                    </a:p>
                  </a:txBody>
                  <a:tcPr marL="91428" marR="91428" marT="45714" marB="45714"/>
                </a:tc>
                <a:extLst>
                  <a:ext uri="{0D108BD9-81ED-4DB2-BD59-A6C34878D82A}">
                    <a16:rowId xmlns:a16="http://schemas.microsoft.com/office/drawing/2014/main" val="143123939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endParaRPr lang="en-US" sz="96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r>
                        <a:rPr lang="en-US" sz="4400">
                          <a:solidFill>
                            <a:srgbClr val="F2C811"/>
                          </a:solidFill>
                          <a:latin typeface="+mj-lt"/>
                        </a:rPr>
                        <a:t>Formula Language</a:t>
                      </a:r>
                    </a:p>
                  </a:txBody>
                  <a:tcPr marL="91428" marR="91428" marT="45714" marB="45714"/>
                </a:tc>
                <a:extLst>
                  <a:ext uri="{0D108BD9-81ED-4DB2-BD59-A6C34878D82A}">
                    <a16:rowId xmlns:a16="http://schemas.microsoft.com/office/drawing/2014/main" val="3559013353"/>
                  </a:ext>
                </a:extLst>
              </a:tr>
            </a:tbl>
          </a:graphicData>
        </a:graphic>
      </p:graphicFrame>
    </p:spTree>
    <p:extLst>
      <p:ext uri="{BB962C8B-B14F-4D97-AF65-F5344CB8AC3E}">
        <p14:creationId xmlns:p14="http://schemas.microsoft.com/office/powerpoint/2010/main" val="1681216240"/>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9DD31B25-22A8-4E8E-AA57-BE5104CA33D7}"/>
              </a:ext>
            </a:extLst>
          </p:cNvPr>
          <p:cNvGraphicFramePr>
            <a:graphicFrameLocks noGrp="1"/>
          </p:cNvGraphicFramePr>
          <p:nvPr/>
        </p:nvGraphicFramePr>
        <p:xfrm>
          <a:off x="411480" y="731520"/>
          <a:ext cx="9681061" cy="6217872"/>
        </p:xfrm>
        <a:graphic>
          <a:graphicData uri="http://schemas.openxmlformats.org/drawingml/2006/table">
            <a:tbl>
              <a:tblPr firstRow="1" bandRow="1">
                <a:tableStyleId>{2D5ABB26-0587-4C30-8999-92F81FD0307C}</a:tableStyleId>
              </a:tblPr>
              <a:tblGrid>
                <a:gridCol w="705389">
                  <a:extLst>
                    <a:ext uri="{9D8B030D-6E8A-4147-A177-3AD203B41FA5}">
                      <a16:colId xmlns:a16="http://schemas.microsoft.com/office/drawing/2014/main" val="2078347244"/>
                    </a:ext>
                  </a:extLst>
                </a:gridCol>
                <a:gridCol w="1417774">
                  <a:extLst>
                    <a:ext uri="{9D8B030D-6E8A-4147-A177-3AD203B41FA5}">
                      <a16:colId xmlns:a16="http://schemas.microsoft.com/office/drawing/2014/main" val="3481974625"/>
                    </a:ext>
                  </a:extLst>
                </a:gridCol>
                <a:gridCol w="7557898">
                  <a:extLst>
                    <a:ext uri="{9D8B030D-6E8A-4147-A177-3AD203B41FA5}">
                      <a16:colId xmlns:a16="http://schemas.microsoft.com/office/drawing/2014/main" val="764360164"/>
                    </a:ext>
                  </a:extLst>
                </a:gridCol>
              </a:tblGrid>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D</a:t>
                      </a:r>
                    </a:p>
                  </a:txBody>
                  <a:tcPr marL="91428" marR="91428" marT="45714" marB="45714">
                    <a:solidFill>
                      <a:srgbClr val="F2C811"/>
                    </a:solidFill>
                  </a:tcPr>
                </a:tc>
                <a:tc>
                  <a:txBody>
                    <a:bodyPr/>
                    <a:lstStyle/>
                    <a:p>
                      <a:r>
                        <a:rPr lang="en-US" sz="9600" err="1">
                          <a:solidFill>
                            <a:schemeClr val="tx1"/>
                          </a:solidFill>
                          <a:latin typeface="+mj-lt"/>
                        </a:rPr>
                        <a:t>ata</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127189946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A</a:t>
                      </a:r>
                    </a:p>
                  </a:txBody>
                  <a:tcPr marL="91428" marR="91428" marT="45714" marB="45714">
                    <a:solidFill>
                      <a:srgbClr val="F2C811"/>
                    </a:solidFill>
                  </a:tcPr>
                </a:tc>
                <a:tc>
                  <a:txBody>
                    <a:bodyPr/>
                    <a:lstStyle/>
                    <a:p>
                      <a:r>
                        <a:rPr lang="en-US" sz="9600" err="1">
                          <a:solidFill>
                            <a:schemeClr val="tx1"/>
                          </a:solidFill>
                          <a:latin typeface="+mj-lt"/>
                        </a:rPr>
                        <a:t>nalysis</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483072485"/>
                  </a:ext>
                </a:extLst>
              </a:tr>
              <a:tr h="1554282">
                <a:tc>
                  <a:txBody>
                    <a:bodyPr/>
                    <a:lstStyle/>
                    <a:p>
                      <a:pPr algn="ctr"/>
                      <a:r>
                        <a:rPr lang="en-US" sz="9600" kern="1200">
                          <a:solidFill>
                            <a:schemeClr val="tx1"/>
                          </a:solidFill>
                          <a:latin typeface="+mj-lt"/>
                          <a:ea typeface="+mn-ea"/>
                          <a:cs typeface="+mn-cs"/>
                        </a:rPr>
                        <a:t>x</a:t>
                      </a: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X</a:t>
                      </a:r>
                    </a:p>
                  </a:txBody>
                  <a:tcPr marL="91428" marR="91428" marT="45714" marB="45714">
                    <a:solidFill>
                      <a:srgbClr val="F2C811"/>
                    </a:solidFill>
                  </a:tcPr>
                </a:tc>
                <a:tc>
                  <a:txBody>
                    <a:bodyPr/>
                    <a:lstStyle/>
                    <a:p>
                      <a:r>
                        <a:rPr lang="en-US" sz="9600">
                          <a:solidFill>
                            <a:schemeClr val="tx1"/>
                          </a:solidFill>
                          <a:latin typeface="+mj-lt"/>
                        </a:rPr>
                        <a:t>pressions</a:t>
                      </a:r>
                    </a:p>
                  </a:txBody>
                  <a:tcPr marL="91428" marR="91428" marT="45714" marB="45714"/>
                </a:tc>
                <a:extLst>
                  <a:ext uri="{0D108BD9-81ED-4DB2-BD59-A6C34878D82A}">
                    <a16:rowId xmlns:a16="http://schemas.microsoft.com/office/drawing/2014/main" val="143123939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endParaRPr lang="en-US" sz="96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r>
                        <a:rPr lang="en-US" sz="4400">
                          <a:solidFill>
                            <a:srgbClr val="F2C811"/>
                          </a:solidFill>
                          <a:latin typeface="+mj-lt"/>
                        </a:rPr>
                        <a:t>Formula Language</a:t>
                      </a:r>
                    </a:p>
                  </a:txBody>
                  <a:tcPr marL="91428" marR="91428" marT="45714" marB="45714"/>
                </a:tc>
                <a:extLst>
                  <a:ext uri="{0D108BD9-81ED-4DB2-BD59-A6C34878D82A}">
                    <a16:rowId xmlns:a16="http://schemas.microsoft.com/office/drawing/2014/main" val="3559013353"/>
                  </a:ext>
                </a:extLst>
              </a:tr>
            </a:tbl>
          </a:graphicData>
        </a:graphic>
      </p:graphicFrame>
    </p:spTree>
    <p:extLst>
      <p:ext uri="{BB962C8B-B14F-4D97-AF65-F5344CB8AC3E}">
        <p14:creationId xmlns:p14="http://schemas.microsoft.com/office/powerpoint/2010/main" val="2829312780"/>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Evaluation Context</a:t>
            </a:r>
            <a:endParaRPr lang="en-US">
              <a:gradFill>
                <a:gsLst>
                  <a:gs pos="1250">
                    <a:srgbClr val="000000"/>
                  </a:gs>
                  <a:gs pos="100000">
                    <a:srgbClr val="000000"/>
                  </a:gs>
                </a:gsLst>
                <a:lin ang="5400000" scaled="0"/>
              </a:gradFill>
            </a:endParaRPr>
          </a:p>
        </p:txBody>
      </p:sp>
      <p:pic>
        <p:nvPicPr>
          <p:cNvPr id="6" name="Picture 6" descr="Graphical user interface, text&#10;&#10;Description automatically generated">
            <a:extLst>
              <a:ext uri="{FF2B5EF4-FFF2-40B4-BE49-F238E27FC236}">
                <a16:creationId xmlns:a16="http://schemas.microsoft.com/office/drawing/2014/main" id="{376A7297-78C5-4806-A55C-BB5954D7E0FC}"/>
              </a:ext>
            </a:extLst>
          </p:cNvPr>
          <p:cNvPicPr>
            <a:picLocks noChangeAspect="1"/>
          </p:cNvPicPr>
          <p:nvPr/>
        </p:nvPicPr>
        <p:blipFill>
          <a:blip r:embed="rId2"/>
          <a:stretch>
            <a:fillRect/>
          </a:stretch>
        </p:blipFill>
        <p:spPr>
          <a:xfrm>
            <a:off x="1318869" y="1491170"/>
            <a:ext cx="3154049" cy="3928927"/>
          </a:xfrm>
          <a:prstGeom prst="rect">
            <a:avLst/>
          </a:prstGeom>
        </p:spPr>
      </p:pic>
      <p:sp>
        <p:nvSpPr>
          <p:cNvPr id="7" name="TextBox 6">
            <a:extLst>
              <a:ext uri="{FF2B5EF4-FFF2-40B4-BE49-F238E27FC236}">
                <a16:creationId xmlns:a16="http://schemas.microsoft.com/office/drawing/2014/main" id="{556D46E1-38D9-4BFE-95B6-9CC23533A443}"/>
              </a:ext>
            </a:extLst>
          </p:cNvPr>
          <p:cNvSpPr txBox="1"/>
          <p:nvPr/>
        </p:nvSpPr>
        <p:spPr>
          <a:xfrm>
            <a:off x="4962646" y="1894484"/>
            <a:ext cx="6019715" cy="58477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32649">
              <a:defRPr/>
            </a:pPr>
            <a:r>
              <a:rPr lang="en-US">
                <a:solidFill>
                  <a:srgbClr val="000000"/>
                </a:solidFill>
                <a:latin typeface="Segoe UI Semibold"/>
                <a:cs typeface="Segoe UI Semibold"/>
              </a:rPr>
              <a:t>Chapter 5: Understanding Evaluation Contexts in DAX</a:t>
            </a:r>
            <a:endParaRPr lang="en-US">
              <a:solidFill>
                <a:srgbClr val="000000"/>
              </a:solidFill>
              <a:latin typeface="Segoe UI"/>
            </a:endParaRPr>
          </a:p>
          <a:p>
            <a:pPr defTabSz="932649">
              <a:defRPr/>
            </a:pPr>
            <a:endParaRPr lang="en-US" sz="2000">
              <a:solidFill>
                <a:srgbClr val="000000"/>
              </a:solidFill>
              <a:latin typeface="Segoe UI Semibold"/>
              <a:cs typeface="Segoe UI"/>
            </a:endParaRPr>
          </a:p>
        </p:txBody>
      </p:sp>
      <p:sp>
        <p:nvSpPr>
          <p:cNvPr id="8" name="Text Placeholder 2">
            <a:extLst>
              <a:ext uri="{FF2B5EF4-FFF2-40B4-BE49-F238E27FC236}">
                <a16:creationId xmlns:a16="http://schemas.microsoft.com/office/drawing/2014/main" id="{99B4D250-081B-4E44-BE05-DF28C637B386}"/>
              </a:ext>
            </a:extLst>
          </p:cNvPr>
          <p:cNvSpPr txBox="1">
            <a:spLocks/>
          </p:cNvSpPr>
          <p:nvPr/>
        </p:nvSpPr>
        <p:spPr>
          <a:xfrm>
            <a:off x="4872635" y="2414398"/>
            <a:ext cx="6019551" cy="2162717"/>
          </a:xfrm>
        </p:spPr>
        <p:txBody>
          <a:bodyPr lIns="91428" tIns="45714" rIns="91428" bIns="45714" anchor="t">
            <a:normAutofit fontScale="70000" lnSpcReduction="20000"/>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649">
              <a:defRPr/>
            </a:pPr>
            <a:r>
              <a:rPr lang="en-US" sz="2000">
                <a:solidFill>
                  <a:srgbClr val="000000">
                    <a:lumMod val="50000"/>
                    <a:lumOff val="50000"/>
                  </a:srgbClr>
                </a:solidFill>
                <a:latin typeface="Segoe UI"/>
                <a:cs typeface="Segoe UI"/>
              </a:rPr>
              <a:t>Evaluation contexts play an important role with the usage of the function CALCULATE, which is probably </a:t>
            </a:r>
            <a:r>
              <a:rPr lang="en-US" sz="2200" b="1">
                <a:gradFill>
                  <a:gsLst>
                    <a:gs pos="2917">
                      <a:srgbClr val="505050"/>
                    </a:gs>
                    <a:gs pos="30000">
                      <a:srgbClr val="505050"/>
                    </a:gs>
                  </a:gsLst>
                  <a:lin ang="5400000" scaled="0"/>
                </a:gradFill>
                <a:latin typeface="Segoe UI"/>
              </a:rPr>
              <a:t>the most powerful and hard-to-learn function in DAX</a:t>
            </a:r>
            <a:r>
              <a:rPr lang="en-US" sz="2000">
                <a:solidFill>
                  <a:srgbClr val="000000">
                    <a:lumMod val="50000"/>
                    <a:lumOff val="50000"/>
                  </a:srgbClr>
                </a:solidFill>
                <a:latin typeface="Segoe UI"/>
                <a:cs typeface="Segoe UI"/>
              </a:rPr>
              <a:t>.</a:t>
            </a:r>
          </a:p>
          <a:p>
            <a:pPr defTabSz="932649">
              <a:defRPr/>
            </a:pPr>
            <a:endParaRPr lang="en-US" sz="2000">
              <a:solidFill>
                <a:srgbClr val="000000">
                  <a:lumMod val="50000"/>
                  <a:lumOff val="50000"/>
                </a:srgbClr>
              </a:solidFill>
              <a:latin typeface="Segoe UI"/>
              <a:cs typeface="Segoe UI"/>
            </a:endParaRPr>
          </a:p>
          <a:p>
            <a:pPr defTabSz="932649">
              <a:defRPr/>
            </a:pPr>
            <a:r>
              <a:rPr lang="en-US" sz="2000">
                <a:solidFill>
                  <a:srgbClr val="000000">
                    <a:lumMod val="50000"/>
                    <a:lumOff val="50000"/>
                  </a:srgbClr>
                </a:solidFill>
                <a:latin typeface="Segoe UI"/>
                <a:cs typeface="Segoe UI"/>
              </a:rPr>
              <a:t>Understanding </a:t>
            </a:r>
            <a:r>
              <a:rPr lang="en-US" sz="2100" b="1">
                <a:gradFill>
                  <a:gsLst>
                    <a:gs pos="2917">
                      <a:srgbClr val="505050"/>
                    </a:gs>
                    <a:gs pos="30000">
                      <a:srgbClr val="505050"/>
                    </a:gs>
                  </a:gsLst>
                  <a:lin ang="5400000" scaled="0"/>
                </a:gradFill>
                <a:latin typeface="Segoe UI"/>
              </a:rPr>
              <a:t>CALCULATE</a:t>
            </a:r>
            <a:r>
              <a:rPr lang="en-US" sz="2000">
                <a:solidFill>
                  <a:srgbClr val="000000">
                    <a:lumMod val="50000"/>
                    <a:lumOff val="50000"/>
                  </a:srgbClr>
                </a:solidFill>
                <a:latin typeface="Segoe UI"/>
                <a:cs typeface="Segoe UI"/>
              </a:rPr>
              <a:t> without having a solid background on evaluation context is problematic. On the other hand, understanding the importance of evaluation contexts without having ever tried to use </a:t>
            </a:r>
            <a:r>
              <a:rPr lang="en-US" sz="2100" b="1">
                <a:gradFill>
                  <a:gsLst>
                    <a:gs pos="2917">
                      <a:srgbClr val="505050"/>
                    </a:gs>
                    <a:gs pos="30000">
                      <a:srgbClr val="505050"/>
                    </a:gs>
                  </a:gsLst>
                  <a:lin ang="5400000" scaled="0"/>
                </a:gradFill>
                <a:latin typeface="Segoe UI"/>
              </a:rPr>
              <a:t>CALCULATE</a:t>
            </a:r>
            <a:r>
              <a:rPr lang="en-US" sz="2000">
                <a:solidFill>
                  <a:srgbClr val="000000">
                    <a:lumMod val="50000"/>
                    <a:lumOff val="50000"/>
                  </a:srgbClr>
                </a:solidFill>
                <a:latin typeface="Segoe UI"/>
                <a:cs typeface="Segoe UI"/>
              </a:rPr>
              <a:t> is nearly impossible. Thus, this chapter and the subsequent one are the two that, in our experience with the previous books we have written, are always marked up and have the corners of pages folded over.</a:t>
            </a:r>
            <a:endParaRPr lang="en-US">
              <a:solidFill>
                <a:srgbClr val="000000">
                  <a:lumMod val="50000"/>
                  <a:lumOff val="50000"/>
                </a:srgbClr>
              </a:solidFill>
              <a:latin typeface="Segoe UI"/>
              <a:cs typeface="Segoe UI"/>
            </a:endParaRPr>
          </a:p>
        </p:txBody>
      </p:sp>
    </p:spTree>
    <p:extLst>
      <p:ext uri="{BB962C8B-B14F-4D97-AF65-F5344CB8AC3E}">
        <p14:creationId xmlns:p14="http://schemas.microsoft.com/office/powerpoint/2010/main" val="25073325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Calculated Column</a:t>
            </a:r>
            <a:endParaRPr lang="en-US">
              <a:gradFill>
                <a:gsLst>
                  <a:gs pos="1250">
                    <a:srgbClr val="000000"/>
                  </a:gs>
                  <a:gs pos="100000">
                    <a:srgbClr val="000000"/>
                  </a:gs>
                </a:gsLst>
                <a:lin ang="5400000" scaled="0"/>
              </a:gradFill>
            </a:endParaRPr>
          </a:p>
        </p:txBody>
      </p:sp>
      <p:graphicFrame>
        <p:nvGraphicFramePr>
          <p:cNvPr id="2" name="Table 1">
            <a:extLst>
              <a:ext uri="{FF2B5EF4-FFF2-40B4-BE49-F238E27FC236}">
                <a16:creationId xmlns:a16="http://schemas.microsoft.com/office/drawing/2014/main" id="{C59241D8-C927-40AA-8057-F906CC8E8FEC}"/>
              </a:ext>
            </a:extLst>
          </p:cNvPr>
          <p:cNvGraphicFramePr>
            <a:graphicFrameLocks noGrp="1"/>
          </p:cNvGraphicFramePr>
          <p:nvPr/>
        </p:nvGraphicFramePr>
        <p:xfrm>
          <a:off x="855768"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4" name="Table 3">
            <a:extLst>
              <a:ext uri="{FF2B5EF4-FFF2-40B4-BE49-F238E27FC236}">
                <a16:creationId xmlns:a16="http://schemas.microsoft.com/office/drawing/2014/main" id="{783FEFBB-AE20-4AA8-8DDC-9860D933D70F}"/>
              </a:ext>
            </a:extLst>
          </p:cNvPr>
          <p:cNvGraphicFramePr>
            <a:graphicFrameLocks noGrp="1"/>
          </p:cNvGraphicFramePr>
          <p:nvPr/>
        </p:nvGraphicFramePr>
        <p:xfrm>
          <a:off x="3673007"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12" name="Table 11">
            <a:extLst>
              <a:ext uri="{FF2B5EF4-FFF2-40B4-BE49-F238E27FC236}">
                <a16:creationId xmlns:a16="http://schemas.microsoft.com/office/drawing/2014/main" id="{E94DF0CD-003B-44BE-80F9-8CA3243D16E5}"/>
              </a:ext>
            </a:extLst>
          </p:cNvPr>
          <p:cNvGraphicFramePr>
            <a:graphicFrameLocks noGrp="1"/>
          </p:cNvGraphicFramePr>
          <p:nvPr/>
        </p:nvGraphicFramePr>
        <p:xfrm>
          <a:off x="6490246"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14" name="Table 13">
            <a:extLst>
              <a:ext uri="{FF2B5EF4-FFF2-40B4-BE49-F238E27FC236}">
                <a16:creationId xmlns:a16="http://schemas.microsoft.com/office/drawing/2014/main" id="{37A3F2B7-4DC2-4512-BDB8-C67BB45DE8E3}"/>
              </a:ext>
            </a:extLst>
          </p:cNvPr>
          <p:cNvGraphicFramePr>
            <a:graphicFrameLocks noGrp="1"/>
          </p:cNvGraphicFramePr>
          <p:nvPr>
            <p:extLst>
              <p:ext uri="{D42A27DB-BD31-4B8C-83A1-F6EECF244321}">
                <p14:modId xmlns:p14="http://schemas.microsoft.com/office/powerpoint/2010/main" val="3582156839"/>
              </p:ext>
            </p:extLst>
          </p:nvPr>
        </p:nvGraphicFramePr>
        <p:xfrm>
          <a:off x="9307486"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pPr marL="0" marR="0" lvl="0" indent="0" algn="ctr" defTabSz="951209" rtl="0" eaLnBrk="1" fontAlgn="auto" latinLnBrk="0" hangingPunct="1">
                        <a:lnSpc>
                          <a:spcPct val="100000"/>
                        </a:lnSpc>
                        <a:spcBef>
                          <a:spcPts val="0"/>
                        </a:spcBef>
                        <a:spcAft>
                          <a:spcPts val="0"/>
                        </a:spcAft>
                        <a:buClrTx/>
                        <a:buSzTx/>
                        <a:buFontTx/>
                        <a:buNone/>
                        <a:tabLst/>
                        <a:defRPr/>
                      </a:pPr>
                      <a:r>
                        <a:rPr lang="en-US" sz="1900"/>
                        <a:t>Column1 + Column2</a:t>
                      </a:r>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sp>
        <p:nvSpPr>
          <p:cNvPr id="16" name="Rectangle 15">
            <a:extLst>
              <a:ext uri="{FF2B5EF4-FFF2-40B4-BE49-F238E27FC236}">
                <a16:creationId xmlns:a16="http://schemas.microsoft.com/office/drawing/2014/main" id="{3E33E5FD-DE4B-4693-BBD9-80DF5590D7CB}"/>
              </a:ext>
            </a:extLst>
          </p:cNvPr>
          <p:cNvSpPr/>
          <p:nvPr/>
        </p:nvSpPr>
        <p:spPr>
          <a:xfrm>
            <a:off x="9307484" y="1603546"/>
            <a:ext cx="2817240" cy="4706195"/>
          </a:xfrm>
          <a:prstGeom prst="rect">
            <a:avLst/>
          </a:prstGeom>
          <a:noFill/>
          <a:ln w="444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7" name="TextBox 6">
            <a:extLst>
              <a:ext uri="{FF2B5EF4-FFF2-40B4-BE49-F238E27FC236}">
                <a16:creationId xmlns:a16="http://schemas.microsoft.com/office/drawing/2014/main" id="{D3AD0D13-2709-4D11-AA7C-C0790244EA32}"/>
              </a:ext>
            </a:extLst>
          </p:cNvPr>
          <p:cNvSpPr txBox="1"/>
          <p:nvPr/>
        </p:nvSpPr>
        <p:spPr>
          <a:xfrm>
            <a:off x="9307125" y="1254633"/>
            <a:ext cx="2816879" cy="307777"/>
          </a:xfrm>
          <a:prstGeom prst="rect">
            <a:avLst/>
          </a:prstGeom>
          <a:noFill/>
        </p:spPr>
        <p:txBody>
          <a:bodyPr wrap="square" lIns="0" tIns="0" rIns="0" bIns="0" rtlCol="0">
            <a:spAutoFit/>
          </a:bodyPr>
          <a:lstStyle/>
          <a:p>
            <a:pPr algn="ctr"/>
            <a:r>
              <a:rPr lang="en-US" sz="2000"/>
              <a:t>expression</a:t>
            </a:r>
          </a:p>
        </p:txBody>
      </p:sp>
      <p:sp>
        <p:nvSpPr>
          <p:cNvPr id="8" name="TextBox 7">
            <a:extLst>
              <a:ext uri="{FF2B5EF4-FFF2-40B4-BE49-F238E27FC236}">
                <a16:creationId xmlns:a16="http://schemas.microsoft.com/office/drawing/2014/main" id="{67A5ABB0-FCFB-4FA1-9D29-34CB20137DCE}"/>
              </a:ext>
            </a:extLst>
          </p:cNvPr>
          <p:cNvSpPr txBox="1"/>
          <p:nvPr/>
        </p:nvSpPr>
        <p:spPr>
          <a:xfrm>
            <a:off x="9545452" y="3142827"/>
            <a:ext cx="2615623" cy="1107996"/>
          </a:xfrm>
          <a:prstGeom prst="rect">
            <a:avLst/>
          </a:prstGeom>
          <a:noFill/>
        </p:spPr>
        <p:txBody>
          <a:bodyPr wrap="square" lIns="0" tIns="0" rIns="0" bIns="0" rtlCol="0">
            <a:spAutoFit/>
          </a:bodyPr>
          <a:lstStyle/>
          <a:p>
            <a:pPr algn="l"/>
            <a:r>
              <a:rPr lang="en-US" b="1"/>
              <a:t>Performs this calculation for every row and stores it in memory</a:t>
            </a:r>
          </a:p>
        </p:txBody>
      </p:sp>
    </p:spTree>
    <p:extLst>
      <p:ext uri="{BB962C8B-B14F-4D97-AF65-F5344CB8AC3E}">
        <p14:creationId xmlns:p14="http://schemas.microsoft.com/office/powerpoint/2010/main" val="186000010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Computed Column</a:t>
            </a:r>
            <a:endParaRPr lang="en-US">
              <a:gradFill>
                <a:gsLst>
                  <a:gs pos="1250">
                    <a:srgbClr val="000000"/>
                  </a:gs>
                  <a:gs pos="100000">
                    <a:srgbClr val="000000"/>
                  </a:gs>
                </a:gsLst>
                <a:lin ang="5400000" scaled="0"/>
              </a:gradFill>
            </a:endParaRPr>
          </a:p>
        </p:txBody>
      </p:sp>
      <p:sp>
        <p:nvSpPr>
          <p:cNvPr id="7" name="TextBox 6">
            <a:extLst>
              <a:ext uri="{FF2B5EF4-FFF2-40B4-BE49-F238E27FC236}">
                <a16:creationId xmlns:a16="http://schemas.microsoft.com/office/drawing/2014/main" id="{D3AD0D13-2709-4D11-AA7C-C0790244EA32}"/>
              </a:ext>
            </a:extLst>
          </p:cNvPr>
          <p:cNvSpPr txBox="1"/>
          <p:nvPr/>
        </p:nvSpPr>
        <p:spPr>
          <a:xfrm>
            <a:off x="9307125" y="1254633"/>
            <a:ext cx="2816879" cy="307777"/>
          </a:xfrm>
          <a:prstGeom prst="rect">
            <a:avLst/>
          </a:prstGeom>
          <a:noFill/>
        </p:spPr>
        <p:txBody>
          <a:bodyPr wrap="square" lIns="0" tIns="0" rIns="0" bIns="0" rtlCol="0">
            <a:spAutoFit/>
          </a:bodyPr>
          <a:lstStyle/>
          <a:p>
            <a:pPr algn="ctr"/>
            <a:r>
              <a:rPr lang="en-US" sz="2000"/>
              <a:t>expression</a:t>
            </a:r>
          </a:p>
        </p:txBody>
      </p:sp>
      <p:graphicFrame>
        <p:nvGraphicFramePr>
          <p:cNvPr id="8" name="Table 7">
            <a:extLst>
              <a:ext uri="{FF2B5EF4-FFF2-40B4-BE49-F238E27FC236}">
                <a16:creationId xmlns:a16="http://schemas.microsoft.com/office/drawing/2014/main" id="{4B041B08-55E8-4583-9588-A024FCE70298}"/>
              </a:ext>
            </a:extLst>
          </p:cNvPr>
          <p:cNvGraphicFramePr>
            <a:graphicFrameLocks noGrp="1"/>
          </p:cNvGraphicFramePr>
          <p:nvPr/>
        </p:nvGraphicFramePr>
        <p:xfrm>
          <a:off x="855768"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9" name="Table 8">
            <a:extLst>
              <a:ext uri="{FF2B5EF4-FFF2-40B4-BE49-F238E27FC236}">
                <a16:creationId xmlns:a16="http://schemas.microsoft.com/office/drawing/2014/main" id="{39F0304D-0AFA-41B4-8B3C-87B87E9D6FBF}"/>
              </a:ext>
            </a:extLst>
          </p:cNvPr>
          <p:cNvGraphicFramePr>
            <a:graphicFrameLocks noGrp="1"/>
          </p:cNvGraphicFramePr>
          <p:nvPr/>
        </p:nvGraphicFramePr>
        <p:xfrm>
          <a:off x="3717136"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10" name="Table 9">
            <a:extLst>
              <a:ext uri="{FF2B5EF4-FFF2-40B4-BE49-F238E27FC236}">
                <a16:creationId xmlns:a16="http://schemas.microsoft.com/office/drawing/2014/main" id="{F0BBAB74-1045-4E12-9491-87845952DD2C}"/>
              </a:ext>
            </a:extLst>
          </p:cNvPr>
          <p:cNvGraphicFramePr>
            <a:graphicFrameLocks noGrp="1"/>
          </p:cNvGraphicFramePr>
          <p:nvPr/>
        </p:nvGraphicFramePr>
        <p:xfrm>
          <a:off x="6578503"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18" name="Table 17">
            <a:extLst>
              <a:ext uri="{FF2B5EF4-FFF2-40B4-BE49-F238E27FC236}">
                <a16:creationId xmlns:a16="http://schemas.microsoft.com/office/drawing/2014/main" id="{7AF7E93C-6868-432C-BBBD-23165FE53BC4}"/>
              </a:ext>
            </a:extLst>
          </p:cNvPr>
          <p:cNvGraphicFramePr>
            <a:graphicFrameLocks noGrp="1"/>
          </p:cNvGraphicFramePr>
          <p:nvPr>
            <p:extLst>
              <p:ext uri="{D42A27DB-BD31-4B8C-83A1-F6EECF244321}">
                <p14:modId xmlns:p14="http://schemas.microsoft.com/office/powerpoint/2010/main" val="2309271631"/>
              </p:ext>
            </p:extLst>
          </p:nvPr>
        </p:nvGraphicFramePr>
        <p:xfrm>
          <a:off x="9439871"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pPr marL="0" marR="0" lvl="0" indent="0" algn="ctr" defTabSz="951209" rtl="0" eaLnBrk="1" fontAlgn="auto" latinLnBrk="0" hangingPunct="1">
                        <a:lnSpc>
                          <a:spcPct val="100000"/>
                        </a:lnSpc>
                        <a:spcBef>
                          <a:spcPts val="0"/>
                        </a:spcBef>
                        <a:spcAft>
                          <a:spcPts val="0"/>
                        </a:spcAft>
                        <a:buClrTx/>
                        <a:buSzTx/>
                        <a:buFontTx/>
                        <a:buNone/>
                        <a:tabLst/>
                        <a:defRPr/>
                      </a:pPr>
                      <a:r>
                        <a:rPr lang="en-US" sz="1900"/>
                        <a:t>Column1 + Column2</a:t>
                      </a:r>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sp>
        <p:nvSpPr>
          <p:cNvPr id="20" name="TextBox 19">
            <a:extLst>
              <a:ext uri="{FF2B5EF4-FFF2-40B4-BE49-F238E27FC236}">
                <a16:creationId xmlns:a16="http://schemas.microsoft.com/office/drawing/2014/main" id="{741B4906-4B99-43AB-BE70-600F2AA25204}"/>
              </a:ext>
            </a:extLst>
          </p:cNvPr>
          <p:cNvSpPr txBox="1"/>
          <p:nvPr/>
        </p:nvSpPr>
        <p:spPr>
          <a:xfrm>
            <a:off x="9545452" y="3142827"/>
            <a:ext cx="2615623" cy="830997"/>
          </a:xfrm>
          <a:prstGeom prst="rect">
            <a:avLst/>
          </a:prstGeom>
          <a:noFill/>
        </p:spPr>
        <p:txBody>
          <a:bodyPr wrap="square" lIns="0" tIns="0" rIns="0" bIns="0" rtlCol="0">
            <a:spAutoFit/>
          </a:bodyPr>
          <a:lstStyle/>
          <a:p>
            <a:pPr algn="l"/>
            <a:r>
              <a:rPr lang="en-US" b="1"/>
              <a:t>Performs this calculation in the source system or Power Query</a:t>
            </a:r>
          </a:p>
        </p:txBody>
      </p:sp>
    </p:spTree>
    <p:extLst>
      <p:ext uri="{BB962C8B-B14F-4D97-AF65-F5344CB8AC3E}">
        <p14:creationId xmlns:p14="http://schemas.microsoft.com/office/powerpoint/2010/main" val="415166320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Design Decisions</a:t>
            </a:r>
            <a:endParaRPr lang="en-US">
              <a:gradFill>
                <a:gsLst>
                  <a:gs pos="1250">
                    <a:srgbClr val="000000"/>
                  </a:gs>
                  <a:gs pos="100000">
                    <a:srgbClr val="000000"/>
                  </a:gs>
                </a:gsLst>
                <a:lin ang="5400000" scaled="0"/>
              </a:gradFill>
            </a:endParaRPr>
          </a:p>
        </p:txBody>
      </p:sp>
      <p:sp>
        <p:nvSpPr>
          <p:cNvPr id="9" name="Content Placeholder 2">
            <a:extLst>
              <a:ext uri="{FF2B5EF4-FFF2-40B4-BE49-F238E27FC236}">
                <a16:creationId xmlns:a16="http://schemas.microsoft.com/office/drawing/2014/main" id="{67B57A56-B78C-4BC9-A910-4C3A25EBBFC2}"/>
              </a:ext>
            </a:extLst>
          </p:cNvPr>
          <p:cNvSpPr>
            <a:spLocks noGrp="1"/>
          </p:cNvSpPr>
          <p:nvPr>
            <p:ph idx="1"/>
          </p:nvPr>
        </p:nvSpPr>
        <p:spPr>
          <a:xfrm>
            <a:off x="855768" y="1631427"/>
            <a:ext cx="10724938" cy="4663563"/>
          </a:xfrm>
        </p:spPr>
        <p:txBody>
          <a:bodyPr>
            <a:normAutofit/>
          </a:bodyPr>
          <a:lstStyle/>
          <a:p>
            <a:pPr marL="349689" indent="-349689">
              <a:buFont typeface="+mj-lt"/>
              <a:buAutoNum type="arabicPeriod"/>
            </a:pPr>
            <a:r>
              <a:rPr lang="en-US" sz="1836">
                <a:latin typeface="Segoe UI" panose="020B0502040204020203" pitchFamily="34" charset="0"/>
              </a:rPr>
              <a:t>The native columns of a table are processed all at once, and the compression of each column depends on the best sort order of the entire table heuristically found by the engine (if the table is larger than one million rows, this could happen in segments to reduce memory impact). </a:t>
            </a:r>
          </a:p>
          <a:p>
            <a:pPr marL="349689" indent="-349689">
              <a:buFont typeface="+mj-lt"/>
              <a:buAutoNum type="arabicPeriod"/>
            </a:pPr>
            <a:r>
              <a:rPr lang="en-US" sz="1836">
                <a:latin typeface="Segoe UI" panose="020B0502040204020203" pitchFamily="34" charset="0"/>
              </a:rPr>
              <a:t>Calculated columns do not participate in the search of the optimal sort order. Thus, the compression of a calculated</a:t>
            </a:r>
            <a:r>
              <a:rPr lang="en-US" sz="1836">
                <a:solidFill>
                  <a:srgbClr val="000000"/>
                </a:solidFill>
                <a:latin typeface="Segoe UI" panose="020B0502040204020203" pitchFamily="34" charset="0"/>
              </a:rPr>
              <a:t> column cannot take advantage of a different sort order of the table rows.</a:t>
            </a:r>
          </a:p>
          <a:p>
            <a:pPr marL="0" indent="0">
              <a:buNone/>
            </a:pPr>
            <a:endParaRPr lang="en-US" sz="1836">
              <a:solidFill>
                <a:srgbClr val="000000"/>
              </a:solidFill>
              <a:latin typeface="Segoe UI" panose="020B0502040204020203" pitchFamily="34" charset="0"/>
            </a:endParaRPr>
          </a:p>
          <a:p>
            <a:pPr marL="0" indent="0">
              <a:buNone/>
            </a:pPr>
            <a:r>
              <a:rPr lang="en-US" sz="1836">
                <a:solidFill>
                  <a:srgbClr val="000000"/>
                </a:solidFill>
                <a:latin typeface="Segoe UI" panose="020B0502040204020203" pitchFamily="34" charset="0"/>
              </a:rPr>
              <a:t>For these reasons, a calculated column has two disadvantages over native columns:</a:t>
            </a:r>
          </a:p>
          <a:p>
            <a:r>
              <a:rPr lang="en-US" sz="1836" b="1" u="sng">
                <a:solidFill>
                  <a:schemeClr val="tx1">
                    <a:lumMod val="50000"/>
                    <a:lumOff val="50000"/>
                  </a:schemeClr>
                </a:solidFill>
                <a:latin typeface="Segoe UI" panose="020B0502040204020203" pitchFamily="34" charset="0"/>
              </a:rPr>
              <a:t>It could increase processing time:</a:t>
            </a:r>
            <a:r>
              <a:rPr lang="en-US" sz="1836">
                <a:solidFill>
                  <a:schemeClr val="tx1">
                    <a:lumMod val="50000"/>
                    <a:lumOff val="50000"/>
                  </a:schemeClr>
                </a:solidFill>
                <a:latin typeface="Segoe UI" panose="020B0502040204020203" pitchFamily="34" charset="0"/>
              </a:rPr>
              <a:t> </a:t>
            </a:r>
            <a:r>
              <a:rPr lang="en-US" sz="1836">
                <a:solidFill>
                  <a:srgbClr val="000000"/>
                </a:solidFill>
                <a:latin typeface="Segoe UI" panose="020B0502040204020203" pitchFamily="34" charset="0"/>
              </a:rPr>
              <a:t>the evaluation of the DAX expression is sequential, and there could be limits in parallelism of the evaluation of multiple calculated columns.</a:t>
            </a:r>
          </a:p>
          <a:p>
            <a:r>
              <a:rPr lang="en-US" sz="1836" b="1" u="sng">
                <a:solidFill>
                  <a:schemeClr val="tx1">
                    <a:lumMod val="50000"/>
                    <a:lumOff val="50000"/>
                  </a:schemeClr>
                </a:solidFill>
                <a:latin typeface="Segoe UI" panose="020B0502040204020203" pitchFamily="34" charset="0"/>
              </a:rPr>
              <a:t>It could get a lower compression rate</a:t>
            </a:r>
            <a:r>
              <a:rPr lang="en-US" sz="1836">
                <a:solidFill>
                  <a:srgbClr val="F2C811"/>
                </a:solidFill>
                <a:latin typeface="Segoe UI" panose="020B0502040204020203" pitchFamily="34" charset="0"/>
              </a:rPr>
              <a:t>: </a:t>
            </a:r>
            <a:r>
              <a:rPr lang="en-US" sz="1836">
                <a:solidFill>
                  <a:srgbClr val="000000"/>
                </a:solidFill>
                <a:latin typeface="Segoe UI" panose="020B0502040204020203" pitchFamily="34" charset="0"/>
              </a:rPr>
              <a:t>a native column would participate in the sorting rows process that optimizes the compression rate, whereas a calculated column simply gets the sort order chosen by considering only the native columns of the same table.</a:t>
            </a:r>
          </a:p>
        </p:txBody>
      </p:sp>
      <p:sp>
        <p:nvSpPr>
          <p:cNvPr id="10" name="Rectangle 9">
            <a:extLst>
              <a:ext uri="{FF2B5EF4-FFF2-40B4-BE49-F238E27FC236}">
                <a16:creationId xmlns:a16="http://schemas.microsoft.com/office/drawing/2014/main" id="{E1DAAEB1-9691-4C0C-BEC3-6E9A29985589}"/>
              </a:ext>
            </a:extLst>
          </p:cNvPr>
          <p:cNvSpPr/>
          <p:nvPr/>
        </p:nvSpPr>
        <p:spPr>
          <a:xfrm>
            <a:off x="10609663" y="6294991"/>
            <a:ext cx="1665717" cy="478442"/>
          </a:xfrm>
          <a:prstGeom prst="rect">
            <a:avLst/>
          </a:prstGeom>
        </p:spPr>
        <p:txBody>
          <a:bodyPr wrap="none">
            <a:spAutoFit/>
          </a:bodyPr>
          <a:lstStyle/>
          <a:p>
            <a:pPr algn="r"/>
            <a:r>
              <a:rPr lang="en-US" sz="1224"/>
              <a:t>Source (</a:t>
            </a:r>
            <a:r>
              <a:rPr lang="en-US" sz="1224">
                <a:hlinkClick r:id="rId2"/>
              </a:rPr>
              <a:t>SQLBI</a:t>
            </a:r>
            <a:r>
              <a:rPr lang="en-US" sz="1224"/>
              <a:t>)</a:t>
            </a:r>
          </a:p>
          <a:p>
            <a:pPr algn="r"/>
            <a:r>
              <a:rPr lang="en-US" sz="1224"/>
              <a:t>Author: Marco Russo</a:t>
            </a:r>
          </a:p>
        </p:txBody>
      </p:sp>
    </p:spTree>
    <p:extLst>
      <p:ext uri="{BB962C8B-B14F-4D97-AF65-F5344CB8AC3E}">
        <p14:creationId xmlns:p14="http://schemas.microsoft.com/office/powerpoint/2010/main" val="23806131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9" name="文本框 8">
            <a:extLst>
              <a:ext uri="{FF2B5EF4-FFF2-40B4-BE49-F238E27FC236}">
                <a16:creationId xmlns:a16="http://schemas.microsoft.com/office/drawing/2014/main" id="{CBF48D9A-4A4D-440C-8998-EBA396A4975D}"/>
              </a:ext>
            </a:extLst>
          </p:cNvPr>
          <p:cNvSpPr txBox="1"/>
          <p:nvPr/>
        </p:nvSpPr>
        <p:spPr>
          <a:xfrm>
            <a:off x="3874941" y="130528"/>
            <a:ext cx="4685009" cy="764477"/>
          </a:xfrm>
          <a:prstGeom prst="rect">
            <a:avLst/>
          </a:prstGeom>
          <a:noFill/>
        </p:spPr>
        <p:txBody>
          <a:bodyPr wrap="square" lIns="93235" tIns="93235" rIns="93235" bIns="93235" rtlCol="0" anchor="ctr">
            <a:spAutoFit/>
          </a:bodyPr>
          <a:lstStyle/>
          <a:p>
            <a:pPr algn="ctr" defTabSz="932021" fontAlgn="base">
              <a:spcAft>
                <a:spcPct val="0"/>
              </a:spcAft>
              <a:defRPr/>
            </a:pPr>
            <a:r>
              <a:rPr lang="en-US" altLang="zh-CN" sz="3672" spc="-51">
                <a:ln w="3175">
                  <a:noFill/>
                </a:ln>
                <a:solidFill>
                  <a:srgbClr val="000000"/>
                </a:solidFill>
                <a:latin typeface="Segoe UI Semibold"/>
                <a:cs typeface="Segoe UI" pitchFamily="34" charset="0"/>
              </a:rPr>
              <a:t>Rapid innovation</a:t>
            </a:r>
          </a:p>
        </p:txBody>
      </p:sp>
      <p:sp>
        <p:nvSpPr>
          <p:cNvPr id="2" name="Rectangle 1">
            <a:extLst>
              <a:ext uri="{FF2B5EF4-FFF2-40B4-BE49-F238E27FC236}">
                <a16:creationId xmlns:a16="http://schemas.microsoft.com/office/drawing/2014/main" id="{4BB81B19-B17E-5E41-81CB-542F94D9D646}"/>
              </a:ext>
            </a:extLst>
          </p:cNvPr>
          <p:cNvSpPr/>
          <p:nvPr/>
        </p:nvSpPr>
        <p:spPr bwMode="auto">
          <a:xfrm>
            <a:off x="881" y="446"/>
            <a:ext cx="1631848" cy="6993632"/>
          </a:xfrm>
          <a:prstGeom prst="rect">
            <a:avLst/>
          </a:prstGeom>
          <a:gradFill>
            <a:gsLst>
              <a:gs pos="0">
                <a:schemeClr val="bg1"/>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sp>
        <p:nvSpPr>
          <p:cNvPr id="30" name="Rectangle 29">
            <a:extLst>
              <a:ext uri="{FF2B5EF4-FFF2-40B4-BE49-F238E27FC236}">
                <a16:creationId xmlns:a16="http://schemas.microsoft.com/office/drawing/2014/main" id="{6098BC5F-B8D5-914E-94CE-6EA909A86899}"/>
              </a:ext>
            </a:extLst>
          </p:cNvPr>
          <p:cNvSpPr/>
          <p:nvPr/>
        </p:nvSpPr>
        <p:spPr bwMode="auto">
          <a:xfrm flipH="1">
            <a:off x="10802159" y="446"/>
            <a:ext cx="1631848" cy="6993632"/>
          </a:xfrm>
          <a:prstGeom prst="rect">
            <a:avLst/>
          </a:prstGeom>
          <a:gradFill>
            <a:gsLst>
              <a:gs pos="0">
                <a:schemeClr val="bg1"/>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grpSp>
        <p:nvGrpSpPr>
          <p:cNvPr id="16" name="Group 15">
            <a:extLst>
              <a:ext uri="{FF2B5EF4-FFF2-40B4-BE49-F238E27FC236}">
                <a16:creationId xmlns:a16="http://schemas.microsoft.com/office/drawing/2014/main" id="{FD06D0D0-CC94-4294-854A-44A5F34BBC59}"/>
              </a:ext>
            </a:extLst>
          </p:cNvPr>
          <p:cNvGrpSpPr/>
          <p:nvPr/>
        </p:nvGrpSpPr>
        <p:grpSpPr>
          <a:xfrm>
            <a:off x="-32672006" y="870574"/>
            <a:ext cx="44976999" cy="6192714"/>
            <a:chOff x="-30410738" y="944194"/>
            <a:chExt cx="44104730" cy="6072615"/>
          </a:xfrm>
        </p:grpSpPr>
        <p:grpSp>
          <p:nvGrpSpPr>
            <p:cNvPr id="15" name="Group 14">
              <a:extLst>
                <a:ext uri="{FF2B5EF4-FFF2-40B4-BE49-F238E27FC236}">
                  <a16:creationId xmlns:a16="http://schemas.microsoft.com/office/drawing/2014/main" id="{33BA4603-93B7-4395-98F2-D22657B68763}"/>
                </a:ext>
              </a:extLst>
            </p:cNvPr>
            <p:cNvGrpSpPr/>
            <p:nvPr/>
          </p:nvGrpSpPr>
          <p:grpSpPr>
            <a:xfrm>
              <a:off x="-30410738" y="1242339"/>
              <a:ext cx="33835989" cy="5615316"/>
              <a:chOff x="-30410738" y="1242339"/>
              <a:chExt cx="33835989" cy="5615316"/>
            </a:xfrm>
          </p:grpSpPr>
          <p:sp>
            <p:nvSpPr>
              <p:cNvPr id="841" name="Rectangle 840">
                <a:extLst>
                  <a:ext uri="{FF2B5EF4-FFF2-40B4-BE49-F238E27FC236}">
                    <a16:creationId xmlns:a16="http://schemas.microsoft.com/office/drawing/2014/main" id="{931AA39E-F226-4B8A-B6B3-64236E6A7A5E}"/>
                  </a:ext>
                </a:extLst>
              </p:cNvPr>
              <p:cNvSpPr/>
              <p:nvPr/>
            </p:nvSpPr>
            <p:spPr bwMode="auto">
              <a:xfrm>
                <a:off x="-30410738" y="1242339"/>
                <a:ext cx="2296883" cy="5273748"/>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Hierarchical slicer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the new ribbon (preview)</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Title bar updates</a:t>
                </a:r>
              </a:p>
              <a:p>
                <a:pPr marL="184558" lvl="2" indent="-61519" defTabSz="950661">
                  <a:buSzPct val="101000"/>
                  <a:buFont typeface="STIXGeneral-Regular" pitchFamily="2" charset="2"/>
                  <a:buChar char="⎯"/>
                  <a:defRPr/>
                </a:pPr>
                <a:r>
                  <a:rPr lang="en-US" sz="612" err="1">
                    <a:solidFill>
                      <a:schemeClr val="tx1"/>
                    </a:solidFill>
                    <a:latin typeface="Segoe UI" panose="020B0502040204020203" pitchFamily="34" charset="0"/>
                    <a:cs typeface="Segoe UI" panose="020B0502040204020203" pitchFamily="34" charset="0"/>
                  </a:rPr>
                  <a:t>Keytips</a:t>
                </a:r>
                <a:endParaRPr lang="en-US" sz="612">
                  <a:solidFill>
                    <a:schemeClr val="tx1"/>
                  </a:solidFill>
                  <a:latin typeface="Segoe UI" panose="020B0502040204020203" pitchFamily="34" charset="0"/>
                  <a:cs typeface="Segoe UI" panose="020B0502040204020203" pitchFamily="34" charset="0"/>
                </a:endParaRP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Accessibility</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spcAft>
                    <a:spcPts val="102"/>
                  </a:spcAft>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ncremental refresh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DAX Functions</a:t>
                </a:r>
              </a:p>
              <a:p>
                <a:pPr marL="184558" lvl="2" indent="-61519" defTabSz="950661">
                  <a:buSzPct val="101000"/>
                  <a:buFont typeface="STIXGeneral-Regular" pitchFamily="2" charset="2"/>
                  <a:buChar char="⎯"/>
                  <a:defRPr/>
                </a:pPr>
                <a:r>
                  <a:rPr lang="en-US" sz="612" err="1">
                    <a:solidFill>
                      <a:schemeClr val="tx1"/>
                    </a:solidFill>
                    <a:latin typeface="Segoe UI" panose="020B0502040204020203" pitchFamily="34" charset="0"/>
                    <a:cs typeface="Segoe UI" panose="020B0502040204020203" pitchFamily="34" charset="0"/>
                  </a:rPr>
                  <a:t>FirstNonBlankValue</a:t>
                </a:r>
                <a:endParaRPr lang="en-US" sz="612">
                  <a:solidFill>
                    <a:schemeClr val="tx1"/>
                  </a:solidFill>
                  <a:latin typeface="Segoe UI" panose="020B0502040204020203" pitchFamily="34" charset="0"/>
                  <a:cs typeface="Segoe UI" panose="020B0502040204020203" pitchFamily="34" charset="0"/>
                </a:endParaRPr>
              </a:p>
              <a:p>
                <a:pPr marL="184558" lvl="2" indent="-61519" defTabSz="950661">
                  <a:buSzPct val="101000"/>
                  <a:buFont typeface="STIXGeneral-Regular" pitchFamily="2" charset="2"/>
                  <a:buChar char="⎯"/>
                  <a:defRPr/>
                </a:pPr>
                <a:r>
                  <a:rPr lang="en-US" sz="612" err="1">
                    <a:solidFill>
                      <a:schemeClr val="tx1"/>
                    </a:solidFill>
                    <a:latin typeface="Segoe UI" panose="020B0502040204020203" pitchFamily="34" charset="0"/>
                    <a:cs typeface="Segoe UI" panose="020B0502040204020203" pitchFamily="34" charset="0"/>
                  </a:rPr>
                  <a:t>LastNonBlankValue</a:t>
                </a:r>
                <a:endParaRPr lang="en-US"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spcAft>
                    <a:spcPts val="102"/>
                  </a:spcAft>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unnel and pyramid chart by </a:t>
                </a:r>
                <a:r>
                  <a:rPr lang="en-US" sz="714" err="1">
                    <a:solidFill>
                      <a:schemeClr val="tx1"/>
                    </a:solidFill>
                    <a:latin typeface="Segoe UI" panose="020B0502040204020203" pitchFamily="34" charset="0"/>
                    <a:cs typeface="Segoe UI" panose="020B0502040204020203" pitchFamily="34" charset="0"/>
                  </a:rPr>
                  <a:t>xViz</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OEE Dashboard by 3AG System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Organization chart by MAQ Softwar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I </a:t>
                </a:r>
                <a:r>
                  <a:rPr lang="en-US" sz="714" err="1">
                    <a:solidFill>
                      <a:schemeClr val="tx1"/>
                    </a:solidFill>
                    <a:latin typeface="Segoe UI" panose="020B0502040204020203" pitchFamily="34" charset="0"/>
                    <a:cs typeface="Segoe UI" panose="020B0502040204020203" pitchFamily="34" charset="0"/>
                  </a:rPr>
                  <a:t>VIZpack</a:t>
                </a:r>
                <a:r>
                  <a:rPr lang="en-US" sz="714">
                    <a:solidFill>
                      <a:schemeClr val="tx1"/>
                    </a:solidFill>
                    <a:latin typeface="Segoe UI" panose="020B0502040204020203" pitchFamily="34" charset="0"/>
                    <a:cs typeface="Segoe UI" panose="020B0502040204020203" pitchFamily="34" charset="0"/>
                  </a:rPr>
                  <a:t> by PQ Systems</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Histogram</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Individuals control chart</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Individuals and moving range control chart</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Multi-group individual chart</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X-bar control chart</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X-bar and range control chart</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P-chart</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U-chart</a:t>
                </a:r>
              </a:p>
              <a:p>
                <a:pPr marL="108469" lvl="1" indent="-108469" defTabSz="950661">
                  <a:spcBef>
                    <a:spcPts val="204"/>
                  </a:spcBef>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Zebra BI tables and charts</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spcAft>
                    <a:spcPts val="102"/>
                  </a:spcAft>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icrosoft 365 usage 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FL analytics by P3</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Acterys</a:t>
                </a:r>
                <a:r>
                  <a:rPr lang="en-US" sz="714">
                    <a:solidFill>
                      <a:schemeClr val="tx1"/>
                    </a:solidFill>
                    <a:latin typeface="Segoe UI" panose="020B0502040204020203" pitchFamily="34" charset="0"/>
                    <a:cs typeface="Segoe UI" panose="020B0502040204020203" pitchFamily="34" charset="0"/>
                  </a:rPr>
                  <a:t> for </a:t>
                </a:r>
                <a:r>
                  <a:rPr lang="en-US" sz="714" err="1">
                    <a:solidFill>
                      <a:schemeClr val="tx1"/>
                    </a:solidFill>
                    <a:latin typeface="Segoe UI" panose="020B0502040204020203" pitchFamily="34" charset="0"/>
                    <a:cs typeface="Segoe UI" panose="020B0502040204020203" pitchFamily="34" charset="0"/>
                  </a:rPr>
                  <a:t>Quickbooks</a:t>
                </a:r>
                <a:r>
                  <a:rPr lang="en-US" sz="714">
                    <a:solidFill>
                      <a:schemeClr val="tx1"/>
                    </a:solidFill>
                    <a:latin typeface="Segoe UI" panose="020B0502040204020203" pitchFamily="34" charset="0"/>
                    <a:cs typeface="Segoe UI" panose="020B0502040204020203" pitchFamily="34" charset="0"/>
                  </a:rPr>
                  <a:t>, Xero &amp; </a:t>
                </a:r>
                <a:r>
                  <a:rPr lang="en-US" sz="714" err="1">
                    <a:solidFill>
                      <a:schemeClr val="tx1"/>
                    </a:solidFill>
                    <a:latin typeface="Segoe UI" panose="020B0502040204020203" pitchFamily="34" charset="0"/>
                    <a:cs typeface="Segoe UI" panose="020B0502040204020203" pitchFamily="34" charset="0"/>
                  </a:rPr>
                  <a:t>WorkflowMax</a:t>
                </a:r>
                <a:endParaRPr lang="en-US" sz="714">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on-admin support for query diagnos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icroStrategy connector is now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HIR connector is now generally available</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Factset</a:t>
                </a:r>
                <a:r>
                  <a:rPr lang="en-US" sz="714">
                    <a:solidFill>
                      <a:schemeClr val="tx1"/>
                    </a:solidFill>
                    <a:latin typeface="Segoe UI" panose="020B0502040204020203" pitchFamily="34" charset="0"/>
                    <a:cs typeface="Segoe UI" panose="020B0502040204020203" pitchFamily="34" charset="0"/>
                  </a:rPr>
                  <a:t>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IBCO connector</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Jamf</a:t>
                </a:r>
                <a:r>
                  <a:rPr lang="en-US" sz="714">
                    <a:solidFill>
                      <a:schemeClr val="tx1"/>
                    </a:solidFill>
                    <a:latin typeface="Segoe UI" panose="020B0502040204020203" pitchFamily="34" charset="0"/>
                    <a:cs typeface="Segoe UI" panose="020B0502040204020203" pitchFamily="34" charset="0"/>
                  </a:rPr>
                  <a:t> Pro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sana connector</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report server January releas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d Premium Capacity Metrics app with health cent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mproved report usage metr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eatured content in Power BI home</a:t>
                </a:r>
              </a:p>
            </p:txBody>
          </p:sp>
          <p:sp>
            <p:nvSpPr>
              <p:cNvPr id="847" name="Rectangle 846">
                <a:extLst>
                  <a:ext uri="{FF2B5EF4-FFF2-40B4-BE49-F238E27FC236}">
                    <a16:creationId xmlns:a16="http://schemas.microsoft.com/office/drawing/2014/main" id="{8CE52DE5-998C-4865-B2E9-DB1CE6EAD41E}"/>
                  </a:ext>
                </a:extLst>
              </p:cNvPr>
              <p:cNvSpPr/>
              <p:nvPr/>
            </p:nvSpPr>
            <p:spPr bwMode="auto">
              <a:xfrm>
                <a:off x="-27972753" y="1242339"/>
                <a:ext cx="2296883" cy="4443393"/>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action types for butt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age navig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rill through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ulti-column sort for tabl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ual axis for line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ilter pane search</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decomposition tre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Bars per level formatting op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behavior of data bar length</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ribbon is now on by default</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DAX function: COALESCE</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Waterfall chart by </a:t>
                </a:r>
                <a:r>
                  <a:rPr lang="en-US" sz="714" err="1">
                    <a:solidFill>
                      <a:schemeClr val="tx1"/>
                    </a:solidFill>
                    <a:latin typeface="Segoe UI" panose="020B0502040204020203" pitchFamily="34" charset="0"/>
                    <a:cs typeface="Segoe UI" panose="020B0502040204020203" pitchFamily="34" charset="0"/>
                  </a:rPr>
                  <a:t>xViz</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ArcGIS Maps</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New connection options</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Enterprise support is now generally available</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Support for multiple reference layers</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New table of contents</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zure DevOps dashboard by Data Maru</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TeamsPower</a:t>
                </a:r>
                <a:r>
                  <a:rPr lang="en-US" sz="714">
                    <a:solidFill>
                      <a:schemeClr val="tx1"/>
                    </a:solidFill>
                    <a:latin typeface="Segoe UI" panose="020B0502040204020203" pitchFamily="34" charset="0"/>
                    <a:cs typeface="Segoe UI" panose="020B0502040204020203" pitchFamily="34" charset="0"/>
                  </a:rPr>
                  <a:t> by </a:t>
                </a:r>
                <a:r>
                  <a:rPr lang="en-US" sz="714" err="1">
                    <a:solidFill>
                      <a:schemeClr val="tx1"/>
                    </a:solidFill>
                    <a:latin typeface="Segoe UI" panose="020B0502040204020203" pitchFamily="34" charset="0"/>
                    <a:cs typeface="Segoe UI" panose="020B0502040204020203" pitchFamily="34" charset="0"/>
                  </a:rPr>
                  <a:t>Encamina</a:t>
                </a:r>
                <a:endParaRPr lang="en-US" sz="714">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Query diagnostics is now generally available</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Hive LLAP connector</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Cognite</a:t>
                </a:r>
                <a:r>
                  <a:rPr lang="en-US" sz="714">
                    <a:solidFill>
                      <a:schemeClr val="tx1"/>
                    </a:solidFill>
                    <a:latin typeface="Segoe UI" panose="020B0502040204020203" pitchFamily="34" charset="0"/>
                    <a:cs typeface="Segoe UI" panose="020B0502040204020203" pitchFamily="34" charset="0"/>
                  </a:rPr>
                  <a:t> connector</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nhanced dataset metadata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sing default system credentials for web prox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instructor-led administrator in a day training</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search experience for Power BI servic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mobile Interaction settings</a:t>
                </a:r>
              </a:p>
            </p:txBody>
          </p:sp>
          <p:sp>
            <p:nvSpPr>
              <p:cNvPr id="60" name="Rectangle 59">
                <a:extLst>
                  <a:ext uri="{FF2B5EF4-FFF2-40B4-BE49-F238E27FC236}">
                    <a16:creationId xmlns:a16="http://schemas.microsoft.com/office/drawing/2014/main" id="{04B0E66D-36C3-DC45-A1DD-4112C1F89CB8}"/>
                  </a:ext>
                </a:extLst>
              </p:cNvPr>
              <p:cNvSpPr/>
              <p:nvPr/>
            </p:nvSpPr>
            <p:spPr bwMode="auto">
              <a:xfrm>
                <a:off x="-25557249" y="1258022"/>
                <a:ext cx="2296884" cy="5202319"/>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matic page refresh for </a:t>
                </a:r>
                <a:r>
                  <a:rPr lang="en-US" sz="714" err="1">
                    <a:solidFill>
                      <a:schemeClr val="tx1"/>
                    </a:solidFill>
                    <a:latin typeface="Segoe UI" panose="020B0502040204020203" pitchFamily="34" charset="0"/>
                    <a:cs typeface="Segoe UI" panose="020B0502040204020203" pitchFamily="34" charset="0"/>
                  </a:rPr>
                  <a:t>DirectQuery</a:t>
                </a:r>
                <a:r>
                  <a:rPr lang="en-US" sz="714">
                    <a:solidFill>
                      <a:schemeClr val="tx1"/>
                    </a:solidFill>
                    <a:latin typeface="Segoe UI" panose="020B0502040204020203" pitchFamily="34" charset="0"/>
                    <a:cs typeface="Segoe UI" panose="020B0502040204020203" pitchFamily="34" charset="0"/>
                  </a:rPr>
                  <a:t> (preview)</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he new Q&amp;A visual</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Apps visual is now included by defaul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a:t>
                </a:r>
                <a:r>
                  <a:rPr lang="en-US" sz="714" err="1">
                    <a:solidFill>
                      <a:schemeClr val="tx1"/>
                    </a:solidFill>
                    <a:latin typeface="Segoe UI" panose="020B0502040204020203" pitchFamily="34" charset="0"/>
                    <a:cs typeface="Segoe UI" panose="020B0502040204020203" pitchFamily="34" charset="0"/>
                  </a:rPr>
                  <a:t>xViz</a:t>
                </a:r>
                <a:r>
                  <a:rPr lang="en-US" sz="714">
                    <a:solidFill>
                      <a:schemeClr val="tx1"/>
                    </a:solidFill>
                    <a:latin typeface="Segoe UI" panose="020B0502040204020203" pitchFamily="34" charset="0"/>
                    <a:cs typeface="Segoe UI" panose="020B0502040204020203" pitchFamily="34" charset="0"/>
                  </a:rPr>
                  <a:t> visual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Hierarchical Variance T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near Gaug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ag Cloud</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Sagra</a:t>
                </a:r>
                <a:r>
                  <a:rPr lang="en-US" sz="714">
                    <a:solidFill>
                      <a:schemeClr val="tx1"/>
                    </a:solidFill>
                    <a:latin typeface="Segoe UI" panose="020B0502040204020203" pitchFamily="34" charset="0"/>
                    <a:cs typeface="Segoe UI" panose="020B0502040204020203" pitchFamily="34" charset="0"/>
                  </a:rPr>
                  <a:t> </a:t>
                </a:r>
                <a:r>
                  <a:rPr lang="en-US" sz="714" err="1">
                    <a:solidFill>
                      <a:schemeClr val="tx1"/>
                    </a:solidFill>
                    <a:latin typeface="Segoe UI" panose="020B0502040204020203" pitchFamily="34" charset="0"/>
                    <a:cs typeface="Segoe UI" panose="020B0502040204020203" pitchFamily="34" charset="0"/>
                  </a:rPr>
                  <a:t>Emigo</a:t>
                </a:r>
                <a:r>
                  <a:rPr lang="en-US" sz="714">
                    <a:solidFill>
                      <a:schemeClr val="tx1"/>
                    </a:solidFill>
                    <a:latin typeface="Segoe UI" panose="020B0502040204020203" pitchFamily="34" charset="0"/>
                    <a:cs typeface="Segoe UI" panose="020B0502040204020203" pitchFamily="34" charset="0"/>
                  </a:rPr>
                  <a:t> connector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zure Cost Management connector updated</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Workplace Analytics connector</a:t>
                </a: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Query diagnos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rofiling enhancements</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roject Web App</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file format: .</a:t>
                </a:r>
                <a:r>
                  <a:rPr lang="en-US" sz="714" err="1">
                    <a:solidFill>
                      <a:schemeClr val="tx1"/>
                    </a:solidFill>
                    <a:latin typeface="Segoe UI" panose="020B0502040204020203" pitchFamily="34" charset="0"/>
                    <a:cs typeface="Segoe UI" panose="020B0502040204020203" pitchFamily="34" charset="0"/>
                  </a:rPr>
                  <a:t>pbids</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erformance improvements for modeling oper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app for Team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Premium Per User</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Look for Power BI mobile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eptember update for On-premises data gatewa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emplate apps update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oadmap updat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neage 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set impact analysi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flow certific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opy a visual as an Imag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look for workspac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ustom navigation for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hortcuts in Android app</a:t>
                </a:r>
              </a:p>
              <a:p>
                <a:pPr defTabSz="950661">
                  <a:spcBef>
                    <a:spcPts val="612"/>
                  </a:spcBef>
                  <a:spcAft>
                    <a:spcPts val="102"/>
                  </a:spcAft>
                  <a:defRPr/>
                </a:pPr>
                <a:endParaRPr lang="en-US" sz="714" b="1" cap="all">
                  <a:solidFill>
                    <a:schemeClr val="tx1"/>
                  </a:solidFill>
                  <a:latin typeface="Segoe UI"/>
                </a:endParaRPr>
              </a:p>
              <a:p>
                <a:pPr defTabSz="950661">
                  <a:spcBef>
                    <a:spcPts val="612"/>
                  </a:spcBef>
                  <a:spcAft>
                    <a:spcPts val="102"/>
                  </a:spcAft>
                  <a:defRPr/>
                </a:pPr>
                <a:endParaRPr lang="en-US" sz="714" b="1" cap="all">
                  <a:solidFill>
                    <a:schemeClr val="tx1"/>
                  </a:solidFill>
                  <a:latin typeface="Segoe UI"/>
                </a:endParaRPr>
              </a:p>
              <a:p>
                <a:pPr defTabSz="950661">
                  <a:spcBef>
                    <a:spcPts val="612"/>
                  </a:spcBef>
                  <a:spcAft>
                    <a:spcPts val="102"/>
                  </a:spcAft>
                  <a:defRPr/>
                </a:pPr>
                <a:endParaRPr lang="en-US" sz="714" b="1" cap="all">
                  <a:solidFill>
                    <a:schemeClr val="tx1"/>
                  </a:solidFill>
                  <a:latin typeface="Segoe UI"/>
                </a:endParaRPr>
              </a:p>
            </p:txBody>
          </p:sp>
          <p:sp>
            <p:nvSpPr>
              <p:cNvPr id="61" name="Rectangle 60">
                <a:extLst>
                  <a:ext uri="{FF2B5EF4-FFF2-40B4-BE49-F238E27FC236}">
                    <a16:creationId xmlns:a16="http://schemas.microsoft.com/office/drawing/2014/main" id="{7D5D4D83-5F98-4147-821A-DCD8E4762F04}"/>
                  </a:ext>
                </a:extLst>
              </p:cNvPr>
              <p:cNvSpPr/>
              <p:nvPr/>
            </p:nvSpPr>
            <p:spPr bwMode="auto">
              <a:xfrm>
                <a:off x="-23106271" y="1249812"/>
                <a:ext cx="2296884" cy="4987910"/>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nhancements to mobile layout authoring</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New phone emulator</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Updated visualization pane</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Support for overlaid visuals</a:t>
                </a:r>
              </a:p>
              <a:p>
                <a:pPr marL="108469" lvl="1" indent="-108469" defTabSz="950661">
                  <a:spcBef>
                    <a:spcPts val="204"/>
                  </a:spcBef>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matic page refresh is now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Hierarchical slicer is now generally available</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New options for expand/collapse icons</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Icons now scale with font size</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Ability to customize indentation for child items</a:t>
                </a:r>
              </a:p>
              <a:p>
                <a:pPr marL="184558" lvl="2" indent="-61519" defTabSz="950661">
                  <a:spcAft>
                    <a:spcPts val="102"/>
                  </a:spcAft>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Supported with AI visuals</a:t>
                </a:r>
              </a:p>
              <a:p>
                <a:pPr marL="108469" lvl="1" indent="-108469" defTabSz="950661">
                  <a:spcBef>
                    <a:spcPts val="204"/>
                  </a:spcBef>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odern ribbon is now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LS is now supported for Featured Tables in Excel’s Data Types gallery</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I insights are now generally available</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ne chart dot formatting op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adar chart by MAQ Software</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ValQ</a:t>
                </a:r>
                <a:r>
                  <a:rPr lang="en-US" sz="714">
                    <a:solidFill>
                      <a:schemeClr val="tx1"/>
                    </a:solidFill>
                    <a:latin typeface="Segoe UI" panose="020B0502040204020203" pitchFamily="34" charset="0"/>
                    <a:cs typeface="Segoe UI" panose="020B0502040204020203" pitchFamily="34" charset="0"/>
                  </a:rPr>
                  <a:t> for Modern Visual Plann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vanced Trellis by </a:t>
                </a:r>
                <a:r>
                  <a:rPr lang="en-US" sz="714" err="1">
                    <a:solidFill>
                      <a:schemeClr val="tx1"/>
                    </a:solidFill>
                    <a:latin typeface="Segoe UI" panose="020B0502040204020203" pitchFamily="34" charset="0"/>
                    <a:cs typeface="Segoe UI" panose="020B0502040204020203" pitchFamily="34" charset="0"/>
                  </a:rPr>
                  <a:t>xViz</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Gantt chart by </a:t>
                </a:r>
                <a:r>
                  <a:rPr lang="en-US" sz="714" err="1">
                    <a:solidFill>
                      <a:schemeClr val="tx1"/>
                    </a:solidFill>
                    <a:latin typeface="Segoe UI" panose="020B0502040204020203" pitchFamily="34" charset="0"/>
                    <a:cs typeface="Segoe UI" panose="020B0502040204020203" pitchFamily="34" charset="0"/>
                  </a:rPr>
                  <a:t>xViz</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Cards with States by </a:t>
                </a:r>
                <a:r>
                  <a:rPr lang="en-US" sz="714" err="1">
                    <a:solidFill>
                      <a:schemeClr val="tx1"/>
                    </a:solidFill>
                    <a:latin typeface="Segoe UI" panose="020B0502040204020203" pitchFamily="34" charset="0"/>
                    <a:cs typeface="Segoe UI" panose="020B0502040204020203" pitchFamily="34" charset="0"/>
                  </a:rPr>
                  <a:t>OKViz</a:t>
                </a:r>
                <a:endParaRPr lang="en-US" sz="714">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gile HR 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ber User Data Report</a:t>
                </a:r>
              </a:p>
              <a:p>
                <a:pPr defTabSz="950661">
                  <a:spcBef>
                    <a:spcPts val="612"/>
                  </a:spcBef>
                  <a:spcAft>
                    <a:spcPts val="102"/>
                  </a:spcAft>
                  <a:defRPr/>
                </a:pPr>
                <a:r>
                  <a:rPr lang="en-US" sz="714" b="1" cap="all">
                    <a:solidFill>
                      <a:schemeClr val="tx1"/>
                    </a:solidFill>
                    <a:latin typeface="Segoe UI"/>
                  </a:rPr>
                  <a:t>MODEL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odel view enabled for live connect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Model view</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alantir Foundry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nhanced connectivity for Snowflake</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Power BI trainings</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rotec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rk mode for iOS ap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emplate apps updat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mproved mobile authoring</a:t>
                </a:r>
              </a:p>
              <a:p>
                <a:pPr defTabSz="950661">
                  <a:spcBef>
                    <a:spcPts val="612"/>
                  </a:spcBef>
                  <a:spcAft>
                    <a:spcPts val="102"/>
                  </a:spcAft>
                  <a:defRPr/>
                </a:pPr>
                <a:endParaRPr lang="en-US" sz="714" b="1">
                  <a:solidFill>
                    <a:schemeClr val="tx1"/>
                  </a:solidFill>
                  <a:latin typeface="Segoe UI"/>
                </a:endParaRPr>
              </a:p>
            </p:txBody>
          </p:sp>
          <p:sp>
            <p:nvSpPr>
              <p:cNvPr id="62" name="Rectangle 61">
                <a:extLst>
                  <a:ext uri="{FF2B5EF4-FFF2-40B4-BE49-F238E27FC236}">
                    <a16:creationId xmlns:a16="http://schemas.microsoft.com/office/drawing/2014/main" id="{39116787-FD6C-494B-80B2-B6AFC447E168}"/>
                  </a:ext>
                </a:extLst>
              </p:cNvPr>
              <p:cNvSpPr/>
              <p:nvPr/>
            </p:nvSpPr>
            <p:spPr bwMode="auto">
              <a:xfrm>
                <a:off x="-20642050" y="1245929"/>
                <a:ext cx="2296884" cy="4802978"/>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Gradient legend</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bility to further customize slicer header tex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elative time filter is now generally available</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nhancements to Q&amp;A</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zure Maps visual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Multi-Axis Chart by xViz</a:t>
                </a:r>
              </a:p>
              <a:p>
                <a:pPr defTabSz="950661">
                  <a:spcBef>
                    <a:spcPts val="612"/>
                  </a:spcBef>
                  <a:spcAft>
                    <a:spcPts val="102"/>
                  </a:spcAft>
                  <a:defRPr/>
                </a:pPr>
                <a:r>
                  <a:rPr lang="en-US" sz="714" b="1" cap="all">
                    <a:solidFill>
                      <a:schemeClr val="tx1"/>
                    </a:solidFill>
                    <a:latin typeface="Segoe UI"/>
                  </a:rPr>
                  <a:t>MODEL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upport for Excel financial func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odel view enabled for live connect is now generally available</a:t>
                </a: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Global option to disable automatic type detection</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YouTube Analytics by MAQ Software</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aunch external tools from Power BI Desktop (preview)</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nk previews for Power BI in Microsoft Team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imely Premium capacity overload alert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ublic preview of Power BI deployment pipelin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emplate app for Power BI Premium Capacity Metrics ap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efresh summary for Premium capacity admi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age view for Paginated Report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oadmap update for Workspac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d mobile authoring in Power BI Deskto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d breadcrumbs in Power BI servic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ensitivity labels persist when a Power BI report is embedded in an ap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data protection GA</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abel inheritance upon creation of new conten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for Power BI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oadmap updates</a:t>
                </a:r>
              </a:p>
              <a:p>
                <a:pPr defTabSz="950661">
                  <a:spcBef>
                    <a:spcPts val="612"/>
                  </a:spcBef>
                  <a:spcAft>
                    <a:spcPts val="102"/>
                  </a:spcAft>
                  <a:defRPr/>
                </a:pPr>
                <a:endParaRPr lang="en-US" sz="714" b="1" cap="all">
                  <a:solidFill>
                    <a:schemeClr val="tx1"/>
                  </a:solidFill>
                  <a:latin typeface="Segoe UI"/>
                </a:endParaRPr>
              </a:p>
            </p:txBody>
          </p:sp>
          <p:sp>
            <p:nvSpPr>
              <p:cNvPr id="63" name="Rectangle 62">
                <a:extLst>
                  <a:ext uri="{FF2B5EF4-FFF2-40B4-BE49-F238E27FC236}">
                    <a16:creationId xmlns:a16="http://schemas.microsoft.com/office/drawing/2014/main" id="{E44CBA61-A7CF-3847-8BEC-51E96802D53C}"/>
                  </a:ext>
                </a:extLst>
              </p:cNvPr>
              <p:cNvSpPr/>
              <p:nvPr/>
            </p:nvSpPr>
            <p:spPr bwMode="auto">
              <a:xfrm>
                <a:off x="-18176563" y="1245929"/>
                <a:ext cx="2296884" cy="3724093"/>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erspectives support for Personalize visual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ectangular lasso select for data point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ded dynamic formatting support to more visuals</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irect Query support for Q&amp;A (preview)</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near Gauge by xViz</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vanced Pie &amp; Donut by xViz</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atings visual by TME A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oggle switch by TME A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rill down Pie PRO by ZoomChart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WISE RoadMa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ArcGIS Ma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xtending Admin capabilities for AppSource visuals</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gile CRM Analytics for Dynamics 365</a:t>
                </a: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ext/CSV By Example (preview)</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herwell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mation Anywhere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cterys connector</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ultiple data lakes support for Dataflow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d headers and navigation in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rotection updates</a:t>
                </a:r>
              </a:p>
              <a:p>
                <a:pPr defTabSz="950661">
                  <a:spcBef>
                    <a:spcPts val="612"/>
                  </a:spcBef>
                  <a:spcAft>
                    <a:spcPts val="102"/>
                  </a:spcAft>
                  <a:defRPr/>
                </a:pPr>
                <a:endParaRPr lang="en-US" sz="714" b="1" cap="all">
                  <a:solidFill>
                    <a:schemeClr val="tx1"/>
                  </a:solidFill>
                  <a:latin typeface="Segoe UI"/>
                </a:endParaRPr>
              </a:p>
            </p:txBody>
          </p:sp>
          <p:sp>
            <p:nvSpPr>
              <p:cNvPr id="64" name="Rectangle 63">
                <a:extLst>
                  <a:ext uri="{FF2B5EF4-FFF2-40B4-BE49-F238E27FC236}">
                    <a16:creationId xmlns:a16="http://schemas.microsoft.com/office/drawing/2014/main" id="{46B7A2D6-06F7-9E46-B049-26D2789EF04A}"/>
                  </a:ext>
                </a:extLst>
              </p:cNvPr>
              <p:cNvSpPr/>
              <p:nvPr/>
            </p:nvSpPr>
            <p:spPr bwMode="auto">
              <a:xfrm>
                <a:off x="-15730716" y="1249814"/>
                <a:ext cx="2316524" cy="5002649"/>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mart narrative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Q&amp;A now supports arithmetic operations</a:t>
                </a:r>
              </a:p>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oint rectangle select for additional chart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ded general visual option to maintain layer order </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earch for a workspace during publish</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otal labels for stacked visual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obile authoring enhancements</a:t>
                </a:r>
              </a:p>
              <a:p>
                <a:pPr defTabSz="950661">
                  <a:spcBef>
                    <a:spcPts val="612"/>
                  </a:spcBef>
                  <a:spcAft>
                    <a:spcPts val="102"/>
                  </a:spcAft>
                  <a:defRPr/>
                </a:pPr>
                <a:r>
                  <a:rPr lang="en-US" sz="714" b="1" cap="all">
                    <a:solidFill>
                      <a:schemeClr val="tx1"/>
                    </a:solidFill>
                    <a:latin typeface="Segoe UI"/>
                  </a:rPr>
                  <a:t>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mproved navigation tree (iOS and Android)</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hare from Power BI (iOS and Android)</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inch and zoom</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 play a slideshow on startup (Windows)</a:t>
                </a:r>
              </a:p>
              <a:p>
                <a:pPr defTabSz="950661">
                  <a:spcBef>
                    <a:spcPts val="612"/>
                  </a:spcBef>
                  <a:spcAft>
                    <a:spcPts val="102"/>
                  </a:spcAft>
                  <a:defRPr/>
                </a:pPr>
                <a:r>
                  <a:rPr lang="en-US" sz="714" b="1" cap="all">
                    <a:solidFill>
                      <a:schemeClr val="tx1"/>
                    </a:solidFill>
                    <a:latin typeface="Segoe UI"/>
                  </a:rPr>
                  <a:t>SERVICE</a:t>
                </a:r>
              </a:p>
              <a:p>
                <a:pPr defTabSz="950661">
                  <a:spcBef>
                    <a:spcPts val="612"/>
                  </a:spcBef>
                  <a:spcAft>
                    <a:spcPts val="102"/>
                  </a:spcAft>
                  <a:defRPr/>
                </a:pPr>
                <a:r>
                  <a:rPr lang="en-US" sz="714" b="1" cap="all">
                    <a:solidFill>
                      <a:schemeClr val="tx1"/>
                    </a:solidFill>
                    <a:latin typeface="Segoe UI"/>
                  </a:rPr>
                  <a:t>New capabilities in lineage 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xcel inherits the Power BI dataset’s sensitivity label when using a PivotTable connec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nalyze in Excel provides Excel file instead of .ODC</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eployment pipelines is now generally available</a:t>
                </a:r>
              </a:p>
              <a:p>
                <a:pPr defTabSz="950661">
                  <a:spcBef>
                    <a:spcPts val="612"/>
                  </a:spcBef>
                  <a:spcAft>
                    <a:spcPts val="102"/>
                  </a:spcAft>
                  <a:defRPr/>
                </a:pPr>
                <a:r>
                  <a:rPr lang="en-US" sz="714" b="1" cap="all">
                    <a:solidFill>
                      <a:schemeClr val="tx1"/>
                    </a:solidFill>
                    <a:latin typeface="Segoe UI"/>
                  </a:rPr>
                  <a:t>MODEL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nhanced Dataset Metadata</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erformance improvements to aggregation expressions involving columns of currency data type</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DS connector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zure Databrick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ariaDB</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Hexagon PPM Smart API</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Other data connectivity updates</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ollage by </a:t>
                </a:r>
                <a:r>
                  <a:rPr lang="en-US" sz="714" err="1">
                    <a:solidFill>
                      <a:schemeClr val="tx1"/>
                    </a:solidFill>
                    <a:latin typeface="Segoe UI" panose="020B0502040204020203" pitchFamily="34" charset="0"/>
                    <a:cs typeface="Segoe UI" panose="020B0502040204020203" pitchFamily="34" charset="0"/>
                  </a:rPr>
                  <a:t>CloudScope</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vanced Trellis / Small Multiples Chart by </a:t>
                </a:r>
                <a:r>
                  <a:rPr lang="en-US" sz="714" err="1">
                    <a:solidFill>
                      <a:schemeClr val="tx1"/>
                    </a:solidFill>
                    <a:latin typeface="Segoe UI" panose="020B0502040204020203" pitchFamily="34" charset="0"/>
                    <a:cs typeface="Segoe UI" panose="020B0502040204020203" pitchFamily="34" charset="0"/>
                  </a:rPr>
                  <a:t>xViz</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Waterfall Chart by </a:t>
                </a:r>
                <a:r>
                  <a:rPr lang="en-US" sz="714" err="1">
                    <a:solidFill>
                      <a:schemeClr val="tx1"/>
                    </a:solidFill>
                    <a:latin typeface="Segoe UI" panose="020B0502040204020203" pitchFamily="34" charset="0"/>
                    <a:cs typeface="Segoe UI" panose="020B0502040204020203" pitchFamily="34" charset="0"/>
                  </a:rPr>
                  <a:t>xViz</a:t>
                </a:r>
                <a:endParaRPr lang="en-US" sz="714">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ultichannel Attribution Dashboard</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Workplace Analytics Dashboard</a:t>
                </a:r>
              </a:p>
              <a:p>
                <a:pPr defTabSz="950661">
                  <a:spcBef>
                    <a:spcPts val="612"/>
                  </a:spcBef>
                  <a:spcAft>
                    <a:spcPts val="102"/>
                  </a:spcAft>
                  <a:defRPr/>
                </a:pPr>
                <a:endParaRPr lang="en-US" sz="714" b="1" cap="all">
                  <a:solidFill>
                    <a:schemeClr val="tx1"/>
                  </a:solidFill>
                  <a:latin typeface="Segoe UI"/>
                </a:endParaRPr>
              </a:p>
            </p:txBody>
          </p:sp>
          <p:sp>
            <p:nvSpPr>
              <p:cNvPr id="65" name="Rectangle 64">
                <a:extLst>
                  <a:ext uri="{FF2B5EF4-FFF2-40B4-BE49-F238E27FC236}">
                    <a16:creationId xmlns:a16="http://schemas.microsoft.com/office/drawing/2014/main" id="{3DD077FA-4D2F-594C-B442-61611401559F}"/>
                  </a:ext>
                </a:extLst>
              </p:cNvPr>
              <p:cNvSpPr/>
              <p:nvPr/>
            </p:nvSpPr>
            <p:spPr bwMode="auto">
              <a:xfrm>
                <a:off x="-13276934" y="1245929"/>
                <a:ext cx="2296884" cy="5215143"/>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anvas watermark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ersonalize visuals is now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oint rectangle select for Treemap</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pt-BR" sz="714">
                    <a:solidFill>
                      <a:schemeClr val="tx1"/>
                    </a:solidFill>
                    <a:latin typeface="Segoe UI" panose="020B0502040204020203" pitchFamily="34" charset="0"/>
                    <a:cs typeface="Segoe UI" panose="020B0502040204020203" pitchFamily="34" charset="0"/>
                  </a:rPr>
                  <a:t>Export data from Q&amp;A visual</a:t>
                </a:r>
              </a:p>
              <a:p>
                <a:pPr defTabSz="950661">
                  <a:spcBef>
                    <a:spcPts val="612"/>
                  </a:spcBef>
                  <a:spcAft>
                    <a:spcPts val="102"/>
                  </a:spcAft>
                  <a:defRPr/>
                </a:pPr>
                <a:r>
                  <a:rPr lang="en-US" sz="714" b="1" cap="all">
                    <a:solidFill>
                      <a:schemeClr val="tx1"/>
                    </a:solidFill>
                    <a:latin typeface="Segoe UI"/>
                  </a:rPr>
                  <a:t>MODELING</a:t>
                </a:r>
              </a:p>
              <a:p>
                <a:pPr defTabSz="950661">
                  <a:spcBef>
                    <a:spcPts val="612"/>
                  </a:spcBef>
                  <a:spcAft>
                    <a:spcPts val="102"/>
                  </a:spcAft>
                  <a:defRPr/>
                </a:pPr>
                <a:r>
                  <a:rPr lang="en-US" sz="714" b="1" cap="all">
                    <a:solidFill>
                      <a:schemeClr val="tx1"/>
                    </a:solidFill>
                    <a:latin typeface="Segoe UI"/>
                  </a:rPr>
                  <a:t>Performance improvements to IF and SWITCH functions</a:t>
                </a: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ynamic M Query Parameter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matic Table Detection from Excel and JSON files</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Broader geographical support for Power Platform Dataflows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ariaDB now supports DirectQuer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d SharePoint Online List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connectors (Spigit, eWay-CRM)</a:t>
                </a:r>
              </a:p>
              <a:p>
                <a:pPr defTabSz="950661">
                  <a:spcBef>
                    <a:spcPts val="612"/>
                  </a:spcBef>
                  <a:spcAft>
                    <a:spcPts val="102"/>
                  </a:spcAft>
                  <a:defRPr/>
                </a:pPr>
                <a:r>
                  <a:rPr lang="en-US" sz="714" b="1" cap="all">
                    <a:solidFill>
                      <a:schemeClr val="tx1"/>
                    </a:solidFill>
                    <a:latin typeface="Segoe UI"/>
                  </a:rPr>
                  <a:t>SERVIC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the ‘new look’ experience and release plan</a:t>
                </a:r>
              </a:p>
              <a:p>
                <a:pPr defTabSz="950661">
                  <a:spcBef>
                    <a:spcPts val="612"/>
                  </a:spcBef>
                  <a:spcAft>
                    <a:spcPts val="102"/>
                  </a:spcAft>
                  <a:defRPr/>
                </a:pPr>
                <a:r>
                  <a:rPr lang="en-US" sz="714" b="1" cap="all">
                    <a:solidFill>
                      <a:schemeClr val="tx1"/>
                    </a:solidFill>
                    <a:latin typeface="Segoe UI"/>
                  </a:rPr>
                  <a:t>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for HoloLens 2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matic page refresh is now supported on the Windows ap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upport for notch displays</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xtended admin capability featur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Zebra BI Charts and Tables (version 4.3)</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oadMap by ADWISE (version v1.5.0)</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ZoomCharts (version 1.6)</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Bullet Chart by xViz</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implified install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ind template apps from the Power BI Desktop</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xport data source to PBIDS in Power BI Deskto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con updat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esktop splash screen dismiss</a:t>
                </a:r>
              </a:p>
            </p:txBody>
          </p:sp>
          <p:sp>
            <p:nvSpPr>
              <p:cNvPr id="53" name="Rectangle 52">
                <a:extLst>
                  <a:ext uri="{FF2B5EF4-FFF2-40B4-BE49-F238E27FC236}">
                    <a16:creationId xmlns:a16="http://schemas.microsoft.com/office/drawing/2014/main" id="{BD79901D-056C-D244-A729-655F50DFC47C}"/>
                  </a:ext>
                </a:extLst>
              </p:cNvPr>
              <p:cNvSpPr/>
              <p:nvPr/>
            </p:nvSpPr>
            <p:spPr bwMode="auto">
              <a:xfrm>
                <a:off x="-10871657" y="1245929"/>
                <a:ext cx="2296884" cy="3604061"/>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Field List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Model View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pply all filters is now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Visual Zoom Slid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oint rectangle select extended to Map visual</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ertificate revocation check for web connec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aginated Reports Updat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rediting total labels for stacked visuals (Sept 2020)</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pt-BR" sz="714">
                    <a:solidFill>
                      <a:schemeClr val="tx1"/>
                    </a:solidFill>
                    <a:latin typeface="Segoe UI" panose="020B0502040204020203" pitchFamily="34" charset="0"/>
                    <a:cs typeface="Segoe UI" panose="020B0502040204020203" pitchFamily="34" charset="0"/>
                  </a:rPr>
                  <a:t>Anomaly Detection (Preview)</a:t>
                </a:r>
              </a:p>
              <a:p>
                <a:pPr marL="108469" lvl="1" indent="-108469" defTabSz="950661">
                  <a:buFont typeface="Arial" panose="020B0604020202020204" pitchFamily="34" charset="0"/>
                  <a:buChar char="•"/>
                  <a:defRPr/>
                </a:pPr>
                <a:r>
                  <a:rPr lang="pt-BR" sz="714">
                    <a:solidFill>
                      <a:schemeClr val="tx1"/>
                    </a:solidFill>
                    <a:latin typeface="Segoe UI" panose="020B0502040204020203" pitchFamily="34" charset="0"/>
                    <a:cs typeface="Segoe UI" panose="020B0502040204020203" pitchFamily="34" charset="0"/>
                  </a:rPr>
                  <a:t>Q&amp;A now supports partial matching data values</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Zebra BI 4.4</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Visual by </a:t>
                </a:r>
                <a:r>
                  <a:rPr lang="en-US" sz="714" err="1">
                    <a:solidFill>
                      <a:schemeClr val="tx1"/>
                    </a:solidFill>
                    <a:latin typeface="Segoe UI" panose="020B0502040204020203" pitchFamily="34" charset="0"/>
                    <a:cs typeface="Segoe UI" panose="020B0502040204020203" pitchFamily="34" charset="0"/>
                  </a:rPr>
                  <a:t>ZoomCharts</a:t>
                </a:r>
                <a:r>
                  <a:rPr lang="en-US" sz="714">
                    <a:solidFill>
                      <a:schemeClr val="tx1"/>
                    </a:solidFill>
                    <a:latin typeface="Segoe UI" panose="020B0502040204020203" pitchFamily="34" charset="0"/>
                    <a:cs typeface="Segoe UI" panose="020B0502040204020203" pitchFamily="34" charset="0"/>
                  </a:rPr>
                  <a:t>: Drill Down Map PRO</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xViz</a:t>
                </a:r>
                <a:r>
                  <a:rPr lang="en-US" sz="714">
                    <a:solidFill>
                      <a:schemeClr val="tx1"/>
                    </a:solidFill>
                    <a:latin typeface="Segoe UI" panose="020B0502040204020203" pitchFamily="34" charset="0"/>
                    <a:cs typeface="Segoe UI" panose="020B0502040204020203" pitchFamily="34" charset="0"/>
                  </a:rPr>
                  <a:t> Scatter/ Bubble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ditor’s picks</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Hive LLAP connector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connectors: </a:t>
                </a:r>
                <a:r>
                  <a:rPr lang="en-US" sz="714" err="1">
                    <a:solidFill>
                      <a:schemeClr val="tx1"/>
                    </a:solidFill>
                    <a:latin typeface="Segoe UI" panose="020B0502040204020203" pitchFamily="34" charset="0"/>
                    <a:cs typeface="Segoe UI" panose="020B0502040204020203" pitchFamily="34" charset="0"/>
                  </a:rPr>
                  <a:t>Actian</a:t>
                </a:r>
                <a:r>
                  <a:rPr lang="en-US" sz="714">
                    <a:solidFill>
                      <a:schemeClr val="tx1"/>
                    </a:solidFill>
                    <a:latin typeface="Segoe UI" panose="020B0502040204020203" pitchFamily="34" charset="0"/>
                    <a:cs typeface="Segoe UI" panose="020B0502040204020203" pitchFamily="34" charset="0"/>
                  </a:rPr>
                  <a:t>, Anaplan, Starburst Presto</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Automation and API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etch more data API 3.4</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nhanced testing of your developed custom visual</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ertified and Promoted reports and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he ‘new look’ of the Power BI service is live</a:t>
                </a:r>
              </a:p>
            </p:txBody>
          </p:sp>
          <p:sp>
            <p:nvSpPr>
              <p:cNvPr id="69" name="Rectangle 68">
                <a:extLst>
                  <a:ext uri="{FF2B5EF4-FFF2-40B4-BE49-F238E27FC236}">
                    <a16:creationId xmlns:a16="http://schemas.microsoft.com/office/drawing/2014/main" id="{3BD7A313-A35A-6E4E-A60B-A5F067D3D38B}"/>
                  </a:ext>
                </a:extLst>
              </p:cNvPr>
              <p:cNvSpPr/>
              <p:nvPr/>
            </p:nvSpPr>
            <p:spPr bwMode="auto">
              <a:xfrm>
                <a:off x="-6138209" y="1245929"/>
                <a:ext cx="2296884" cy="4932629"/>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DirectQuery</a:t>
                </a:r>
                <a:r>
                  <a:rPr lang="en-US" sz="714">
                    <a:solidFill>
                      <a:schemeClr val="tx1"/>
                    </a:solidFill>
                    <a:latin typeface="Segoe UI" panose="020B0502040204020203" pitchFamily="34" charset="0"/>
                    <a:cs typeface="Segoe UI" panose="020B0502040204020203" pitchFamily="34" charset="0"/>
                  </a:rPr>
                  <a:t> for PBI datasets and Azure Analysis Services Update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earch Ba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odel View Update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Field List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mall Multiples (preview): gridlines and background color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olor pick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mart guides for aligning objects are now available in the mobile layout 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filter operations: “is empty” and “is not emp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ore granular control over certificate revocation check for web connections</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pt-BR" sz="714" err="1">
                    <a:solidFill>
                      <a:schemeClr val="tx1"/>
                    </a:solidFill>
                    <a:latin typeface="Segoe UI" panose="020B0502040204020203" pitchFamily="34" charset="0"/>
                    <a:cs typeface="Segoe UI" panose="020B0502040204020203" pitchFamily="34" charset="0"/>
                  </a:rPr>
                  <a:t>Anomaly</a:t>
                </a:r>
                <a:r>
                  <a:rPr lang="pt-BR" sz="714">
                    <a:solidFill>
                      <a:schemeClr val="tx1"/>
                    </a:solidFill>
                    <a:latin typeface="Segoe UI" panose="020B0502040204020203" pitchFamily="34" charset="0"/>
                    <a:cs typeface="Segoe UI" panose="020B0502040204020203" pitchFamily="34" charset="0"/>
                  </a:rPr>
                  <a:t> </a:t>
                </a:r>
                <a:r>
                  <a:rPr lang="pt-BR" sz="714" err="1">
                    <a:solidFill>
                      <a:schemeClr val="tx1"/>
                    </a:solidFill>
                    <a:latin typeface="Segoe UI" panose="020B0502040204020203" pitchFamily="34" charset="0"/>
                    <a:cs typeface="Segoe UI" panose="020B0502040204020203" pitchFamily="34" charset="0"/>
                  </a:rPr>
                  <a:t>detection</a:t>
                </a:r>
                <a:r>
                  <a:rPr lang="pt-BR" sz="714">
                    <a:solidFill>
                      <a:schemeClr val="tx1"/>
                    </a:solidFill>
                    <a:latin typeface="Segoe UI" panose="020B0502040204020203" pitchFamily="34" charset="0"/>
                    <a:cs typeface="Segoe UI" panose="020B0502040204020203" pitchFamily="34" charset="0"/>
                  </a:rPr>
                  <a:t> </a:t>
                </a:r>
                <a:r>
                  <a:rPr lang="pt-BR" sz="714" err="1">
                    <a:solidFill>
                      <a:schemeClr val="tx1"/>
                    </a:solidFill>
                    <a:latin typeface="Segoe UI" panose="020B0502040204020203" pitchFamily="34" charset="0"/>
                    <a:cs typeface="Segoe UI" panose="020B0502040204020203" pitchFamily="34" charset="0"/>
                  </a:rPr>
                  <a:t>now</a:t>
                </a:r>
                <a:r>
                  <a:rPr lang="pt-BR" sz="714">
                    <a:solidFill>
                      <a:schemeClr val="tx1"/>
                    </a:solidFill>
                    <a:latin typeface="Segoe UI" panose="020B0502040204020203" pitchFamily="34" charset="0"/>
                    <a:cs typeface="Segoe UI" panose="020B0502040204020203" pitchFamily="34" charset="0"/>
                  </a:rPr>
                  <a:t> in </a:t>
                </a:r>
                <a:r>
                  <a:rPr lang="pt-BR" sz="714" err="1">
                    <a:solidFill>
                      <a:schemeClr val="tx1"/>
                    </a:solidFill>
                    <a:latin typeface="Segoe UI" panose="020B0502040204020203" pitchFamily="34" charset="0"/>
                    <a:cs typeface="Segoe UI" panose="020B0502040204020203" pitchFamily="34" charset="0"/>
                  </a:rPr>
                  <a:t>ribbon</a:t>
                </a:r>
                <a:endParaRPr lang="pt-BR"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pt-BR" sz="714" err="1">
                    <a:solidFill>
                      <a:schemeClr val="tx1"/>
                    </a:solidFill>
                    <a:latin typeface="Segoe UI" panose="020B0502040204020203" pitchFamily="34" charset="0"/>
                    <a:cs typeface="Segoe UI" panose="020B0502040204020203" pitchFamily="34" charset="0"/>
                  </a:rPr>
                  <a:t>Enhanced</a:t>
                </a:r>
                <a:r>
                  <a:rPr lang="pt-BR" sz="714">
                    <a:solidFill>
                      <a:schemeClr val="tx1"/>
                    </a:solidFill>
                    <a:latin typeface="Segoe UI" panose="020B0502040204020203" pitchFamily="34" charset="0"/>
                    <a:cs typeface="Segoe UI" panose="020B0502040204020203" pitchFamily="34" charset="0"/>
                  </a:rPr>
                  <a:t> </a:t>
                </a:r>
                <a:r>
                  <a:rPr lang="pt-BR" sz="714" err="1">
                    <a:solidFill>
                      <a:schemeClr val="tx1"/>
                    </a:solidFill>
                    <a:latin typeface="Segoe UI" panose="020B0502040204020203" pitchFamily="34" charset="0"/>
                    <a:cs typeface="Segoe UI" panose="020B0502040204020203" pitchFamily="34" charset="0"/>
                  </a:rPr>
                  <a:t>dataset</a:t>
                </a:r>
                <a:r>
                  <a:rPr lang="pt-BR" sz="714">
                    <a:solidFill>
                      <a:schemeClr val="tx1"/>
                    </a:solidFill>
                    <a:latin typeface="Segoe UI" panose="020B0502040204020203" pitchFamily="34" charset="0"/>
                    <a:cs typeface="Segoe UI" panose="020B0502040204020203" pitchFamily="34" charset="0"/>
                  </a:rPr>
                  <a:t> </a:t>
                </a:r>
                <a:r>
                  <a:rPr lang="pt-BR" sz="714" err="1">
                    <a:solidFill>
                      <a:schemeClr val="tx1"/>
                    </a:solidFill>
                    <a:latin typeface="Segoe UI" panose="020B0502040204020203" pitchFamily="34" charset="0"/>
                    <a:cs typeface="Segoe UI" panose="020B0502040204020203" pitchFamily="34" charset="0"/>
                  </a:rPr>
                  <a:t>metadata</a:t>
                </a:r>
                <a:r>
                  <a:rPr lang="pt-BR" sz="714">
                    <a:solidFill>
                      <a:schemeClr val="tx1"/>
                    </a:solidFill>
                    <a:latin typeface="Segoe UI" panose="020B0502040204020203" pitchFamily="34" charset="0"/>
                    <a:cs typeface="Segoe UI" panose="020B0502040204020203" pitchFamily="34" charset="0"/>
                  </a:rPr>
                  <a:t> </a:t>
                </a:r>
                <a:r>
                  <a:rPr lang="pt-BR" sz="714" err="1">
                    <a:solidFill>
                      <a:schemeClr val="tx1"/>
                    </a:solidFill>
                    <a:latin typeface="Segoe UI" panose="020B0502040204020203" pitchFamily="34" charset="0"/>
                    <a:cs typeface="Segoe UI" panose="020B0502040204020203" pitchFamily="34" charset="0"/>
                  </a:rPr>
                  <a:t>format</a:t>
                </a:r>
                <a:endParaRPr lang="pt-BR" sz="714">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Graphomate</a:t>
                </a:r>
                <a:r>
                  <a:rPr lang="en-US" sz="714">
                    <a:solidFill>
                      <a:schemeClr val="tx1"/>
                    </a:solidFill>
                    <a:latin typeface="Segoe UI" panose="020B0502040204020203" pitchFamily="34" charset="0"/>
                    <a:cs typeface="Segoe UI" panose="020B0502040204020203" pitchFamily="34" charset="0"/>
                  </a:rPr>
                  <a:t> matrix</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ParaTaskCard</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MART KPI Lis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pstick Column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pstick Bar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ontrol Chart </a:t>
                </a:r>
                <a:r>
                  <a:rPr lang="en-US" sz="714" err="1">
                    <a:solidFill>
                      <a:schemeClr val="tx1"/>
                    </a:solidFill>
                    <a:latin typeface="Segoe UI" panose="020B0502040204020203" pitchFamily="34" charset="0"/>
                    <a:cs typeface="Segoe UI" panose="020B0502040204020203" pitchFamily="34" charset="0"/>
                  </a:rPr>
                  <a:t>XmR</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ParaHTMLViewer</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erged Bar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nimated Image and Bubble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nimated Bar Race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ynamic Radial Bar Chart by JTA</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ext Highlight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hielded HTML Viewer by Nova Silva</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Zebra BI Tables (version 4.5)</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Zebra BI Charts (version 4.5)</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ValQ</a:t>
                </a:r>
                <a:r>
                  <a:rPr lang="en-US" sz="714">
                    <a:solidFill>
                      <a:schemeClr val="tx1"/>
                    </a:solidFill>
                    <a:latin typeface="Segoe UI" panose="020B0502040204020203" pitchFamily="34" charset="0"/>
                    <a:cs typeface="Segoe UI" panose="020B0502040204020203" pitchFamily="34" charset="0"/>
                  </a:rPr>
                  <a:t> 2.0 Released with Connected and Collaborative Planning Featur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rill Down Combo PRO by </a:t>
                </a:r>
                <a:r>
                  <a:rPr lang="en-US" sz="714" err="1">
                    <a:solidFill>
                      <a:schemeClr val="tx1"/>
                    </a:solidFill>
                    <a:latin typeface="Segoe UI" panose="020B0502040204020203" pitchFamily="34" charset="0"/>
                    <a:cs typeface="Segoe UI" panose="020B0502040204020203" pitchFamily="34" charset="0"/>
                  </a:rPr>
                  <a:t>ZoomCharts</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ditor’s picks</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icrosoft partners: Installing a preconfigured template ap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ales Analytics AI for Microsoft Business Central</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evelopers</a:t>
                </a:r>
              </a:p>
            </p:txBody>
          </p:sp>
          <p:sp>
            <p:nvSpPr>
              <p:cNvPr id="67" name="Rectangle 66">
                <a:extLst>
                  <a:ext uri="{FF2B5EF4-FFF2-40B4-BE49-F238E27FC236}">
                    <a16:creationId xmlns:a16="http://schemas.microsoft.com/office/drawing/2014/main" id="{41325DD3-76A9-8443-A042-09F2606195FE}"/>
                  </a:ext>
                </a:extLst>
              </p:cNvPr>
              <p:cNvSpPr/>
              <p:nvPr/>
            </p:nvSpPr>
            <p:spPr bwMode="auto">
              <a:xfrm>
                <a:off x="-8505412" y="1245929"/>
                <a:ext cx="2296884" cy="4789000"/>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irectQuery for Power BI datasets and Azure Analysis Service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mall multiple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rotection sensitivity labels in Power BI Desktop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ncreased rectangle select data point limi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election pane is now available in the mobile layout 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matic page refresh for Analysis Services and Power BI datasets</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aptiveCards by Paradigm BI</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rance Map Drilldown by Data Khi</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umbbell Bar Chart by Nova Silva BV</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umbbell Column Chart by Nova Silva BV</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trip Plot by Nova Silva BV</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d Intelligent Narratives for BI by Arria NL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Overlapping Bar Chart by Acorn Hill</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trip Plot by Nova Silva</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ntelligent Narratives by Arria NL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ditor’s picks</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est Your Analytics Matur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pps on AppSourc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Gold suite</a:t>
                </a: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ecent changes to Power Query and Dataflows</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icrosoft Dataverse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zure Time Series Insights Updat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urveyMonkey Updat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ognite Update</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Admin APIs and Service Principal authentication to make for better tenant metadata scann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Visuals Platform adds support for conditional format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look for Embedded scenarios</a:t>
                </a:r>
              </a:p>
            </p:txBody>
          </p:sp>
          <p:sp>
            <p:nvSpPr>
              <p:cNvPr id="71" name="Rectangle 70">
                <a:extLst>
                  <a:ext uri="{FF2B5EF4-FFF2-40B4-BE49-F238E27FC236}">
                    <a16:creationId xmlns:a16="http://schemas.microsoft.com/office/drawing/2014/main" id="{2A6BB8E2-98A5-F845-8BA2-0BD079DFE902}"/>
                  </a:ext>
                </a:extLst>
              </p:cNvPr>
              <p:cNvSpPr/>
              <p:nvPr/>
            </p:nvSpPr>
            <p:spPr bwMode="auto">
              <a:xfrm>
                <a:off x="-3775468" y="1245929"/>
                <a:ext cx="2296884" cy="5035286"/>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612" err="1">
                    <a:solidFill>
                      <a:schemeClr val="tx1"/>
                    </a:solidFill>
                    <a:latin typeface="Segoe UI" panose="020B0502040204020203" pitchFamily="34" charset="0"/>
                    <a:cs typeface="Segoe UI" panose="020B0502040204020203" pitchFamily="34" charset="0"/>
                  </a:rPr>
                  <a:t>DirectQuery</a:t>
                </a:r>
                <a:r>
                  <a:rPr lang="en-US" sz="612">
                    <a:solidFill>
                      <a:schemeClr val="tx1"/>
                    </a:solidFill>
                    <a:latin typeface="Segoe UI" panose="020B0502040204020203" pitchFamily="34" charset="0"/>
                    <a:cs typeface="Segoe UI" panose="020B0502040204020203" pitchFamily="34" charset="0"/>
                  </a:rPr>
                  <a:t> for Power BI datasets and Azure Analysis Services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dvanced Data Selection in Azure Maps Visual</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olor Picker Update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Updates to new Field List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Word-wrap in Small Multiples titles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Updates to background settings on Small Multiples (preview)</a:t>
                </a:r>
              </a:p>
              <a:p>
                <a:pPr marL="0" lvl="1"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pt-BR" sz="612" err="1">
                    <a:solidFill>
                      <a:schemeClr val="tx1"/>
                    </a:solidFill>
                    <a:latin typeface="Segoe UI" panose="020B0502040204020203" pitchFamily="34" charset="0"/>
                    <a:cs typeface="Segoe UI" panose="020B0502040204020203" pitchFamily="34" charset="0"/>
                  </a:rPr>
                  <a:t>X</a:t>
                </a:r>
                <a:r>
                  <a:rPr lang="pt-BR" sz="612">
                    <a:solidFill>
                      <a:schemeClr val="tx1"/>
                    </a:solidFill>
                    <a:latin typeface="Segoe UI" panose="020B0502040204020203" pitchFamily="34" charset="0"/>
                    <a:cs typeface="Segoe UI" panose="020B0502040204020203" pitchFamily="34" charset="0"/>
                  </a:rPr>
                  <a:t> </a:t>
                </a:r>
                <a:r>
                  <a:rPr lang="pt-BR" sz="612" err="1">
                    <a:solidFill>
                      <a:schemeClr val="tx1"/>
                    </a:solidFill>
                    <a:latin typeface="Segoe UI" panose="020B0502040204020203" pitchFamily="34" charset="0"/>
                    <a:cs typeface="Segoe UI" panose="020B0502040204020203" pitchFamily="34" charset="0"/>
                  </a:rPr>
                  <a:t>axis</a:t>
                </a:r>
                <a:r>
                  <a:rPr lang="pt-BR" sz="612">
                    <a:solidFill>
                      <a:schemeClr val="tx1"/>
                    </a:solidFill>
                    <a:latin typeface="Segoe UI" panose="020B0502040204020203" pitchFamily="34" charset="0"/>
                    <a:cs typeface="Segoe UI" panose="020B0502040204020203" pitchFamily="34" charset="0"/>
                  </a:rPr>
                  <a:t> </a:t>
                </a:r>
                <a:r>
                  <a:rPr lang="pt-BR" sz="612" err="1">
                    <a:solidFill>
                      <a:schemeClr val="tx1"/>
                    </a:solidFill>
                    <a:latin typeface="Segoe UI" panose="020B0502040204020203" pitchFamily="34" charset="0"/>
                    <a:cs typeface="Segoe UI" panose="020B0502040204020203" pitchFamily="34" charset="0"/>
                  </a:rPr>
                  <a:t>constant</a:t>
                </a:r>
                <a:r>
                  <a:rPr lang="pt-BR" sz="612">
                    <a:solidFill>
                      <a:schemeClr val="tx1"/>
                    </a:solidFill>
                    <a:latin typeface="Segoe UI" panose="020B0502040204020203" pitchFamily="34" charset="0"/>
                    <a:cs typeface="Segoe UI" panose="020B0502040204020203" pitchFamily="34" charset="0"/>
                  </a:rPr>
                  <a:t> </a:t>
                </a:r>
                <a:r>
                  <a:rPr lang="pt-BR" sz="612" err="1">
                    <a:solidFill>
                      <a:schemeClr val="tx1"/>
                    </a:solidFill>
                    <a:latin typeface="Segoe UI" panose="020B0502040204020203" pitchFamily="34" charset="0"/>
                    <a:cs typeface="Segoe UI" panose="020B0502040204020203" pitchFamily="34" charset="0"/>
                  </a:rPr>
                  <a:t>line</a:t>
                </a:r>
                <a:r>
                  <a:rPr lang="pt-BR" sz="612">
                    <a:solidFill>
                      <a:schemeClr val="tx1"/>
                    </a:solidFill>
                    <a:latin typeface="Segoe UI" panose="020B0502040204020203" pitchFamily="34" charset="0"/>
                    <a:cs typeface="Segoe UI" panose="020B0502040204020203" pitchFamily="34" charset="0"/>
                  </a:rPr>
                  <a:t> for </a:t>
                </a:r>
                <a:r>
                  <a:rPr lang="pt-BR" sz="612" err="1">
                    <a:solidFill>
                      <a:schemeClr val="tx1"/>
                    </a:solidFill>
                    <a:latin typeface="Segoe UI" panose="020B0502040204020203" pitchFamily="34" charset="0"/>
                    <a:cs typeface="Segoe UI" panose="020B0502040204020203" pitchFamily="34" charset="0"/>
                  </a:rPr>
                  <a:t>line</a:t>
                </a:r>
                <a:r>
                  <a:rPr lang="pt-BR" sz="612">
                    <a:solidFill>
                      <a:schemeClr val="tx1"/>
                    </a:solidFill>
                    <a:latin typeface="Segoe UI" panose="020B0502040204020203" pitchFamily="34" charset="0"/>
                    <a:cs typeface="Segoe UI" panose="020B0502040204020203" pitchFamily="34" charset="0"/>
                  </a:rPr>
                  <a:t> </a:t>
                </a:r>
                <a:r>
                  <a:rPr lang="pt-BR" sz="612" err="1">
                    <a:solidFill>
                      <a:schemeClr val="tx1"/>
                    </a:solidFill>
                    <a:latin typeface="Segoe UI" panose="020B0502040204020203" pitchFamily="34" charset="0"/>
                    <a:cs typeface="Segoe UI" panose="020B0502040204020203" pitchFamily="34" charset="0"/>
                  </a:rPr>
                  <a:t>charts</a:t>
                </a:r>
                <a:endParaRPr lang="pt-BR"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MODELL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Model View UI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IF.EAGER</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ALCULATE filters are easier to use</a:t>
                </a:r>
              </a:p>
              <a:p>
                <a:pPr marL="0" lvl="1"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Kerberos-based SSO for Denodo</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ertified Connectors</a:t>
                </a:r>
              </a:p>
              <a:p>
                <a:pPr marL="0" lvl="1" defTabSz="950661">
                  <a:spcBef>
                    <a:spcPts val="612"/>
                  </a:spcBef>
                  <a:spcAft>
                    <a:spcPts val="102"/>
                  </a:spcAft>
                  <a:defRPr/>
                </a:pPr>
                <a:r>
                  <a:rPr lang="en-US" sz="714" b="1" cap="all">
                    <a:solidFill>
                      <a:schemeClr val="tx1"/>
                    </a:solidFill>
                    <a:latin typeface="Segoe UI"/>
                  </a:rPr>
                  <a:t>SERVIC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Featured content on Home Update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View dataset details from workspace list 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Filter apps gallery to view only endorsed apps</a:t>
                </a:r>
              </a:p>
              <a:p>
                <a:pPr marL="0" lvl="1"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MART KPI List by Nova Silva</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omparison Chart</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ombo Bar PRO Visual</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Editor’s picks</a:t>
                </a:r>
              </a:p>
              <a:p>
                <a:pPr marL="0" lvl="1"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Download PBIX files for installed template app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nalyze Popular Stocks with Power BI</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Facebook Ads Overview Report – by </a:t>
                </a:r>
                <a:r>
                  <a:rPr lang="en-US" sz="612" err="1">
                    <a:solidFill>
                      <a:schemeClr val="tx1"/>
                    </a:solidFill>
                    <a:latin typeface="Segoe UI" panose="020B0502040204020203" pitchFamily="34" charset="0"/>
                    <a:cs typeface="Segoe UI" panose="020B0502040204020203" pitchFamily="34" charset="0"/>
                  </a:rPr>
                  <a:t>Windsor.ai</a:t>
                </a:r>
                <a:endParaRPr lang="en-US" sz="612">
                  <a:solidFill>
                    <a:schemeClr val="tx1"/>
                  </a:solidFill>
                  <a:latin typeface="Segoe UI" panose="020B0502040204020203" pitchFamily="34" charset="0"/>
                  <a:cs typeface="Segoe UI" panose="020B0502040204020203" pitchFamily="34" charset="0"/>
                </a:endParaRPr>
              </a:p>
              <a:p>
                <a:pPr marL="0" lvl="1" defTabSz="950661">
                  <a:spcBef>
                    <a:spcPts val="612"/>
                  </a:spcBef>
                  <a:spcAft>
                    <a:spcPts val="102"/>
                  </a:spcAft>
                  <a:defRPr/>
                </a:pPr>
                <a:r>
                  <a:rPr lang="en-US" sz="714" b="1" cap="all">
                    <a:solidFill>
                      <a:schemeClr val="tx1"/>
                    </a:solidFill>
                    <a:latin typeface="Segoe UI"/>
                  </a:rPr>
                  <a:t>EMBEDDED</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The new Power BI embedded analytics playground</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Embedded Generation 2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embedded analytics new Contoso demo</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Client API documentation</a:t>
                </a:r>
              </a:p>
              <a:p>
                <a:pPr marL="0" lvl="1"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Windows 7 Deprecation</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ertificate revocation check controls now available in Desktop interfac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External Tools integration in Desktop generally availabl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instructor led training – Advanced Data Modeling and data shap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Desktop change log</a:t>
                </a:r>
              </a:p>
            </p:txBody>
          </p:sp>
          <p:sp>
            <p:nvSpPr>
              <p:cNvPr id="73" name="Rectangle 72">
                <a:extLst>
                  <a:ext uri="{FF2B5EF4-FFF2-40B4-BE49-F238E27FC236}">
                    <a16:creationId xmlns:a16="http://schemas.microsoft.com/office/drawing/2014/main" id="{DA375E91-93D5-2541-814B-DC8A790688C2}"/>
                  </a:ext>
                </a:extLst>
              </p:cNvPr>
              <p:cNvSpPr/>
              <p:nvPr/>
            </p:nvSpPr>
            <p:spPr bwMode="auto">
              <a:xfrm>
                <a:off x="-1417794" y="1245929"/>
                <a:ext cx="2296884" cy="4761645"/>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CA" sz="714" b="1" cap="all">
                    <a:solidFill>
                      <a:schemeClr val="tx1"/>
                    </a:solidFill>
                    <a:latin typeface="Segoe UI"/>
                  </a:rPr>
                  <a:t>Reporting</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Power Automate for Power BI</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Small multiples: padding controls and combo chart support</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New and improved shape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Invert axis and continuous axis sorting</a:t>
                </a:r>
              </a:p>
              <a:p>
                <a:pPr defTabSz="950661">
                  <a:spcBef>
                    <a:spcPts val="612"/>
                  </a:spcBef>
                  <a:spcAft>
                    <a:spcPts val="102"/>
                  </a:spcAft>
                  <a:defRPr/>
                </a:pPr>
                <a:r>
                  <a:rPr lang="en-CA" sz="714" b="1" cap="all">
                    <a:solidFill>
                      <a:schemeClr val="tx1"/>
                    </a:solidFill>
                    <a:latin typeface="Segoe UI"/>
                  </a:rPr>
                  <a:t>Modeling</a:t>
                </a:r>
              </a:p>
              <a:p>
                <a:pPr marL="108469" lvl="1" indent="-108469" defTabSz="950661">
                  <a:buFont typeface="Arial" panose="020B0604020202020204" pitchFamily="34" charset="0"/>
                  <a:buChar char="•"/>
                  <a:defRPr/>
                </a:pPr>
                <a:r>
                  <a:rPr lang="en-CA" sz="714" err="1">
                    <a:solidFill>
                      <a:schemeClr val="tx1"/>
                    </a:solidFill>
                    <a:latin typeface="Segoe UI" panose="020B0502040204020203" pitchFamily="34" charset="0"/>
                    <a:cs typeface="Segoe UI" panose="020B0502040204020203" pitchFamily="34" charset="0"/>
                  </a:rPr>
                  <a:t>DirectQuery</a:t>
                </a:r>
                <a:r>
                  <a:rPr lang="en-CA" sz="714">
                    <a:solidFill>
                      <a:schemeClr val="tx1"/>
                    </a:solidFill>
                    <a:latin typeface="Segoe UI" panose="020B0502040204020203" pitchFamily="34" charset="0"/>
                    <a:cs typeface="Segoe UI" panose="020B0502040204020203" pitchFamily="34" charset="0"/>
                  </a:rPr>
                  <a:t> for Power BI datasets and Azure Analysis Service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CROSSFILTER supports many-to-many relationship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Performance improvements to IF and SWITCH functions</a:t>
                </a:r>
              </a:p>
              <a:p>
                <a:pPr defTabSz="950661">
                  <a:spcBef>
                    <a:spcPts val="612"/>
                  </a:spcBef>
                  <a:spcAft>
                    <a:spcPts val="102"/>
                  </a:spcAft>
                  <a:defRPr/>
                </a:pPr>
                <a:r>
                  <a:rPr lang="en-CA" sz="714" b="1" cap="all">
                    <a:solidFill>
                      <a:schemeClr val="tx1"/>
                    </a:solidFill>
                    <a:latin typeface="Segoe UI"/>
                  </a:rPr>
                  <a:t>Data connectivity</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New Connector: Bloomberg Data and Analytic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New Connector: </a:t>
                </a:r>
                <a:r>
                  <a:rPr lang="en-CA" sz="714" err="1">
                    <a:solidFill>
                      <a:schemeClr val="tx1"/>
                    </a:solidFill>
                    <a:latin typeface="Segoe UI" panose="020B0502040204020203" pitchFamily="34" charset="0"/>
                    <a:cs typeface="Segoe UI" panose="020B0502040204020203" pitchFamily="34" charset="0"/>
                  </a:rPr>
                  <a:t>SoftOne</a:t>
                </a:r>
                <a:r>
                  <a:rPr lang="en-CA" sz="714">
                    <a:solidFill>
                      <a:schemeClr val="tx1"/>
                    </a:solidFill>
                    <a:latin typeface="Segoe UI" panose="020B0502040204020203" pitchFamily="34" charset="0"/>
                    <a:cs typeface="Segoe UI" panose="020B0502040204020203" pitchFamily="34" charset="0"/>
                  </a:rPr>
                  <a:t> BI</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Text/CSV By Example now generally available</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Automatic Table Detection from Excel files now generally available</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Automatic Table Detection from JSON files now generally available</a:t>
                </a:r>
              </a:p>
              <a:p>
                <a:pPr defTabSz="950661">
                  <a:spcBef>
                    <a:spcPts val="612"/>
                  </a:spcBef>
                  <a:spcAft>
                    <a:spcPts val="102"/>
                  </a:spcAft>
                  <a:defRPr/>
                </a:pPr>
                <a:r>
                  <a:rPr lang="en-CA" sz="714" b="1" cap="all">
                    <a:solidFill>
                      <a:schemeClr val="tx1"/>
                    </a:solidFill>
                    <a:latin typeface="Segoe UI"/>
                  </a:rPr>
                  <a:t>Service</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Easy report sharing via link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Improving the Create on top of published dataset experience</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New capabilities in Deployment Pipeline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Enhancements to Sensitivity Label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Sensitivity labels in Power BI embedded now generally available</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Securing the full data journey from Azure to Office</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Admin API to Set and Remove labels in Power BI</a:t>
                </a:r>
              </a:p>
              <a:p>
                <a:pPr defTabSz="950661">
                  <a:spcBef>
                    <a:spcPts val="612"/>
                  </a:spcBef>
                  <a:spcAft>
                    <a:spcPts val="102"/>
                  </a:spcAft>
                  <a:defRPr/>
                </a:pPr>
                <a:r>
                  <a:rPr lang="en-CA" sz="714" b="1" cap="all">
                    <a:solidFill>
                      <a:schemeClr val="tx1"/>
                    </a:solidFill>
                    <a:latin typeface="Segoe UI"/>
                  </a:rPr>
                  <a:t>Visualization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Microsoft </a:t>
                </a:r>
                <a:r>
                  <a:rPr lang="en-CA" sz="714" err="1">
                    <a:solidFill>
                      <a:schemeClr val="tx1"/>
                    </a:solidFill>
                    <a:latin typeface="Segoe UI" panose="020B0502040204020203" pitchFamily="34" charset="0"/>
                    <a:cs typeface="Segoe UI" panose="020B0502040204020203" pitchFamily="34" charset="0"/>
                  </a:rPr>
                  <a:t>Charticulator</a:t>
                </a:r>
                <a:r>
                  <a:rPr lang="en-CA" sz="714">
                    <a:solidFill>
                      <a:schemeClr val="tx1"/>
                    </a:solidFill>
                    <a:latin typeface="Segoe UI" panose="020B0502040204020203" pitchFamily="34" charset="0"/>
                    <a:cs typeface="Segoe UI" panose="020B0502040204020203" pitchFamily="34" charset="0"/>
                  </a:rPr>
                  <a:t> visual</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Financial Reporting Matrix by </a:t>
                </a:r>
                <a:r>
                  <a:rPr lang="en-CA" sz="714" err="1">
                    <a:solidFill>
                      <a:schemeClr val="tx1"/>
                    </a:solidFill>
                    <a:latin typeface="Segoe UI" panose="020B0502040204020203" pitchFamily="34" charset="0"/>
                    <a:cs typeface="Segoe UI" panose="020B0502040204020203" pitchFamily="34" charset="0"/>
                  </a:rPr>
                  <a:t>Profitbase</a:t>
                </a:r>
                <a:endParaRPr lang="en-CA"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Merged Bar Chart by Nova Silva</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Editor’s picks</a:t>
                </a:r>
              </a:p>
              <a:p>
                <a:pPr defTabSz="950661">
                  <a:spcBef>
                    <a:spcPts val="612"/>
                  </a:spcBef>
                  <a:spcAft>
                    <a:spcPts val="102"/>
                  </a:spcAft>
                  <a:defRPr/>
                </a:pPr>
                <a:r>
                  <a:rPr lang="en-CA" sz="714" b="1" cap="all">
                    <a:solidFill>
                      <a:schemeClr val="tx1"/>
                    </a:solidFill>
                    <a:latin typeface="Segoe UI"/>
                  </a:rPr>
                  <a:t>Developer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API v3.6.0 is now available</a:t>
                </a:r>
              </a:p>
              <a:p>
                <a:pPr defTabSz="950661">
                  <a:spcBef>
                    <a:spcPts val="612"/>
                  </a:spcBef>
                  <a:spcAft>
                    <a:spcPts val="102"/>
                  </a:spcAft>
                  <a:defRPr/>
                </a:pPr>
                <a:r>
                  <a:rPr lang="en-CA" sz="714" b="1" cap="all">
                    <a:solidFill>
                      <a:schemeClr val="tx1"/>
                    </a:solidFill>
                    <a:latin typeface="Segoe UI"/>
                  </a:rPr>
                  <a:t>Other</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Simplifying collection of diagnostic information</a:t>
                </a:r>
              </a:p>
            </p:txBody>
          </p:sp>
          <p:sp>
            <p:nvSpPr>
              <p:cNvPr id="75" name="Rectangle 74">
                <a:extLst>
                  <a:ext uri="{FF2B5EF4-FFF2-40B4-BE49-F238E27FC236}">
                    <a16:creationId xmlns:a16="http://schemas.microsoft.com/office/drawing/2014/main" id="{4B55DA2E-0D3F-EA48-88F4-945FC89FA890}"/>
                  </a:ext>
                </a:extLst>
              </p:cNvPr>
              <p:cNvSpPr/>
              <p:nvPr/>
            </p:nvSpPr>
            <p:spPr bwMode="auto">
              <a:xfrm>
                <a:off x="948451" y="1245929"/>
                <a:ext cx="2476800" cy="5611726"/>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CA" sz="714" b="1" cap="all">
                    <a:solidFill>
                      <a:schemeClr val="tx1"/>
                    </a:solidFill>
                    <a:latin typeface="Segoe UI"/>
                  </a:rPr>
                  <a:t>Reporting</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Modern visual tooltip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mall multiples: now on by default and updated roadmap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field list Generally availabl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upport for removing the sensitivity label in Desktop</a:t>
                </a:r>
              </a:p>
              <a:p>
                <a:pPr defTabSz="950661">
                  <a:spcBef>
                    <a:spcPts val="612"/>
                  </a:spcBef>
                  <a:spcAft>
                    <a:spcPts val="102"/>
                  </a:spcAft>
                  <a:defRPr/>
                </a:pPr>
                <a:r>
                  <a:rPr lang="en-CA" sz="714" b="1" cap="all">
                    <a:solidFill>
                      <a:schemeClr val="tx1"/>
                    </a:solidFill>
                    <a:latin typeface="Segoe UI"/>
                  </a:rPr>
                  <a:t>Analytic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mart Narratives and Anomaly detection Generally availabl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Q&amp;A now supports </a:t>
                </a:r>
                <a:r>
                  <a:rPr lang="en-CA" sz="612" err="1">
                    <a:solidFill>
                      <a:schemeClr val="tx1"/>
                    </a:solidFill>
                    <a:latin typeface="Segoe UI" panose="020B0502040204020203" pitchFamily="34" charset="0"/>
                    <a:cs typeface="Segoe UI" panose="020B0502040204020203" pitchFamily="34" charset="0"/>
                  </a:rPr>
                  <a:t>DirectQuery</a:t>
                </a:r>
                <a:r>
                  <a:rPr lang="en-CA" sz="612">
                    <a:solidFill>
                      <a:schemeClr val="tx1"/>
                    </a:solidFill>
                    <a:latin typeface="Segoe UI" panose="020B0502040204020203" pitchFamily="34" charset="0"/>
                    <a:cs typeface="Segoe UI" panose="020B0502040204020203" pitchFamily="34" charset="0"/>
                  </a:rPr>
                  <a:t> for Power BI datasets and Azure Analysis Services</a:t>
                </a:r>
              </a:p>
              <a:p>
                <a:pPr defTabSz="950661">
                  <a:spcBef>
                    <a:spcPts val="612"/>
                  </a:spcBef>
                  <a:spcAft>
                    <a:spcPts val="102"/>
                  </a:spcAft>
                  <a:defRPr/>
                </a:pPr>
                <a:r>
                  <a:rPr lang="en-CA" sz="714" b="1" cap="all">
                    <a:solidFill>
                      <a:schemeClr val="tx1"/>
                    </a:solidFill>
                    <a:latin typeface="Segoe UI"/>
                  </a:rPr>
                  <a:t>Modeling</a:t>
                </a: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DirectQuery</a:t>
                </a:r>
                <a:r>
                  <a:rPr lang="en-CA" sz="612">
                    <a:solidFill>
                      <a:schemeClr val="tx1"/>
                    </a:solidFill>
                    <a:latin typeface="Segoe UI" panose="020B0502040204020203" pitchFamily="34" charset="0"/>
                    <a:cs typeface="Segoe UI" panose="020B0502040204020203" pitchFamily="34" charset="0"/>
                  </a:rPr>
                  <a:t> for Power BI datasets and Azure Analysis Service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Model View Updates</a:t>
                </a:r>
              </a:p>
              <a:p>
                <a:pPr defTabSz="950661">
                  <a:spcBef>
                    <a:spcPts val="612"/>
                  </a:spcBef>
                  <a:spcAft>
                    <a:spcPts val="102"/>
                  </a:spcAft>
                  <a:defRPr/>
                </a:pPr>
                <a:r>
                  <a:rPr lang="en-CA" sz="714" b="1" cap="all">
                    <a:solidFill>
                      <a:schemeClr val="tx1"/>
                    </a:solidFill>
                    <a:latin typeface="Segoe UI"/>
                  </a:rPr>
                  <a:t>Data connectivity</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Connector: </a:t>
                </a:r>
                <a:r>
                  <a:rPr lang="en-CA" sz="612" err="1">
                    <a:solidFill>
                      <a:schemeClr val="tx1"/>
                    </a:solidFill>
                    <a:latin typeface="Segoe UI" panose="020B0502040204020203" pitchFamily="34" charset="0"/>
                    <a:cs typeface="Segoe UI" panose="020B0502040204020203" pitchFamily="34" charset="0"/>
                  </a:rPr>
                  <a:t>EQuIS</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utomation Anywher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Vena</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zure Databrick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mazon Redshift</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Vertica</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Deprecation: Microsoft Graph Security</a:t>
                </a:r>
              </a:p>
              <a:p>
                <a:pPr defTabSz="950661">
                  <a:spcBef>
                    <a:spcPts val="612"/>
                  </a:spcBef>
                  <a:spcAft>
                    <a:spcPts val="102"/>
                  </a:spcAft>
                  <a:defRPr/>
                </a:pPr>
                <a:r>
                  <a:rPr lang="en-CA" sz="714" b="1" cap="all">
                    <a:solidFill>
                      <a:schemeClr val="tx1"/>
                    </a:solidFill>
                    <a:latin typeface="Segoe UI"/>
                  </a:rPr>
                  <a:t>Servic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Quickly create reports from SharePoint list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Reports, apps and dataflows endorsement Generally availabl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atasets hub improvement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Quick Edit Paginated Reports from the Servic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ingle sign-on enabled for new on-premises data sources for paginated report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ownstream inheritance for sensitivity labels Preview</a:t>
                </a:r>
              </a:p>
              <a:p>
                <a:pPr defTabSz="950661">
                  <a:spcBef>
                    <a:spcPts val="612"/>
                  </a:spcBef>
                  <a:spcAft>
                    <a:spcPts val="102"/>
                  </a:spcAft>
                  <a:defRPr/>
                </a:pPr>
                <a:r>
                  <a:rPr lang="en-CA" sz="714" b="1" cap="all">
                    <a:solidFill>
                      <a:schemeClr val="tx1"/>
                    </a:solidFill>
                    <a:latin typeface="Segoe UI"/>
                  </a:rPr>
                  <a:t>Mobil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Work side by side with other apps on your iPad or Android tablet </a:t>
                </a:r>
              </a:p>
              <a:p>
                <a:pPr defTabSz="950661">
                  <a:spcBef>
                    <a:spcPts val="612"/>
                  </a:spcBef>
                  <a:spcAft>
                    <a:spcPts val="102"/>
                  </a:spcAft>
                  <a:defRPr/>
                </a:pPr>
                <a:r>
                  <a:rPr lang="en-CA" sz="714" b="1" cap="all">
                    <a:solidFill>
                      <a:schemeClr val="tx1"/>
                    </a:solidFill>
                    <a:latin typeface="Segoe UI"/>
                  </a:rPr>
                  <a:t>Visualization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ADWISE roadmap v2.0</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Bubble chart by Akvelon</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ycle Plot by Nova Silva</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rill Down Donut PRO by </a:t>
                </a:r>
                <a:r>
                  <a:rPr lang="en-CA" sz="612" err="1">
                    <a:solidFill>
                      <a:schemeClr val="tx1"/>
                    </a:solidFill>
                    <a:latin typeface="Segoe UI" panose="020B0502040204020203" pitchFamily="34" charset="0"/>
                    <a:cs typeface="Segoe UI" panose="020B0502040204020203" pitchFamily="34" charset="0"/>
                  </a:rPr>
                  <a:t>ZoomCharts</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rill Down Map PRO by </a:t>
                </a:r>
                <a:r>
                  <a:rPr lang="en-CA" sz="612" err="1">
                    <a:solidFill>
                      <a:schemeClr val="tx1"/>
                    </a:solidFill>
                    <a:latin typeface="Segoe UI" panose="020B0502040204020203" pitchFamily="34" charset="0"/>
                    <a:cs typeface="Segoe UI" panose="020B0502040204020203" pitchFamily="34" charset="0"/>
                  </a:rPr>
                  <a:t>ZoomCharts</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rill Down Pie PRO by </a:t>
                </a:r>
                <a:r>
                  <a:rPr lang="en-CA" sz="612" err="1">
                    <a:solidFill>
                      <a:schemeClr val="tx1"/>
                    </a:solidFill>
                    <a:latin typeface="Segoe UI" panose="020B0502040204020203" pitchFamily="34" charset="0"/>
                    <a:cs typeface="Segoe UI" panose="020B0502040204020203" pitchFamily="34" charset="0"/>
                  </a:rPr>
                  <a:t>ZoomCharts</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graphomate</a:t>
                </a:r>
                <a:r>
                  <a:rPr lang="en-CA" sz="612">
                    <a:solidFill>
                      <a:schemeClr val="tx1"/>
                    </a:solidFill>
                    <a:latin typeface="Segoe UI" panose="020B0502040204020203" pitchFamily="34" charset="0"/>
                    <a:cs typeface="Segoe UI" panose="020B0502040204020203" pitchFamily="34" charset="0"/>
                  </a:rPr>
                  <a:t> charts 2021.2</a:t>
                </a: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graphomate</a:t>
                </a:r>
                <a:r>
                  <a:rPr lang="en-CA" sz="612">
                    <a:solidFill>
                      <a:schemeClr val="tx1"/>
                    </a:solidFill>
                    <a:latin typeface="Segoe UI" panose="020B0502040204020203" pitchFamily="34" charset="0"/>
                    <a:cs typeface="Segoe UI" panose="020B0502040204020203" pitchFamily="34" charset="0"/>
                  </a:rPr>
                  <a:t> matrix 2021.2</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Editor’s picks</a:t>
                </a:r>
              </a:p>
              <a:p>
                <a:pPr defTabSz="950661">
                  <a:spcBef>
                    <a:spcPts val="612"/>
                  </a:spcBef>
                  <a:spcAft>
                    <a:spcPts val="102"/>
                  </a:spcAft>
                  <a:defRPr/>
                </a:pPr>
                <a:r>
                  <a:rPr lang="en-CA" sz="714" b="1" cap="all">
                    <a:solidFill>
                      <a:schemeClr val="tx1"/>
                    </a:solidFill>
                    <a:latin typeface="Segoe UI"/>
                  </a:rPr>
                  <a:t>Template app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ataflows Snapshot Analysis</a:t>
                </a:r>
              </a:p>
              <a:p>
                <a:pPr defTabSz="950661">
                  <a:spcBef>
                    <a:spcPts val="612"/>
                  </a:spcBef>
                  <a:spcAft>
                    <a:spcPts val="102"/>
                  </a:spcAft>
                  <a:defRPr/>
                </a:pPr>
                <a:r>
                  <a:rPr lang="en-CA" sz="714" b="1" cap="all">
                    <a:solidFill>
                      <a:schemeClr val="tx1"/>
                    </a:solidFill>
                    <a:latin typeface="Segoe UI"/>
                  </a:rPr>
                  <a:t>Developer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ialog boxes support for Power BI custom visual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isplaying a warning icon for a custom visual</a:t>
                </a:r>
              </a:p>
              <a:p>
                <a:pPr defTabSz="950661">
                  <a:spcBef>
                    <a:spcPts val="612"/>
                  </a:spcBef>
                  <a:spcAft>
                    <a:spcPts val="102"/>
                  </a:spcAft>
                  <a:defRPr/>
                </a:pPr>
                <a:r>
                  <a:rPr lang="en-CA" sz="714" b="1" cap="all">
                    <a:solidFill>
                      <a:schemeClr val="tx1"/>
                    </a:solidFill>
                    <a:latin typeface="Segoe UI"/>
                  </a:rPr>
                  <a:t>Other</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hare and Collaborate in Excel for the web connected to Power BI</a:t>
                </a:r>
              </a:p>
            </p:txBody>
          </p:sp>
        </p:grpSp>
        <p:sp>
          <p:nvSpPr>
            <p:cNvPr id="7" name="Rectangle 6">
              <a:extLst>
                <a:ext uri="{FF2B5EF4-FFF2-40B4-BE49-F238E27FC236}">
                  <a16:creationId xmlns:a16="http://schemas.microsoft.com/office/drawing/2014/main" id="{158141D4-B11E-40FA-B8CF-73477DF7FB1B}"/>
                </a:ext>
              </a:extLst>
            </p:cNvPr>
            <p:cNvSpPr/>
            <p:nvPr/>
          </p:nvSpPr>
          <p:spPr bwMode="auto">
            <a:xfrm>
              <a:off x="3514758" y="1250618"/>
              <a:ext cx="2476800" cy="5766191"/>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CA" sz="714" b="1" cap="all">
                  <a:solidFill>
                    <a:schemeClr val="tx1"/>
                  </a:solidFill>
                  <a:latin typeface="Segoe UI"/>
                </a:rPr>
                <a:t>Report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aginated reports visual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rea chart transparency slider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Inner padding for continuous axe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mall multiples: responsiveness and conditional formatting Preview</a:t>
              </a:r>
              <a:endParaRPr lang="en-CA"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714" b="1" cap="all">
                  <a:solidFill>
                    <a:schemeClr val="tx1"/>
                  </a:solidFill>
                  <a:latin typeface="Segoe UI"/>
                </a:rPr>
                <a:t>Analytic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Q&amp;A improvement for inferred results</a:t>
              </a:r>
              <a:endParaRPr lang="en-CA"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714" b="1" cap="all">
                  <a:solidFill>
                    <a:schemeClr val="tx1"/>
                  </a:solidFill>
                  <a:latin typeface="Segoe UI"/>
                </a:rPr>
                <a:t>Model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Format strings now persisted when using </a:t>
              </a:r>
              <a:r>
                <a:rPr lang="en-US" sz="612" err="1">
                  <a:solidFill>
                    <a:schemeClr val="tx1"/>
                  </a:solidFill>
                  <a:latin typeface="Segoe UI" panose="020B0502040204020203" pitchFamily="34" charset="0"/>
                  <a:cs typeface="Segoe UI" panose="020B0502040204020203" pitchFamily="34" charset="0"/>
                </a:rPr>
                <a:t>DirectQuery</a:t>
              </a:r>
              <a:r>
                <a:rPr lang="en-US" sz="612">
                  <a:solidFill>
                    <a:schemeClr val="tx1"/>
                  </a:solidFill>
                  <a:latin typeface="Segoe UI" panose="020B0502040204020203" pitchFamily="34" charset="0"/>
                  <a:cs typeface="Segoe UI" panose="020B0502040204020203" pitchFamily="34" charset="0"/>
                </a:rPr>
                <a:t> for Power BI datasets and Azure Analysis Services Preview</a:t>
              </a:r>
            </a:p>
            <a:p>
              <a:pPr defTabSz="950661">
                <a:spcBef>
                  <a:spcPts val="612"/>
                </a:spcBef>
                <a:spcAft>
                  <a:spcPts val="102"/>
                </a:spcAft>
                <a:defRPr/>
              </a:pPr>
              <a:r>
                <a:rPr lang="en-CA" sz="714" b="1" cap="all">
                  <a:solidFill>
                    <a:schemeClr val="tx1"/>
                  </a:solidFill>
                  <a:latin typeface="Segoe UI"/>
                </a:rPr>
                <a:t>Data PREPARATION</a:t>
              </a:r>
              <a:endParaRPr lang="en-US"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12" err="1">
                  <a:solidFill>
                    <a:schemeClr val="tx1"/>
                  </a:solidFill>
                  <a:latin typeface="Segoe UI" panose="020B0502040204020203" pitchFamily="34" charset="0"/>
                  <a:cs typeface="Segoe UI" panose="020B0502040204020203" pitchFamily="34" charset="0"/>
                </a:rPr>
                <a:t>DirectQuery</a:t>
              </a:r>
              <a:r>
                <a:rPr lang="en-US" sz="612">
                  <a:solidFill>
                    <a:schemeClr val="tx1"/>
                  </a:solidFill>
                  <a:latin typeface="Segoe UI" panose="020B0502040204020203" pitchFamily="34" charset="0"/>
                  <a:cs typeface="Segoe UI" panose="020B0502040204020203" pitchFamily="34" charset="0"/>
                </a:rPr>
                <a:t> support for Dataflows Generally availabl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elect all operation is now supported for Dynamic M Query Parameters Preview</a:t>
              </a:r>
              <a:endParaRPr lang="en-CA"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714" b="1" cap="all">
                  <a:solidFill>
                    <a:schemeClr val="tx1"/>
                  </a:solidFill>
                  <a:latin typeface="Segoe UI"/>
                </a:rPr>
                <a:t>Data connectivity</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Connector: Assemble View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Connector: BQE Cor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Connector: SumTotal</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dobe Analytics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naplan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zure Databrick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t>
              </a:r>
              <a:r>
                <a:rPr lang="en-CA" sz="612" err="1">
                  <a:solidFill>
                    <a:schemeClr val="tx1"/>
                  </a:solidFill>
                  <a:latin typeface="Segoe UI" panose="020B0502040204020203" pitchFamily="34" charset="0"/>
                  <a:cs typeface="Segoe UI" panose="020B0502040204020203" pitchFamily="34" charset="0"/>
                </a:rPr>
                <a:t>Cognite</a:t>
              </a:r>
              <a:r>
                <a:rPr lang="en-CA" sz="612">
                  <a:solidFill>
                    <a:schemeClr val="tx1"/>
                  </a:solidFill>
                  <a:latin typeface="Segoe UI" panose="020B0502040204020203" pitchFamily="34" charset="0"/>
                  <a:cs typeface="Segoe UI" panose="020B0502040204020203" pitchFamily="34" charset="0"/>
                </a:rPr>
                <a:t> Data Fusion</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Dynamics 365 Business Central</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FactSet Analytics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Google </a:t>
              </a:r>
              <a:r>
                <a:rPr lang="en-CA" sz="612" err="1">
                  <a:solidFill>
                    <a:schemeClr val="tx1"/>
                  </a:solidFill>
                  <a:latin typeface="Segoe UI" panose="020B0502040204020203" pitchFamily="34" charset="0"/>
                  <a:cs typeface="Segoe UI" panose="020B0502040204020203" pitchFamily="34" charset="0"/>
                </a:rPr>
                <a:t>BigQuery</a:t>
              </a:r>
              <a:r>
                <a:rPr lang="en-CA" sz="612">
                  <a:solidFill>
                    <a:schemeClr val="tx1"/>
                  </a:solidFill>
                  <a:latin typeface="Segoe UI" panose="020B0502040204020203" pitchFamily="34" charset="0"/>
                  <a:cs typeface="Segoe UI" panose="020B0502040204020203" pitchFamily="34" charset="0"/>
                </a:rPr>
                <a:t>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Starburst Enterpris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Vessel Insight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Workplace Analytics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Snowflake </a:t>
              </a:r>
            </a:p>
            <a:p>
              <a:pPr defTabSz="950661">
                <a:spcBef>
                  <a:spcPts val="612"/>
                </a:spcBef>
                <a:spcAft>
                  <a:spcPts val="102"/>
                </a:spcAft>
                <a:defRPr/>
              </a:pPr>
              <a:r>
                <a:rPr lang="en-CA" sz="714" b="1" cap="all">
                  <a:solidFill>
                    <a:schemeClr val="tx1"/>
                  </a:solidFill>
                  <a:latin typeface="Segoe UI"/>
                </a:rPr>
                <a:t>Servic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atasets discoverability</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Request access to dataset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Mandatory label policy for MIP sensitivity label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Admin API to Set and Remove MIP sensitivity label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Automate deployments with new APIs and PowerShell sample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Manage Dataflows in deployment pipeline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Admin APIs for deployment pipeline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Long-term usage and performance insights Preview</a:t>
              </a:r>
            </a:p>
            <a:p>
              <a:pPr defTabSz="950661">
                <a:spcBef>
                  <a:spcPts val="612"/>
                </a:spcBef>
                <a:spcAft>
                  <a:spcPts val="102"/>
                </a:spcAft>
                <a:defRPr/>
              </a:pPr>
              <a:r>
                <a:rPr lang="en-CA" sz="714" b="1" cap="all">
                  <a:solidFill>
                    <a:schemeClr val="tx1"/>
                  </a:solidFill>
                  <a:latin typeface="Segoe UI"/>
                </a:rPr>
                <a:t>Mobil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 new look for the Power BI Windows app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assing URL parameters to paginated reports</a:t>
              </a:r>
              <a:endParaRPr lang="en-CA"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714" b="1" cap="all">
                  <a:solidFill>
                    <a:schemeClr val="tx1"/>
                  </a:solidFill>
                  <a:latin typeface="Segoe UI"/>
                </a:rPr>
                <a:t>Visualization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rill Down Combo Bar PRO by </a:t>
              </a:r>
              <a:r>
                <a:rPr lang="en-CA" sz="612" err="1">
                  <a:solidFill>
                    <a:schemeClr val="tx1"/>
                  </a:solidFill>
                  <a:latin typeface="Segoe UI" panose="020B0502040204020203" pitchFamily="34" charset="0"/>
                  <a:cs typeface="Segoe UI" panose="020B0502040204020203" pitchFamily="34" charset="0"/>
                </a:rPr>
                <a:t>ZoomCharts</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umbbell Bar Chart by Nova Silva</a:t>
              </a: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graphomate</a:t>
              </a:r>
              <a:r>
                <a:rPr lang="en-CA" sz="612">
                  <a:solidFill>
                    <a:schemeClr val="tx1"/>
                  </a:solidFill>
                  <a:latin typeface="Segoe UI" panose="020B0502040204020203" pitchFamily="34" charset="0"/>
                  <a:cs typeface="Segoe UI" panose="020B0502040204020203" pitchFamily="34" charset="0"/>
                </a:rPr>
                <a:t> bubbles 2021.2</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Zebra BI Tables 5.0</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Zebra BI Charts 5.0</a:t>
              </a:r>
            </a:p>
            <a:p>
              <a:pPr defTabSz="950661">
                <a:spcBef>
                  <a:spcPts val="612"/>
                </a:spcBef>
                <a:spcAft>
                  <a:spcPts val="102"/>
                </a:spcAft>
                <a:defRPr/>
              </a:pPr>
              <a:r>
                <a:rPr lang="en-CA" sz="714" b="1" cap="all">
                  <a:solidFill>
                    <a:schemeClr val="tx1"/>
                  </a:solidFill>
                  <a:latin typeface="Segoe UI"/>
                </a:rPr>
                <a:t>Template app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Template app one-click update and republish</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alesforce Analytics for Sales Managers</a:t>
              </a:r>
            </a:p>
          </p:txBody>
        </p:sp>
        <p:sp>
          <p:nvSpPr>
            <p:cNvPr id="9" name="Rectangle 8">
              <a:extLst>
                <a:ext uri="{FF2B5EF4-FFF2-40B4-BE49-F238E27FC236}">
                  <a16:creationId xmlns:a16="http://schemas.microsoft.com/office/drawing/2014/main" id="{04D71F7D-08A6-4626-AF80-2AFD6EE8956A}"/>
                </a:ext>
              </a:extLst>
            </p:cNvPr>
            <p:cNvSpPr/>
            <p:nvPr/>
          </p:nvSpPr>
          <p:spPr bwMode="auto">
            <a:xfrm>
              <a:off x="6081052" y="1241239"/>
              <a:ext cx="2476800" cy="4546178"/>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CA" sz="714" b="1" cap="all">
                  <a:solidFill>
                    <a:schemeClr val="tx1"/>
                  </a:solidFill>
                  <a:latin typeface="Segoe UI"/>
                </a:rPr>
                <a:t>Report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mall multiples Generally availabl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onditional formatting for more propertie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s built-in visuals now include the Power Automate visual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ensitivity labels in Power BI Desktop Generally availabl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Republish PBIX with option to not override label in destination.</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Inherit sensitivity label set to Excel files when importing data into Power BI</a:t>
              </a:r>
            </a:p>
            <a:p>
              <a:pPr defTabSz="950661">
                <a:spcBef>
                  <a:spcPts val="612"/>
                </a:spcBef>
                <a:spcAft>
                  <a:spcPts val="102"/>
                </a:spcAft>
                <a:defRPr/>
              </a:pPr>
              <a:r>
                <a:rPr lang="en-CA" sz="714" b="1" cap="all">
                  <a:solidFill>
                    <a:schemeClr val="tx1"/>
                  </a:solidFill>
                  <a:latin typeface="Segoe UI"/>
                </a:rPr>
                <a:t>Model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Model View Generally available</a:t>
              </a:r>
            </a:p>
            <a:p>
              <a:pPr marL="108469" lvl="1" indent="-108469" defTabSz="950661">
                <a:buFont typeface="Arial" panose="020B0604020202020204" pitchFamily="34" charset="0"/>
                <a:buChar char="•"/>
                <a:defRPr/>
              </a:pPr>
              <a:r>
                <a:rPr lang="en-US" sz="612" err="1">
                  <a:solidFill>
                    <a:schemeClr val="tx1"/>
                  </a:solidFill>
                  <a:latin typeface="Segoe UI" panose="020B0502040204020203" pitchFamily="34" charset="0"/>
                  <a:cs typeface="Segoe UI" panose="020B0502040204020203" pitchFamily="34" charset="0"/>
                </a:rPr>
                <a:t>DirectQuery</a:t>
              </a:r>
              <a:r>
                <a:rPr lang="en-US" sz="612">
                  <a:solidFill>
                    <a:schemeClr val="tx1"/>
                  </a:solidFill>
                  <a:latin typeface="Segoe UI" panose="020B0502040204020203" pitchFamily="34" charset="0"/>
                  <a:cs typeface="Segoe UI" panose="020B0502040204020203" pitchFamily="34" charset="0"/>
                </a:rPr>
                <a:t> for Azure Analysis Services &amp; Power BI datasets Updates Preview</a:t>
              </a:r>
              <a:endParaRPr lang="en-CA"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714" b="1" cap="all">
                  <a:solidFill>
                    <a:schemeClr val="tx1"/>
                  </a:solidFill>
                  <a:latin typeface="Segoe UI"/>
                </a:rPr>
                <a:t>Data connectivity</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Connector: Amazon Athena</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Databrick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t>
              </a:r>
              <a:r>
                <a:rPr lang="en-CA" sz="612" err="1">
                  <a:solidFill>
                    <a:schemeClr val="tx1"/>
                  </a:solidFill>
                  <a:latin typeface="Segoe UI" panose="020B0502040204020203" pitchFamily="34" charset="0"/>
                  <a:cs typeface="Segoe UI" panose="020B0502040204020203" pitchFamily="34" charset="0"/>
                </a:rPr>
                <a:t>Dremio</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MariaDB</a:t>
              </a:r>
            </a:p>
            <a:p>
              <a:pPr marL="0" lvl="1" defTabSz="950661">
                <a:defRPr/>
              </a:pPr>
              <a:endParaRPr lang="en-CA"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Servic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treaming dataflow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Mandatory label policy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ustom help link for sensitivity label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atasets hub improvement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Goals support in lineage 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canner API (Admin REST APIs) enhancements to include dataset tables, columns, measures, DAX expressions, and mashup queries </a:t>
              </a:r>
            </a:p>
            <a:p>
              <a:pPr defTabSz="950661">
                <a:spcBef>
                  <a:spcPts val="612"/>
                </a:spcBef>
                <a:spcAft>
                  <a:spcPts val="102"/>
                </a:spcAft>
                <a:defRPr/>
              </a:pPr>
              <a:r>
                <a:rPr lang="en-CA" sz="714" b="1" cap="all">
                  <a:solidFill>
                    <a:schemeClr val="tx1"/>
                  </a:solidFill>
                  <a:latin typeface="Segoe UI"/>
                </a:rPr>
                <a:t>Visualization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Charticulator</a:t>
              </a:r>
              <a:r>
                <a:rPr lang="en-CA" sz="612">
                  <a:solidFill>
                    <a:schemeClr val="tx1"/>
                  </a:solidFill>
                  <a:latin typeface="Segoe UI" panose="020B0502040204020203" pitchFamily="34" charset="0"/>
                  <a:cs typeface="Segoe UI" panose="020B0502040204020203" pitchFamily="34" charset="0"/>
                </a:rPr>
                <a:t> (custom visual version 1.0.5)</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Multiple Sparklines</a:t>
              </a: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Acterys</a:t>
              </a:r>
              <a:r>
                <a:rPr lang="en-CA" sz="612">
                  <a:solidFill>
                    <a:schemeClr val="tx1"/>
                  </a:solidFill>
                  <a:latin typeface="Segoe UI" panose="020B0502040204020203" pitchFamily="34" charset="0"/>
                  <a:cs typeface="Segoe UI" panose="020B0502040204020203" pitchFamily="34" charset="0"/>
                </a:rPr>
                <a:t> Reporting</a:t>
              </a: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PureViz</a:t>
              </a:r>
              <a:r>
                <a:rPr lang="en-CA" sz="612">
                  <a:solidFill>
                    <a:schemeClr val="tx1"/>
                  </a:solidFill>
                  <a:latin typeface="Segoe UI" panose="020B0502040204020203" pitchFamily="34" charset="0"/>
                  <a:cs typeface="Segoe UI" panose="020B0502040204020203" pitchFamily="34" charset="0"/>
                </a:rPr>
                <a:t> Infographic – from PowerPoint to Power BI</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ynamic radial bar chart by JTA</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rill Down Waterfall PRO</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trol Chart </a:t>
              </a:r>
              <a:r>
                <a:rPr lang="en-CA" sz="612" err="1">
                  <a:solidFill>
                    <a:schemeClr val="tx1"/>
                  </a:solidFill>
                  <a:latin typeface="Segoe UI" panose="020B0502040204020203" pitchFamily="34" charset="0"/>
                  <a:cs typeface="Segoe UI" panose="020B0502040204020203" pitchFamily="34" charset="0"/>
                </a:rPr>
                <a:t>XmR</a:t>
              </a:r>
              <a:r>
                <a:rPr lang="en-CA" sz="612">
                  <a:solidFill>
                    <a:schemeClr val="tx1"/>
                  </a:solidFill>
                  <a:latin typeface="Segoe UI" panose="020B0502040204020203" pitchFamily="34" charset="0"/>
                  <a:cs typeface="Segoe UI" panose="020B0502040204020203" pitchFamily="34" charset="0"/>
                </a:rPr>
                <a:t> by Nova Silva</a:t>
              </a:r>
            </a:p>
            <a:p>
              <a:pPr defTabSz="950661">
                <a:spcBef>
                  <a:spcPts val="612"/>
                </a:spcBef>
                <a:spcAft>
                  <a:spcPts val="102"/>
                </a:spcAft>
                <a:defRPr/>
              </a:pPr>
              <a:r>
                <a:rPr lang="en-CA" sz="714" b="1" cap="all">
                  <a:solidFill>
                    <a:schemeClr val="tx1"/>
                  </a:solidFill>
                  <a:latin typeface="Segoe UI"/>
                </a:rPr>
                <a:t>Template app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nalyze your email marketing performance using Mailchimp and </a:t>
              </a:r>
              <a:r>
                <a:rPr lang="en-US" sz="612" err="1">
                  <a:solidFill>
                    <a:schemeClr val="tx1"/>
                  </a:solidFill>
                  <a:latin typeface="Segoe UI" panose="020B0502040204020203" pitchFamily="34" charset="0"/>
                  <a:cs typeface="Segoe UI" panose="020B0502040204020203" pitchFamily="34" charset="0"/>
                </a:rPr>
                <a:t>ActiveCampaign</a:t>
              </a:r>
              <a:r>
                <a:rPr lang="en-CA" sz="612">
                  <a:solidFill>
                    <a:schemeClr val="tx1"/>
                  </a:solidFill>
                  <a:latin typeface="Segoe UI" panose="020B0502040204020203" pitchFamily="34" charset="0"/>
                  <a:cs typeface="Segoe UI" panose="020B0502040204020203" pitchFamily="34" charset="0"/>
                </a:rPr>
                <a:t>Analysis</a:t>
              </a:r>
            </a:p>
            <a:p>
              <a:pPr defTabSz="950661">
                <a:spcBef>
                  <a:spcPts val="612"/>
                </a:spcBef>
                <a:spcAft>
                  <a:spcPts val="102"/>
                </a:spcAft>
                <a:defRPr/>
              </a:pPr>
              <a:r>
                <a:rPr lang="en-CA" sz="714" b="1" cap="all">
                  <a:solidFill>
                    <a:schemeClr val="tx1"/>
                  </a:solidFill>
                  <a:latin typeface="Segoe UI"/>
                </a:rPr>
                <a:t>Other</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Desktop Installer Changes &amp; WebView2</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On-premises data gateway update</a:t>
              </a:r>
            </a:p>
          </p:txBody>
        </p:sp>
        <p:sp>
          <p:nvSpPr>
            <p:cNvPr id="11" name="Rectangle 10">
              <a:extLst>
                <a:ext uri="{FF2B5EF4-FFF2-40B4-BE49-F238E27FC236}">
                  <a16:creationId xmlns:a16="http://schemas.microsoft.com/office/drawing/2014/main" id="{DB1C582D-05D5-4EBF-9FB4-FAD8C1A098EC}"/>
                </a:ext>
              </a:extLst>
            </p:cNvPr>
            <p:cNvSpPr/>
            <p:nvPr/>
          </p:nvSpPr>
          <p:spPr bwMode="auto">
            <a:xfrm>
              <a:off x="8647333" y="1250618"/>
              <a:ext cx="2476800" cy="4001157"/>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CA" sz="714" b="1" cap="all">
                  <a:solidFill>
                    <a:schemeClr val="tx1"/>
                  </a:solidFill>
                  <a:latin typeface="Segoe UI"/>
                </a:rPr>
                <a:t>Report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ustomize shape formatt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X-axis constant line improvement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Default sensitivity label policy in Power BI desktop  preview</a:t>
              </a:r>
            </a:p>
            <a:p>
              <a:pPr defTabSz="950661">
                <a:spcBef>
                  <a:spcPts val="612"/>
                </a:spcBef>
                <a:spcAft>
                  <a:spcPts val="102"/>
                </a:spcAft>
                <a:defRPr/>
              </a:pPr>
              <a:r>
                <a:rPr lang="en-CA" sz="714" b="1" cap="all">
                  <a:solidFill>
                    <a:schemeClr val="tx1"/>
                  </a:solidFill>
                  <a:latin typeface="Segoe UI"/>
                </a:rPr>
                <a:t>Analytic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haring Q&amp;A synonyms</a:t>
              </a:r>
            </a:p>
            <a:p>
              <a:pPr marL="108469" lvl="1" indent="-108469" defTabSz="950661">
                <a:buFont typeface="Arial" panose="020B0604020202020204" pitchFamily="34" charset="0"/>
                <a:buChar char="•"/>
                <a:defRPr/>
              </a:pPr>
              <a:endParaRPr lang="en-CA"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Model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way of expressing Date and </a:t>
              </a:r>
              <a:r>
                <a:rPr lang="en-US" sz="612" err="1">
                  <a:solidFill>
                    <a:schemeClr val="tx1"/>
                  </a:solidFill>
                  <a:latin typeface="Segoe UI" panose="020B0502040204020203" pitchFamily="34" charset="0"/>
                  <a:cs typeface="Segoe UI" panose="020B0502040204020203" pitchFamily="34" charset="0"/>
                </a:rPr>
                <a:t>DateTime</a:t>
              </a:r>
              <a:r>
                <a:rPr lang="en-US" sz="612">
                  <a:solidFill>
                    <a:schemeClr val="tx1"/>
                  </a:solidFill>
                  <a:latin typeface="Segoe UI" panose="020B0502040204020203" pitchFamily="34" charset="0"/>
                  <a:cs typeface="Segoe UI" panose="020B0502040204020203" pitchFamily="34" charset="0"/>
                </a:rPr>
                <a:t> value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Evaluation configuration setting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utomatic aggregations (preview)</a:t>
              </a:r>
            </a:p>
            <a:p>
              <a:pPr defTabSz="950661">
                <a:spcBef>
                  <a:spcPts val="612"/>
                </a:spcBef>
                <a:spcAft>
                  <a:spcPts val="102"/>
                </a:spcAft>
                <a:defRPr/>
              </a:pPr>
              <a:r>
                <a:rPr lang="en-CA" sz="714" b="1" cap="all">
                  <a:solidFill>
                    <a:schemeClr val="tx1"/>
                  </a:solidFill>
                  <a:latin typeface="Segoe UI"/>
                </a:rPr>
                <a:t>Data connectivity &amp; PREPARATION</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Connector: </a:t>
              </a:r>
              <a:r>
                <a:rPr lang="en-CA" sz="612" err="1">
                  <a:solidFill>
                    <a:schemeClr val="tx1"/>
                  </a:solidFill>
                  <a:latin typeface="Segoe UI" panose="020B0502040204020203" pitchFamily="34" charset="0"/>
                  <a:cs typeface="Segoe UI" panose="020B0502040204020203" pitchFamily="34" charset="0"/>
                </a:rPr>
                <a:t>Automy</a:t>
              </a:r>
              <a:r>
                <a:rPr lang="en-CA" sz="612">
                  <a:solidFill>
                    <a:schemeClr val="tx1"/>
                  </a:solidFill>
                  <a:latin typeface="Segoe UI" panose="020B0502040204020203" pitchFamily="34" charset="0"/>
                  <a:cs typeface="Segoe UI" panose="020B0502040204020203" pitchFamily="34" charset="0"/>
                </a:rPr>
                <a:t> Data Analytics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One Dataflow Connector</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zure Databrick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t>
              </a:r>
              <a:r>
                <a:rPr lang="en-CA" sz="612" err="1">
                  <a:solidFill>
                    <a:schemeClr val="tx1"/>
                  </a:solidFill>
                  <a:latin typeface="Segoe UI" panose="020B0502040204020203" pitchFamily="34" charset="0"/>
                  <a:cs typeface="Segoe UI" panose="020B0502040204020203" pitchFamily="34" charset="0"/>
                </a:rPr>
                <a:t>Dremio</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Google </a:t>
              </a:r>
              <a:r>
                <a:rPr lang="en-CA" sz="612" err="1">
                  <a:solidFill>
                    <a:schemeClr val="tx1"/>
                  </a:solidFill>
                  <a:latin typeface="Segoe UI" panose="020B0502040204020203" pitchFamily="34" charset="0"/>
                  <a:cs typeface="Segoe UI" panose="020B0502040204020203" pitchFamily="34" charset="0"/>
                </a:rPr>
                <a:t>BigQuery</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t>
              </a:r>
              <a:r>
                <a:rPr lang="en-CA" sz="612" err="1">
                  <a:solidFill>
                    <a:schemeClr val="tx1"/>
                  </a:solidFill>
                  <a:latin typeface="Segoe UI" panose="020B0502040204020203" pitchFamily="34" charset="0"/>
                  <a:cs typeface="Segoe UI" panose="020B0502040204020203" pitchFamily="34" charset="0"/>
                </a:rPr>
                <a:t>Quickbase</a:t>
              </a:r>
              <a:endParaRPr lang="en-CA" sz="612">
                <a:solidFill>
                  <a:schemeClr val="tx1"/>
                </a:solidFill>
                <a:latin typeface="Segoe UI" panose="020B0502040204020203" pitchFamily="34" charset="0"/>
                <a:cs typeface="Segoe UI" panose="020B0502040204020203" pitchFamily="34" charset="0"/>
              </a:endParaRPr>
            </a:p>
            <a:p>
              <a:pPr marL="0" lvl="1" defTabSz="950661">
                <a:defRPr/>
              </a:pPr>
              <a:endParaRPr lang="en-CA"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Servic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ensitivity labels for paginated report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Leverage automatic aggregations to enhance performance over </a:t>
              </a:r>
              <a:r>
                <a:rPr lang="en-CA" sz="612" err="1">
                  <a:solidFill>
                    <a:schemeClr val="tx1"/>
                  </a:solidFill>
                  <a:latin typeface="Segoe UI" panose="020B0502040204020203" pitchFamily="34" charset="0"/>
                  <a:cs typeface="Segoe UI" panose="020B0502040204020203" pitchFamily="34" charset="0"/>
                </a:rPr>
                <a:t>DirectQuery</a:t>
              </a:r>
              <a:r>
                <a:rPr lang="en-CA" sz="612">
                  <a:solidFill>
                    <a:schemeClr val="tx1"/>
                  </a:solidFill>
                  <a:latin typeface="Segoe UI" panose="020B0502040204020203" pitchFamily="34" charset="0"/>
                  <a:cs typeface="Segoe UI" panose="020B0502040204020203" pitchFamily="34" charset="0"/>
                </a:rPr>
                <a:t> dataset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Power BI REST API support for DAX Querie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etailed historical activity information for Premium datasets preview</a:t>
              </a:r>
            </a:p>
            <a:p>
              <a:pPr defTabSz="950661">
                <a:spcBef>
                  <a:spcPts val="612"/>
                </a:spcBef>
                <a:spcAft>
                  <a:spcPts val="102"/>
                </a:spcAft>
                <a:defRPr/>
              </a:pPr>
              <a:r>
                <a:rPr lang="en-CA" sz="714" b="1" cap="all">
                  <a:solidFill>
                    <a:schemeClr val="tx1"/>
                  </a:solidFill>
                  <a:latin typeface="Segoe UI"/>
                </a:rPr>
                <a:t>Mobil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mobile report footer</a:t>
              </a:r>
            </a:p>
            <a:p>
              <a:pPr marL="0" lvl="1" defTabSz="950661">
                <a:defRPr/>
              </a:pPr>
              <a:endParaRPr lang="en-CA"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Power BI visuals’ store experienc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Timeline by </a:t>
              </a:r>
              <a:r>
                <a:rPr lang="en-US" sz="612" err="1">
                  <a:solidFill>
                    <a:schemeClr val="tx1"/>
                  </a:solidFill>
                  <a:latin typeface="Segoe UI" panose="020B0502040204020203" pitchFamily="34" charset="0"/>
                  <a:cs typeface="Segoe UI" panose="020B0502040204020203" pitchFamily="34" charset="0"/>
                </a:rPr>
                <a:t>Queryon</a:t>
              </a:r>
              <a:endParaRPr lang="en-US"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Drill Down Graph PRO by </a:t>
              </a:r>
              <a:r>
                <a:rPr lang="en-US" sz="612" err="1">
                  <a:solidFill>
                    <a:schemeClr val="tx1"/>
                  </a:solidFill>
                  <a:latin typeface="Segoe UI" panose="020B0502040204020203" pitchFamily="34" charset="0"/>
                  <a:cs typeface="Segoe UI" panose="020B0502040204020203" pitchFamily="34" charset="0"/>
                </a:rPr>
                <a:t>ZoomCharts</a:t>
              </a:r>
              <a:endParaRPr lang="en-US"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12" err="1">
                  <a:solidFill>
                    <a:schemeClr val="tx1"/>
                  </a:solidFill>
                  <a:latin typeface="Segoe UI" panose="020B0502040204020203" pitchFamily="34" charset="0"/>
                  <a:cs typeface="Segoe UI" panose="020B0502040204020203" pitchFamily="34" charset="0"/>
                </a:rPr>
                <a:t>BIpm</a:t>
              </a:r>
              <a:r>
                <a:rPr lang="en-US" sz="612">
                  <a:solidFill>
                    <a:schemeClr val="tx1"/>
                  </a:solidFill>
                  <a:latin typeface="Segoe UI" panose="020B0502040204020203" pitchFamily="34" charset="0"/>
                  <a:cs typeface="Segoe UI" panose="020B0502040204020203" pitchFamily="34" charset="0"/>
                </a:rPr>
                <a:t> custom visual by </a:t>
              </a:r>
              <a:r>
                <a:rPr lang="en-US" sz="612" err="1">
                  <a:solidFill>
                    <a:schemeClr val="tx1"/>
                  </a:solidFill>
                  <a:latin typeface="Segoe UI" panose="020B0502040204020203" pitchFamily="34" charset="0"/>
                  <a:cs typeface="Segoe UI" panose="020B0502040204020203" pitchFamily="34" charset="0"/>
                </a:rPr>
                <a:t>ProcessM</a:t>
              </a:r>
              <a:endParaRPr lang="en-US"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714" b="1" cap="all">
                  <a:solidFill>
                    <a:schemeClr val="tx1"/>
                  </a:solidFill>
                  <a:latin typeface="Segoe UI"/>
                </a:rPr>
                <a:t>Developer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Angular component</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REST API support for DAX queries preview</a:t>
              </a:r>
            </a:p>
          </p:txBody>
        </p:sp>
        <p:grpSp>
          <p:nvGrpSpPr>
            <p:cNvPr id="14" name="Group 13">
              <a:extLst>
                <a:ext uri="{FF2B5EF4-FFF2-40B4-BE49-F238E27FC236}">
                  <a16:creationId xmlns:a16="http://schemas.microsoft.com/office/drawing/2014/main" id="{D3F3F3C1-6D76-47A5-9162-E6709F30E895}"/>
                </a:ext>
              </a:extLst>
            </p:cNvPr>
            <p:cNvGrpSpPr/>
            <p:nvPr/>
          </p:nvGrpSpPr>
          <p:grpSpPr>
            <a:xfrm>
              <a:off x="-30400666" y="944194"/>
              <a:ext cx="44094658" cy="226604"/>
              <a:chOff x="-30400666" y="944194"/>
              <a:chExt cx="44094658" cy="226604"/>
            </a:xfrm>
          </p:grpSpPr>
          <p:sp>
            <p:nvSpPr>
              <p:cNvPr id="105" name="Rectangle 104">
                <a:extLst>
                  <a:ext uri="{FF2B5EF4-FFF2-40B4-BE49-F238E27FC236}">
                    <a16:creationId xmlns:a16="http://schemas.microsoft.com/office/drawing/2014/main" id="{4AEE8DD7-31D9-4C85-B122-F58498A09B68}"/>
                  </a:ext>
                </a:extLst>
              </p:cNvPr>
              <p:cNvSpPr/>
              <p:nvPr/>
            </p:nvSpPr>
            <p:spPr bwMode="auto">
              <a:xfrm>
                <a:off x="-27962681" y="944194"/>
                <a:ext cx="2276739"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March 2020</a:t>
                </a:r>
              </a:p>
            </p:txBody>
          </p:sp>
          <p:sp>
            <p:nvSpPr>
              <p:cNvPr id="162" name="Rectangle 161">
                <a:extLst>
                  <a:ext uri="{FF2B5EF4-FFF2-40B4-BE49-F238E27FC236}">
                    <a16:creationId xmlns:a16="http://schemas.microsoft.com/office/drawing/2014/main" id="{E1FFBD3A-60B7-4B4F-A884-669EDBE4AF01}"/>
                  </a:ext>
                </a:extLst>
              </p:cNvPr>
              <p:cNvSpPr/>
              <p:nvPr/>
            </p:nvSpPr>
            <p:spPr bwMode="auto">
              <a:xfrm>
                <a:off x="-30400666" y="944194"/>
                <a:ext cx="2276739"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January/February 2020</a:t>
                </a:r>
              </a:p>
            </p:txBody>
          </p:sp>
          <p:sp>
            <p:nvSpPr>
              <p:cNvPr id="54" name="Rectangle 53">
                <a:extLst>
                  <a:ext uri="{FF2B5EF4-FFF2-40B4-BE49-F238E27FC236}">
                    <a16:creationId xmlns:a16="http://schemas.microsoft.com/office/drawing/2014/main" id="{DBAB5804-94F1-2C4A-B242-C63807F82EA2}"/>
                  </a:ext>
                </a:extLst>
              </p:cNvPr>
              <p:cNvSpPr/>
              <p:nvPr/>
            </p:nvSpPr>
            <p:spPr bwMode="auto">
              <a:xfrm>
                <a:off x="-23087392" y="954357"/>
                <a:ext cx="2276740" cy="206294"/>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June 2020</a:t>
                </a:r>
              </a:p>
            </p:txBody>
          </p:sp>
          <p:sp>
            <p:nvSpPr>
              <p:cNvPr id="55" name="Rectangle 54">
                <a:extLst>
                  <a:ext uri="{FF2B5EF4-FFF2-40B4-BE49-F238E27FC236}">
                    <a16:creationId xmlns:a16="http://schemas.microsoft.com/office/drawing/2014/main" id="{DE62AF53-63FD-C149-91E0-11CAFCEA48C5}"/>
                  </a:ext>
                </a:extLst>
              </p:cNvPr>
              <p:cNvSpPr/>
              <p:nvPr/>
            </p:nvSpPr>
            <p:spPr bwMode="auto">
              <a:xfrm>
                <a:off x="-20621905"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July 2020</a:t>
                </a:r>
              </a:p>
            </p:txBody>
          </p:sp>
          <p:sp>
            <p:nvSpPr>
              <p:cNvPr id="56" name="Rectangle 55">
                <a:extLst>
                  <a:ext uri="{FF2B5EF4-FFF2-40B4-BE49-F238E27FC236}">
                    <a16:creationId xmlns:a16="http://schemas.microsoft.com/office/drawing/2014/main" id="{886D3022-0218-9948-876E-C7B887300F81}"/>
                  </a:ext>
                </a:extLst>
              </p:cNvPr>
              <p:cNvSpPr/>
              <p:nvPr/>
            </p:nvSpPr>
            <p:spPr bwMode="auto">
              <a:xfrm>
                <a:off x="-15690932"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September 2020</a:t>
                </a:r>
              </a:p>
            </p:txBody>
          </p:sp>
          <p:sp>
            <p:nvSpPr>
              <p:cNvPr id="57" name="Rectangle 56">
                <a:extLst>
                  <a:ext uri="{FF2B5EF4-FFF2-40B4-BE49-F238E27FC236}">
                    <a16:creationId xmlns:a16="http://schemas.microsoft.com/office/drawing/2014/main" id="{54D1D31B-AE60-814C-B9B9-993103228214}"/>
                  </a:ext>
                </a:extLst>
              </p:cNvPr>
              <p:cNvSpPr/>
              <p:nvPr/>
            </p:nvSpPr>
            <p:spPr bwMode="auto">
              <a:xfrm>
                <a:off x="-18156419"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August 2020</a:t>
                </a:r>
              </a:p>
            </p:txBody>
          </p:sp>
          <p:sp>
            <p:nvSpPr>
              <p:cNvPr id="58" name="Rectangle 57">
                <a:extLst>
                  <a:ext uri="{FF2B5EF4-FFF2-40B4-BE49-F238E27FC236}">
                    <a16:creationId xmlns:a16="http://schemas.microsoft.com/office/drawing/2014/main" id="{E484B6D7-BD7B-7747-9111-660DAE617E6F}"/>
                  </a:ext>
                </a:extLst>
              </p:cNvPr>
              <p:cNvSpPr/>
              <p:nvPr/>
            </p:nvSpPr>
            <p:spPr bwMode="auto">
              <a:xfrm>
                <a:off x="-13276934"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October 2020</a:t>
                </a:r>
              </a:p>
            </p:txBody>
          </p:sp>
          <p:sp>
            <p:nvSpPr>
              <p:cNvPr id="59" name="Rectangle 58">
                <a:extLst>
                  <a:ext uri="{FF2B5EF4-FFF2-40B4-BE49-F238E27FC236}">
                    <a16:creationId xmlns:a16="http://schemas.microsoft.com/office/drawing/2014/main" id="{BA7BA0EC-18D6-FF40-89A7-EFD6B47EEB24}"/>
                  </a:ext>
                </a:extLst>
              </p:cNvPr>
              <p:cNvSpPr/>
              <p:nvPr/>
            </p:nvSpPr>
            <p:spPr bwMode="auto">
              <a:xfrm>
                <a:off x="-25552878"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April/May 2020</a:t>
                </a:r>
              </a:p>
            </p:txBody>
          </p:sp>
          <p:sp>
            <p:nvSpPr>
              <p:cNvPr id="52" name="Rectangle 51">
                <a:extLst>
                  <a:ext uri="{FF2B5EF4-FFF2-40B4-BE49-F238E27FC236}">
                    <a16:creationId xmlns:a16="http://schemas.microsoft.com/office/drawing/2014/main" id="{F3FAE238-324C-0C4A-A7F3-B8D61954F052}"/>
                  </a:ext>
                </a:extLst>
              </p:cNvPr>
              <p:cNvSpPr/>
              <p:nvPr/>
            </p:nvSpPr>
            <p:spPr bwMode="auto">
              <a:xfrm>
                <a:off x="-10871657"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November 2020</a:t>
                </a:r>
              </a:p>
            </p:txBody>
          </p:sp>
          <p:sp>
            <p:nvSpPr>
              <p:cNvPr id="66" name="Rectangle 65">
                <a:extLst>
                  <a:ext uri="{FF2B5EF4-FFF2-40B4-BE49-F238E27FC236}">
                    <a16:creationId xmlns:a16="http://schemas.microsoft.com/office/drawing/2014/main" id="{61B6A964-6AAC-B34F-A50A-BE8F2535A3AC}"/>
                  </a:ext>
                </a:extLst>
              </p:cNvPr>
              <p:cNvSpPr/>
              <p:nvPr/>
            </p:nvSpPr>
            <p:spPr bwMode="auto">
              <a:xfrm>
                <a:off x="-8505408"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December 2020</a:t>
                </a:r>
              </a:p>
            </p:txBody>
          </p:sp>
          <p:sp>
            <p:nvSpPr>
              <p:cNvPr id="68" name="Rectangle 67">
                <a:extLst>
                  <a:ext uri="{FF2B5EF4-FFF2-40B4-BE49-F238E27FC236}">
                    <a16:creationId xmlns:a16="http://schemas.microsoft.com/office/drawing/2014/main" id="{E1EA3C4F-1284-7342-BB2B-6C1D9F231727}"/>
                  </a:ext>
                </a:extLst>
              </p:cNvPr>
              <p:cNvSpPr/>
              <p:nvPr/>
            </p:nvSpPr>
            <p:spPr bwMode="auto">
              <a:xfrm>
                <a:off x="-6138202"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January / February 2021</a:t>
                </a:r>
              </a:p>
            </p:txBody>
          </p:sp>
          <p:sp>
            <p:nvSpPr>
              <p:cNvPr id="70" name="Rectangle 69">
                <a:extLst>
                  <a:ext uri="{FF2B5EF4-FFF2-40B4-BE49-F238E27FC236}">
                    <a16:creationId xmlns:a16="http://schemas.microsoft.com/office/drawing/2014/main" id="{67ACB735-1FEB-F34F-A542-C582BAD01CB6}"/>
                  </a:ext>
                </a:extLst>
              </p:cNvPr>
              <p:cNvSpPr/>
              <p:nvPr/>
            </p:nvSpPr>
            <p:spPr bwMode="auto">
              <a:xfrm>
                <a:off x="-3775460"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March 2021</a:t>
                </a:r>
              </a:p>
            </p:txBody>
          </p:sp>
          <p:sp>
            <p:nvSpPr>
              <p:cNvPr id="72" name="Rectangle 71">
                <a:extLst>
                  <a:ext uri="{FF2B5EF4-FFF2-40B4-BE49-F238E27FC236}">
                    <a16:creationId xmlns:a16="http://schemas.microsoft.com/office/drawing/2014/main" id="{3AFA981E-0B0D-4745-BAE1-1577139F84FF}"/>
                  </a:ext>
                </a:extLst>
              </p:cNvPr>
              <p:cNvSpPr/>
              <p:nvPr/>
            </p:nvSpPr>
            <p:spPr bwMode="auto">
              <a:xfrm>
                <a:off x="-1417783"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April 2021</a:t>
                </a:r>
              </a:p>
            </p:txBody>
          </p:sp>
          <p:sp>
            <p:nvSpPr>
              <p:cNvPr id="74" name="Rectangle 73">
                <a:extLst>
                  <a:ext uri="{FF2B5EF4-FFF2-40B4-BE49-F238E27FC236}">
                    <a16:creationId xmlns:a16="http://schemas.microsoft.com/office/drawing/2014/main" id="{C4B6EC91-6806-7549-9E90-AB41AE6B7B22}"/>
                  </a:ext>
                </a:extLst>
              </p:cNvPr>
              <p:cNvSpPr/>
              <p:nvPr/>
            </p:nvSpPr>
            <p:spPr bwMode="auto">
              <a:xfrm>
                <a:off x="948464" y="949668"/>
                <a:ext cx="247680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May 2021</a:t>
                </a:r>
              </a:p>
            </p:txBody>
          </p:sp>
          <p:sp>
            <p:nvSpPr>
              <p:cNvPr id="6" name="Rectangle 5">
                <a:extLst>
                  <a:ext uri="{FF2B5EF4-FFF2-40B4-BE49-F238E27FC236}">
                    <a16:creationId xmlns:a16="http://schemas.microsoft.com/office/drawing/2014/main" id="{2BE93463-C915-40BE-B90F-340690583902}"/>
                  </a:ext>
                </a:extLst>
              </p:cNvPr>
              <p:cNvSpPr/>
              <p:nvPr/>
            </p:nvSpPr>
            <p:spPr bwMode="auto">
              <a:xfrm>
                <a:off x="3514771" y="954357"/>
                <a:ext cx="247680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June 2021</a:t>
                </a:r>
              </a:p>
            </p:txBody>
          </p:sp>
          <p:sp>
            <p:nvSpPr>
              <p:cNvPr id="8" name="Rectangle 7">
                <a:extLst>
                  <a:ext uri="{FF2B5EF4-FFF2-40B4-BE49-F238E27FC236}">
                    <a16:creationId xmlns:a16="http://schemas.microsoft.com/office/drawing/2014/main" id="{29AEAB1D-5E5F-45AC-8705-D6BA53AED095}"/>
                  </a:ext>
                </a:extLst>
              </p:cNvPr>
              <p:cNvSpPr/>
              <p:nvPr/>
            </p:nvSpPr>
            <p:spPr bwMode="auto">
              <a:xfrm>
                <a:off x="6081065" y="944978"/>
                <a:ext cx="247680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July 2021</a:t>
                </a:r>
              </a:p>
            </p:txBody>
          </p:sp>
          <p:sp>
            <p:nvSpPr>
              <p:cNvPr id="10" name="Rectangle 9">
                <a:extLst>
                  <a:ext uri="{FF2B5EF4-FFF2-40B4-BE49-F238E27FC236}">
                    <a16:creationId xmlns:a16="http://schemas.microsoft.com/office/drawing/2014/main" id="{48A77298-E3DC-4B1B-B93C-238007A91430}"/>
                  </a:ext>
                </a:extLst>
              </p:cNvPr>
              <p:cNvSpPr/>
              <p:nvPr/>
            </p:nvSpPr>
            <p:spPr bwMode="auto">
              <a:xfrm>
                <a:off x="8647346" y="954357"/>
                <a:ext cx="247680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August 2021</a:t>
                </a:r>
              </a:p>
            </p:txBody>
          </p:sp>
          <p:sp>
            <p:nvSpPr>
              <p:cNvPr id="12" name="Rectangle 11">
                <a:extLst>
                  <a:ext uri="{FF2B5EF4-FFF2-40B4-BE49-F238E27FC236}">
                    <a16:creationId xmlns:a16="http://schemas.microsoft.com/office/drawing/2014/main" id="{12C3E200-C619-4306-90EF-C7A52661C931}"/>
                  </a:ext>
                </a:extLst>
              </p:cNvPr>
              <p:cNvSpPr/>
              <p:nvPr/>
            </p:nvSpPr>
            <p:spPr bwMode="auto">
              <a:xfrm>
                <a:off x="11217192" y="955125"/>
                <a:ext cx="247680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September 2021</a:t>
                </a:r>
              </a:p>
            </p:txBody>
          </p:sp>
        </p:grpSp>
        <p:sp>
          <p:nvSpPr>
            <p:cNvPr id="13" name="Rectangle 12">
              <a:extLst>
                <a:ext uri="{FF2B5EF4-FFF2-40B4-BE49-F238E27FC236}">
                  <a16:creationId xmlns:a16="http://schemas.microsoft.com/office/drawing/2014/main" id="{39ABE0ED-BD13-4FC4-869E-8EE86280DCEA}"/>
                </a:ext>
              </a:extLst>
            </p:cNvPr>
            <p:cNvSpPr/>
            <p:nvPr/>
          </p:nvSpPr>
          <p:spPr bwMode="auto">
            <a:xfrm>
              <a:off x="11217179" y="1251386"/>
              <a:ext cx="2476800" cy="4299123"/>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CA" sz="714" b="1" cap="all">
                  <a:solidFill>
                    <a:schemeClr val="tx1"/>
                  </a:solidFill>
                  <a:latin typeface="Segoe UI"/>
                </a:rPr>
                <a:t>Report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formatting options for button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Toggle total columns in waterfall chart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Line chart series label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ensitivity label support for Power BI template files</a:t>
              </a:r>
            </a:p>
            <a:p>
              <a:pPr defTabSz="950661">
                <a:spcBef>
                  <a:spcPts val="612"/>
                </a:spcBef>
                <a:spcAft>
                  <a:spcPts val="102"/>
                </a:spcAft>
                <a:defRPr/>
              </a:pPr>
              <a:r>
                <a:rPr lang="en-CA" sz="714" b="1" cap="all">
                  <a:solidFill>
                    <a:schemeClr val="tx1"/>
                  </a:solidFill>
                  <a:latin typeface="Segoe UI"/>
                </a:rPr>
                <a:t>Analytic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Insights preview</a:t>
              </a:r>
            </a:p>
            <a:p>
              <a:pPr marL="0" lvl="1" defTabSz="950661">
                <a:defRPr/>
              </a:pPr>
              <a:endParaRPr lang="en-CA"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Model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hortcut expression for CALCULATE now supports aggregation function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parameter for XIRR function</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Making it easier to format based on a user’s locale</a:t>
              </a:r>
            </a:p>
            <a:p>
              <a:pPr defTabSz="950661">
                <a:spcBef>
                  <a:spcPts val="612"/>
                </a:spcBef>
                <a:spcAft>
                  <a:spcPts val="102"/>
                </a:spcAft>
                <a:defRPr/>
              </a:pPr>
              <a:r>
                <a:rPr lang="en-CA" sz="714" b="1" cap="all">
                  <a:solidFill>
                    <a:schemeClr val="tx1"/>
                  </a:solidFill>
                  <a:latin typeface="Segoe UI"/>
                </a:rPr>
                <a:t>Data connectivity &amp; PREPARATION</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The Power BI Connector in Power Automate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t>
              </a:r>
              <a:r>
                <a:rPr lang="en-CA" sz="612" err="1">
                  <a:solidFill>
                    <a:schemeClr val="tx1"/>
                  </a:solidFill>
                  <a:latin typeface="Segoe UI" panose="020B0502040204020203" pitchFamily="34" charset="0"/>
                  <a:cs typeface="Segoe UI" panose="020B0502040204020203" pitchFamily="34" charset="0"/>
                </a:rPr>
                <a:t>AssembleViews</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zure Databrick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Bloomberg Enterprise Data &amp; Analytic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t>
              </a:r>
              <a:r>
                <a:rPr lang="en-CA" sz="612" err="1">
                  <a:solidFill>
                    <a:schemeClr val="tx1"/>
                  </a:solidFill>
                  <a:latin typeface="Segoe UI" panose="020B0502040204020203" pitchFamily="34" charset="0"/>
                  <a:cs typeface="Segoe UI" panose="020B0502040204020203" pitchFamily="34" charset="0"/>
                </a:rPr>
                <a:t>Exasol</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Vena</a:t>
              </a:r>
            </a:p>
            <a:p>
              <a:pPr marL="0" lvl="1" defTabSz="950661">
                <a:defRPr/>
              </a:pPr>
              <a:endParaRPr lang="en-CA"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Servic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Goals: automated status rules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Goals: improved filtering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PIs to determine who has access to what Power BI artifacts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ervice Principal support for read-only Admin APIs </a:t>
              </a:r>
            </a:p>
            <a:p>
              <a:pPr marL="0" lvl="1" defTabSz="950661">
                <a:defRPr/>
              </a:pPr>
              <a:endParaRPr lang="en-US"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Mobil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Goals now available in Power BI Mobile app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Explore content that’s relevant to you (Android and iO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ow you can request access to reports from your mobile app</a:t>
              </a:r>
            </a:p>
            <a:p>
              <a:pPr defTabSz="950661">
                <a:spcBef>
                  <a:spcPts val="612"/>
                </a:spcBef>
                <a:spcAft>
                  <a:spcPts val="102"/>
                </a:spcAft>
                <a:defRPr/>
              </a:pPr>
              <a:r>
                <a:rPr lang="en-CA"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612" err="1">
                  <a:solidFill>
                    <a:schemeClr val="tx1"/>
                  </a:solidFill>
                  <a:latin typeface="Segoe UI" panose="020B0502040204020203" pitchFamily="34" charset="0"/>
                  <a:cs typeface="Segoe UI" panose="020B0502040204020203" pitchFamily="34" charset="0"/>
                </a:rPr>
                <a:t>PAFnow</a:t>
              </a:r>
              <a:r>
                <a:rPr lang="en-US" sz="612">
                  <a:solidFill>
                    <a:schemeClr val="tx1"/>
                  </a:solidFill>
                  <a:latin typeface="Segoe UI" panose="020B0502040204020203" pitchFamily="34" charset="0"/>
                  <a:cs typeface="Segoe UI" panose="020B0502040204020203" pitchFamily="34" charset="0"/>
                </a:rPr>
                <a:t> Process Mining flowchart visual by Process Analytics Factory GMBH</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Drill Down Network PRO by </a:t>
              </a:r>
              <a:r>
                <a:rPr lang="en-US" sz="612" err="1">
                  <a:solidFill>
                    <a:schemeClr val="tx1"/>
                  </a:solidFill>
                  <a:latin typeface="Segoe UI" panose="020B0502040204020203" pitchFamily="34" charset="0"/>
                  <a:cs typeface="Segoe UI" panose="020B0502040204020203" pitchFamily="34" charset="0"/>
                </a:rPr>
                <a:t>ZoomCharts</a:t>
              </a:r>
              <a:endParaRPr lang="en-US"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nnotated Bar by </a:t>
              </a:r>
              <a:r>
                <a:rPr lang="en-US" sz="612" err="1">
                  <a:solidFill>
                    <a:schemeClr val="tx1"/>
                  </a:solidFill>
                  <a:latin typeface="Segoe UI" panose="020B0502040204020203" pitchFamily="34" charset="0"/>
                  <a:cs typeface="Segoe UI" panose="020B0502040204020203" pitchFamily="34" charset="0"/>
                </a:rPr>
                <a:t>Queryon</a:t>
              </a:r>
              <a:endParaRPr lang="en-US"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12" err="1">
                  <a:solidFill>
                    <a:schemeClr val="tx1"/>
                  </a:solidFill>
                  <a:latin typeface="Segoe UI" panose="020B0502040204020203" pitchFamily="34" charset="0"/>
                  <a:cs typeface="Segoe UI" panose="020B0502040204020203" pitchFamily="34" charset="0"/>
                </a:rPr>
                <a:t>Graphomate</a:t>
              </a:r>
              <a:r>
                <a:rPr lang="en-US" sz="612">
                  <a:solidFill>
                    <a:schemeClr val="tx1"/>
                  </a:solidFill>
                  <a:latin typeface="Segoe UI" panose="020B0502040204020203" pitchFamily="34" charset="0"/>
                  <a:cs typeface="Segoe UI" panose="020B0502040204020203" pitchFamily="34" charset="0"/>
                </a:rPr>
                <a:t> pictograms 2021.2 by </a:t>
              </a:r>
              <a:r>
                <a:rPr lang="en-US" sz="612" err="1">
                  <a:solidFill>
                    <a:schemeClr val="tx1"/>
                  </a:solidFill>
                  <a:latin typeface="Segoe UI" panose="020B0502040204020203" pitchFamily="34" charset="0"/>
                  <a:cs typeface="Segoe UI" panose="020B0502040204020203" pitchFamily="34" charset="0"/>
                </a:rPr>
                <a:t>Graphomate</a:t>
              </a:r>
              <a:endParaRPr lang="en-US"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visuals in AppSource</a:t>
              </a:r>
              <a:r>
                <a:rPr lang="en-CA" sz="612">
                  <a:solidFill>
                    <a:schemeClr val="tx1"/>
                  </a:solidFill>
                  <a:latin typeface="Segoe UI" panose="020B0502040204020203" pitchFamily="34" charset="0"/>
                  <a:cs typeface="Segoe UI" panose="020B0502040204020203" pitchFamily="34" charset="0"/>
                </a:rPr>
                <a:t>Analysis</a:t>
              </a:r>
            </a:p>
            <a:p>
              <a:pPr defTabSz="950661">
                <a:spcBef>
                  <a:spcPts val="612"/>
                </a:spcBef>
                <a:spcAft>
                  <a:spcPts val="102"/>
                </a:spcAft>
                <a:defRPr/>
              </a:pPr>
              <a:r>
                <a:rPr lang="en-CA" sz="714" b="1" cap="all">
                  <a:solidFill>
                    <a:schemeClr val="tx1"/>
                  </a:solidFill>
                  <a:latin typeface="Segoe UI"/>
                </a:rPr>
                <a:t>PAGINATED REPORT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version of Power BI Report Builder</a:t>
              </a:r>
              <a:endParaRPr lang="en-CA" sz="612">
                <a:solidFill>
                  <a:schemeClr val="tx1"/>
                </a:solidFill>
                <a:latin typeface="Segoe UI" panose="020B0502040204020203" pitchFamily="34" charset="0"/>
                <a:cs typeface="Segoe UI" panose="020B0502040204020203" pitchFamily="34" charset="0"/>
              </a:endParaRPr>
            </a:p>
          </p:txBody>
        </p:sp>
      </p:grpSp>
      <p:sp>
        <p:nvSpPr>
          <p:cNvPr id="17" name="Rectangle 16">
            <a:extLst>
              <a:ext uri="{FF2B5EF4-FFF2-40B4-BE49-F238E27FC236}">
                <a16:creationId xmlns:a16="http://schemas.microsoft.com/office/drawing/2014/main" id="{65A6AA21-8959-4B3E-A452-51ED807B8E09}"/>
              </a:ext>
            </a:extLst>
          </p:cNvPr>
          <p:cNvSpPr/>
          <p:nvPr/>
        </p:nvSpPr>
        <p:spPr bwMode="auto">
          <a:xfrm>
            <a:off x="-15855" y="446"/>
            <a:ext cx="1631848" cy="6993632"/>
          </a:xfrm>
          <a:prstGeom prst="rect">
            <a:avLst/>
          </a:prstGeom>
          <a:gradFill>
            <a:gsLst>
              <a:gs pos="0">
                <a:schemeClr val="bg1"/>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sp>
        <p:nvSpPr>
          <p:cNvPr id="18" name="Rectangle 17">
            <a:extLst>
              <a:ext uri="{FF2B5EF4-FFF2-40B4-BE49-F238E27FC236}">
                <a16:creationId xmlns:a16="http://schemas.microsoft.com/office/drawing/2014/main" id="{8083936C-C191-4B29-9C57-D1466A0315CB}"/>
              </a:ext>
            </a:extLst>
          </p:cNvPr>
          <p:cNvSpPr/>
          <p:nvPr/>
        </p:nvSpPr>
        <p:spPr bwMode="auto">
          <a:xfrm flipH="1">
            <a:off x="10802145" y="890"/>
            <a:ext cx="1631848" cy="6993632"/>
          </a:xfrm>
          <a:prstGeom prst="rect">
            <a:avLst/>
          </a:prstGeom>
          <a:gradFill>
            <a:gsLst>
              <a:gs pos="0">
                <a:schemeClr val="bg1"/>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spTree>
    <p:extLst>
      <p:ext uri="{BB962C8B-B14F-4D97-AF65-F5344CB8AC3E}">
        <p14:creationId xmlns:p14="http://schemas.microsoft.com/office/powerpoint/2010/main" val="199409446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45000" fill="hold"/>
                                        <p:tgtEl>
                                          <p:spTgt spid="16"/>
                                        </p:tgtEl>
                                        <p:attrNameLst>
                                          <p:attrName>ppt_x</p:attrName>
                                        </p:attrNameLst>
                                      </p:cBhvr>
                                      <p:tavLst>
                                        <p:tav tm="0">
                                          <p:val>
                                            <p:strVal val="1+#ppt_w/2"/>
                                          </p:val>
                                        </p:tav>
                                        <p:tav tm="100000">
                                          <p:val>
                                            <p:strVal val="#ppt_x"/>
                                          </p:val>
                                        </p:tav>
                                      </p:tavLst>
                                    </p:anim>
                                    <p:anim calcmode="lin" valueType="num">
                                      <p:cBhvr additive="base">
                                        <p:cTn id="8" dur="4500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terator Functions</a:t>
            </a:r>
            <a:endParaRPr lang="en-US">
              <a:gradFill>
                <a:gsLst>
                  <a:gs pos="1250">
                    <a:srgbClr val="000000"/>
                  </a:gs>
                  <a:gs pos="100000">
                    <a:srgbClr val="000000"/>
                  </a:gs>
                </a:gsLst>
                <a:lin ang="5400000" scaled="0"/>
              </a:gradFill>
            </a:endParaRPr>
          </a:p>
        </p:txBody>
      </p:sp>
      <p:sp>
        <p:nvSpPr>
          <p:cNvPr id="11" name="Content Placeholder 2">
            <a:extLst>
              <a:ext uri="{FF2B5EF4-FFF2-40B4-BE49-F238E27FC236}">
                <a16:creationId xmlns:a16="http://schemas.microsoft.com/office/drawing/2014/main" id="{23E871F1-61C9-4F70-BBE2-2A8B30A9FDB6}"/>
              </a:ext>
            </a:extLst>
          </p:cNvPr>
          <p:cNvSpPr>
            <a:spLocks noGrp="1"/>
          </p:cNvSpPr>
          <p:nvPr>
            <p:ph idx="1"/>
          </p:nvPr>
        </p:nvSpPr>
        <p:spPr>
          <a:xfrm>
            <a:off x="855768" y="1631427"/>
            <a:ext cx="10724938" cy="4663563"/>
          </a:xfrm>
        </p:spPr>
        <p:txBody>
          <a:bodyPr>
            <a:normAutofit fontScale="92500" lnSpcReduction="20000"/>
          </a:bodyPr>
          <a:lstStyle/>
          <a:p>
            <a:r>
              <a:rPr lang="en-US" sz="2800">
                <a:solidFill>
                  <a:srgbClr val="000000"/>
                </a:solidFill>
                <a:latin typeface="Segoe UI" panose="020B0502040204020203" pitchFamily="34" charset="0"/>
              </a:rPr>
              <a:t>SUM</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MIN</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MAX</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AVERAGE</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MEDIAN</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CONCATENATE</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COUNT</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COUNTA</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GEOMEAN</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PRODUCT</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RANK</a:t>
            </a:r>
            <a:r>
              <a:rPr lang="en-US" sz="2800" b="1">
                <a:solidFill>
                  <a:srgbClr val="000000"/>
                </a:solidFill>
                <a:latin typeface="Segoe UI" panose="020B0502040204020203" pitchFamily="34" charset="0"/>
              </a:rPr>
              <a:t>X</a:t>
            </a:r>
          </a:p>
        </p:txBody>
      </p:sp>
      <p:sp>
        <p:nvSpPr>
          <p:cNvPr id="8" name="TextBox 7">
            <a:extLst>
              <a:ext uri="{FF2B5EF4-FFF2-40B4-BE49-F238E27FC236}">
                <a16:creationId xmlns:a16="http://schemas.microsoft.com/office/drawing/2014/main" id="{EF66A8D2-13FB-439F-AEB9-134463ABC123}"/>
              </a:ext>
            </a:extLst>
          </p:cNvPr>
          <p:cNvSpPr txBox="1"/>
          <p:nvPr/>
        </p:nvSpPr>
        <p:spPr>
          <a:xfrm>
            <a:off x="5920289" y="3132211"/>
            <a:ext cx="5024160" cy="1661993"/>
          </a:xfrm>
          <a:prstGeom prst="rect">
            <a:avLst/>
          </a:prstGeom>
          <a:noFill/>
          <a:ln w="3175">
            <a:solidFill>
              <a:schemeClr val="bg1">
                <a:lumMod val="50000"/>
              </a:schemeClr>
            </a:solidFill>
          </a:ln>
        </p:spPr>
        <p:txBody>
          <a:bodyPr wrap="square" lIns="0" tIns="0" rIns="0" bIns="0" rtlCol="0">
            <a:spAutoFit/>
          </a:bodyPr>
          <a:lstStyle/>
          <a:p>
            <a:pPr algn="ctr"/>
            <a:r>
              <a:rPr lang="en-US" sz="3600" b="0" i="0">
                <a:solidFill>
                  <a:srgbClr val="171717"/>
                </a:solidFill>
                <a:effectLst/>
                <a:latin typeface="Segoe UI" panose="020B0502040204020203" pitchFamily="34" charset="0"/>
              </a:rPr>
              <a:t>The </a:t>
            </a:r>
            <a:r>
              <a:rPr lang="en-US" sz="3600" b="1">
                <a:solidFill>
                  <a:schemeClr val="tx1">
                    <a:lumMod val="50000"/>
                    <a:lumOff val="50000"/>
                  </a:schemeClr>
                </a:solidFill>
                <a:latin typeface="Segoe UI" panose="020B0502040204020203" pitchFamily="34" charset="0"/>
                <a:cs typeface="Segoe UI" panose="020B0502040204020203" pitchFamily="34" charset="0"/>
              </a:rPr>
              <a:t>expression</a:t>
            </a:r>
            <a:r>
              <a:rPr lang="en-US" sz="3600" b="0" i="0">
                <a:solidFill>
                  <a:srgbClr val="171717"/>
                </a:solidFill>
                <a:effectLst/>
                <a:latin typeface="Segoe UI" panose="020B0502040204020203" pitchFamily="34" charset="0"/>
              </a:rPr>
              <a:t> to be evaluated for each </a:t>
            </a:r>
            <a:r>
              <a:rPr lang="en-US" sz="3600" b="1">
                <a:solidFill>
                  <a:schemeClr val="tx1">
                    <a:lumMod val="50000"/>
                    <a:lumOff val="50000"/>
                  </a:schemeClr>
                </a:solidFill>
                <a:latin typeface="Segoe UI" panose="020B0502040204020203" pitchFamily="34" charset="0"/>
                <a:cs typeface="Segoe UI" panose="020B0502040204020203" pitchFamily="34" charset="0"/>
              </a:rPr>
              <a:t>row</a:t>
            </a:r>
            <a:r>
              <a:rPr lang="en-US" sz="3600" b="0" i="0">
                <a:solidFill>
                  <a:srgbClr val="171717"/>
                </a:solidFill>
                <a:effectLst/>
                <a:latin typeface="Segoe UI" panose="020B0502040204020203" pitchFamily="34" charset="0"/>
              </a:rPr>
              <a:t> of the table.</a:t>
            </a:r>
            <a:endParaRPr lang="en-US" sz="3600"/>
          </a:p>
        </p:txBody>
      </p:sp>
    </p:spTree>
    <p:extLst>
      <p:ext uri="{BB962C8B-B14F-4D97-AF65-F5344CB8AC3E}">
        <p14:creationId xmlns:p14="http://schemas.microsoft.com/office/powerpoint/2010/main" val="309675713"/>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terator Functions</a:t>
            </a:r>
            <a:endParaRPr lang="en-US">
              <a:gradFill>
                <a:gsLst>
                  <a:gs pos="1250">
                    <a:srgbClr val="000000"/>
                  </a:gs>
                  <a:gs pos="100000">
                    <a:srgbClr val="000000"/>
                  </a:gs>
                </a:gsLst>
                <a:lin ang="5400000" scaled="0"/>
              </a:gradFill>
            </a:endParaRPr>
          </a:p>
        </p:txBody>
      </p:sp>
      <p:sp>
        <p:nvSpPr>
          <p:cNvPr id="9" name="Content Placeholder 2">
            <a:extLst>
              <a:ext uri="{FF2B5EF4-FFF2-40B4-BE49-F238E27FC236}">
                <a16:creationId xmlns:a16="http://schemas.microsoft.com/office/drawing/2014/main" id="{9EB49BF3-FED1-4510-BCC7-7712E6943228}"/>
              </a:ext>
            </a:extLst>
          </p:cNvPr>
          <p:cNvSpPr>
            <a:spLocks noGrp="1"/>
          </p:cNvSpPr>
          <p:nvPr>
            <p:ph idx="1"/>
          </p:nvPr>
        </p:nvSpPr>
        <p:spPr>
          <a:xfrm>
            <a:off x="855768" y="1631427"/>
            <a:ext cx="10724938" cy="4663563"/>
          </a:xfrm>
        </p:spPr>
        <p:txBody>
          <a:bodyPr>
            <a:normAutofit/>
          </a:bodyPr>
          <a:lstStyle/>
          <a:p>
            <a:pPr marL="0" indent="0">
              <a:buNone/>
            </a:pPr>
            <a:r>
              <a:rPr lang="en-US" sz="3200">
                <a:solidFill>
                  <a:srgbClr val="000000"/>
                </a:solidFill>
                <a:latin typeface="Segoe UI" panose="020B0502040204020203" pitchFamily="34" charset="0"/>
              </a:rPr>
              <a:t>Total Sales Amount =</a:t>
            </a:r>
          </a:p>
          <a:p>
            <a:pPr marL="0" indent="0">
              <a:buNone/>
            </a:pPr>
            <a:r>
              <a:rPr lang="en-US" sz="3200">
                <a:solidFill>
                  <a:srgbClr val="000000"/>
                </a:solidFill>
                <a:latin typeface="Segoe UI" panose="020B0502040204020203" pitchFamily="34" charset="0"/>
              </a:rPr>
              <a:t>SUMX(</a:t>
            </a:r>
          </a:p>
          <a:p>
            <a:pPr marL="0" indent="0">
              <a:buNone/>
            </a:pPr>
            <a:r>
              <a:rPr lang="en-US" sz="3200">
                <a:solidFill>
                  <a:srgbClr val="000000"/>
                </a:solidFill>
                <a:latin typeface="Segoe UI" panose="020B0502040204020203" pitchFamily="34" charset="0"/>
              </a:rPr>
              <a:t>	‘Internet Sales’,</a:t>
            </a:r>
          </a:p>
          <a:p>
            <a:pPr marL="0" indent="0">
              <a:buNone/>
            </a:pPr>
            <a:r>
              <a:rPr lang="en-US" sz="3200">
                <a:solidFill>
                  <a:srgbClr val="000000"/>
                </a:solidFill>
                <a:latin typeface="Segoe UI" panose="020B0502040204020203" pitchFamily="34" charset="0"/>
              </a:rPr>
              <a:t>	‘Internet Sales’[Quantity] * ‘Internet Sales’[Net Price]</a:t>
            </a:r>
          </a:p>
          <a:p>
            <a:pPr marL="0" indent="0">
              <a:buNone/>
            </a:pPr>
            <a:r>
              <a:rPr lang="en-US" sz="3200">
                <a:solidFill>
                  <a:srgbClr val="000000"/>
                </a:solidFill>
                <a:latin typeface="Segoe UI" panose="020B0502040204020203" pitchFamily="34" charset="0"/>
              </a:rPr>
              <a:t>)</a:t>
            </a:r>
          </a:p>
          <a:p>
            <a:pPr marL="0" indent="0">
              <a:buNone/>
            </a:pPr>
            <a:endParaRPr lang="en-US" sz="1836">
              <a:solidFill>
                <a:srgbClr val="000000"/>
              </a:solidFill>
              <a:latin typeface="Segoe UI" panose="020B0502040204020203" pitchFamily="34" charset="0"/>
            </a:endParaRPr>
          </a:p>
          <a:p>
            <a:pPr marL="0" indent="0">
              <a:buNone/>
            </a:pPr>
            <a:r>
              <a:rPr lang="en-US" sz="1836">
                <a:solidFill>
                  <a:srgbClr val="000000"/>
                </a:solidFill>
                <a:latin typeface="Segoe UI" panose="020B0502040204020203" pitchFamily="34" charset="0"/>
              </a:rPr>
              <a:t>If Internet Sales has 2 million rows, how many times will the expression be evaluated?</a:t>
            </a:r>
            <a:endParaRPr lang="en-US" sz="1800">
              <a:solidFill>
                <a:srgbClr val="000000"/>
              </a:solidFill>
              <a:latin typeface="Segoe UI" panose="020B0502040204020203" pitchFamily="34" charset="0"/>
            </a:endParaRPr>
          </a:p>
        </p:txBody>
      </p:sp>
    </p:spTree>
    <p:extLst>
      <p:ext uri="{BB962C8B-B14F-4D97-AF65-F5344CB8AC3E}">
        <p14:creationId xmlns:p14="http://schemas.microsoft.com/office/powerpoint/2010/main" val="888786860"/>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terator Functions</a:t>
            </a:r>
            <a:endParaRPr lang="en-US">
              <a:gradFill>
                <a:gsLst>
                  <a:gs pos="1250">
                    <a:srgbClr val="000000"/>
                  </a:gs>
                  <a:gs pos="100000">
                    <a:srgbClr val="000000"/>
                  </a:gs>
                </a:gsLst>
                <a:lin ang="5400000" scaled="0"/>
              </a:gradFill>
            </a:endParaRPr>
          </a:p>
        </p:txBody>
      </p:sp>
      <p:sp>
        <p:nvSpPr>
          <p:cNvPr id="4" name="Content Placeholder 2">
            <a:extLst>
              <a:ext uri="{FF2B5EF4-FFF2-40B4-BE49-F238E27FC236}">
                <a16:creationId xmlns:a16="http://schemas.microsoft.com/office/drawing/2014/main" id="{1A0F2BDC-68D3-4451-A24C-6972D45DCD87}"/>
              </a:ext>
            </a:extLst>
          </p:cNvPr>
          <p:cNvSpPr>
            <a:spLocks noGrp="1"/>
          </p:cNvSpPr>
          <p:nvPr>
            <p:ph idx="1"/>
          </p:nvPr>
        </p:nvSpPr>
        <p:spPr>
          <a:xfrm>
            <a:off x="855768" y="1631427"/>
            <a:ext cx="10724938" cy="4663563"/>
          </a:xfrm>
        </p:spPr>
        <p:txBody>
          <a:bodyPr>
            <a:normAutofit fontScale="92500" lnSpcReduction="10000"/>
          </a:bodyPr>
          <a:lstStyle/>
          <a:p>
            <a:pPr marL="0" indent="0">
              <a:buNone/>
            </a:pPr>
            <a:r>
              <a:rPr lang="en-US" sz="2000">
                <a:solidFill>
                  <a:srgbClr val="000000"/>
                </a:solidFill>
                <a:latin typeface="Segoe UI" panose="020B0502040204020203" pitchFamily="34" charset="0"/>
              </a:rPr>
              <a:t>Total Sales Amount </a:t>
            </a:r>
            <a:r>
              <a:rPr lang="en-US" sz="2000" b="1">
                <a:solidFill>
                  <a:srgbClr val="FF0000"/>
                </a:solidFill>
                <a:latin typeface="Segoe UI" panose="020B0502040204020203" pitchFamily="34" charset="0"/>
              </a:rPr>
              <a:t>Not Good</a:t>
            </a:r>
            <a:r>
              <a:rPr lang="en-US" sz="2000">
                <a:solidFill>
                  <a:srgbClr val="000000"/>
                </a:solidFill>
                <a:latin typeface="Segoe UI" panose="020B0502040204020203" pitchFamily="34" charset="0"/>
              </a:rPr>
              <a:t>=</a:t>
            </a:r>
          </a:p>
          <a:p>
            <a:pPr marL="0" indent="0">
              <a:buNone/>
            </a:pPr>
            <a:r>
              <a:rPr lang="en-US" sz="2000">
                <a:solidFill>
                  <a:srgbClr val="000000"/>
                </a:solidFill>
                <a:latin typeface="Segoe UI" panose="020B0502040204020203" pitchFamily="34" charset="0"/>
              </a:rPr>
              <a:t>SUMX(</a:t>
            </a:r>
          </a:p>
          <a:p>
            <a:pPr marL="0" indent="0">
              <a:buNone/>
            </a:pPr>
            <a:r>
              <a:rPr lang="en-US" sz="2000">
                <a:solidFill>
                  <a:srgbClr val="000000"/>
                </a:solidFill>
                <a:latin typeface="Segoe UI" panose="020B0502040204020203" pitchFamily="34" charset="0"/>
              </a:rPr>
              <a:t>	VALUES(‘Products’),</a:t>
            </a:r>
          </a:p>
          <a:p>
            <a:pPr marL="0" indent="0">
              <a:buNone/>
            </a:pPr>
            <a:r>
              <a:rPr lang="en-US" sz="2000">
                <a:solidFill>
                  <a:srgbClr val="000000"/>
                </a:solidFill>
                <a:latin typeface="Segoe UI" panose="020B0502040204020203" pitchFamily="34" charset="0"/>
              </a:rPr>
              <a:t>	SUMX(</a:t>
            </a:r>
          </a:p>
          <a:p>
            <a:pPr marL="0" indent="0">
              <a:buNone/>
            </a:pPr>
            <a:r>
              <a:rPr lang="en-US" sz="2000">
                <a:solidFill>
                  <a:srgbClr val="000000"/>
                </a:solidFill>
                <a:latin typeface="Segoe UI" panose="020B0502040204020203" pitchFamily="34" charset="0"/>
              </a:rPr>
              <a:t>	   ‘Internet Sales’,</a:t>
            </a:r>
          </a:p>
          <a:p>
            <a:pPr marL="0" indent="0">
              <a:buNone/>
            </a:pPr>
            <a:r>
              <a:rPr lang="en-US" sz="2000">
                <a:solidFill>
                  <a:srgbClr val="000000"/>
                </a:solidFill>
                <a:latin typeface="Segoe UI" panose="020B0502040204020203" pitchFamily="34" charset="0"/>
              </a:rPr>
              <a:t>	IF (</a:t>
            </a:r>
          </a:p>
          <a:p>
            <a:pPr marL="0" indent="0">
              <a:buNone/>
            </a:pPr>
            <a:r>
              <a:rPr lang="en-US" sz="2000">
                <a:solidFill>
                  <a:srgbClr val="000000"/>
                </a:solidFill>
                <a:latin typeface="Segoe UI" panose="020B0502040204020203" pitchFamily="34" charset="0"/>
              </a:rPr>
              <a:t>	‘Internet Sales’[</a:t>
            </a:r>
            <a:r>
              <a:rPr lang="en-US" sz="2000" err="1">
                <a:solidFill>
                  <a:srgbClr val="000000"/>
                </a:solidFill>
                <a:latin typeface="Segoe UI" panose="020B0502040204020203" pitchFamily="34" charset="0"/>
              </a:rPr>
              <a:t>ProductKey</a:t>
            </a:r>
            <a:r>
              <a:rPr lang="en-US" sz="2000">
                <a:solidFill>
                  <a:srgbClr val="000000"/>
                </a:solidFill>
                <a:latin typeface="Segoe UI" panose="020B0502040204020203" pitchFamily="34" charset="0"/>
              </a:rPr>
              <a:t>] = ‘Product’[</a:t>
            </a:r>
            <a:r>
              <a:rPr lang="en-US" sz="2000" err="1">
                <a:solidFill>
                  <a:srgbClr val="000000"/>
                </a:solidFill>
                <a:latin typeface="Segoe UI" panose="020B0502040204020203" pitchFamily="34" charset="0"/>
              </a:rPr>
              <a:t>ProductKey</a:t>
            </a:r>
            <a:r>
              <a:rPr lang="en-US" sz="2000">
                <a:solidFill>
                  <a:srgbClr val="000000"/>
                </a:solidFill>
                <a:latin typeface="Segoe UI" panose="020B0502040204020203" pitchFamily="34" charset="0"/>
              </a:rPr>
              <a:t>],</a:t>
            </a:r>
          </a:p>
          <a:p>
            <a:pPr marL="0" indent="0">
              <a:buNone/>
            </a:pPr>
            <a:r>
              <a:rPr lang="en-US" sz="2000">
                <a:solidFill>
                  <a:srgbClr val="000000"/>
                </a:solidFill>
                <a:latin typeface="Segoe UI" panose="020B0502040204020203" pitchFamily="34" charset="0"/>
              </a:rPr>
              <a:t>	Product[Unit Price] * ‘Internet Sales’[Quantity],</a:t>
            </a:r>
          </a:p>
          <a:p>
            <a:pPr marL="0" indent="0">
              <a:buNone/>
            </a:pPr>
            <a:r>
              <a:rPr lang="en-US" sz="2000">
                <a:solidFill>
                  <a:srgbClr val="000000"/>
                </a:solidFill>
                <a:latin typeface="Segoe UI" panose="020B0502040204020203" pitchFamily="34" charset="0"/>
              </a:rPr>
              <a:t>	0</a:t>
            </a:r>
          </a:p>
          <a:p>
            <a:pPr marL="0" indent="0">
              <a:buNone/>
            </a:pPr>
            <a:r>
              <a:rPr lang="en-US" sz="2000">
                <a:solidFill>
                  <a:srgbClr val="000000"/>
                </a:solidFill>
                <a:latin typeface="Segoe UI" panose="020B0502040204020203" pitchFamily="34" charset="0"/>
              </a:rPr>
              <a:t>	)</a:t>
            </a:r>
          </a:p>
          <a:p>
            <a:pPr marL="0" indent="0">
              <a:buNone/>
            </a:pPr>
            <a:r>
              <a:rPr lang="en-US" sz="2000">
                <a:solidFill>
                  <a:srgbClr val="000000"/>
                </a:solidFill>
                <a:latin typeface="Segoe UI" panose="020B0502040204020203" pitchFamily="34" charset="0"/>
              </a:rPr>
              <a:t>       )	</a:t>
            </a:r>
          </a:p>
          <a:p>
            <a:pPr marL="0" indent="0">
              <a:buNone/>
            </a:pPr>
            <a:r>
              <a:rPr lang="en-US" sz="2000">
                <a:solidFill>
                  <a:srgbClr val="000000"/>
                </a:solidFill>
                <a:latin typeface="Segoe UI" panose="020B0502040204020203" pitchFamily="34" charset="0"/>
              </a:rPr>
              <a:t>)</a:t>
            </a:r>
          </a:p>
          <a:p>
            <a:pPr marL="0" indent="0">
              <a:buNone/>
            </a:pPr>
            <a:endParaRPr lang="en-US" sz="1836">
              <a:solidFill>
                <a:srgbClr val="000000"/>
              </a:solidFill>
              <a:latin typeface="Segoe UI" panose="020B0502040204020203" pitchFamily="34" charset="0"/>
            </a:endParaRPr>
          </a:p>
          <a:p>
            <a:pPr marL="0" indent="0">
              <a:buNone/>
            </a:pPr>
            <a:r>
              <a:rPr lang="en-US" sz="1836">
                <a:solidFill>
                  <a:srgbClr val="000000"/>
                </a:solidFill>
                <a:latin typeface="Segoe UI" panose="020B0502040204020203" pitchFamily="34" charset="0"/>
              </a:rPr>
              <a:t>If Internet Sales has 2 million rows and Product has 300 rows, how many times will the expression be evaluated?</a:t>
            </a:r>
            <a:endParaRPr lang="en-US" sz="1800">
              <a:solidFill>
                <a:srgbClr val="000000"/>
              </a:solidFill>
              <a:latin typeface="Segoe UI" panose="020B0502040204020203" pitchFamily="34" charset="0"/>
            </a:endParaRPr>
          </a:p>
        </p:txBody>
      </p:sp>
    </p:spTree>
    <p:extLst>
      <p:ext uri="{BB962C8B-B14F-4D97-AF65-F5344CB8AC3E}">
        <p14:creationId xmlns:p14="http://schemas.microsoft.com/office/powerpoint/2010/main" val="104624458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terator Functions</a:t>
            </a:r>
            <a:endParaRPr lang="en-US">
              <a:gradFill>
                <a:gsLst>
                  <a:gs pos="1250">
                    <a:srgbClr val="000000"/>
                  </a:gs>
                  <a:gs pos="100000">
                    <a:srgbClr val="000000"/>
                  </a:gs>
                </a:gsLst>
                <a:lin ang="5400000" scaled="0"/>
              </a:gradFill>
            </a:endParaRPr>
          </a:p>
        </p:txBody>
      </p:sp>
      <p:sp>
        <p:nvSpPr>
          <p:cNvPr id="4" name="Content Placeholder 2">
            <a:extLst>
              <a:ext uri="{FF2B5EF4-FFF2-40B4-BE49-F238E27FC236}">
                <a16:creationId xmlns:a16="http://schemas.microsoft.com/office/drawing/2014/main" id="{B34F89F5-E14F-493B-9EC5-A5E9BA93DEEC}"/>
              </a:ext>
            </a:extLst>
          </p:cNvPr>
          <p:cNvSpPr>
            <a:spLocks noGrp="1"/>
          </p:cNvSpPr>
          <p:nvPr>
            <p:ph idx="1"/>
          </p:nvPr>
        </p:nvSpPr>
        <p:spPr>
          <a:xfrm>
            <a:off x="855768" y="1631427"/>
            <a:ext cx="10724938" cy="4663563"/>
          </a:xfrm>
        </p:spPr>
        <p:txBody>
          <a:bodyPr>
            <a:normAutofit/>
          </a:bodyPr>
          <a:lstStyle/>
          <a:p>
            <a:pPr marL="0" indent="0">
              <a:buNone/>
            </a:pPr>
            <a:r>
              <a:rPr lang="en-US" sz="2800">
                <a:solidFill>
                  <a:srgbClr val="000000"/>
                </a:solidFill>
                <a:latin typeface="Segoe UI" panose="020B0502040204020203" pitchFamily="34" charset="0"/>
              </a:rPr>
              <a:t>Total Sales Amount Better =</a:t>
            </a:r>
          </a:p>
          <a:p>
            <a:pPr marL="0" indent="0">
              <a:buNone/>
            </a:pPr>
            <a:r>
              <a:rPr lang="en-US" sz="2800">
                <a:solidFill>
                  <a:srgbClr val="000000"/>
                </a:solidFill>
                <a:latin typeface="Segoe UI" panose="020B0502040204020203" pitchFamily="34" charset="0"/>
              </a:rPr>
              <a:t>SUMX(</a:t>
            </a:r>
          </a:p>
          <a:p>
            <a:pPr marL="0" indent="0">
              <a:buNone/>
            </a:pPr>
            <a:r>
              <a:rPr lang="en-US" sz="2800">
                <a:solidFill>
                  <a:srgbClr val="000000"/>
                </a:solidFill>
                <a:latin typeface="Segoe UI" panose="020B0502040204020203" pitchFamily="34" charset="0"/>
              </a:rPr>
              <a:t>	‘Internet Sales’,</a:t>
            </a:r>
          </a:p>
          <a:p>
            <a:pPr marL="0" indent="0">
              <a:buNone/>
            </a:pPr>
            <a:r>
              <a:rPr lang="en-US" sz="2800">
                <a:solidFill>
                  <a:srgbClr val="000000"/>
                </a:solidFill>
                <a:latin typeface="Segoe UI" panose="020B0502040204020203" pitchFamily="34" charset="0"/>
              </a:rPr>
              <a:t>	‘Internet Sales’[Quantity] * RELATED(‘Product’[Net Price])</a:t>
            </a:r>
          </a:p>
          <a:p>
            <a:pPr marL="0" indent="0">
              <a:buNone/>
            </a:pPr>
            <a:r>
              <a:rPr lang="en-US" sz="2800">
                <a:solidFill>
                  <a:srgbClr val="000000"/>
                </a:solidFill>
                <a:latin typeface="Segoe UI" panose="020B0502040204020203" pitchFamily="34" charset="0"/>
              </a:rPr>
              <a:t>)</a:t>
            </a:r>
          </a:p>
          <a:p>
            <a:pPr marL="0" indent="0">
              <a:buNone/>
            </a:pPr>
            <a:endParaRPr lang="en-US" sz="1836">
              <a:solidFill>
                <a:srgbClr val="000000"/>
              </a:solidFill>
              <a:latin typeface="Segoe UI" panose="020B0502040204020203" pitchFamily="34" charset="0"/>
            </a:endParaRPr>
          </a:p>
          <a:p>
            <a:pPr marL="0" indent="0">
              <a:buNone/>
            </a:pPr>
            <a:r>
              <a:rPr lang="en-US" sz="1836">
                <a:solidFill>
                  <a:srgbClr val="000000"/>
                </a:solidFill>
                <a:latin typeface="Segoe UI" panose="020B0502040204020203" pitchFamily="34" charset="0"/>
              </a:rPr>
              <a:t>If Internet Sales has 2 million rows and Product has 300 rows, how many times will the expression be evaluated?</a:t>
            </a:r>
            <a:endParaRPr lang="en-US" sz="1800">
              <a:solidFill>
                <a:srgbClr val="000000"/>
              </a:solidFill>
              <a:latin typeface="Segoe UI" panose="020B0502040204020203" pitchFamily="34" charset="0"/>
            </a:endParaRPr>
          </a:p>
        </p:txBody>
      </p:sp>
    </p:spTree>
    <p:extLst>
      <p:ext uri="{BB962C8B-B14F-4D97-AF65-F5344CB8AC3E}">
        <p14:creationId xmlns:p14="http://schemas.microsoft.com/office/powerpoint/2010/main" val="328095721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Design Decisions</a:t>
            </a:r>
            <a:endParaRPr lang="en-US">
              <a:gradFill>
                <a:gsLst>
                  <a:gs pos="1250">
                    <a:srgbClr val="000000"/>
                  </a:gs>
                  <a:gs pos="100000">
                    <a:srgbClr val="000000"/>
                  </a:gs>
                </a:gsLst>
                <a:lin ang="5400000" scaled="0"/>
              </a:gradFill>
            </a:endParaRPr>
          </a:p>
        </p:txBody>
      </p:sp>
      <p:sp>
        <p:nvSpPr>
          <p:cNvPr id="4" name="Content Placeholder 2">
            <a:extLst>
              <a:ext uri="{FF2B5EF4-FFF2-40B4-BE49-F238E27FC236}">
                <a16:creationId xmlns:a16="http://schemas.microsoft.com/office/drawing/2014/main" id="{68C6B870-465C-45BD-B0CC-F579C032972B}"/>
              </a:ext>
            </a:extLst>
          </p:cNvPr>
          <p:cNvSpPr>
            <a:spLocks noGrp="1"/>
          </p:cNvSpPr>
          <p:nvPr>
            <p:ph idx="1"/>
          </p:nvPr>
        </p:nvSpPr>
        <p:spPr>
          <a:xfrm>
            <a:off x="855768" y="1631427"/>
            <a:ext cx="10724938" cy="4663563"/>
          </a:xfrm>
        </p:spPr>
        <p:txBody>
          <a:bodyPr>
            <a:normAutofit/>
          </a:bodyPr>
          <a:lstStyle/>
          <a:p>
            <a:pPr marL="349689" indent="-349689">
              <a:buFont typeface="+mj-lt"/>
              <a:buAutoNum type="arabicPeriod"/>
            </a:pPr>
            <a:r>
              <a:rPr lang="en-US" sz="1836">
                <a:latin typeface="Segoe UI" panose="020B0502040204020203" pitchFamily="34" charset="0"/>
              </a:rPr>
              <a:t>You have a row context whenever you iterate a table, either explicitly (using an iterator) or implicitly (in a calculated column):</a:t>
            </a:r>
          </a:p>
          <a:p>
            <a:pPr lvl="1"/>
            <a:r>
              <a:rPr lang="en-US" sz="1428">
                <a:solidFill>
                  <a:srgbClr val="000000"/>
                </a:solidFill>
                <a:latin typeface="Segoe UI" panose="020B0502040204020203" pitchFamily="34" charset="0"/>
                <a:cs typeface="Segoe UI" panose="020B0502040204020203" pitchFamily="34" charset="0"/>
              </a:rPr>
              <a:t>When you write an expression in a calculated column, the expression is evaluated for each row of the table, creating a row context for each row.</a:t>
            </a:r>
          </a:p>
          <a:p>
            <a:pPr lvl="1"/>
            <a:r>
              <a:rPr lang="en-US" sz="1428">
                <a:solidFill>
                  <a:srgbClr val="000000"/>
                </a:solidFill>
                <a:latin typeface="Segoe UI" panose="020B0502040204020203" pitchFamily="34" charset="0"/>
                <a:cs typeface="Segoe UI" panose="020B0502040204020203" pitchFamily="34" charset="0"/>
              </a:rPr>
              <a:t>When you use an iterator like </a:t>
            </a:r>
            <a:r>
              <a:rPr lang="en-US" sz="1428" b="1" u="sng">
                <a:solidFill>
                  <a:schemeClr val="tx1">
                    <a:lumMod val="50000"/>
                    <a:lumOff val="50000"/>
                  </a:schemeClr>
                </a:solidFill>
                <a:latin typeface="Segoe UI" panose="020B0502040204020203" pitchFamily="34" charset="0"/>
                <a:cs typeface="Segoe UI" panose="020B0502040204020203" pitchFamily="34" charset="0"/>
              </a:rPr>
              <a:t>FILTER</a:t>
            </a:r>
            <a:r>
              <a:rPr lang="en-US" sz="1428">
                <a:solidFill>
                  <a:srgbClr val="000000"/>
                </a:solidFill>
                <a:latin typeface="Segoe UI" panose="020B0502040204020203" pitchFamily="34" charset="0"/>
                <a:cs typeface="Segoe UI" panose="020B0502040204020203" pitchFamily="34" charset="0"/>
              </a:rPr>
              <a:t>, </a:t>
            </a:r>
            <a:r>
              <a:rPr lang="en-US" sz="1428" b="1" u="sng">
                <a:solidFill>
                  <a:schemeClr val="tx1">
                    <a:lumMod val="50000"/>
                    <a:lumOff val="50000"/>
                  </a:schemeClr>
                </a:solidFill>
                <a:latin typeface="Segoe UI" panose="020B0502040204020203" pitchFamily="34" charset="0"/>
                <a:cs typeface="Segoe UI" panose="020B0502040204020203" pitchFamily="34" charset="0"/>
              </a:rPr>
              <a:t>SUMX</a:t>
            </a:r>
            <a:r>
              <a:rPr lang="en-US" sz="1428">
                <a:solidFill>
                  <a:srgbClr val="000000"/>
                </a:solidFill>
                <a:latin typeface="Segoe UI" panose="020B0502040204020203" pitchFamily="34" charset="0"/>
                <a:cs typeface="Segoe UI" panose="020B0502040204020203" pitchFamily="34" charset="0"/>
              </a:rPr>
              <a:t>, </a:t>
            </a:r>
            <a:r>
              <a:rPr lang="en-US" sz="1428" b="1" u="sng">
                <a:solidFill>
                  <a:schemeClr val="tx1">
                    <a:lumMod val="50000"/>
                    <a:lumOff val="50000"/>
                  </a:schemeClr>
                </a:solidFill>
                <a:latin typeface="Segoe UI" panose="020B0502040204020203" pitchFamily="34" charset="0"/>
                <a:cs typeface="Segoe UI" panose="020B0502040204020203" pitchFamily="34" charset="0"/>
              </a:rPr>
              <a:t>AVERAGEX</a:t>
            </a:r>
            <a:r>
              <a:rPr lang="en-US" sz="1428">
                <a:solidFill>
                  <a:srgbClr val="000000"/>
                </a:solidFill>
                <a:latin typeface="Segoe UI" panose="020B0502040204020203" pitchFamily="34" charset="0"/>
                <a:cs typeface="Segoe UI" panose="020B0502040204020203" pitchFamily="34" charset="0"/>
              </a:rPr>
              <a:t>, </a:t>
            </a:r>
            <a:r>
              <a:rPr lang="en-US" sz="1428" b="1" u="sng">
                <a:solidFill>
                  <a:schemeClr val="tx1">
                    <a:lumMod val="50000"/>
                    <a:lumOff val="50000"/>
                  </a:schemeClr>
                </a:solidFill>
                <a:latin typeface="Segoe UI" panose="020B0502040204020203" pitchFamily="34" charset="0"/>
                <a:cs typeface="Segoe UI" panose="020B0502040204020203" pitchFamily="34" charset="0"/>
              </a:rPr>
              <a:t>ADDCOLUMNS</a:t>
            </a:r>
            <a:r>
              <a:rPr lang="en-US" sz="1428">
                <a:solidFill>
                  <a:srgbClr val="000000"/>
                </a:solidFill>
                <a:latin typeface="Segoe UI" panose="020B0502040204020203" pitchFamily="34" charset="0"/>
                <a:cs typeface="Segoe UI" panose="020B0502040204020203" pitchFamily="34" charset="0"/>
              </a:rPr>
              <a:t>, or any one of the DAX functions that iterate over a table expression.</a:t>
            </a:r>
          </a:p>
          <a:p>
            <a:pPr lvl="1" indent="0">
              <a:buNone/>
            </a:pPr>
            <a:endParaRPr lang="en-US" sz="1836">
              <a:latin typeface="Segoe UI" panose="020B0502040204020203" pitchFamily="34" charset="0"/>
              <a:cs typeface="Segoe UI" panose="020B0502040204020203" pitchFamily="34" charset="0"/>
            </a:endParaRPr>
          </a:p>
          <a:p>
            <a:pPr marL="349689" indent="-349689">
              <a:buFont typeface="+mj-lt"/>
              <a:buAutoNum type="arabicPeriod"/>
            </a:pPr>
            <a:r>
              <a:rPr lang="en-US" sz="1836">
                <a:latin typeface="Segoe UI" panose="020B0502040204020203" pitchFamily="34" charset="0"/>
              </a:rPr>
              <a:t>Native columns may increase the load time and size of the model but </a:t>
            </a:r>
            <a:r>
              <a:rPr lang="en-US" sz="1836" b="1">
                <a:solidFill>
                  <a:schemeClr val="tx1">
                    <a:lumMod val="50000"/>
                    <a:lumOff val="50000"/>
                  </a:schemeClr>
                </a:solidFill>
                <a:latin typeface="Segoe UI" panose="020B0502040204020203" pitchFamily="34" charset="0"/>
              </a:rPr>
              <a:t>benefit from the </a:t>
            </a:r>
            <a:r>
              <a:rPr lang="en-US" sz="1836" b="1" err="1">
                <a:solidFill>
                  <a:schemeClr val="tx1">
                    <a:lumMod val="50000"/>
                    <a:lumOff val="50000"/>
                  </a:schemeClr>
                </a:solidFill>
                <a:latin typeface="Segoe UI" panose="020B0502040204020203" pitchFamily="34" charset="0"/>
              </a:rPr>
              <a:t>VertiPaq</a:t>
            </a:r>
            <a:r>
              <a:rPr lang="en-US" sz="1836" b="1">
                <a:solidFill>
                  <a:schemeClr val="tx1">
                    <a:lumMod val="50000"/>
                    <a:lumOff val="50000"/>
                  </a:schemeClr>
                </a:solidFill>
                <a:latin typeface="Segoe UI" panose="020B0502040204020203" pitchFamily="34" charset="0"/>
              </a:rPr>
              <a:t> compression algorithms</a:t>
            </a:r>
            <a:r>
              <a:rPr lang="en-US" sz="1836" b="1">
                <a:solidFill>
                  <a:srgbClr val="F2C811"/>
                </a:solidFill>
                <a:latin typeface="Segoe UI" panose="020B0502040204020203" pitchFamily="34" charset="0"/>
              </a:rPr>
              <a:t> </a:t>
            </a:r>
            <a:r>
              <a:rPr lang="en-US" sz="1836">
                <a:latin typeface="Segoe UI" panose="020B0502040204020203" pitchFamily="34" charset="0"/>
              </a:rPr>
              <a:t>sorting rows process that optimizes the compression rate to reduce the memory footprint of your data model.</a:t>
            </a:r>
          </a:p>
        </p:txBody>
      </p:sp>
      <p:sp>
        <p:nvSpPr>
          <p:cNvPr id="6" name="Rectangle 5">
            <a:extLst>
              <a:ext uri="{FF2B5EF4-FFF2-40B4-BE49-F238E27FC236}">
                <a16:creationId xmlns:a16="http://schemas.microsoft.com/office/drawing/2014/main" id="{A5AD5191-2FD2-45B0-9944-831754C1C7E8}"/>
              </a:ext>
            </a:extLst>
          </p:cNvPr>
          <p:cNvSpPr/>
          <p:nvPr/>
        </p:nvSpPr>
        <p:spPr>
          <a:xfrm>
            <a:off x="9310169" y="6294991"/>
            <a:ext cx="2965211" cy="478442"/>
          </a:xfrm>
          <a:prstGeom prst="rect">
            <a:avLst/>
          </a:prstGeom>
        </p:spPr>
        <p:txBody>
          <a:bodyPr wrap="none">
            <a:spAutoFit/>
          </a:bodyPr>
          <a:lstStyle/>
          <a:p>
            <a:pPr algn="r"/>
            <a:r>
              <a:rPr lang="en-US" sz="1224"/>
              <a:t>Source (</a:t>
            </a:r>
            <a:r>
              <a:rPr lang="en-US" sz="1224">
                <a:hlinkClick r:id="rId2"/>
              </a:rPr>
              <a:t>SQLBI</a:t>
            </a:r>
            <a:r>
              <a:rPr lang="en-US" sz="1224"/>
              <a:t>)</a:t>
            </a:r>
          </a:p>
          <a:p>
            <a:pPr algn="r"/>
            <a:r>
              <a:rPr lang="en-US" sz="1224"/>
              <a:t>Authors: Marco Russo &amp; Alberto Ferrari</a:t>
            </a:r>
          </a:p>
        </p:txBody>
      </p:sp>
    </p:spTree>
    <p:extLst>
      <p:ext uri="{BB962C8B-B14F-4D97-AF65-F5344CB8AC3E}">
        <p14:creationId xmlns:p14="http://schemas.microsoft.com/office/powerpoint/2010/main" val="2619014782"/>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DIVIDE vs divide operator (/)</a:t>
            </a:r>
            <a:endParaRPr lang="en-US">
              <a:gradFill>
                <a:gsLst>
                  <a:gs pos="1250">
                    <a:srgbClr val="000000"/>
                  </a:gs>
                  <a:gs pos="100000">
                    <a:srgbClr val="000000"/>
                  </a:gs>
                </a:gsLst>
                <a:lin ang="5400000" scaled="0"/>
              </a:gradFill>
            </a:endParaRPr>
          </a:p>
        </p:txBody>
      </p:sp>
      <p:sp>
        <p:nvSpPr>
          <p:cNvPr id="4" name="Content Placeholder 2">
            <a:extLst>
              <a:ext uri="{FF2B5EF4-FFF2-40B4-BE49-F238E27FC236}">
                <a16:creationId xmlns:a16="http://schemas.microsoft.com/office/drawing/2014/main" id="{74BBDB9F-0647-4B41-B86C-BC49843F564F}"/>
              </a:ext>
            </a:extLst>
          </p:cNvPr>
          <p:cNvSpPr>
            <a:spLocks noGrp="1"/>
          </p:cNvSpPr>
          <p:nvPr>
            <p:ph idx="1"/>
          </p:nvPr>
        </p:nvSpPr>
        <p:spPr>
          <a:xfrm>
            <a:off x="4376652" y="1631427"/>
            <a:ext cx="4803887" cy="3364084"/>
          </a:xfrm>
        </p:spPr>
        <p:txBody>
          <a:bodyPr>
            <a:normAutofit/>
          </a:bodyPr>
          <a:lstStyle/>
          <a:p>
            <a:pPr marL="0" indent="0">
              <a:buNone/>
            </a:pPr>
            <a:r>
              <a:rPr lang="en-US" sz="2000" b="1">
                <a:solidFill>
                  <a:srgbClr val="171717"/>
                </a:solidFill>
                <a:latin typeface="SFMono-Regular"/>
              </a:rPr>
              <a:t>BEFORE</a:t>
            </a:r>
          </a:p>
          <a:p>
            <a:pPr marL="0" indent="0">
              <a:buNone/>
            </a:pPr>
            <a:r>
              <a:rPr lang="en-US" sz="2000">
                <a:solidFill>
                  <a:srgbClr val="171717"/>
                </a:solidFill>
                <a:latin typeface="SFMono-Regular"/>
              </a:rPr>
              <a:t>Profit Margin = </a:t>
            </a:r>
          </a:p>
          <a:p>
            <a:pPr marL="0" indent="0">
              <a:buNone/>
            </a:pPr>
            <a:r>
              <a:rPr lang="en-US" sz="1800">
                <a:solidFill>
                  <a:srgbClr val="0101FD"/>
                </a:solidFill>
                <a:latin typeface="SFMono-Regular"/>
              </a:rPr>
              <a:t>IF</a:t>
            </a:r>
            <a:r>
              <a:rPr lang="en-US" sz="1800">
                <a:solidFill>
                  <a:srgbClr val="171717"/>
                </a:solidFill>
                <a:latin typeface="SFMono-Regular"/>
              </a:rPr>
              <a:t>( </a:t>
            </a:r>
          </a:p>
          <a:p>
            <a:pPr marL="0" indent="0">
              <a:buNone/>
            </a:pPr>
            <a:r>
              <a:rPr lang="en-US" sz="1800">
                <a:solidFill>
                  <a:srgbClr val="171717"/>
                </a:solidFill>
                <a:latin typeface="SFMono-Regular"/>
              </a:rPr>
              <a:t>    </a:t>
            </a:r>
            <a:r>
              <a:rPr lang="en-US" sz="1800">
                <a:solidFill>
                  <a:srgbClr val="0101FD"/>
                </a:solidFill>
                <a:latin typeface="SFMono-Regular"/>
              </a:rPr>
              <a:t>OR</a:t>
            </a:r>
            <a:r>
              <a:rPr lang="en-US" sz="1800">
                <a:solidFill>
                  <a:srgbClr val="171717"/>
                </a:solidFill>
                <a:latin typeface="SFMono-Regular"/>
              </a:rPr>
              <a:t>( </a:t>
            </a:r>
          </a:p>
          <a:p>
            <a:pPr marL="0" indent="0">
              <a:buNone/>
            </a:pPr>
            <a:r>
              <a:rPr lang="en-US" sz="1800">
                <a:solidFill>
                  <a:srgbClr val="171717"/>
                </a:solidFill>
                <a:latin typeface="SFMono-Regular"/>
              </a:rPr>
              <a:t>          </a:t>
            </a:r>
            <a:r>
              <a:rPr lang="en-US" sz="1800">
                <a:solidFill>
                  <a:srgbClr val="0101FD"/>
                </a:solidFill>
                <a:latin typeface="SFMono-Regular"/>
              </a:rPr>
              <a:t>ISBLANK</a:t>
            </a:r>
            <a:r>
              <a:rPr lang="en-US" sz="1800">
                <a:solidFill>
                  <a:srgbClr val="171717"/>
                </a:solidFill>
                <a:latin typeface="SFMono-Regular"/>
              </a:rPr>
              <a:t>([Sales]), </a:t>
            </a:r>
          </a:p>
          <a:p>
            <a:pPr marL="0" indent="0">
              <a:buNone/>
            </a:pPr>
            <a:r>
              <a:rPr lang="en-US" sz="1800">
                <a:solidFill>
                  <a:srgbClr val="171717"/>
                </a:solidFill>
                <a:latin typeface="SFMono-Regular"/>
              </a:rPr>
              <a:t>         [Sales] == 0 </a:t>
            </a:r>
          </a:p>
          <a:p>
            <a:pPr marL="0" indent="0">
              <a:buNone/>
            </a:pPr>
            <a:r>
              <a:rPr lang="en-US" sz="1800">
                <a:solidFill>
                  <a:srgbClr val="171717"/>
                </a:solidFill>
                <a:latin typeface="SFMono-Regular"/>
              </a:rPr>
              <a:t>     ), </a:t>
            </a:r>
          </a:p>
          <a:p>
            <a:pPr marL="0" indent="0">
              <a:buNone/>
            </a:pPr>
            <a:r>
              <a:rPr lang="en-US" sz="1800">
                <a:solidFill>
                  <a:srgbClr val="171717"/>
                </a:solidFill>
                <a:latin typeface="SFMono-Regular"/>
              </a:rPr>
              <a:t>    </a:t>
            </a:r>
            <a:r>
              <a:rPr lang="en-US" sz="1800">
                <a:solidFill>
                  <a:srgbClr val="0101FD"/>
                </a:solidFill>
                <a:latin typeface="SFMono-Regular"/>
              </a:rPr>
              <a:t>BLANK</a:t>
            </a:r>
            <a:r>
              <a:rPr lang="en-US" sz="1800">
                <a:solidFill>
                  <a:srgbClr val="171717"/>
                </a:solidFill>
                <a:latin typeface="SFMono-Regular"/>
              </a:rPr>
              <a:t>(), </a:t>
            </a:r>
          </a:p>
          <a:p>
            <a:pPr marL="0" indent="0">
              <a:buNone/>
            </a:pPr>
            <a:r>
              <a:rPr lang="en-US" sz="1800">
                <a:solidFill>
                  <a:srgbClr val="171717"/>
                </a:solidFill>
                <a:latin typeface="SFMono-Regular"/>
              </a:rPr>
              <a:t>    [Profit] / [Sales] </a:t>
            </a:r>
          </a:p>
          <a:p>
            <a:pPr marL="0" indent="0">
              <a:buNone/>
            </a:pPr>
            <a:r>
              <a:rPr lang="en-US" sz="1800">
                <a:solidFill>
                  <a:srgbClr val="171717"/>
                </a:solidFill>
                <a:latin typeface="SFMono-Regular"/>
              </a:rPr>
              <a:t>)</a:t>
            </a:r>
            <a:endParaRPr lang="en-US" sz="3200">
              <a:solidFill>
                <a:srgbClr val="000000"/>
              </a:solidFill>
              <a:latin typeface="Segoe UI" panose="020B0502040204020203" pitchFamily="34" charset="0"/>
            </a:endParaRPr>
          </a:p>
        </p:txBody>
      </p:sp>
      <p:sp>
        <p:nvSpPr>
          <p:cNvPr id="6" name="TextBox 5">
            <a:extLst>
              <a:ext uri="{FF2B5EF4-FFF2-40B4-BE49-F238E27FC236}">
                <a16:creationId xmlns:a16="http://schemas.microsoft.com/office/drawing/2014/main" id="{C67E4005-BA4E-40FC-8CA0-EC6FE7E5B806}"/>
              </a:ext>
            </a:extLst>
          </p:cNvPr>
          <p:cNvSpPr txBox="1"/>
          <p:nvPr/>
        </p:nvSpPr>
        <p:spPr>
          <a:xfrm>
            <a:off x="4376652" y="5544003"/>
            <a:ext cx="3847322" cy="923330"/>
          </a:xfrm>
          <a:prstGeom prst="rect">
            <a:avLst/>
          </a:prstGeom>
          <a:noFill/>
        </p:spPr>
        <p:txBody>
          <a:bodyPr wrap="square">
            <a:spAutoFit/>
          </a:bodyPr>
          <a:lstStyle/>
          <a:p>
            <a:r>
              <a:rPr lang="en-US" b="1">
                <a:solidFill>
                  <a:srgbClr val="171717"/>
                </a:solidFill>
                <a:latin typeface="SFMono-Regular"/>
              </a:rPr>
              <a:t>AFTER</a:t>
            </a:r>
          </a:p>
          <a:p>
            <a:r>
              <a:rPr lang="en-US">
                <a:solidFill>
                  <a:srgbClr val="171717"/>
                </a:solidFill>
                <a:latin typeface="SFMono-Regular"/>
              </a:rPr>
              <a:t>Profit Margin = </a:t>
            </a:r>
          </a:p>
          <a:p>
            <a:r>
              <a:rPr lang="en-US">
                <a:solidFill>
                  <a:srgbClr val="0101FD"/>
                </a:solidFill>
                <a:latin typeface="SFMono-Regular"/>
              </a:rPr>
              <a:t>DIVIDE</a:t>
            </a:r>
            <a:r>
              <a:rPr lang="en-US">
                <a:solidFill>
                  <a:srgbClr val="171717"/>
                </a:solidFill>
                <a:latin typeface="SFMono-Regular"/>
              </a:rPr>
              <a:t>([Profit], [Sales])</a:t>
            </a:r>
            <a:endParaRPr lang="en-US"/>
          </a:p>
        </p:txBody>
      </p:sp>
      <p:sp>
        <p:nvSpPr>
          <p:cNvPr id="7" name="Content Placeholder 2">
            <a:extLst>
              <a:ext uri="{FF2B5EF4-FFF2-40B4-BE49-F238E27FC236}">
                <a16:creationId xmlns:a16="http://schemas.microsoft.com/office/drawing/2014/main" id="{8B2F6FF8-6948-48F4-AC6F-B01C1C0785A9}"/>
              </a:ext>
            </a:extLst>
          </p:cNvPr>
          <p:cNvSpPr txBox="1">
            <a:spLocks/>
          </p:cNvSpPr>
          <p:nvPr/>
        </p:nvSpPr>
        <p:spPr>
          <a:xfrm>
            <a:off x="275142" y="1631427"/>
            <a:ext cx="3586393" cy="4678311"/>
          </a:xfrm>
          <a:prstGeom prst="rect">
            <a:avLst/>
          </a:prstGeom>
        </p:spPr>
        <p:txBody>
          <a:bodyPr vert="horz" wrap="square" lIns="91428" tIns="45714" rIns="91428" bIns="45714" rtlCol="0" anchor="t">
            <a:normAutofit/>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466043" indent="-466043">
              <a:buFont typeface="+mj-lt"/>
              <a:buAutoNum type="arabicPeriod"/>
            </a:pPr>
            <a:r>
              <a:rPr lang="en-US" sz="2000">
                <a:gradFill>
                  <a:gsLst>
                    <a:gs pos="2917">
                      <a:srgbClr val="505050"/>
                    </a:gs>
                    <a:gs pos="30000">
                      <a:srgbClr val="505050"/>
                    </a:gs>
                  </a:gsLst>
                  <a:lin ang="5400000" scaled="0"/>
                </a:gradFill>
                <a:latin typeface="Segoe UI"/>
              </a:rPr>
              <a:t>Use when denominator may be zero.</a:t>
            </a:r>
          </a:p>
          <a:p>
            <a:pPr marL="466043" indent="-466043">
              <a:buFont typeface="+mj-lt"/>
              <a:buAutoNum type="arabicPeriod"/>
            </a:pPr>
            <a:r>
              <a:rPr lang="en-US" sz="2000">
                <a:gradFill>
                  <a:gsLst>
                    <a:gs pos="2917">
                      <a:srgbClr val="505050"/>
                    </a:gs>
                    <a:gs pos="30000">
                      <a:srgbClr val="505050"/>
                    </a:gs>
                  </a:gsLst>
                  <a:lin ang="5400000" scaled="0"/>
                </a:gradFill>
                <a:latin typeface="Segoe UI"/>
                <a:cs typeface="Segoe UI"/>
              </a:rPr>
              <a:t>Save check on denominator</a:t>
            </a:r>
          </a:p>
          <a:p>
            <a:pPr marL="466043" indent="-466043">
              <a:buFont typeface="+mj-lt"/>
              <a:buAutoNum type="arabicPeriod"/>
            </a:pPr>
            <a:r>
              <a:rPr lang="en-US" sz="2000">
                <a:gradFill>
                  <a:gsLst>
                    <a:gs pos="2917">
                      <a:srgbClr val="505050"/>
                    </a:gs>
                    <a:gs pos="30000">
                      <a:srgbClr val="505050"/>
                    </a:gs>
                  </a:gsLst>
                  <a:lin ang="5400000" scaled="0"/>
                </a:gradFill>
                <a:latin typeface="Segoe UI"/>
                <a:cs typeface="Segoe UI"/>
              </a:rPr>
              <a:t>Performance Gain (Checking for 0 can be expensive)</a:t>
            </a:r>
          </a:p>
          <a:p>
            <a:pPr marL="466043" indent="-466043">
              <a:buFont typeface="+mj-lt"/>
              <a:buAutoNum type="arabicPeriod"/>
            </a:pPr>
            <a:r>
              <a:rPr lang="en-US" sz="2000">
                <a:gradFill>
                  <a:gsLst>
                    <a:gs pos="2917">
                      <a:srgbClr val="505050"/>
                    </a:gs>
                    <a:gs pos="30000">
                      <a:srgbClr val="505050"/>
                    </a:gs>
                  </a:gsLst>
                  <a:lin ang="5400000" scaled="0"/>
                </a:gradFill>
                <a:latin typeface="Segoe UI"/>
                <a:cs typeface="Segoe UI"/>
              </a:rPr>
              <a:t>Elegant expression</a:t>
            </a:r>
            <a:endParaRPr lang="en-US" sz="1600">
              <a:gradFill>
                <a:gsLst>
                  <a:gs pos="2917">
                    <a:srgbClr val="505050"/>
                  </a:gs>
                  <a:gs pos="30000">
                    <a:srgbClr val="505050"/>
                  </a:gs>
                </a:gsLst>
                <a:lin ang="5400000" scaled="0"/>
              </a:gradFill>
              <a:latin typeface="Segoe UI"/>
              <a:cs typeface="Segoe UI"/>
            </a:endParaRPr>
          </a:p>
        </p:txBody>
      </p:sp>
      <p:cxnSp>
        <p:nvCxnSpPr>
          <p:cNvPr id="2" name="Straight Connector 1">
            <a:extLst>
              <a:ext uri="{FF2B5EF4-FFF2-40B4-BE49-F238E27FC236}">
                <a16:creationId xmlns:a16="http://schemas.microsoft.com/office/drawing/2014/main" id="{B43B8E6C-09DA-4623-9341-F6CDE01F4385}"/>
              </a:ext>
            </a:extLst>
          </p:cNvPr>
          <p:cNvCxnSpPr>
            <a:cxnSpLocks/>
          </p:cNvCxnSpPr>
          <p:nvPr/>
        </p:nvCxnSpPr>
        <p:spPr>
          <a:xfrm>
            <a:off x="4087182" y="5321808"/>
            <a:ext cx="8074152"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4955514"/>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Variables</a:t>
            </a:r>
            <a:endParaRPr lang="en-US">
              <a:gradFill>
                <a:gsLst>
                  <a:gs pos="1250">
                    <a:srgbClr val="000000"/>
                  </a:gs>
                  <a:gs pos="100000">
                    <a:srgbClr val="000000"/>
                  </a:gs>
                </a:gsLst>
                <a:lin ang="5400000" scaled="0"/>
              </a:gradFill>
            </a:endParaRPr>
          </a:p>
        </p:txBody>
      </p:sp>
      <p:sp>
        <p:nvSpPr>
          <p:cNvPr id="2" name="Content Placeholder 2">
            <a:extLst>
              <a:ext uri="{FF2B5EF4-FFF2-40B4-BE49-F238E27FC236}">
                <a16:creationId xmlns:a16="http://schemas.microsoft.com/office/drawing/2014/main" id="{C9CCA422-8BC7-423E-9AEE-531FAA897633}"/>
              </a:ext>
            </a:extLst>
          </p:cNvPr>
          <p:cNvSpPr txBox="1">
            <a:spLocks/>
          </p:cNvSpPr>
          <p:nvPr/>
        </p:nvSpPr>
        <p:spPr>
          <a:xfrm>
            <a:off x="3314991" y="-1179728"/>
            <a:ext cx="3586393" cy="1865835"/>
          </a:xfrm>
          <a:prstGeom prst="rect">
            <a:avLst/>
          </a:prstGeom>
        </p:spPr>
        <p:txBody>
          <a:bodyPr vert="horz" wrap="square" lIns="91428" tIns="45714" rIns="91428" bIns="45714" rtlCol="0" anchor="t">
            <a:normAutofit/>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466043" indent="-466043" defTabSz="951209">
              <a:buFont typeface="+mj-lt"/>
              <a:buAutoNum type="arabicPeriod"/>
              <a:defRPr/>
            </a:pPr>
            <a:endParaRPr lang="en-US" sz="1600">
              <a:gradFill>
                <a:gsLst>
                  <a:gs pos="2917">
                    <a:srgbClr val="505050"/>
                  </a:gs>
                  <a:gs pos="30000">
                    <a:srgbClr val="505050"/>
                  </a:gs>
                </a:gsLst>
                <a:lin ang="5400000" scaled="0"/>
              </a:gradFill>
              <a:latin typeface="Segoe UI"/>
              <a:cs typeface="Segoe UI"/>
            </a:endParaRPr>
          </a:p>
        </p:txBody>
      </p:sp>
      <p:sp>
        <p:nvSpPr>
          <p:cNvPr id="6" name="Content Placeholder 2">
            <a:extLst>
              <a:ext uri="{FF2B5EF4-FFF2-40B4-BE49-F238E27FC236}">
                <a16:creationId xmlns:a16="http://schemas.microsoft.com/office/drawing/2014/main" id="{F8C27C68-4A87-44DC-B629-112078020EFD}"/>
              </a:ext>
            </a:extLst>
          </p:cNvPr>
          <p:cNvSpPr>
            <a:spLocks noGrp="1"/>
          </p:cNvSpPr>
          <p:nvPr>
            <p:ph idx="1"/>
          </p:nvPr>
        </p:nvSpPr>
        <p:spPr>
          <a:xfrm>
            <a:off x="4021025" y="1597089"/>
            <a:ext cx="8413688" cy="2361676"/>
          </a:xfrm>
        </p:spPr>
        <p:txBody>
          <a:bodyPr>
            <a:normAutofit/>
          </a:bodyPr>
          <a:lstStyle/>
          <a:p>
            <a:pPr marL="0" indent="0">
              <a:buNone/>
            </a:pPr>
            <a:r>
              <a:rPr lang="en-US" sz="2000" b="1">
                <a:solidFill>
                  <a:srgbClr val="171717"/>
                </a:solidFill>
                <a:latin typeface="SFMono-Regular"/>
              </a:rPr>
              <a:t>BEFORE</a:t>
            </a:r>
          </a:p>
          <a:p>
            <a:pPr marL="0" indent="0">
              <a:buNone/>
            </a:pPr>
            <a:r>
              <a:rPr lang="en-US" sz="2000">
                <a:solidFill>
                  <a:srgbClr val="171717"/>
                </a:solidFill>
                <a:latin typeface="SFMono-Regular"/>
              </a:rPr>
              <a:t>Sales YoY Growth % = </a:t>
            </a:r>
          </a:p>
          <a:p>
            <a:pPr marL="0" indent="0">
              <a:buNone/>
            </a:pPr>
            <a:r>
              <a:rPr lang="en-US" sz="2000">
                <a:solidFill>
                  <a:srgbClr val="0101FD"/>
                </a:solidFill>
                <a:latin typeface="SFMono-Regular"/>
              </a:rPr>
              <a:t>DIVIDE</a:t>
            </a:r>
            <a:r>
              <a:rPr lang="en-US" sz="2000">
                <a:solidFill>
                  <a:srgbClr val="171717"/>
                </a:solidFill>
                <a:latin typeface="SFMono-Regular"/>
              </a:rPr>
              <a:t>( </a:t>
            </a:r>
          </a:p>
          <a:p>
            <a:pPr marL="0" indent="0">
              <a:buNone/>
            </a:pPr>
            <a:r>
              <a:rPr lang="en-US" sz="2000">
                <a:solidFill>
                  <a:srgbClr val="171717"/>
                </a:solidFill>
                <a:latin typeface="SFMono-Regular"/>
              </a:rPr>
              <a:t>     ([Sales] - </a:t>
            </a:r>
            <a:r>
              <a:rPr lang="en-US" sz="2000">
                <a:solidFill>
                  <a:srgbClr val="0101FD"/>
                </a:solidFill>
                <a:latin typeface="SFMono-Regular"/>
              </a:rPr>
              <a:t>CALCULATE</a:t>
            </a:r>
            <a:r>
              <a:rPr lang="en-US" sz="2000">
                <a:solidFill>
                  <a:srgbClr val="171717"/>
                </a:solidFill>
                <a:latin typeface="SFMono-Regular"/>
              </a:rPr>
              <a:t>([Sales], </a:t>
            </a:r>
            <a:r>
              <a:rPr lang="en-US" sz="2000">
                <a:solidFill>
                  <a:srgbClr val="0101FD"/>
                </a:solidFill>
                <a:latin typeface="SFMono-Regular"/>
              </a:rPr>
              <a:t>PARALLELPERIOD</a:t>
            </a:r>
            <a:r>
              <a:rPr lang="en-US" sz="2000">
                <a:solidFill>
                  <a:srgbClr val="171717"/>
                </a:solidFill>
                <a:latin typeface="SFMono-Regular"/>
              </a:rPr>
              <a:t>('Date'[Date], -12, </a:t>
            </a:r>
            <a:r>
              <a:rPr lang="en-US" sz="2000">
                <a:solidFill>
                  <a:srgbClr val="0101FD"/>
                </a:solidFill>
                <a:latin typeface="SFMono-Regular"/>
              </a:rPr>
              <a:t>MONTH</a:t>
            </a:r>
            <a:r>
              <a:rPr lang="en-US" sz="2000">
                <a:solidFill>
                  <a:srgbClr val="171717"/>
                </a:solidFill>
                <a:latin typeface="SFMono-Regular"/>
              </a:rPr>
              <a:t>))), </a:t>
            </a:r>
          </a:p>
          <a:p>
            <a:pPr marL="0" indent="0">
              <a:buNone/>
            </a:pPr>
            <a:r>
              <a:rPr lang="en-US" sz="2000">
                <a:solidFill>
                  <a:srgbClr val="171717"/>
                </a:solidFill>
                <a:latin typeface="SFMono-Regular"/>
              </a:rPr>
              <a:t>     </a:t>
            </a:r>
            <a:r>
              <a:rPr lang="en-US" sz="2000">
                <a:solidFill>
                  <a:srgbClr val="0101FD"/>
                </a:solidFill>
                <a:latin typeface="SFMono-Regular"/>
              </a:rPr>
              <a:t>CALCULATE</a:t>
            </a:r>
            <a:r>
              <a:rPr lang="en-US" sz="2000">
                <a:solidFill>
                  <a:srgbClr val="171717"/>
                </a:solidFill>
                <a:latin typeface="SFMono-Regular"/>
              </a:rPr>
              <a:t>([Sales], </a:t>
            </a:r>
            <a:r>
              <a:rPr lang="en-US" sz="2000">
                <a:solidFill>
                  <a:srgbClr val="0101FD"/>
                </a:solidFill>
                <a:latin typeface="SFMono-Regular"/>
              </a:rPr>
              <a:t>PARALLELPERIOD</a:t>
            </a:r>
            <a:r>
              <a:rPr lang="en-US" sz="2000">
                <a:solidFill>
                  <a:srgbClr val="171717"/>
                </a:solidFill>
                <a:latin typeface="SFMono-Regular"/>
              </a:rPr>
              <a:t>('Date'[Date], -12, </a:t>
            </a:r>
            <a:r>
              <a:rPr lang="en-US" sz="2000">
                <a:solidFill>
                  <a:srgbClr val="0101FD"/>
                </a:solidFill>
                <a:latin typeface="SFMono-Regular"/>
              </a:rPr>
              <a:t>MONTH</a:t>
            </a:r>
            <a:r>
              <a:rPr lang="en-US" sz="2000">
                <a:solidFill>
                  <a:srgbClr val="171717"/>
                </a:solidFill>
                <a:latin typeface="SFMono-Regular"/>
              </a:rPr>
              <a:t>)) </a:t>
            </a:r>
          </a:p>
          <a:p>
            <a:pPr marL="0" indent="0">
              <a:buNone/>
            </a:pPr>
            <a:r>
              <a:rPr lang="en-US" sz="2000">
                <a:solidFill>
                  <a:srgbClr val="171717"/>
                </a:solidFill>
                <a:latin typeface="SFMono-Regular"/>
              </a:rPr>
              <a:t>)</a:t>
            </a:r>
            <a:endParaRPr lang="en-US" sz="4800">
              <a:solidFill>
                <a:srgbClr val="000000"/>
              </a:solidFill>
              <a:latin typeface="Segoe UI" panose="020B0502040204020203" pitchFamily="34" charset="0"/>
            </a:endParaRPr>
          </a:p>
        </p:txBody>
      </p:sp>
      <p:sp>
        <p:nvSpPr>
          <p:cNvPr id="7" name="TextBox 6">
            <a:extLst>
              <a:ext uri="{FF2B5EF4-FFF2-40B4-BE49-F238E27FC236}">
                <a16:creationId xmlns:a16="http://schemas.microsoft.com/office/drawing/2014/main" id="{4B930B33-2C66-41AC-A607-A7CB401EE83C}"/>
              </a:ext>
            </a:extLst>
          </p:cNvPr>
          <p:cNvSpPr txBox="1"/>
          <p:nvPr/>
        </p:nvSpPr>
        <p:spPr>
          <a:xfrm>
            <a:off x="4021024" y="4543594"/>
            <a:ext cx="8413688" cy="1754326"/>
          </a:xfrm>
          <a:prstGeom prst="rect">
            <a:avLst/>
          </a:prstGeom>
          <a:noFill/>
        </p:spPr>
        <p:txBody>
          <a:bodyPr wrap="square">
            <a:spAutoFit/>
          </a:bodyPr>
          <a:lstStyle/>
          <a:p>
            <a:pPr defTabSz="932649">
              <a:defRPr/>
            </a:pPr>
            <a:r>
              <a:rPr lang="en-US" b="1">
                <a:solidFill>
                  <a:srgbClr val="171717"/>
                </a:solidFill>
                <a:latin typeface="SFMono-Regular"/>
              </a:rPr>
              <a:t>AFTER</a:t>
            </a:r>
          </a:p>
          <a:p>
            <a:pPr defTabSz="932649">
              <a:defRPr/>
            </a:pPr>
            <a:r>
              <a:rPr lang="en-US">
                <a:solidFill>
                  <a:srgbClr val="171717"/>
                </a:solidFill>
                <a:latin typeface="SFMono-Regular"/>
              </a:rPr>
              <a:t>Sales YoY Growth % = </a:t>
            </a:r>
          </a:p>
          <a:p>
            <a:pPr defTabSz="932649">
              <a:defRPr/>
            </a:pPr>
            <a:r>
              <a:rPr lang="en-US">
                <a:solidFill>
                  <a:srgbClr val="0101FD"/>
                </a:solidFill>
                <a:latin typeface="SFMono-Regular"/>
              </a:rPr>
              <a:t>VAR</a:t>
            </a:r>
            <a:r>
              <a:rPr lang="en-US">
                <a:solidFill>
                  <a:srgbClr val="171717"/>
                </a:solidFill>
                <a:latin typeface="SFMono-Regular"/>
              </a:rPr>
              <a:t> </a:t>
            </a:r>
            <a:r>
              <a:rPr lang="en-US" err="1">
                <a:solidFill>
                  <a:srgbClr val="171717"/>
                </a:solidFill>
                <a:latin typeface="SFMono-Regular"/>
              </a:rPr>
              <a:t>SalesPriorYear</a:t>
            </a:r>
            <a:r>
              <a:rPr lang="en-US">
                <a:solidFill>
                  <a:srgbClr val="171717"/>
                </a:solidFill>
                <a:latin typeface="SFMono-Regular"/>
              </a:rPr>
              <a:t> = </a:t>
            </a:r>
          </a:p>
          <a:p>
            <a:pPr defTabSz="932649">
              <a:defRPr/>
            </a:pPr>
            <a:r>
              <a:rPr lang="en-US">
                <a:solidFill>
                  <a:srgbClr val="171717"/>
                </a:solidFill>
                <a:latin typeface="SFMono-Regular"/>
              </a:rPr>
              <a:t>    </a:t>
            </a:r>
            <a:r>
              <a:rPr lang="en-US">
                <a:solidFill>
                  <a:srgbClr val="0101FD"/>
                </a:solidFill>
                <a:latin typeface="SFMono-Regular"/>
              </a:rPr>
              <a:t>CALCULATE</a:t>
            </a:r>
            <a:r>
              <a:rPr lang="en-US">
                <a:solidFill>
                  <a:srgbClr val="171717"/>
                </a:solidFill>
                <a:latin typeface="SFMono-Regular"/>
              </a:rPr>
              <a:t>([Sales], </a:t>
            </a:r>
            <a:r>
              <a:rPr lang="en-US">
                <a:solidFill>
                  <a:srgbClr val="0101FD"/>
                </a:solidFill>
                <a:latin typeface="SFMono-Regular"/>
              </a:rPr>
              <a:t>PARALLELPERIOD</a:t>
            </a:r>
            <a:r>
              <a:rPr lang="en-US">
                <a:solidFill>
                  <a:srgbClr val="171717"/>
                </a:solidFill>
                <a:latin typeface="SFMono-Regular"/>
              </a:rPr>
              <a:t>('Date'[Date], -12, </a:t>
            </a:r>
            <a:r>
              <a:rPr lang="en-US">
                <a:solidFill>
                  <a:srgbClr val="0101FD"/>
                </a:solidFill>
                <a:latin typeface="SFMono-Regular"/>
              </a:rPr>
              <a:t>MONTH</a:t>
            </a:r>
            <a:r>
              <a:rPr lang="en-US">
                <a:solidFill>
                  <a:srgbClr val="171717"/>
                </a:solidFill>
                <a:latin typeface="SFMono-Regular"/>
              </a:rPr>
              <a:t>)) </a:t>
            </a:r>
          </a:p>
          <a:p>
            <a:pPr defTabSz="932649">
              <a:defRPr/>
            </a:pPr>
            <a:r>
              <a:rPr lang="en-US">
                <a:solidFill>
                  <a:srgbClr val="0101FD"/>
                </a:solidFill>
                <a:latin typeface="SFMono-Regular"/>
              </a:rPr>
              <a:t>RETURN</a:t>
            </a:r>
            <a:r>
              <a:rPr lang="en-US">
                <a:solidFill>
                  <a:srgbClr val="171717"/>
                </a:solidFill>
                <a:latin typeface="SFMono-Regular"/>
              </a:rPr>
              <a:t> </a:t>
            </a:r>
          </a:p>
          <a:p>
            <a:pPr defTabSz="932649">
              <a:defRPr/>
            </a:pPr>
            <a:r>
              <a:rPr lang="en-US">
                <a:solidFill>
                  <a:srgbClr val="171717"/>
                </a:solidFill>
                <a:latin typeface="SFMono-Regular"/>
              </a:rPr>
              <a:t>    </a:t>
            </a:r>
            <a:r>
              <a:rPr lang="en-US">
                <a:solidFill>
                  <a:srgbClr val="0101FD"/>
                </a:solidFill>
                <a:latin typeface="SFMono-Regular"/>
              </a:rPr>
              <a:t>DIVIDE</a:t>
            </a:r>
            <a:r>
              <a:rPr lang="en-US">
                <a:solidFill>
                  <a:srgbClr val="171717"/>
                </a:solidFill>
                <a:latin typeface="SFMono-Regular"/>
              </a:rPr>
              <a:t>(([Sales] - </a:t>
            </a:r>
            <a:r>
              <a:rPr lang="en-US" err="1">
                <a:solidFill>
                  <a:srgbClr val="171717"/>
                </a:solidFill>
                <a:latin typeface="SFMono-Regular"/>
              </a:rPr>
              <a:t>SalesPriorYear</a:t>
            </a:r>
            <a:r>
              <a:rPr lang="en-US">
                <a:solidFill>
                  <a:srgbClr val="171717"/>
                </a:solidFill>
                <a:latin typeface="SFMono-Regular"/>
              </a:rPr>
              <a:t>), </a:t>
            </a:r>
            <a:r>
              <a:rPr lang="en-US" err="1">
                <a:solidFill>
                  <a:srgbClr val="171717"/>
                </a:solidFill>
                <a:latin typeface="SFMono-Regular"/>
              </a:rPr>
              <a:t>SalesPriorYear</a:t>
            </a:r>
            <a:r>
              <a:rPr lang="en-US">
                <a:solidFill>
                  <a:srgbClr val="171717"/>
                </a:solidFill>
                <a:latin typeface="SFMono-Regular"/>
              </a:rPr>
              <a:t>)</a:t>
            </a:r>
            <a:endParaRPr lang="en-US">
              <a:solidFill>
                <a:srgbClr val="000000"/>
              </a:solidFill>
              <a:latin typeface="Segoe UI"/>
            </a:endParaRPr>
          </a:p>
        </p:txBody>
      </p:sp>
      <p:sp>
        <p:nvSpPr>
          <p:cNvPr id="8" name="Content Placeholder 2">
            <a:extLst>
              <a:ext uri="{FF2B5EF4-FFF2-40B4-BE49-F238E27FC236}">
                <a16:creationId xmlns:a16="http://schemas.microsoft.com/office/drawing/2014/main" id="{846AD36B-A881-4BC1-9BE5-6DD5514D984B}"/>
              </a:ext>
            </a:extLst>
          </p:cNvPr>
          <p:cNvSpPr txBox="1">
            <a:spLocks/>
          </p:cNvSpPr>
          <p:nvPr/>
        </p:nvSpPr>
        <p:spPr>
          <a:xfrm>
            <a:off x="434633" y="1619609"/>
            <a:ext cx="3113240" cy="4678311"/>
          </a:xfrm>
          <a:prstGeom prst="rect">
            <a:avLst/>
          </a:prstGeom>
        </p:spPr>
        <p:txBody>
          <a:bodyPr vert="horz" wrap="square" lIns="91428" tIns="45714" rIns="91428" bIns="45714" rtlCol="0" anchor="t">
            <a:normAutofit/>
          </a:bodyPr>
          <a:lst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2400" b="1">
                <a:gradFill>
                  <a:gsLst>
                    <a:gs pos="2917">
                      <a:srgbClr val="505050"/>
                    </a:gs>
                    <a:gs pos="30000">
                      <a:srgbClr val="505050"/>
                    </a:gs>
                  </a:gsLst>
                  <a:lin ang="5400000" scaled="0"/>
                </a:gradFill>
                <a:latin typeface="Segoe UI"/>
              </a:rPr>
              <a:t>Advantages:</a:t>
            </a:r>
            <a:endParaRPr lang="en-US" sz="2400" b="1">
              <a:gradFill>
                <a:gsLst>
                  <a:gs pos="2917">
                    <a:srgbClr val="505050"/>
                  </a:gs>
                  <a:gs pos="30000">
                    <a:srgbClr val="505050"/>
                  </a:gs>
                </a:gsLst>
                <a:lin ang="5400000" scaled="0"/>
              </a:gradFill>
              <a:latin typeface="Segoe UI"/>
              <a:cs typeface="Segoe UI"/>
            </a:endParaRPr>
          </a:p>
          <a:p>
            <a:pPr marL="466043" indent="-466043" defTabSz="951209">
              <a:buFont typeface="+mj-lt"/>
              <a:buAutoNum type="arabicPeriod"/>
              <a:defRPr/>
            </a:pPr>
            <a:r>
              <a:rPr lang="en-US" sz="1800">
                <a:gradFill>
                  <a:gsLst>
                    <a:gs pos="2917">
                      <a:srgbClr val="505050"/>
                    </a:gs>
                    <a:gs pos="30000">
                      <a:srgbClr val="505050"/>
                    </a:gs>
                  </a:gsLst>
                  <a:lin ang="5400000" scaled="0"/>
                </a:gradFill>
                <a:latin typeface="Segoe UI"/>
              </a:rPr>
              <a:t>Improved Readability</a:t>
            </a:r>
          </a:p>
          <a:p>
            <a:pPr marL="466043" indent="-466043" defTabSz="951209">
              <a:buFont typeface="+mj-lt"/>
              <a:buAutoNum type="arabicPeriod"/>
              <a:defRPr/>
            </a:pPr>
            <a:r>
              <a:rPr lang="en-US" sz="1800">
                <a:gradFill>
                  <a:gsLst>
                    <a:gs pos="2917">
                      <a:srgbClr val="505050"/>
                    </a:gs>
                    <a:gs pos="30000">
                      <a:srgbClr val="505050"/>
                    </a:gs>
                  </a:gsLst>
                  <a:lin ang="5400000" scaled="0"/>
                </a:gradFill>
                <a:latin typeface="Segoe UI"/>
              </a:rPr>
              <a:t>Simplify debugging</a:t>
            </a:r>
          </a:p>
          <a:p>
            <a:pPr marL="466043" indent="-466043" defTabSz="951209">
              <a:buFont typeface="+mj-lt"/>
              <a:buAutoNum type="arabicPeriod"/>
              <a:defRPr/>
            </a:pPr>
            <a:r>
              <a:rPr lang="en-US" sz="1800">
                <a:gradFill>
                  <a:gsLst>
                    <a:gs pos="2917">
                      <a:srgbClr val="505050"/>
                    </a:gs>
                    <a:gs pos="30000">
                      <a:srgbClr val="505050"/>
                    </a:gs>
                  </a:gsLst>
                  <a:lin ang="5400000" scaled="0"/>
                </a:gradFill>
                <a:latin typeface="Segoe UI"/>
                <a:cs typeface="Segoe UI"/>
              </a:rPr>
              <a:t>Reduce Complexity</a:t>
            </a:r>
          </a:p>
          <a:p>
            <a:pPr marL="466043" indent="-466043" defTabSz="951209">
              <a:buFont typeface="+mj-lt"/>
              <a:buAutoNum type="arabicPeriod"/>
              <a:defRPr/>
            </a:pPr>
            <a:r>
              <a:rPr lang="en-US" sz="1800">
                <a:gradFill>
                  <a:gsLst>
                    <a:gs pos="2917">
                      <a:srgbClr val="505050"/>
                    </a:gs>
                    <a:gs pos="30000">
                      <a:srgbClr val="505050"/>
                    </a:gs>
                  </a:gsLst>
                  <a:lin ang="5400000" scaled="0"/>
                </a:gradFill>
                <a:latin typeface="Segoe UI"/>
                <a:cs typeface="Segoe UI"/>
              </a:rPr>
              <a:t>Improve Performance</a:t>
            </a:r>
            <a:endParaRPr lang="en-US" sz="1400">
              <a:gradFill>
                <a:gsLst>
                  <a:gs pos="2917">
                    <a:srgbClr val="505050"/>
                  </a:gs>
                  <a:gs pos="30000">
                    <a:srgbClr val="505050"/>
                  </a:gs>
                </a:gsLst>
                <a:lin ang="5400000" scaled="0"/>
              </a:gradFill>
              <a:latin typeface="Segoe UI"/>
              <a:cs typeface="Segoe UI"/>
            </a:endParaRPr>
          </a:p>
        </p:txBody>
      </p:sp>
      <p:cxnSp>
        <p:nvCxnSpPr>
          <p:cNvPr id="10" name="Straight Connector 9">
            <a:extLst>
              <a:ext uri="{FF2B5EF4-FFF2-40B4-BE49-F238E27FC236}">
                <a16:creationId xmlns:a16="http://schemas.microsoft.com/office/drawing/2014/main" id="{F89463C5-48C9-421B-BB63-E28027DF68A1}"/>
              </a:ext>
            </a:extLst>
          </p:cNvPr>
          <p:cNvCxnSpPr>
            <a:cxnSpLocks/>
          </p:cNvCxnSpPr>
          <p:nvPr/>
        </p:nvCxnSpPr>
        <p:spPr>
          <a:xfrm>
            <a:off x="3931920" y="4151376"/>
            <a:ext cx="8074152"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5537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Partitions</a:t>
            </a:r>
            <a:endParaRPr lang="en-US">
              <a:gradFill>
                <a:gsLst>
                  <a:gs pos="1250">
                    <a:srgbClr val="000000"/>
                  </a:gs>
                  <a:gs pos="100000">
                    <a:srgbClr val="000000"/>
                  </a:gs>
                </a:gsLst>
                <a:lin ang="5400000" scaled="0"/>
              </a:gradFill>
            </a:endParaRPr>
          </a:p>
        </p:txBody>
      </p:sp>
      <p:sp>
        <p:nvSpPr>
          <p:cNvPr id="2" name="TextBox 1">
            <a:extLst>
              <a:ext uri="{FF2B5EF4-FFF2-40B4-BE49-F238E27FC236}">
                <a16:creationId xmlns:a16="http://schemas.microsoft.com/office/drawing/2014/main" id="{4C2846BE-010E-4B75-BD41-823230F325FE}"/>
              </a:ext>
            </a:extLst>
          </p:cNvPr>
          <p:cNvSpPr txBox="1"/>
          <p:nvPr/>
        </p:nvSpPr>
        <p:spPr>
          <a:xfrm>
            <a:off x="1010358" y="4527540"/>
            <a:ext cx="992721" cy="542399"/>
          </a:xfrm>
          <a:prstGeom prst="rect">
            <a:avLst/>
          </a:prstGeom>
          <a:solidFill>
            <a:schemeClr val="tx1"/>
          </a:solidFill>
        </p:spPr>
        <p:txBody>
          <a:bodyPr wrap="none" rtlCol="0">
            <a:spAutoFit/>
          </a:bodyPr>
          <a:lstStyle/>
          <a:p>
            <a:pPr algn="ctr"/>
            <a:r>
              <a:rPr lang="en-US" sz="2856">
                <a:solidFill>
                  <a:schemeClr val="bg1"/>
                </a:solidFill>
                <a:latin typeface="Segoe UI" panose="020B0502040204020203" pitchFamily="34" charset="0"/>
                <a:cs typeface="Segoe UI" panose="020B0502040204020203" pitchFamily="34" charset="0"/>
              </a:rPr>
              <a:t>2020</a:t>
            </a:r>
          </a:p>
        </p:txBody>
      </p:sp>
      <p:sp>
        <p:nvSpPr>
          <p:cNvPr id="7" name="TextBox 6">
            <a:extLst>
              <a:ext uri="{FF2B5EF4-FFF2-40B4-BE49-F238E27FC236}">
                <a16:creationId xmlns:a16="http://schemas.microsoft.com/office/drawing/2014/main" id="{88FE46FB-881F-4B34-B4A8-3EE668DBF58F}"/>
              </a:ext>
            </a:extLst>
          </p:cNvPr>
          <p:cNvSpPr txBox="1"/>
          <p:nvPr/>
        </p:nvSpPr>
        <p:spPr>
          <a:xfrm>
            <a:off x="1016899" y="3374996"/>
            <a:ext cx="979640" cy="531812"/>
          </a:xfrm>
          <a:prstGeom prst="rect">
            <a:avLst/>
          </a:prstGeom>
          <a:solidFill>
            <a:schemeClr val="tx1"/>
          </a:solidFill>
        </p:spPr>
        <p:txBody>
          <a:bodyPr wrap="square" rtlCol="0">
            <a:spAutoFit/>
          </a:bodyPr>
          <a:lstStyle>
            <a:defPPr>
              <a:defRPr lang="en-US"/>
            </a:defPPr>
            <a:lvl1pPr algn="ctr">
              <a:defRPr sz="2800">
                <a:solidFill>
                  <a:schemeClr val="bg1"/>
                </a:solidFill>
                <a:latin typeface="Segoe UI" panose="020B0502040204020203" pitchFamily="34" charset="0"/>
                <a:cs typeface="Segoe UI" panose="020B0502040204020203" pitchFamily="34" charset="0"/>
              </a:defRPr>
            </a:lvl1pPr>
          </a:lstStyle>
          <a:p>
            <a:r>
              <a:rPr lang="en-US" sz="2856"/>
              <a:t>2019</a:t>
            </a:r>
          </a:p>
        </p:txBody>
      </p:sp>
      <p:sp>
        <p:nvSpPr>
          <p:cNvPr id="9" name="TextBox 8">
            <a:extLst>
              <a:ext uri="{FF2B5EF4-FFF2-40B4-BE49-F238E27FC236}">
                <a16:creationId xmlns:a16="http://schemas.microsoft.com/office/drawing/2014/main" id="{AD1F639E-110C-43F9-95A5-26656E99A2E1}"/>
              </a:ext>
            </a:extLst>
          </p:cNvPr>
          <p:cNvSpPr txBox="1"/>
          <p:nvPr/>
        </p:nvSpPr>
        <p:spPr>
          <a:xfrm>
            <a:off x="1010359" y="2222453"/>
            <a:ext cx="992721" cy="542399"/>
          </a:xfrm>
          <a:prstGeom prst="rect">
            <a:avLst/>
          </a:prstGeom>
          <a:solidFill>
            <a:schemeClr val="tx1"/>
          </a:solidFill>
        </p:spPr>
        <p:txBody>
          <a:bodyPr wrap="none" rtlCol="0">
            <a:spAutoFit/>
          </a:bodyPr>
          <a:lstStyle>
            <a:defPPr>
              <a:defRPr lang="en-US"/>
            </a:defPPr>
            <a:lvl1pPr algn="ctr">
              <a:defRPr sz="2800">
                <a:solidFill>
                  <a:schemeClr val="bg1"/>
                </a:solidFill>
                <a:latin typeface="Segoe UI" panose="020B0502040204020203" pitchFamily="34" charset="0"/>
                <a:cs typeface="Segoe UI" panose="020B0502040204020203" pitchFamily="34" charset="0"/>
              </a:defRPr>
            </a:lvl1pPr>
          </a:lstStyle>
          <a:p>
            <a:r>
              <a:rPr lang="en-US" sz="2856"/>
              <a:t>2018</a:t>
            </a:r>
          </a:p>
        </p:txBody>
      </p:sp>
      <p:graphicFrame>
        <p:nvGraphicFramePr>
          <p:cNvPr id="11" name="Table 10">
            <a:extLst>
              <a:ext uri="{FF2B5EF4-FFF2-40B4-BE49-F238E27FC236}">
                <a16:creationId xmlns:a16="http://schemas.microsoft.com/office/drawing/2014/main" id="{A6F0EBD5-F7E6-4AD2-BC68-2A96D673AD15}"/>
              </a:ext>
            </a:extLst>
          </p:cNvPr>
          <p:cNvGraphicFramePr>
            <a:graphicFrameLocks noGrp="1"/>
          </p:cNvGraphicFramePr>
          <p:nvPr/>
        </p:nvGraphicFramePr>
        <p:xfrm>
          <a:off x="2115181" y="1603546"/>
          <a:ext cx="7669436" cy="4117393"/>
        </p:xfrm>
        <a:graphic>
          <a:graphicData uri="http://schemas.openxmlformats.org/drawingml/2006/table">
            <a:tbl>
              <a:tblPr firstRow="1" bandRow="1">
                <a:tableStyleId>{9D7B26C5-4107-4FEC-AEDC-1716B250A1EF}</a:tableStyleId>
              </a:tblPr>
              <a:tblGrid>
                <a:gridCol w="7669436">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508234671"/>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27680714"/>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524967406"/>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60134010"/>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621617039"/>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23095080"/>
                  </a:ext>
                </a:extLst>
              </a:tr>
            </a:tbl>
          </a:graphicData>
        </a:graphic>
      </p:graphicFrame>
      <p:graphicFrame>
        <p:nvGraphicFramePr>
          <p:cNvPr id="13" name="Table 12">
            <a:extLst>
              <a:ext uri="{FF2B5EF4-FFF2-40B4-BE49-F238E27FC236}">
                <a16:creationId xmlns:a16="http://schemas.microsoft.com/office/drawing/2014/main" id="{A9BF688B-B7F8-4DBF-B112-1CF484200245}"/>
              </a:ext>
            </a:extLst>
          </p:cNvPr>
          <p:cNvGraphicFramePr>
            <a:graphicFrameLocks noGrp="1"/>
          </p:cNvGraphicFramePr>
          <p:nvPr/>
        </p:nvGraphicFramePr>
        <p:xfrm>
          <a:off x="9904240" y="1603546"/>
          <a:ext cx="1522103" cy="4117393"/>
        </p:xfrm>
        <a:graphic>
          <a:graphicData uri="http://schemas.openxmlformats.org/drawingml/2006/table">
            <a:tbl>
              <a:tblPr firstRow="1" bandRow="1">
                <a:tableStyleId>{9D7B26C5-4107-4FEC-AEDC-1716B250A1EF}</a:tableStyleId>
              </a:tblPr>
              <a:tblGrid>
                <a:gridCol w="1522103">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bl>
          </a:graphicData>
        </a:graphic>
      </p:graphicFrame>
      <p:sp>
        <p:nvSpPr>
          <p:cNvPr id="15" name="Rectangle 14">
            <a:extLst>
              <a:ext uri="{FF2B5EF4-FFF2-40B4-BE49-F238E27FC236}">
                <a16:creationId xmlns:a16="http://schemas.microsoft.com/office/drawing/2014/main" id="{AA77B33B-7FF7-4BA8-BE05-7C082C1C0E5D}"/>
              </a:ext>
            </a:extLst>
          </p:cNvPr>
          <p:cNvSpPr/>
          <p:nvPr/>
        </p:nvSpPr>
        <p:spPr>
          <a:xfrm>
            <a:off x="9904238" y="1603546"/>
            <a:ext cx="1522298" cy="4117921"/>
          </a:xfrm>
          <a:prstGeom prst="rect">
            <a:avLst/>
          </a:prstGeom>
          <a:noFill/>
          <a:ln w="444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7" name="TextBox 16">
            <a:extLst>
              <a:ext uri="{FF2B5EF4-FFF2-40B4-BE49-F238E27FC236}">
                <a16:creationId xmlns:a16="http://schemas.microsoft.com/office/drawing/2014/main" id="{A00A4954-B394-413C-B8F6-308483287225}"/>
              </a:ext>
            </a:extLst>
          </p:cNvPr>
          <p:cNvSpPr txBox="1"/>
          <p:nvPr/>
        </p:nvSpPr>
        <p:spPr>
          <a:xfrm>
            <a:off x="1016899" y="5146447"/>
            <a:ext cx="979640" cy="542399"/>
          </a:xfrm>
          <a:prstGeom prst="rect">
            <a:avLst/>
          </a:prstGeom>
          <a:solidFill>
            <a:schemeClr val="tx1"/>
          </a:solidFill>
        </p:spPr>
        <p:txBody>
          <a:bodyPr wrap="square" rtlCol="0">
            <a:spAutoFit/>
          </a:bodyPr>
          <a:lstStyle/>
          <a:p>
            <a:pPr algn="ctr"/>
            <a:endParaRPr lang="en-US" sz="2856">
              <a:solidFill>
                <a:schemeClr val="bg1"/>
              </a:solidFill>
              <a:latin typeface="Segoe UI" panose="020B0502040204020203" pitchFamily="34" charset="0"/>
              <a:cs typeface="Segoe UI" panose="020B0502040204020203" pitchFamily="34" charset="0"/>
            </a:endParaRPr>
          </a:p>
        </p:txBody>
      </p:sp>
      <p:sp>
        <p:nvSpPr>
          <p:cNvPr id="19" name="TextBox 18">
            <a:extLst>
              <a:ext uri="{FF2B5EF4-FFF2-40B4-BE49-F238E27FC236}">
                <a16:creationId xmlns:a16="http://schemas.microsoft.com/office/drawing/2014/main" id="{4AD8397D-A221-4D43-89A3-11175CAA0224}"/>
              </a:ext>
            </a:extLst>
          </p:cNvPr>
          <p:cNvSpPr txBox="1"/>
          <p:nvPr/>
        </p:nvSpPr>
        <p:spPr>
          <a:xfrm>
            <a:off x="1267559" y="4955550"/>
            <a:ext cx="539849" cy="670512"/>
          </a:xfrm>
          <a:prstGeom prst="rect">
            <a:avLst/>
          </a:prstGeom>
          <a:noFill/>
        </p:spPr>
        <p:txBody>
          <a:bodyPr wrap="none" rtlCol="0">
            <a:spAutoFit/>
          </a:bodyPr>
          <a:lstStyle/>
          <a:p>
            <a:r>
              <a:rPr lang="en-US" sz="3672">
                <a:solidFill>
                  <a:schemeClr val="bg1"/>
                </a:solidFill>
              </a:rPr>
              <a:t>…</a:t>
            </a:r>
          </a:p>
        </p:txBody>
      </p:sp>
      <p:cxnSp>
        <p:nvCxnSpPr>
          <p:cNvPr id="21" name="Straight Arrow Connector 20">
            <a:extLst>
              <a:ext uri="{FF2B5EF4-FFF2-40B4-BE49-F238E27FC236}">
                <a16:creationId xmlns:a16="http://schemas.microsoft.com/office/drawing/2014/main" id="{E2D1F5D0-964F-4A3F-95EA-FC646084FDD4}"/>
              </a:ext>
            </a:extLst>
          </p:cNvPr>
          <p:cNvCxnSpPr>
            <a:cxnSpLocks/>
          </p:cNvCxnSpPr>
          <p:nvPr/>
        </p:nvCxnSpPr>
        <p:spPr>
          <a:xfrm flipV="1">
            <a:off x="11809000" y="1631259"/>
            <a:ext cx="0" cy="4090208"/>
          </a:xfrm>
          <a:prstGeom prst="straightConnector1">
            <a:avLst/>
          </a:prstGeom>
          <a:ln w="76200">
            <a:prstDash val="sysDot"/>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09664297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Design Decisions</a:t>
            </a:r>
            <a:endParaRPr lang="en-US">
              <a:gradFill>
                <a:gsLst>
                  <a:gs pos="1250">
                    <a:srgbClr val="000000"/>
                  </a:gs>
                  <a:gs pos="100000">
                    <a:srgbClr val="000000"/>
                  </a:gs>
                </a:gsLst>
                <a:lin ang="5400000" scaled="0"/>
              </a:gradFill>
            </a:endParaRPr>
          </a:p>
        </p:txBody>
      </p:sp>
      <p:sp>
        <p:nvSpPr>
          <p:cNvPr id="7" name="Content Placeholder 2">
            <a:extLst>
              <a:ext uri="{FF2B5EF4-FFF2-40B4-BE49-F238E27FC236}">
                <a16:creationId xmlns:a16="http://schemas.microsoft.com/office/drawing/2014/main" id="{4F072593-2924-4EF9-B891-AABE80ED9748}"/>
              </a:ext>
            </a:extLst>
          </p:cNvPr>
          <p:cNvSpPr>
            <a:spLocks noGrp="1"/>
          </p:cNvSpPr>
          <p:nvPr>
            <p:ph idx="1"/>
          </p:nvPr>
        </p:nvSpPr>
        <p:spPr>
          <a:xfrm>
            <a:off x="855768" y="1631427"/>
            <a:ext cx="10724938" cy="4663563"/>
          </a:xfrm>
        </p:spPr>
        <p:txBody>
          <a:bodyPr>
            <a:normAutofit/>
          </a:bodyPr>
          <a:lstStyle/>
          <a:p>
            <a:pPr marL="349689" indent="-349689">
              <a:buFont typeface="+mj-lt"/>
              <a:buAutoNum type="arabicPeriod"/>
            </a:pPr>
            <a:r>
              <a:rPr lang="en-US" sz="1836">
                <a:latin typeface="Segoe UI" panose="020B0502040204020203" pitchFamily="34" charset="0"/>
              </a:rPr>
              <a:t>Calculated columns are </a:t>
            </a:r>
            <a:r>
              <a:rPr lang="en-US" sz="1836" b="1">
                <a:solidFill>
                  <a:schemeClr val="tx1">
                    <a:lumMod val="50000"/>
                    <a:lumOff val="50000"/>
                  </a:schemeClr>
                </a:solidFill>
                <a:latin typeface="Segoe UI" panose="020B0502040204020203" pitchFamily="34" charset="0"/>
              </a:rPr>
              <a:t>evaluated at the table level</a:t>
            </a:r>
            <a:r>
              <a:rPr lang="en-US" sz="1836">
                <a:latin typeface="Segoe UI" panose="020B0502040204020203" pitchFamily="34" charset="0"/>
              </a:rPr>
              <a:t>. It is a good practice not to include calculated columns where you have partitions that you refresh often. Consider moving these calculations to the external data source or an M query.</a:t>
            </a:r>
          </a:p>
        </p:txBody>
      </p:sp>
      <p:sp>
        <p:nvSpPr>
          <p:cNvPr id="8" name="Rectangle 7">
            <a:extLst>
              <a:ext uri="{FF2B5EF4-FFF2-40B4-BE49-F238E27FC236}">
                <a16:creationId xmlns:a16="http://schemas.microsoft.com/office/drawing/2014/main" id="{5DA10E94-9282-40DB-A02F-0DEA0F2ABA66}"/>
              </a:ext>
            </a:extLst>
          </p:cNvPr>
          <p:cNvSpPr/>
          <p:nvPr/>
        </p:nvSpPr>
        <p:spPr>
          <a:xfrm>
            <a:off x="10546294" y="6294991"/>
            <a:ext cx="1729087" cy="478442"/>
          </a:xfrm>
          <a:prstGeom prst="rect">
            <a:avLst/>
          </a:prstGeom>
        </p:spPr>
        <p:txBody>
          <a:bodyPr wrap="none">
            <a:spAutoFit/>
          </a:bodyPr>
          <a:lstStyle/>
          <a:p>
            <a:pPr algn="r"/>
            <a:r>
              <a:rPr lang="en-US" sz="1224"/>
              <a:t>Source (</a:t>
            </a:r>
            <a:r>
              <a:rPr lang="en-US" sz="1224">
                <a:hlinkClick r:id="rId2"/>
              </a:rPr>
              <a:t>SQLBI</a:t>
            </a:r>
            <a:r>
              <a:rPr lang="en-US" sz="1224"/>
              <a:t>)</a:t>
            </a:r>
          </a:p>
          <a:p>
            <a:pPr algn="r"/>
            <a:r>
              <a:rPr lang="en-US" sz="1224"/>
              <a:t>Authors: Marco Russo</a:t>
            </a:r>
          </a:p>
        </p:txBody>
      </p:sp>
    </p:spTree>
    <p:extLst>
      <p:ext uri="{BB962C8B-B14F-4D97-AF65-F5344CB8AC3E}">
        <p14:creationId xmlns:p14="http://schemas.microsoft.com/office/powerpoint/2010/main" val="4140600895"/>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Row-level Security</a:t>
            </a:r>
            <a:endParaRPr lang="en-US" sz="4080" spc="0">
              <a:solidFill>
                <a:srgbClr val="FFC000"/>
              </a:solidFill>
            </a:endParaRPr>
          </a:p>
        </p:txBody>
      </p:sp>
      <p:sp>
        <p:nvSpPr>
          <p:cNvPr id="4" name="Content Placeholder 3">
            <a:extLst>
              <a:ext uri="{FF2B5EF4-FFF2-40B4-BE49-F238E27FC236}">
                <a16:creationId xmlns:a16="http://schemas.microsoft.com/office/drawing/2014/main" id="{9668475D-3E5E-42CC-B3E4-E83D54889211}"/>
              </a:ext>
            </a:extLst>
          </p:cNvPr>
          <p:cNvSpPr>
            <a:spLocks noGrp="1"/>
          </p:cNvSpPr>
          <p:nvPr>
            <p:ph idx="1"/>
          </p:nvPr>
        </p:nvSpPr>
        <p:spPr>
          <a:xfrm>
            <a:off x="595839" y="1464081"/>
            <a:ext cx="4306099" cy="2710870"/>
          </a:xfrm>
        </p:spPr>
        <p:txBody>
          <a:bodyPr/>
          <a:lstStyle/>
          <a:p>
            <a:pPr marL="0" indent="0">
              <a:buNone/>
            </a:pPr>
            <a:r>
              <a:rPr lang="en-US"/>
              <a:t>Things to Remember:</a:t>
            </a:r>
          </a:p>
          <a:p>
            <a:pPr marL="342900" indent="-342900">
              <a:buAutoNum type="arabicPeriod"/>
            </a:pPr>
            <a:r>
              <a:rPr lang="en-US" sz="1800"/>
              <a:t>View Role</a:t>
            </a:r>
          </a:p>
          <a:p>
            <a:pPr marL="342900" indent="-342900">
              <a:buAutoNum type="arabicPeriod"/>
            </a:pPr>
            <a:r>
              <a:rPr lang="en-US" sz="1800"/>
              <a:t>Add member/group to Role in service</a:t>
            </a:r>
          </a:p>
          <a:p>
            <a:pPr marL="342900" indent="-342900">
              <a:buAutoNum type="arabicPeriod"/>
            </a:pPr>
            <a:r>
              <a:rPr lang="en-US" sz="1800"/>
              <a:t>Test Role</a:t>
            </a:r>
          </a:p>
          <a:p>
            <a:pPr marL="342900" indent="-342900">
              <a:buAutoNum type="arabicPeriod"/>
            </a:pPr>
            <a:r>
              <a:rPr lang="en-US" sz="1800"/>
              <a:t>Use only when necessary</a:t>
            </a:r>
          </a:p>
          <a:p>
            <a:pPr marL="342900" indent="-342900">
              <a:buAutoNum type="arabicPeriod"/>
            </a:pPr>
            <a:r>
              <a:rPr lang="en-US" sz="1800"/>
              <a:t>Filter on Dimension</a:t>
            </a:r>
          </a:p>
          <a:p>
            <a:pPr marL="342900" indent="-342900">
              <a:buAutoNum type="arabicPeriod"/>
            </a:pPr>
            <a:r>
              <a:rPr lang="en-US" sz="1800"/>
              <a:t>Avoid using LOOKUPVALUE, use relationships in model</a:t>
            </a:r>
          </a:p>
        </p:txBody>
      </p:sp>
    </p:spTree>
    <p:extLst>
      <p:ext uri="{BB962C8B-B14F-4D97-AF65-F5344CB8AC3E}">
        <p14:creationId xmlns:p14="http://schemas.microsoft.com/office/powerpoint/2010/main" val="5707580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1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1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1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1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1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1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1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1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1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1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2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2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2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2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2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2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2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2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2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2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3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3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3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3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3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3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3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3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3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3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4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4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6"/>
</p:tagLst>
</file>

<file path=ppt/tags/tag4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4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4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4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4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4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4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4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5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5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5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5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5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5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5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5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5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5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6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6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6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6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6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6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6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6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6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6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7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7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7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7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7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7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7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7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7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7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8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8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8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8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8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8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86.xml><?xml version="1.0" encoding="utf-8"?>
<p:tagLst xmlns:a="http://schemas.openxmlformats.org/drawingml/2006/main" xmlns:r="http://schemas.openxmlformats.org/officeDocument/2006/relationships" xmlns:p="http://schemas.openxmlformats.org/presentationml/2006/main">
  <p:tag name="POWER_USER_DIAGRAM_CIRCULAR_LABEL" val="POWER_USER_DIAGRAM_CIRCULAR_LABEL"/>
</p:tagLst>
</file>

<file path=ppt/tags/tag8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
</p:tagLst>
</file>

<file path=ppt/tags/tag8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
</p:tagLst>
</file>

<file path=ppt/tags/tag8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9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9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heme/theme1.xml><?xml version="1.0" encoding="utf-8"?>
<a:theme xmlns:a="http://schemas.openxmlformats.org/drawingml/2006/main" name="BA PowerPlatofrm Template Lines 0902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10.xml><?xml version="1.0" encoding="utf-8"?>
<a:theme xmlns:a="http://schemas.openxmlformats.org/drawingml/2006/main" name="1_BA PowerPlatofrm Template Lines 0902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11.xml><?xml version="1.0" encoding="utf-8"?>
<a:theme xmlns:a="http://schemas.openxmlformats.org/drawingml/2006/main" name="PowerBI Template July 2021 - Light">
  <a:themeElements>
    <a:clrScheme name="Inspire blac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BAS_2021_Template_2-3_format_v04.potx" id="{AE5EBC03-F135-4DA9-A8FF-99EEDC393C34}" vid="{0D51867F-DC4B-4871-ADCB-164FFB725EF9}"/>
    </a:ext>
  </a:extLst>
</a:theme>
</file>

<file path=ppt/theme/theme1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Microsoft Dynamics 365">
  <a:themeElements>
    <a:clrScheme name="MSFT Dynamics 365">
      <a:dk1>
        <a:srgbClr val="505050"/>
      </a:dk1>
      <a:lt1>
        <a:sysClr val="window" lastClr="FFFFFF"/>
      </a:lt1>
      <a:dk2>
        <a:srgbClr val="008272"/>
      </a:dk2>
      <a:lt2>
        <a:srgbClr val="E7E6E6"/>
      </a:lt2>
      <a:accent1>
        <a:srgbClr val="008272"/>
      </a:accent1>
      <a:accent2>
        <a:srgbClr val="30E5D0"/>
      </a:accent2>
      <a:accent3>
        <a:srgbClr val="FEF000"/>
      </a:accent3>
      <a:accent4>
        <a:srgbClr val="3C3C41"/>
      </a:accent4>
      <a:accent5>
        <a:srgbClr val="75757A"/>
      </a:accent5>
      <a:accent6>
        <a:srgbClr val="EBEBEB"/>
      </a:accent6>
      <a:hlink>
        <a:srgbClr val="0563C1"/>
      </a:hlink>
      <a:folHlink>
        <a:srgbClr val="954F72"/>
      </a:folHlink>
    </a:clrScheme>
    <a:fontScheme name="Custom 3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6_8.potx" id="{4FF32A3D-B0EC-495C-AF46-E5EB76C621A5}" vid="{49D7FC66-7821-4689-8681-3263CCC233C7}"/>
    </a:ext>
  </a:extLst>
</a:theme>
</file>

<file path=ppt/theme/theme3.xml><?xml version="1.0" encoding="utf-8"?>
<a:theme xmlns:a="http://schemas.openxmlformats.org/drawingml/2006/main" name="BA PowerPlatofrm Template Lines 0831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4.xml><?xml version="1.0" encoding="utf-8"?>
<a:theme xmlns:a="http://schemas.openxmlformats.org/drawingml/2006/main" name="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0000"/>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3600" dirty="0" smtClean="0">
            <a:gradFill>
              <a:gsLst>
                <a:gs pos="0">
                  <a:srgbClr val="FFFFFF"/>
                </a:gs>
                <a:gs pos="100000">
                  <a:srgbClr val="FFFFFF"/>
                </a:gs>
              </a:gsLst>
              <a:lin ang="5400000" scaled="0"/>
            </a:gradFill>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3.potx" id="{BA7D5050-3AD0-4CB6-9A61-7BECC949B49C}" vid="{7868751D-28D7-49DA-9A1E-005CDB50450F}"/>
    </a:ext>
  </a:extLst>
</a:theme>
</file>

<file path=ppt/theme/theme5.xml><?xml version="1.0" encoding="utf-8"?>
<a:theme xmlns:a="http://schemas.openxmlformats.org/drawingml/2006/main" name="9-51137_MBAS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BAS_Digital_Event_Template_v05" id="{EE422EC9-DB70-4CB6-9A66-15A20B15836E}" vid="{32C86280-55C1-4361-868B-733E268C0974}"/>
    </a:ext>
  </a:extLst>
</a:theme>
</file>

<file path=ppt/theme/theme6.xml><?xml version="1.0" encoding="utf-8"?>
<a:theme xmlns:a="http://schemas.openxmlformats.org/drawingml/2006/main" name="1_9-51052_Microsoft_Inspire_Template_Dark">
  <a:themeElements>
    <a:clrScheme name="Inspire + Ready Dark">
      <a:dk1>
        <a:srgbClr val="000000"/>
      </a:dk1>
      <a:lt1>
        <a:srgbClr val="FFFFFF"/>
      </a:lt1>
      <a:dk2>
        <a:srgbClr val="243A5E"/>
      </a:dk2>
      <a:lt2>
        <a:srgbClr val="E6E6E6"/>
      </a:lt2>
      <a:accent1>
        <a:srgbClr val="0078D4"/>
      </a:accent1>
      <a:accent2>
        <a:srgbClr val="50E6FF"/>
      </a:accent2>
      <a:accent3>
        <a:srgbClr val="9BF00B"/>
      </a:accent3>
      <a:accent4>
        <a:srgbClr val="FFB900"/>
      </a:accent4>
      <a:accent5>
        <a:srgbClr val="D2D2D2"/>
      </a:accent5>
      <a:accent6>
        <a:srgbClr val="505050"/>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Corenote_16x9_Template.potx" id="{15FF2929-1735-4D15-9B9C-A0FBFD068DC9}" vid="{BA079C57-9107-4EF5-9FA2-741B40A943D1}"/>
    </a:ext>
  </a:extLst>
</a:theme>
</file>

<file path=ppt/theme/theme7.xml><?xml version="1.0" encoding="utf-8"?>
<a:theme xmlns:a="http://schemas.openxmlformats.org/drawingml/2006/main" name="1_Microsoft Dynamics 365">
  <a:themeElements>
    <a:clrScheme name="MSFT Dynamics 365">
      <a:dk1>
        <a:srgbClr val="505050"/>
      </a:dk1>
      <a:lt1>
        <a:sysClr val="window" lastClr="FFFFFF"/>
      </a:lt1>
      <a:dk2>
        <a:srgbClr val="008272"/>
      </a:dk2>
      <a:lt2>
        <a:srgbClr val="E7E6E6"/>
      </a:lt2>
      <a:accent1>
        <a:srgbClr val="008272"/>
      </a:accent1>
      <a:accent2>
        <a:srgbClr val="30E5D0"/>
      </a:accent2>
      <a:accent3>
        <a:srgbClr val="FEF000"/>
      </a:accent3>
      <a:accent4>
        <a:srgbClr val="3C3C41"/>
      </a:accent4>
      <a:accent5>
        <a:srgbClr val="75757A"/>
      </a:accent5>
      <a:accent6>
        <a:srgbClr val="EBEBEB"/>
      </a:accent6>
      <a:hlink>
        <a:srgbClr val="0563C1"/>
      </a:hlink>
      <a:folHlink>
        <a:srgbClr val="954F72"/>
      </a:folHlink>
    </a:clrScheme>
    <a:fontScheme name="Custom 3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6_8.potx" id="{4FF32A3D-B0EC-495C-AF46-E5EB76C621A5}" vid="{49D7FC66-7821-4689-8681-3263CCC233C7}"/>
    </a:ext>
  </a:extLst>
</a:theme>
</file>

<file path=ppt/theme/theme8.xml><?xml version="1.0" encoding="utf-8"?>
<a:theme xmlns:a="http://schemas.openxmlformats.org/drawingml/2006/main" name="2_BA PowerPlatofrm Template Lines 0831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9.xml><?xml version="1.0" encoding="utf-8"?>
<a:theme xmlns:a="http://schemas.openxmlformats.org/drawingml/2006/main" name="5_50191_Microsoft_Business_Application_Summit">
  <a:themeElements>
    <a:clrScheme name="Custom 11">
      <a:dk1>
        <a:srgbClr val="1A1A1A"/>
      </a:dk1>
      <a:lt1>
        <a:srgbClr val="FFFFFF"/>
      </a:lt1>
      <a:dk2>
        <a:srgbClr val="0D0D0D"/>
      </a:dk2>
      <a:lt2>
        <a:srgbClr val="E6E6E6"/>
      </a:lt2>
      <a:accent1>
        <a:srgbClr val="394453"/>
      </a:accent1>
      <a:accent2>
        <a:srgbClr val="00B6C3"/>
      </a:accent2>
      <a:accent3>
        <a:srgbClr val="737373"/>
      </a:accent3>
      <a:accent4>
        <a:srgbClr val="002050"/>
      </a:accent4>
      <a:accent5>
        <a:srgbClr val="D2D2D2"/>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siness_Application_Summit_16x9_Template_v03.potx" id="{AD01BDBA-9F91-4073-BD87-544D94789112}" vid="{DB23DB25-5606-4B86-8858-C6DB2523E9D0}"/>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ediaServiceKeyPoints xmlns="62261d37-7aee-474b-a69a-7de25e17a832" xsi:nil="true"/>
    <SharedWithUsers xmlns="b8adf280-83ad-48ba-9893-cc15ca5a3353">
      <UserInfo>
        <DisplayName>Jeff King (SLG)</DisplayName>
        <AccountId>28243</AccountId>
        <AccountType/>
      </UserInfo>
      <UserInfo>
        <DisplayName>Andrej Salnik</DisplayName>
        <AccountId>35643</AccountId>
        <AccountType/>
      </UserInfo>
      <UserInfo>
        <DisplayName>Jan Paulech</DisplayName>
        <AccountId>1514</AccountId>
        <AccountType/>
      </UserInfo>
      <UserInfo>
        <DisplayName>Saurabh Gaur</DisplayName>
        <AccountId>38049</AccountId>
        <AccountType/>
      </UserInfo>
      <UserInfo>
        <DisplayName>China MOD TSP Group</DisplayName>
        <AccountId>82283</AccountId>
        <AccountType/>
      </UserInfo>
      <UserInfo>
        <DisplayName>Sally Tan</DisplayName>
        <AccountId>10770</AccountId>
        <AccountType/>
      </UserInfo>
      <UserInfo>
        <DisplayName>Clemence Monjanel</DisplayName>
        <AccountId>9758</AccountId>
        <AccountType/>
      </UserInfo>
      <UserInfo>
        <DisplayName>Hui Jeng Lee (Alfa Connections Pte Ltd)</DisplayName>
        <AccountId>63906</AccountId>
        <AccountType/>
      </UserInfo>
      <UserInfo>
        <DisplayName>Hadrien Camus</DisplayName>
        <AccountId>963</AccountId>
        <AccountType/>
      </UserInfo>
      <UserInfo>
        <DisplayName>Mathilde Hubert Baldy</DisplayName>
        <AccountId>2042</AccountId>
        <AccountType/>
      </UserInfo>
      <UserInfo>
        <DisplayName/>
        <AccountId>1</AccountId>
        <AccountType/>
      </UserInfo>
    </SharedWithUsers>
    <_ip_UnifiedCompliancePolicyUIAction xmlns="http://schemas.microsoft.com/sharepoint/v3" xsi:nil="true"/>
    <_ip_UnifiedCompliancePolicyProperties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137B49DE79A1B4E80F3730F0952247D" ma:contentTypeVersion="14" ma:contentTypeDescription="Create a new document." ma:contentTypeScope="" ma:versionID="787861c5e8e5b05ba51d1df12c620ce1">
  <xsd:schema xmlns:xsd="http://www.w3.org/2001/XMLSchema" xmlns:xs="http://www.w3.org/2001/XMLSchema" xmlns:p="http://schemas.microsoft.com/office/2006/metadata/properties" xmlns:ns1="http://schemas.microsoft.com/sharepoint/v3" xmlns:ns2="62261d37-7aee-474b-a69a-7de25e17a832" xmlns:ns3="b8adf280-83ad-48ba-9893-cc15ca5a3353" targetNamespace="http://schemas.microsoft.com/office/2006/metadata/properties" ma:root="true" ma:fieldsID="14df980957a4a95f18246fc45c7c7da0" ns1:_="" ns2:_="" ns3:_="">
    <xsd:import namespace="http://schemas.microsoft.com/sharepoint/v3"/>
    <xsd:import namespace="62261d37-7aee-474b-a69a-7de25e17a832"/>
    <xsd:import namespace="b8adf280-83ad-48ba-9893-cc15ca5a3353"/>
    <xsd:element name="properties">
      <xsd:complexType>
        <xsd:sequence>
          <xsd:element name="documentManagement">
            <xsd:complexType>
              <xsd:all>
                <xsd:element ref="ns2:MediaServiceMetadata" minOccurs="0"/>
                <xsd:element ref="ns2:MediaServiceFastMetadata" minOccurs="0"/>
                <xsd:element ref="ns2:MediaServiceEventHashCode" minOccurs="0"/>
                <xsd:element ref="ns2:MediaServiceGenerationTime" minOccurs="0"/>
                <xsd:element ref="ns3:SharedWithUsers" minOccurs="0"/>
                <xsd:element ref="ns3:SharedWithDetails" minOccurs="0"/>
                <xsd:element ref="ns2:MediaServiceAutoTags" minOccurs="0"/>
                <xsd:element ref="ns2:MediaServiceAutoKeyPoints" minOccurs="0"/>
                <xsd:element ref="ns2:MediaServiceKeyPoints" minOccurs="0"/>
                <xsd:element ref="ns2:MediaServiceDateTaken" minOccurs="0"/>
                <xsd:element ref="ns2:MediaServiceOCR" minOccurs="0"/>
                <xsd:element ref="ns2:MediaServiceLocation"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xsd:simpleType>
        <xsd:restriction base="dms:Note"/>
      </xsd:simpleType>
    </xsd:element>
    <xsd:element name="_ip_UnifiedCompliancePolicyUIAction" ma:index="2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2261d37-7aee-474b-a69a-7de25e17a83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EventHashCode" ma:index="10" nillable="true" ma:displayName="MediaServiceEventHashCode" ma:hidden="true" ma:internalName="MediaServiceEventHashCode"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8adf280-83ad-48ba-9893-cc15ca5a335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C807E26-D60A-4BC0-9B6B-FF21DEC2B07A}">
  <ds:schemaRefs>
    <ds:schemaRef ds:uri="http://schemas.microsoft.com/sharepoint/v3/contenttype/forms"/>
  </ds:schemaRefs>
</ds:datastoreItem>
</file>

<file path=customXml/itemProps2.xml><?xml version="1.0" encoding="utf-8"?>
<ds:datastoreItem xmlns:ds="http://schemas.openxmlformats.org/officeDocument/2006/customXml" ds:itemID="{A5B790DC-B35F-4041-BFE0-3459F3323669}">
  <ds:schemaRefs>
    <ds:schemaRef ds:uri="62261d37-7aee-474b-a69a-7de25e17a832"/>
    <ds:schemaRef ds:uri="b8adf280-83ad-48ba-9893-cc15ca5a335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DF32CAEC-92A3-4959-BDB4-55981DC79785}">
  <ds:schemaRefs>
    <ds:schemaRef ds:uri="62261d37-7aee-474b-a69a-7de25e17a832"/>
    <ds:schemaRef ds:uri="b8adf280-83ad-48ba-9893-cc15ca5a335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111</TotalTime>
  <Words>13704</Words>
  <Application>Microsoft Office PowerPoint</Application>
  <PresentationFormat>Custom</PresentationFormat>
  <Paragraphs>3023</Paragraphs>
  <Slides>203</Slides>
  <Notes>78</Notes>
  <HiddenSlides>0</HiddenSlides>
  <MMClips>4</MMClips>
  <ScaleCrop>false</ScaleCrop>
  <HeadingPairs>
    <vt:vector size="8" baseType="variant">
      <vt:variant>
        <vt:lpstr>Fonts Used</vt:lpstr>
      </vt:variant>
      <vt:variant>
        <vt:i4>20</vt:i4>
      </vt:variant>
      <vt:variant>
        <vt:lpstr>Theme</vt:lpstr>
      </vt:variant>
      <vt:variant>
        <vt:i4>12</vt:i4>
      </vt:variant>
      <vt:variant>
        <vt:lpstr>Embedded OLE Servers</vt:lpstr>
      </vt:variant>
      <vt:variant>
        <vt:i4>1</vt:i4>
      </vt:variant>
      <vt:variant>
        <vt:lpstr>Slide Titles</vt:lpstr>
      </vt:variant>
      <vt:variant>
        <vt:i4>203</vt:i4>
      </vt:variant>
    </vt:vector>
  </HeadingPairs>
  <TitlesOfParts>
    <vt:vector size="236" baseType="lpstr">
      <vt:lpstr>Arial</vt:lpstr>
      <vt:lpstr>Calibri</vt:lpstr>
      <vt:lpstr>Calibri Light</vt:lpstr>
      <vt:lpstr>Consolas</vt:lpstr>
      <vt:lpstr>Franklin Gothic Medium Cond</vt:lpstr>
      <vt:lpstr>Helvetica</vt:lpstr>
      <vt:lpstr>Helvetica Neue Medium</vt:lpstr>
      <vt:lpstr>Leelawadee</vt:lpstr>
      <vt:lpstr>Nexa Heavy</vt:lpstr>
      <vt:lpstr>Segoe UI</vt:lpstr>
      <vt:lpstr>Segoe UI Black</vt:lpstr>
      <vt:lpstr>Segoe UI Bold</vt:lpstr>
      <vt:lpstr>Segoe UI Light</vt:lpstr>
      <vt:lpstr>Segoe UI Semibold</vt:lpstr>
      <vt:lpstr>Segoe UI Semilight</vt:lpstr>
      <vt:lpstr>SegoeUI</vt:lpstr>
      <vt:lpstr>SFMono-Regular</vt:lpstr>
      <vt:lpstr>STIXGeneral-Regular</vt:lpstr>
      <vt:lpstr>Tw Cen MT Regular</vt:lpstr>
      <vt:lpstr>Wingdings</vt:lpstr>
      <vt:lpstr>BA PowerPlatofrm Template Lines 090220</vt:lpstr>
      <vt:lpstr>Microsoft Dynamics 365</vt:lpstr>
      <vt:lpstr>BA PowerPlatofrm Template Lines 083120</vt:lpstr>
      <vt:lpstr>WHITE TEMPLATE</vt:lpstr>
      <vt:lpstr>9-51137_MBAS_Black_Template</vt:lpstr>
      <vt:lpstr>1_9-51052_Microsoft_Inspire_Template_Dark</vt:lpstr>
      <vt:lpstr>1_Microsoft Dynamics 365</vt:lpstr>
      <vt:lpstr>2_BA PowerPlatofrm Template Lines 083120</vt:lpstr>
      <vt:lpstr>5_50191_Microsoft_Business_Application_Summit</vt:lpstr>
      <vt:lpstr>1_BA PowerPlatofrm Template Lines 090220</vt:lpstr>
      <vt:lpstr>PowerBI Template July 2021 - Light</vt:lpstr>
      <vt:lpstr>1_Office Theme</vt:lpstr>
      <vt:lpstr>Bitmap Image</vt:lpstr>
      <vt:lpstr>Power Platform Conference Session resources</vt:lpstr>
      <vt:lpstr>THE DAY AFTER *DASHBOARD  IN A DAY * Technically it was a report</vt:lpstr>
      <vt:lpstr>PowerPoint Presentation</vt:lpstr>
      <vt:lpstr>Session Feedback Surveys</vt:lpstr>
      <vt:lpstr>A retrospective…</vt:lpstr>
      <vt:lpstr>The Evolution of BI</vt:lpstr>
      <vt:lpstr>Power BI  monthly active usage</vt:lpstr>
      <vt:lpstr>PowerPoint Presentation</vt:lpstr>
      <vt:lpstr>PowerPoint Presentation</vt:lpstr>
      <vt:lpstr>PowerPoint Presentation</vt:lpstr>
      <vt:lpstr>PowerPoint Presentation</vt:lpstr>
      <vt:lpstr>Agenda (times are approximate and will be fluid with the class)</vt:lpstr>
      <vt:lpstr>    </vt:lpstr>
      <vt:lpstr>PowerPoint Presentation</vt:lpstr>
      <vt:lpstr>PowerPoint Presentation</vt:lpstr>
      <vt:lpstr>DEMO</vt:lpstr>
      <vt:lpstr>PowerPoint Presentation</vt:lpstr>
      <vt:lpstr>PowerPoint Presentation</vt:lpstr>
      <vt:lpstr>PowerPoint Presentation</vt:lpstr>
      <vt:lpstr>PowerPoint Presentation</vt:lpstr>
      <vt:lpstr>PowerPoint Presentation</vt:lpstr>
      <vt:lpstr>DEM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vt:lpstr>
      <vt:lpstr>PowerPoint Presentation</vt:lpstr>
      <vt:lpstr>PowerPoint Presentation</vt:lpstr>
      <vt:lpstr>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vt:lpstr>
      <vt:lpstr>Performance considerations: Storage modes In-memory columnar database Efficient resource us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vt:lpstr>
      <vt:lpstr>Usability considerations: Date tables Extreme dates Measuring cardinality</vt:lpstr>
      <vt:lpstr>PowerPoint Presentation</vt:lpstr>
      <vt:lpstr>PowerPoint Presentation</vt:lpstr>
      <vt:lpstr>PowerPoint Presentation</vt:lpstr>
      <vt:lpstr>PowerPoint Presentation</vt:lpstr>
      <vt:lpstr>DEMO</vt:lpstr>
      <vt:lpstr>Model considerations: Vertipaq Analyzer High Cardinality Columns Relationship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AX: Calculated Columns Iterator Functions DIVIDE Variabl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vt:lpstr>
      <vt:lpstr>PowerPoint Presentation</vt:lpstr>
      <vt:lpstr>PowerPoint Presentation</vt:lpstr>
      <vt:lpstr>PowerPoint Presentation</vt:lpstr>
      <vt:lpstr>PowerPoint Presentation</vt:lpstr>
      <vt:lpstr>PowerPoint Presentation</vt:lpstr>
      <vt:lpstr>DEMO Microsoft Power BI</vt:lpstr>
      <vt:lpstr>PowerPoint Presentation</vt:lpstr>
      <vt:lpstr>PowerPoint Presentation</vt:lpstr>
      <vt:lpstr>PowerPoint Presentation</vt:lpstr>
      <vt:lpstr>Report Layout</vt:lpstr>
      <vt:lpstr>Report Layout</vt:lpstr>
      <vt:lpstr>Report Layout</vt:lpstr>
      <vt:lpstr>Report Layout</vt:lpstr>
      <vt:lpstr>PowerPoint Presentation</vt:lpstr>
      <vt:lpstr>Visual Selection</vt:lpstr>
      <vt:lpstr>Categorical Visuals</vt:lpstr>
      <vt:lpstr>Time Series Visuals</vt:lpstr>
      <vt:lpstr>Time Series Visuals</vt:lpstr>
      <vt:lpstr>Proportional Visuals </vt:lpstr>
      <vt:lpstr>Numeric Visuals</vt:lpstr>
      <vt:lpstr>Grid Visuals</vt:lpstr>
      <vt:lpstr>Performance Visuals</vt:lpstr>
      <vt:lpstr>Geospatial Visuals </vt:lpstr>
      <vt:lpstr>DEMO Microsoft Power BI</vt:lpstr>
      <vt:lpstr>PowerPoint Presentation</vt:lpstr>
      <vt:lpstr>7 Steps In Report Building</vt:lpstr>
      <vt:lpstr>7 Steps In Report Building</vt:lpstr>
      <vt:lpstr>DEMO Microsoft Power BI</vt:lpstr>
      <vt:lpstr>Filtering</vt:lpstr>
      <vt:lpstr>Filter Pane</vt:lpstr>
      <vt:lpstr>Filter Pane</vt:lpstr>
      <vt:lpstr>Filter Pane</vt:lpstr>
      <vt:lpstr>Filter Pane</vt:lpstr>
      <vt:lpstr>Filter Pane</vt:lpstr>
      <vt:lpstr>Filter Pane</vt:lpstr>
      <vt:lpstr>Slicers</vt:lpstr>
      <vt:lpstr>Slicers</vt:lpstr>
      <vt:lpstr>Advanced Filtering Techniques</vt:lpstr>
      <vt:lpstr>Selection of Report Filter</vt:lpstr>
      <vt:lpstr>Filtering Tips</vt:lpstr>
      <vt:lpstr>Guided Analytical Experience</vt:lpstr>
      <vt:lpstr>Guided Analytical Experience</vt:lpstr>
      <vt:lpstr>Guided Analytical Experience</vt:lpstr>
      <vt:lpstr>Techniques To Highlight Values</vt:lpstr>
      <vt:lpstr>Techniques To Highlight Values</vt:lpstr>
      <vt:lpstr>Techniques To Highlight Values</vt:lpstr>
      <vt:lpstr>Techniques To Highlight Values</vt:lpstr>
      <vt:lpstr>Use Buttons</vt:lpstr>
      <vt:lpstr>Bookmarks</vt:lpstr>
      <vt:lpstr>Bookmarks</vt:lpstr>
      <vt:lpstr>Bookmarks</vt:lpstr>
      <vt:lpstr>Bookmarks</vt:lpstr>
      <vt:lpstr>Bookmarks</vt:lpstr>
      <vt:lpstr>Bookmarks</vt:lpstr>
      <vt:lpstr>Build Navigation With Buttons</vt:lpstr>
      <vt:lpstr>Build Navigation With Buttons</vt:lpstr>
      <vt:lpstr>Build Navigation With Buttons</vt:lpstr>
      <vt:lpstr>Visual Headers</vt:lpstr>
      <vt:lpstr>Using built-in Assistance</vt:lpstr>
      <vt:lpstr>Using built-in Assistance</vt:lpstr>
      <vt:lpstr>Using built-in Assistance</vt:lpstr>
      <vt:lpstr>AI Visuals</vt:lpstr>
      <vt:lpstr>AI Visuals</vt:lpstr>
      <vt:lpstr>AI Visuals</vt:lpstr>
      <vt:lpstr>AI Visuals</vt:lpstr>
      <vt:lpstr>Report Design Tools</vt:lpstr>
      <vt:lpstr>Report Design Tools</vt:lpstr>
      <vt:lpstr>Report Design Tools</vt:lpstr>
      <vt:lpstr>Report Design Tools</vt:lpstr>
      <vt:lpstr>Report Design Tools</vt:lpstr>
      <vt:lpstr>Mobile Experience</vt:lpstr>
      <vt:lpstr>Design Reports For Accessibility</vt:lpstr>
      <vt:lpstr>PowerPoint Presentation</vt:lpstr>
      <vt:lpstr>Before You Publish The Report</vt:lpstr>
      <vt:lpstr>    </vt:lpstr>
      <vt:lpstr>Self-service BI tools are sometimes described as a two-edged sword.</vt:lpstr>
      <vt:lpstr>Self-service BI as a two-edged sword</vt:lpstr>
      <vt:lpstr>True Edge, False Edge - IT and self-service</vt:lpstr>
      <vt:lpstr>True Edge, False Edge - IT and self-service</vt:lpstr>
      <vt:lpstr>True Edge, False Edge - IT and self-service</vt:lpstr>
      <vt:lpstr>Self-service BI as a two-edged sword</vt:lpstr>
      <vt:lpstr>What do actual swords and edges have to do with Power BI? Does this analogy hold up?</vt:lpstr>
      <vt:lpstr>Two sharp edges are dangerous only if you don’t know they’re both sharp.</vt:lpstr>
      <vt:lpstr>Data governance can also cut both ways. You need to work mindfully to use it to achieve your chosen goals.</vt:lpstr>
      <vt:lpstr>PowerPoint Presentation</vt:lpstr>
      <vt:lpstr>PowerPoint Presentation</vt:lpstr>
      <vt:lpstr>PowerPoint Presentation</vt:lpstr>
      <vt:lpstr>PowerPoint Presentation</vt:lpstr>
      <vt:lpstr>PowerPoint Presentation</vt:lpstr>
      <vt:lpstr>PowerPoint Presentation</vt:lpstr>
      <vt:lpstr>Successful data governance makes “yes, and” the default answer, and makes “no” the exception.</vt:lpstr>
      <vt:lpstr>PowerPoint Presentation</vt:lpstr>
      <vt:lpstr>PowerPoint Presentation</vt:lpstr>
      <vt:lpstr>“A complex system that works is invariably found to have evolved from a simple system that works. The inverse proposition also appears to be true: A complex system designed from scratch never works and cannot be made to work.”  -- John Gall</vt:lpstr>
      <vt:lpstr>One more thing…</vt:lpstr>
      <vt:lpstr>Related content</vt:lpstr>
      <vt:lpstr>Power BI Adoption Roadmap</vt:lpstr>
      <vt:lpstr>Power BI Implementation Planning</vt:lpstr>
      <vt:lpstr>PowerPoint Presentation</vt:lpstr>
      <vt:lpstr>Thank you!</vt:lpstr>
      <vt:lpstr>Session Feedback</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 BI Data Modeling</dc:title>
  <dc:subject>Data Modeling Options</dc:subject>
  <dc:creator>Megan Tomlin (POWER BI)</dc:creator>
  <cp:keywords/>
  <cp:lastModifiedBy>Adam Saxton</cp:lastModifiedBy>
  <cp:revision>3</cp:revision>
  <dcterms:modified xsi:type="dcterms:W3CDTF">2022-09-16T18:27: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137B49DE79A1B4E80F3730F0952247D</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p1cd454bacc149bfbcfd764edd279de7">
    <vt:lpwstr/>
  </property>
  <property fmtid="{D5CDD505-2E9C-101B-9397-08002B2CF9AE}" pid="12" name="of67e5d4b76f4a9db8769983fda9cec0">
    <vt:lpwstr/>
  </property>
  <property fmtid="{D5CDD505-2E9C-101B-9397-08002B2CF9AE}" pid="13" name="TaxKeyword">
    <vt:lpwstr/>
  </property>
  <property fmtid="{D5CDD505-2E9C-101B-9397-08002B2CF9AE}" pid="14" name="NewsType">
    <vt:lpwstr/>
  </property>
  <property fmtid="{D5CDD505-2E9C-101B-9397-08002B2CF9AE}" pid="15" name="Order">
    <vt:r8>6305000</vt:r8>
  </property>
  <property fmtid="{D5CDD505-2E9C-101B-9397-08002B2CF9AE}" pid="16" name="_dlc_policyId">
    <vt:lpwstr>0x0101000E4CB7077FEE4FF7AE86D4A500EEC780030016C849C62B10EB41ACA8C7EEDEF40BB2006A83F15B98C1FD4E8D76F6993277120D|-2104630519</vt:lpwstr>
  </property>
  <property fmtid="{D5CDD505-2E9C-101B-9397-08002B2CF9AE}" pid="17" name="Region">
    <vt:lpwstr/>
  </property>
  <property fmtid="{D5CDD505-2E9C-101B-9397-08002B2CF9AE}" pid="18" name="Confidentiality">
    <vt:lpwstr>5;#internal users|461efa83-0283-486a-a8d5-943328f3693f</vt:lpwstr>
  </property>
  <property fmtid="{D5CDD505-2E9C-101B-9397-08002B2CF9AE}" pid="19" name="ItemType">
    <vt:lpwstr>16;#customer presentations|18e9ae94-e321-4eea-82d2-ad5b2f470f3c;#351;#feedback requests|00ce1828-98a3-430e-af54-eda270e1be04;#3075;#documents|e037ed84-7d8e-4cbb-9c8f-61e80301a44f</vt:lpwstr>
  </property>
  <property fmtid="{D5CDD505-2E9C-101B-9397-08002B2CF9AE}" pid="20" name="bc28b5f076654a3b96073bbbebfeb8c9">
    <vt:lpwstr/>
  </property>
  <property fmtid="{D5CDD505-2E9C-101B-9397-08002B2CF9AE}" pid="21" name="ga0c0bf70a6644469c61b3efa7025301">
    <vt:lpwstr/>
  </property>
  <property fmtid="{D5CDD505-2E9C-101B-9397-08002B2CF9AE}" pid="22" name="Industries">
    <vt:lpwstr/>
  </property>
  <property fmtid="{D5CDD505-2E9C-101B-9397-08002B2CF9AE}" pid="23" name="j4d667fb28274e85b2214f6e751c8d1f">
    <vt:lpwstr/>
  </property>
  <property fmtid="{D5CDD505-2E9C-101B-9397-08002B2CF9AE}" pid="24" name="MSProducts">
    <vt:lpwstr/>
  </property>
  <property fmtid="{D5CDD505-2E9C-101B-9397-08002B2CF9AE}" pid="25" name="Competitors">
    <vt:lpwstr/>
  </property>
  <property fmtid="{D5CDD505-2E9C-101B-9397-08002B2CF9AE}" pid="26" name="SMSGDomain">
    <vt:lpwstr>22;#Server and Tools Business|6783548d-8609-4f97-be4a-4ca2616905a6;#21;#Intelligent Cloud|adc2fe87-c79a-4ded-a449-3f86b954069d;#2548;#Business Applications Domain|610af3f5-b43d-455a-97a7-f917993f5652;#453;#Microsoft Business Solutions|659377a4-c7bd-435e-b</vt:lpwstr>
  </property>
  <property fmtid="{D5CDD505-2E9C-101B-9397-08002B2CF9AE}" pid="27" name="ExperienceContentType">
    <vt:lpwstr/>
  </property>
  <property fmtid="{D5CDD505-2E9C-101B-9397-08002B2CF9AE}" pid="28" name="BusinessArchitecture">
    <vt:lpwstr>2325;#Data and AI|60d86926-9fc6-4873-ad19-e15bf82160d7;#231;#business intelligence|e1f9659f-bde9-4479-81f9-2bc6e8ec0057;#272;#Business Insight|b98b44a1-e7f9-4a33-83e7-febacc17b46c</vt:lpwstr>
  </property>
  <property fmtid="{D5CDD505-2E9C-101B-9397-08002B2CF9AE}" pid="29" name="j031aa32f4154c8c9a646efae715ebde">
    <vt:lpwstr/>
  </property>
  <property fmtid="{D5CDD505-2E9C-101B-9397-08002B2CF9AE}" pid="30" name="Products">
    <vt:lpwstr>162;#Power BI for Office 365|f9a65d80-21ac-4b9a-bf55-4f28a6454a78;#3423;#Power BI|b64b3c9d-4a01-4e45-b58d-b888a5ebf3be</vt:lpwstr>
  </property>
  <property fmtid="{D5CDD505-2E9C-101B-9397-08002B2CF9AE}" pid="31" name="ContentExtensions">
    <vt:lpwstr/>
  </property>
  <property fmtid="{D5CDD505-2E9C-101B-9397-08002B2CF9AE}" pid="32" name="WorkflowChangePath">
    <vt:lpwstr>e929cdc8-ef5a-4aed-ad88-a2076c847023,9;e929cdc8-ef5a-4aed-ad88-a2076c847023,23;e929cdc8-ef5a-4aed-ad88-a2076c847023,50;e929cdc8-ef5a-4aed-ad88-a2076c847023,50;e929cdc8-ef5a-4aed-ad88-a2076c847023,63;e929cdc8-ef5a-4aed-ad88-a2076c847023,63;4c942473-d120-42</vt:lpwstr>
  </property>
  <property fmtid="{D5CDD505-2E9C-101B-9397-08002B2CF9AE}" pid="33" name="l6f004f21209409da86a713c0f24627d">
    <vt:lpwstr/>
  </property>
  <property fmtid="{D5CDD505-2E9C-101B-9397-08002B2CF9AE}" pid="34" name="MSProductsTaxHTField0">
    <vt:lpwstr/>
  </property>
  <property fmtid="{D5CDD505-2E9C-101B-9397-08002B2CF9AE}" pid="35" name="_docset_NoMedatataSyncRequired">
    <vt:lpwstr>False</vt:lpwstr>
  </property>
  <property fmtid="{D5CDD505-2E9C-101B-9397-08002B2CF9AE}" pid="36" name="MSLanguage">
    <vt:lpwstr/>
  </property>
  <property fmtid="{D5CDD505-2E9C-101B-9397-08002B2CF9AE}" pid="37" name="e8080b0481964c759b2c36ae49591b31">
    <vt:lpwstr/>
  </property>
  <property fmtid="{D5CDD505-2E9C-101B-9397-08002B2CF9AE}" pid="38" name="Languages">
    <vt:lpwstr>23;#English|cb91f272-ce4d-4a7e-9bbf-78b58e3d188d</vt:lpwstr>
  </property>
  <property fmtid="{D5CDD505-2E9C-101B-9397-08002B2CF9AE}" pid="39" name="messageframeworktype">
    <vt:lpwstr/>
  </property>
  <property fmtid="{D5CDD505-2E9C-101B-9397-08002B2CF9AE}" pid="40" name="cb7870d3641f4a52807a63577a9c1b08">
    <vt:lpwstr/>
  </property>
  <property fmtid="{D5CDD505-2E9C-101B-9397-08002B2CF9AE}" pid="41" name="LastUpdatedByBatchTagging">
    <vt:bool>true</vt:bool>
  </property>
  <property fmtid="{D5CDD505-2E9C-101B-9397-08002B2CF9AE}" pid="42" name="TechnicalLevel">
    <vt:lpwstr>3066;#100 (beginner)|7d022d07-ff67-4af8-910d-8ea6b46b5908</vt:lpwstr>
  </property>
  <property fmtid="{D5CDD505-2E9C-101B-9397-08002B2CF9AE}" pid="43" name="Audiences">
    <vt:lpwstr/>
  </property>
  <property fmtid="{D5CDD505-2E9C-101B-9397-08002B2CF9AE}" pid="44" name="LearningOrganization">
    <vt:lpwstr/>
  </property>
  <property fmtid="{D5CDD505-2E9C-101B-9397-08002B2CF9AE}" pid="45" name="ldac8aee9d1f469e8cd8c3f8d6a615f2">
    <vt:lpwstr/>
  </property>
  <property fmtid="{D5CDD505-2E9C-101B-9397-08002B2CF9AE}" pid="46" name="EmployeeRole">
    <vt:lpwstr/>
  </property>
  <property fmtid="{D5CDD505-2E9C-101B-9397-08002B2CF9AE}" pid="47" name="NewsTopic">
    <vt:lpwstr/>
  </property>
  <property fmtid="{D5CDD505-2E9C-101B-9397-08002B2CF9AE}" pid="48" name="LearningDeliveryMethod">
    <vt:lpwstr/>
  </property>
  <property fmtid="{D5CDD505-2E9C-101B-9397-08002B2CF9AE}" pid="49" name="SalesGeography">
    <vt:lpwstr/>
  </property>
  <property fmtid="{D5CDD505-2E9C-101B-9397-08002B2CF9AE}" pid="50" name="Roles">
    <vt:lpwstr/>
  </property>
  <property fmtid="{D5CDD505-2E9C-101B-9397-08002B2CF9AE}" pid="51"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52" name="NewsSource">
    <vt:lpwstr/>
  </property>
  <property fmtid="{D5CDD505-2E9C-101B-9397-08002B2CF9AE}" pid="53" name="SMSGTags">
    <vt:lpwstr/>
  </property>
  <property fmtid="{D5CDD505-2E9C-101B-9397-08002B2CF9AE}" pid="54" name="_dlc_DocIdItemGuid">
    <vt:lpwstr>cdfebffc-e678-40cc-98f6-052218ac0860</vt:lpwstr>
  </property>
  <property fmtid="{D5CDD505-2E9C-101B-9397-08002B2CF9AE}" pid="55" name="MSPhysicalGeography">
    <vt:lpwstr/>
  </property>
  <property fmtid="{D5CDD505-2E9C-101B-9397-08002B2CF9AE}" pid="56" name="l311460e3fdf46688abc31ddb7bdc05a">
    <vt:lpwstr/>
  </property>
  <property fmtid="{D5CDD505-2E9C-101B-9397-08002B2CF9AE}" pid="57" name="EnterpriseDomainTags">
    <vt:lpwstr>231;#business intelligence|e1f9659f-bde9-4479-81f9-2bc6e8ec0057</vt:lpwstr>
  </property>
  <property fmtid="{D5CDD505-2E9C-101B-9397-08002B2CF9AE}" pid="58" name="j3562c58ee414e028925bc902cfc01a1">
    <vt:lpwstr/>
  </property>
  <property fmtid="{D5CDD505-2E9C-101B-9397-08002B2CF9AE}" pid="59" name="ActivitiesAndPrograms">
    <vt:lpwstr/>
  </property>
  <property fmtid="{D5CDD505-2E9C-101B-9397-08002B2CF9AE}" pid="60" name="Segments">
    <vt:lpwstr>2548;#Business Applications Domain|610af3f5-b43d-455a-97a7-f917993f5652</vt:lpwstr>
  </property>
  <property fmtid="{D5CDD505-2E9C-101B-9397-08002B2CF9AE}" pid="61" name="Partners">
    <vt:lpwstr/>
  </property>
  <property fmtid="{D5CDD505-2E9C-101B-9397-08002B2CF9AE}" pid="62" name="la4444b61d19467597d63190b69ac227">
    <vt:lpwstr/>
  </property>
  <property fmtid="{D5CDD505-2E9C-101B-9397-08002B2CF9AE}" pid="63" name="Topics">
    <vt:lpwstr>927;#analytics|3c36f2f5-2e86-4b92-93df-d055f5a412bb</vt:lpwstr>
  </property>
  <property fmtid="{D5CDD505-2E9C-101B-9397-08002B2CF9AE}" pid="64" name="Groups">
    <vt:lpwstr>42;#Cloud + AI Marketing|4f75e184-e5aa-4234-a07f-b032d60df254</vt:lpwstr>
  </property>
  <property fmtid="{D5CDD505-2E9C-101B-9397-08002B2CF9AE}" pid="65" name="SharedWithUsers">
    <vt:lpwstr>28243;#Jeff King (SLG);#35643;#Andrej Salnik;#1514;#Jan Paulech;#38049;#Saurabh Gaur;#82283;#China MOD TSP Group;#10770;#Sally Tan;#9758;#Clemence Monjanel;#63906;#Hui Jeng Lee (Alfa Connections Pte Ltd);#963;#Hadrien Camus;#2042;#Mathilde Hubert Baldy;#1</vt:lpwstr>
  </property>
  <property fmtid="{D5CDD505-2E9C-101B-9397-08002B2CF9AE}" pid="66" name="MSIP_Label_f42aa342-8706-4288-bd11-ebb85995028c_Enabled">
    <vt:lpwstr>True</vt:lpwstr>
  </property>
  <property fmtid="{D5CDD505-2E9C-101B-9397-08002B2CF9AE}" pid="67" name="MSIP_Label_f42aa342-8706-4288-bd11-ebb85995028c_SiteId">
    <vt:lpwstr>72f988bf-86f1-41af-91ab-2d7cd011db47</vt:lpwstr>
  </property>
  <property fmtid="{D5CDD505-2E9C-101B-9397-08002B2CF9AE}" pid="68" name="MSIP_Label_f42aa342-8706-4288-bd11-ebb85995028c_Ref">
    <vt:lpwstr>https://api.informationprotection.azure.com/api/72f988bf-86f1-41af-91ab-2d7cd011db47</vt:lpwstr>
  </property>
  <property fmtid="{D5CDD505-2E9C-101B-9397-08002B2CF9AE}" pid="69" name="MSIP_Label_f42aa342-8706-4288-bd11-ebb85995028c_SetBy">
    <vt:lpwstr>cuongp@microsoft.com</vt:lpwstr>
  </property>
  <property fmtid="{D5CDD505-2E9C-101B-9397-08002B2CF9AE}" pid="70" name="MSIP_Label_f42aa342-8706-4288-bd11-ebb85995028c_SetDate">
    <vt:lpwstr>2017-04-30T14:14:20.0604349-07:00</vt:lpwstr>
  </property>
  <property fmtid="{D5CDD505-2E9C-101B-9397-08002B2CF9AE}" pid="71" name="MSIP_Label_f42aa342-8706-4288-bd11-ebb85995028c_Name">
    <vt:lpwstr>General</vt:lpwstr>
  </property>
  <property fmtid="{D5CDD505-2E9C-101B-9397-08002B2CF9AE}" pid="72" name="MSIP_Label_f42aa342-8706-4288-bd11-ebb85995028c_Application">
    <vt:lpwstr>Microsoft Azure Information Protection</vt:lpwstr>
  </property>
  <property fmtid="{D5CDD505-2E9C-101B-9397-08002B2CF9AE}" pid="73" name="MSIP_Label_f42aa342-8706-4288-bd11-ebb85995028c_Extended_MSFT_Method">
    <vt:lpwstr>Automatic</vt:lpwstr>
  </property>
  <property fmtid="{D5CDD505-2E9C-101B-9397-08002B2CF9AE}" pid="74" name="Sensitivity">
    <vt:lpwstr>General</vt:lpwstr>
  </property>
  <property fmtid="{D5CDD505-2E9C-101B-9397-08002B2CF9AE}" pid="75" name="FolderExtensions">
    <vt:lpwstr/>
  </property>
  <property fmtid="{D5CDD505-2E9C-101B-9397-08002B2CF9AE}" pid="76" name="ParentID1">
    <vt:lpwstr>G01KC-1-15625</vt:lpwstr>
  </property>
  <property fmtid="{D5CDD505-2E9C-101B-9397-08002B2CF9AE}" pid="77" name="LastSharedByUser">
    <vt:lpwstr>kanadeau@microsoft.com</vt:lpwstr>
  </property>
  <property fmtid="{D5CDD505-2E9C-101B-9397-08002B2CF9AE}" pid="78" name="ODSWF1">
    <vt:lpwstr>, </vt:lpwstr>
  </property>
  <property fmtid="{D5CDD505-2E9C-101B-9397-08002B2CF9AE}" pid="79" name="ODSWF(1)0">
    <vt:lpwstr>, </vt:lpwstr>
  </property>
  <property fmtid="{D5CDD505-2E9C-101B-9397-08002B2CF9AE}" pid="80" name="Update Parent Child Relation(1)1">
    <vt:lpwstr>, </vt:lpwstr>
  </property>
  <property fmtid="{D5CDD505-2E9C-101B-9397-08002B2CF9AE}" pid="81" name="LastSharedByTime">
    <vt:filetime>2018-05-22T20:48:11Z</vt:filetime>
  </property>
  <property fmtid="{D5CDD505-2E9C-101B-9397-08002B2CF9AE}" pid="82" name="ODSWF(1)1">
    <vt:lpwstr>, </vt:lpwstr>
  </property>
  <property fmtid="{D5CDD505-2E9C-101B-9397-08002B2CF9AE}" pid="83" name="ODSWF2">
    <vt:lpwstr>, </vt:lpwstr>
  </property>
  <property fmtid="{D5CDD505-2E9C-101B-9397-08002B2CF9AE}" pid="84" name="ODSWF2(1)">
    <vt:lpwstr>, </vt:lpwstr>
  </property>
  <property fmtid="{D5CDD505-2E9C-101B-9397-08002B2CF9AE}" pid="85" name="ODSWF2(1)0">
    <vt:lpwstr>, </vt:lpwstr>
  </property>
  <property fmtid="{D5CDD505-2E9C-101B-9397-08002B2CF9AE}" pid="86" name="ODSWF(1)">
    <vt:lpwstr>, </vt:lpwstr>
  </property>
  <property fmtid="{D5CDD505-2E9C-101B-9397-08002B2CF9AE}" pid="87" name="Update Parent Child Relation(1)0">
    <vt:lpwstr>, </vt:lpwstr>
  </property>
  <property fmtid="{D5CDD505-2E9C-101B-9397-08002B2CF9AE}" pid="88" name="SMSG Items">
    <vt:lpwstr/>
  </property>
  <property fmtid="{D5CDD505-2E9C-101B-9397-08002B2CF9AE}" pid="89" name="Solution Areas">
    <vt:lpwstr>3477;#Business Applications|bc6a3471-5036-4c6f-8724-05bc21271c2e</vt:lpwstr>
  </property>
  <property fmtid="{D5CDD505-2E9C-101B-9397-08002B2CF9AE}" pid="90" name="MSProfessions">
    <vt:lpwstr/>
  </property>
</Properties>
</file>